
<file path=[Content_Types].xml><?xml version="1.0" encoding="utf-8"?>
<Types xmlns="http://schemas.openxmlformats.org/package/2006/content-types">
  <Default Extension="xml" ContentType="application/xml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Override PartName="/customXml/itemProps18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6"/>
  </p:notesMasterIdLst>
  <p:handoutMasterIdLst>
    <p:handoutMasterId r:id="rId37"/>
  </p:handoutMasterIdLst>
  <p:sldIdLst>
    <p:sldId id="1991" r:id="rId3"/>
    <p:sldId id="2015" r:id="rId4"/>
    <p:sldId id="258" r:id="rId5"/>
    <p:sldId id="1952" r:id="rId7"/>
    <p:sldId id="2038" r:id="rId8"/>
    <p:sldId id="2124" r:id="rId9"/>
    <p:sldId id="2153" r:id="rId10"/>
    <p:sldId id="2123" r:id="rId11"/>
    <p:sldId id="1824" r:id="rId12"/>
    <p:sldId id="2059" r:id="rId13"/>
    <p:sldId id="1830" r:id="rId14"/>
    <p:sldId id="2154" r:id="rId15"/>
    <p:sldId id="1825" r:id="rId16"/>
    <p:sldId id="1956" r:id="rId17"/>
    <p:sldId id="1871" r:id="rId18"/>
    <p:sldId id="2125" r:id="rId19"/>
    <p:sldId id="2075" r:id="rId20"/>
    <p:sldId id="1826" r:id="rId21"/>
    <p:sldId id="2097" r:id="rId22"/>
    <p:sldId id="1961" r:id="rId23"/>
    <p:sldId id="2087" r:id="rId24"/>
    <p:sldId id="1955" r:id="rId25"/>
    <p:sldId id="2109" r:id="rId26"/>
    <p:sldId id="1960" r:id="rId27"/>
    <p:sldId id="1901" r:id="rId28"/>
    <p:sldId id="1902" r:id="rId29"/>
    <p:sldId id="2111" r:id="rId30"/>
    <p:sldId id="2118" r:id="rId31"/>
    <p:sldId id="1873" r:id="rId32"/>
    <p:sldId id="2149" r:id="rId33"/>
    <p:sldId id="1957" r:id="rId34"/>
    <p:sldId id="2119" r:id="rId35"/>
    <p:sldId id="261" r:id="rId36"/>
  </p:sldIdLst>
  <p:sldSz cx="12192000" cy="6858000"/>
  <p:notesSz cx="6858000" cy="9144000"/>
  <p:embeddedFontLst>
    <p:embeddedFont>
      <p:font typeface="微软雅黑" panose="020B0503020204020204" pitchFamily="34" charset="-122"/>
      <p:regular r:id="rId43"/>
    </p:embeddedFont>
    <p:embeddedFont>
      <p:font typeface="Impact" panose="020B0806030902050204" pitchFamily="34" charset="0"/>
      <p:regular r:id="rId44"/>
    </p:embeddedFont>
    <p:embeddedFont>
      <p:font typeface="PT Mono" panose="02060509020205020204" charset="0"/>
      <p:regular r:id="rId45"/>
    </p:embeddedFont>
    <p:embeddedFont>
      <p:font typeface="Calibri" panose="020F0502020204030204" charset="0"/>
      <p:regular r:id="rId46"/>
      <p:bold r:id="rId47"/>
      <p:italic r:id="rId48"/>
      <p:boldItalic r:id="rId49"/>
    </p:embeddedFont>
    <p:embeddedFont>
      <p:font typeface="等线" panose="02010600030101010101" charset="-122"/>
      <p:regular r:id="rId50"/>
    </p:embeddedFont>
  </p:embeddedFontLst>
  <p:custDataLst>
    <p:tags r:id="rId5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7E4A"/>
    <a:srgbClr val="F2A208"/>
    <a:srgbClr val="01AA54"/>
    <a:srgbClr val="FF8446"/>
    <a:srgbClr val="A91EBE"/>
    <a:srgbClr val="E7272D"/>
    <a:srgbClr val="F4A229"/>
    <a:srgbClr val="FF790B"/>
    <a:srgbClr val="19B66B"/>
    <a:srgbClr val="9F1A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12" autoAdjust="0"/>
    <p:restoredTop sz="91078" autoAdjust="0"/>
  </p:normalViewPr>
  <p:slideViewPr>
    <p:cSldViewPr snapToGrid="0">
      <p:cViewPr varScale="1">
        <p:scale>
          <a:sx n="67" d="100"/>
          <a:sy n="67" d="100"/>
        </p:scale>
        <p:origin x="568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51" Type="http://schemas.openxmlformats.org/officeDocument/2006/relationships/tags" Target="tags/tag19.xml"/><Relationship Id="rId50" Type="http://schemas.openxmlformats.org/officeDocument/2006/relationships/font" Target="fonts/font8.fntdata"/><Relationship Id="rId5" Type="http://schemas.openxmlformats.org/officeDocument/2006/relationships/slide" Target="slides/slide3.xml"/><Relationship Id="rId49" Type="http://schemas.openxmlformats.org/officeDocument/2006/relationships/font" Target="fonts/font7.fntdata"/><Relationship Id="rId48" Type="http://schemas.openxmlformats.org/officeDocument/2006/relationships/font" Target="fonts/font6.fntdata"/><Relationship Id="rId47" Type="http://schemas.openxmlformats.org/officeDocument/2006/relationships/font" Target="fonts/font5.fntdata"/><Relationship Id="rId46" Type="http://schemas.openxmlformats.org/officeDocument/2006/relationships/font" Target="fonts/font4.fntdata"/><Relationship Id="rId45" Type="http://schemas.openxmlformats.org/officeDocument/2006/relationships/font" Target="fonts/font3.fntdata"/><Relationship Id="rId44" Type="http://schemas.openxmlformats.org/officeDocument/2006/relationships/font" Target="fonts/font2.fntdata"/><Relationship Id="rId43" Type="http://schemas.openxmlformats.org/officeDocument/2006/relationships/font" Target="fonts/font1.fntdata"/><Relationship Id="rId42" Type="http://schemas.openxmlformats.org/officeDocument/2006/relationships/customXml" Target="../customXml/item1.xml"/><Relationship Id="rId41" Type="http://schemas.openxmlformats.org/officeDocument/2006/relationships/customXmlProps" Target="../customXml/itemProps18.xml"/><Relationship Id="rId40" Type="http://schemas.openxmlformats.org/officeDocument/2006/relationships/tableStyles" Target="tableStyles.xml"/><Relationship Id="rId4" Type="http://schemas.openxmlformats.org/officeDocument/2006/relationships/slide" Target="slides/slide2.xml"/><Relationship Id="rId39" Type="http://schemas.openxmlformats.org/officeDocument/2006/relationships/viewProps" Target="viewProps.xml"/><Relationship Id="rId38" Type="http://schemas.openxmlformats.org/officeDocument/2006/relationships/presProps" Target="presProps.xml"/><Relationship Id="rId37" Type="http://schemas.openxmlformats.org/officeDocument/2006/relationships/handoutMaster" Target="handoutMasters/handoutMaster1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" name="cc47b233-5d22-45c3-93b3-14c33b9938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 rot="20436058">
            <a:off x="109350" y="550582"/>
            <a:ext cx="3205278" cy="4424639"/>
            <a:chOff x="4414315" y="1367533"/>
            <a:chExt cx="3357022" cy="4634110"/>
          </a:xfrm>
        </p:grpSpPr>
        <p:sp>
          <p:nvSpPr>
            <p:cNvPr id="10" name="íšḻîḍê"/>
            <p:cNvSpPr/>
            <p:nvPr/>
          </p:nvSpPr>
          <p:spPr bwMode="auto">
            <a:xfrm>
              <a:off x="4414315" y="1367533"/>
              <a:ext cx="3357022" cy="4634110"/>
            </a:xfrm>
            <a:custGeom>
              <a:avLst/>
              <a:gdLst>
                <a:gd name="T0" fmla="*/ 39 w 477"/>
                <a:gd name="T1" fmla="*/ 374 h 659"/>
                <a:gd name="T2" fmla="*/ 79 w 477"/>
                <a:gd name="T3" fmla="*/ 378 h 659"/>
                <a:gd name="T4" fmla="*/ 109 w 477"/>
                <a:gd name="T5" fmla="*/ 376 h 659"/>
                <a:gd name="T6" fmla="*/ 152 w 477"/>
                <a:gd name="T7" fmla="*/ 335 h 659"/>
                <a:gd name="T8" fmla="*/ 219 w 477"/>
                <a:gd name="T9" fmla="*/ 260 h 659"/>
                <a:gd name="T10" fmla="*/ 250 w 477"/>
                <a:gd name="T11" fmla="*/ 251 h 659"/>
                <a:gd name="T12" fmla="*/ 186 w 477"/>
                <a:gd name="T13" fmla="*/ 245 h 659"/>
                <a:gd name="T14" fmla="*/ 172 w 477"/>
                <a:gd name="T15" fmla="*/ 244 h 659"/>
                <a:gd name="T16" fmla="*/ 157 w 477"/>
                <a:gd name="T17" fmla="*/ 228 h 659"/>
                <a:gd name="T18" fmla="*/ 151 w 477"/>
                <a:gd name="T19" fmla="*/ 148 h 659"/>
                <a:gd name="T20" fmla="*/ 113 w 477"/>
                <a:gd name="T21" fmla="*/ 122 h 659"/>
                <a:gd name="T22" fmla="*/ 142 w 477"/>
                <a:gd name="T23" fmla="*/ 133 h 659"/>
                <a:gd name="T24" fmla="*/ 231 w 477"/>
                <a:gd name="T25" fmla="*/ 14 h 659"/>
                <a:gd name="T26" fmla="*/ 399 w 477"/>
                <a:gd name="T27" fmla="*/ 133 h 659"/>
                <a:gd name="T28" fmla="*/ 441 w 477"/>
                <a:gd name="T29" fmla="*/ 119 h 659"/>
                <a:gd name="T30" fmla="*/ 460 w 477"/>
                <a:gd name="T31" fmla="*/ 162 h 659"/>
                <a:gd name="T32" fmla="*/ 400 w 477"/>
                <a:gd name="T33" fmla="*/ 148 h 659"/>
                <a:gd name="T34" fmla="*/ 401 w 477"/>
                <a:gd name="T35" fmla="*/ 230 h 659"/>
                <a:gd name="T36" fmla="*/ 334 w 477"/>
                <a:gd name="T37" fmla="*/ 247 h 659"/>
                <a:gd name="T38" fmla="*/ 314 w 477"/>
                <a:gd name="T39" fmla="*/ 259 h 659"/>
                <a:gd name="T40" fmla="*/ 351 w 477"/>
                <a:gd name="T41" fmla="*/ 270 h 659"/>
                <a:gd name="T42" fmla="*/ 447 w 477"/>
                <a:gd name="T43" fmla="*/ 404 h 659"/>
                <a:gd name="T44" fmla="*/ 449 w 477"/>
                <a:gd name="T45" fmla="*/ 493 h 659"/>
                <a:gd name="T46" fmla="*/ 441 w 477"/>
                <a:gd name="T47" fmla="*/ 532 h 659"/>
                <a:gd name="T48" fmla="*/ 425 w 477"/>
                <a:gd name="T49" fmla="*/ 581 h 659"/>
                <a:gd name="T50" fmla="*/ 419 w 477"/>
                <a:gd name="T51" fmla="*/ 567 h 659"/>
                <a:gd name="T52" fmla="*/ 399 w 477"/>
                <a:gd name="T53" fmla="*/ 577 h 659"/>
                <a:gd name="T54" fmla="*/ 400 w 477"/>
                <a:gd name="T55" fmla="*/ 559 h 659"/>
                <a:gd name="T56" fmla="*/ 377 w 477"/>
                <a:gd name="T57" fmla="*/ 569 h 659"/>
                <a:gd name="T58" fmla="*/ 369 w 477"/>
                <a:gd name="T59" fmla="*/ 572 h 659"/>
                <a:gd name="T60" fmla="*/ 368 w 477"/>
                <a:gd name="T61" fmla="*/ 560 h 659"/>
                <a:gd name="T62" fmla="*/ 373 w 477"/>
                <a:gd name="T63" fmla="*/ 547 h 659"/>
                <a:gd name="T64" fmla="*/ 350 w 477"/>
                <a:gd name="T65" fmla="*/ 551 h 659"/>
                <a:gd name="T66" fmla="*/ 355 w 477"/>
                <a:gd name="T67" fmla="*/ 532 h 659"/>
                <a:gd name="T68" fmla="*/ 349 w 477"/>
                <a:gd name="T69" fmla="*/ 519 h 659"/>
                <a:gd name="T70" fmla="*/ 378 w 477"/>
                <a:gd name="T71" fmla="*/ 469 h 659"/>
                <a:gd name="T72" fmla="*/ 390 w 477"/>
                <a:gd name="T73" fmla="*/ 430 h 659"/>
                <a:gd name="T74" fmla="*/ 344 w 477"/>
                <a:gd name="T75" fmla="*/ 335 h 659"/>
                <a:gd name="T76" fmla="*/ 341 w 477"/>
                <a:gd name="T77" fmla="*/ 430 h 659"/>
                <a:gd name="T78" fmla="*/ 296 w 477"/>
                <a:gd name="T79" fmla="*/ 462 h 659"/>
                <a:gd name="T80" fmla="*/ 299 w 477"/>
                <a:gd name="T81" fmla="*/ 557 h 659"/>
                <a:gd name="T82" fmla="*/ 303 w 477"/>
                <a:gd name="T83" fmla="*/ 619 h 659"/>
                <a:gd name="T84" fmla="*/ 240 w 477"/>
                <a:gd name="T85" fmla="*/ 616 h 659"/>
                <a:gd name="T86" fmla="*/ 254 w 477"/>
                <a:gd name="T87" fmla="*/ 556 h 659"/>
                <a:gd name="T88" fmla="*/ 251 w 477"/>
                <a:gd name="T89" fmla="*/ 482 h 659"/>
                <a:gd name="T90" fmla="*/ 213 w 477"/>
                <a:gd name="T91" fmla="*/ 454 h 659"/>
                <a:gd name="T92" fmla="*/ 210 w 477"/>
                <a:gd name="T93" fmla="*/ 378 h 659"/>
                <a:gd name="T94" fmla="*/ 201 w 477"/>
                <a:gd name="T95" fmla="*/ 377 h 659"/>
                <a:gd name="T96" fmla="*/ 130 w 477"/>
                <a:gd name="T97" fmla="*/ 426 h 659"/>
                <a:gd name="T98" fmla="*/ 97 w 477"/>
                <a:gd name="T99" fmla="*/ 441 h 659"/>
                <a:gd name="T100" fmla="*/ 48 w 477"/>
                <a:gd name="T101" fmla="*/ 458 h 659"/>
                <a:gd name="T102" fmla="*/ 35 w 477"/>
                <a:gd name="T103" fmla="*/ 449 h 659"/>
                <a:gd name="T104" fmla="*/ 21 w 477"/>
                <a:gd name="T105" fmla="*/ 435 h 659"/>
                <a:gd name="T106" fmla="*/ 32 w 477"/>
                <a:gd name="T107" fmla="*/ 425 h 659"/>
                <a:gd name="T108" fmla="*/ 26 w 477"/>
                <a:gd name="T109" fmla="*/ 414 h 659"/>
                <a:gd name="T110" fmla="*/ 28 w 477"/>
                <a:gd name="T111" fmla="*/ 407 h 659"/>
                <a:gd name="T112" fmla="*/ 18 w 477"/>
                <a:gd name="T113" fmla="*/ 394 h 659"/>
                <a:gd name="T114" fmla="*/ 25 w 477"/>
                <a:gd name="T115" fmla="*/ 395 h 659"/>
                <a:gd name="T116" fmla="*/ 7 w 477"/>
                <a:gd name="T117" fmla="*/ 3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7" h="659">
                  <a:moveTo>
                    <a:pt x="7" y="378"/>
                  </a:moveTo>
                  <a:cubicBezTo>
                    <a:pt x="10" y="377"/>
                    <a:pt x="13" y="377"/>
                    <a:pt x="17" y="376"/>
                  </a:cubicBezTo>
                  <a:cubicBezTo>
                    <a:pt x="20" y="376"/>
                    <a:pt x="24" y="375"/>
                    <a:pt x="28" y="375"/>
                  </a:cubicBezTo>
                  <a:cubicBezTo>
                    <a:pt x="31" y="375"/>
                    <a:pt x="35" y="374"/>
                    <a:pt x="39" y="374"/>
                  </a:cubicBezTo>
                  <a:cubicBezTo>
                    <a:pt x="41" y="373"/>
                    <a:pt x="43" y="373"/>
                    <a:pt x="45" y="372"/>
                  </a:cubicBezTo>
                  <a:cubicBezTo>
                    <a:pt x="51" y="371"/>
                    <a:pt x="56" y="371"/>
                    <a:pt x="62" y="372"/>
                  </a:cubicBezTo>
                  <a:cubicBezTo>
                    <a:pt x="67" y="373"/>
                    <a:pt x="71" y="373"/>
                    <a:pt x="75" y="375"/>
                  </a:cubicBezTo>
                  <a:cubicBezTo>
                    <a:pt x="77" y="376"/>
                    <a:pt x="78" y="377"/>
                    <a:pt x="79" y="378"/>
                  </a:cubicBezTo>
                  <a:cubicBezTo>
                    <a:pt x="79" y="377"/>
                    <a:pt x="79" y="377"/>
                    <a:pt x="79" y="376"/>
                  </a:cubicBezTo>
                  <a:cubicBezTo>
                    <a:pt x="81" y="369"/>
                    <a:pt x="87" y="363"/>
                    <a:pt x="95" y="363"/>
                  </a:cubicBezTo>
                  <a:cubicBezTo>
                    <a:pt x="101" y="363"/>
                    <a:pt x="104" y="366"/>
                    <a:pt x="105" y="371"/>
                  </a:cubicBezTo>
                  <a:cubicBezTo>
                    <a:pt x="107" y="372"/>
                    <a:pt x="108" y="374"/>
                    <a:pt x="109" y="376"/>
                  </a:cubicBezTo>
                  <a:cubicBezTo>
                    <a:pt x="111" y="375"/>
                    <a:pt x="114" y="375"/>
                    <a:pt x="117" y="374"/>
                  </a:cubicBezTo>
                  <a:cubicBezTo>
                    <a:pt x="121" y="373"/>
                    <a:pt x="125" y="372"/>
                    <a:pt x="129" y="371"/>
                  </a:cubicBezTo>
                  <a:cubicBezTo>
                    <a:pt x="135" y="369"/>
                    <a:pt x="142" y="365"/>
                    <a:pt x="146" y="359"/>
                  </a:cubicBezTo>
                  <a:cubicBezTo>
                    <a:pt x="150" y="352"/>
                    <a:pt x="151" y="343"/>
                    <a:pt x="152" y="335"/>
                  </a:cubicBezTo>
                  <a:cubicBezTo>
                    <a:pt x="153" y="326"/>
                    <a:pt x="155" y="318"/>
                    <a:pt x="159" y="310"/>
                  </a:cubicBezTo>
                  <a:cubicBezTo>
                    <a:pt x="162" y="302"/>
                    <a:pt x="167" y="295"/>
                    <a:pt x="172" y="288"/>
                  </a:cubicBezTo>
                  <a:cubicBezTo>
                    <a:pt x="178" y="282"/>
                    <a:pt x="185" y="277"/>
                    <a:pt x="193" y="272"/>
                  </a:cubicBezTo>
                  <a:cubicBezTo>
                    <a:pt x="201" y="267"/>
                    <a:pt x="210" y="262"/>
                    <a:pt x="219" y="260"/>
                  </a:cubicBezTo>
                  <a:cubicBezTo>
                    <a:pt x="222" y="260"/>
                    <a:pt x="224" y="260"/>
                    <a:pt x="227" y="259"/>
                  </a:cubicBezTo>
                  <a:cubicBezTo>
                    <a:pt x="231" y="257"/>
                    <a:pt x="236" y="256"/>
                    <a:pt x="240" y="256"/>
                  </a:cubicBezTo>
                  <a:cubicBezTo>
                    <a:pt x="243" y="256"/>
                    <a:pt x="246" y="256"/>
                    <a:pt x="249" y="257"/>
                  </a:cubicBezTo>
                  <a:cubicBezTo>
                    <a:pt x="250" y="255"/>
                    <a:pt x="250" y="253"/>
                    <a:pt x="250" y="251"/>
                  </a:cubicBezTo>
                  <a:cubicBezTo>
                    <a:pt x="251" y="250"/>
                    <a:pt x="251" y="248"/>
                    <a:pt x="251" y="247"/>
                  </a:cubicBezTo>
                  <a:cubicBezTo>
                    <a:pt x="246" y="247"/>
                    <a:pt x="240" y="247"/>
                    <a:pt x="235" y="247"/>
                  </a:cubicBezTo>
                  <a:cubicBezTo>
                    <a:pt x="224" y="247"/>
                    <a:pt x="213" y="248"/>
                    <a:pt x="202" y="247"/>
                  </a:cubicBezTo>
                  <a:cubicBezTo>
                    <a:pt x="196" y="247"/>
                    <a:pt x="191" y="246"/>
                    <a:pt x="186" y="245"/>
                  </a:cubicBezTo>
                  <a:cubicBezTo>
                    <a:pt x="183" y="245"/>
                    <a:pt x="181" y="245"/>
                    <a:pt x="179" y="244"/>
                  </a:cubicBezTo>
                  <a:cubicBezTo>
                    <a:pt x="177" y="244"/>
                    <a:pt x="176" y="244"/>
                    <a:pt x="174" y="244"/>
                  </a:cubicBezTo>
                  <a:cubicBezTo>
                    <a:pt x="174" y="244"/>
                    <a:pt x="170" y="243"/>
                    <a:pt x="171" y="243"/>
                  </a:cubicBezTo>
                  <a:cubicBezTo>
                    <a:pt x="171" y="243"/>
                    <a:pt x="171" y="243"/>
                    <a:pt x="172" y="244"/>
                  </a:cubicBezTo>
                  <a:cubicBezTo>
                    <a:pt x="171" y="243"/>
                    <a:pt x="171" y="243"/>
                    <a:pt x="171" y="243"/>
                  </a:cubicBezTo>
                  <a:cubicBezTo>
                    <a:pt x="168" y="243"/>
                    <a:pt x="164" y="243"/>
                    <a:pt x="161" y="241"/>
                  </a:cubicBezTo>
                  <a:cubicBezTo>
                    <a:pt x="157" y="239"/>
                    <a:pt x="156" y="233"/>
                    <a:pt x="157" y="229"/>
                  </a:cubicBezTo>
                  <a:cubicBezTo>
                    <a:pt x="157" y="229"/>
                    <a:pt x="157" y="229"/>
                    <a:pt x="157" y="228"/>
                  </a:cubicBezTo>
                  <a:cubicBezTo>
                    <a:pt x="155" y="217"/>
                    <a:pt x="156" y="206"/>
                    <a:pt x="155" y="194"/>
                  </a:cubicBezTo>
                  <a:cubicBezTo>
                    <a:pt x="155" y="183"/>
                    <a:pt x="154" y="171"/>
                    <a:pt x="154" y="160"/>
                  </a:cubicBezTo>
                  <a:cubicBezTo>
                    <a:pt x="154" y="156"/>
                    <a:pt x="154" y="152"/>
                    <a:pt x="154" y="147"/>
                  </a:cubicBezTo>
                  <a:cubicBezTo>
                    <a:pt x="153" y="148"/>
                    <a:pt x="152" y="148"/>
                    <a:pt x="151" y="148"/>
                  </a:cubicBezTo>
                  <a:cubicBezTo>
                    <a:pt x="148" y="148"/>
                    <a:pt x="145" y="148"/>
                    <a:pt x="142" y="148"/>
                  </a:cubicBezTo>
                  <a:cubicBezTo>
                    <a:pt x="140" y="155"/>
                    <a:pt x="134" y="160"/>
                    <a:pt x="128" y="162"/>
                  </a:cubicBezTo>
                  <a:cubicBezTo>
                    <a:pt x="107" y="170"/>
                    <a:pt x="87" y="145"/>
                    <a:pt x="102" y="128"/>
                  </a:cubicBezTo>
                  <a:cubicBezTo>
                    <a:pt x="105" y="125"/>
                    <a:pt x="109" y="123"/>
                    <a:pt x="113" y="122"/>
                  </a:cubicBezTo>
                  <a:cubicBezTo>
                    <a:pt x="117" y="121"/>
                    <a:pt x="124" y="120"/>
                    <a:pt x="128" y="122"/>
                  </a:cubicBezTo>
                  <a:cubicBezTo>
                    <a:pt x="128" y="122"/>
                    <a:pt x="128" y="122"/>
                    <a:pt x="128" y="122"/>
                  </a:cubicBezTo>
                  <a:cubicBezTo>
                    <a:pt x="134" y="122"/>
                    <a:pt x="138" y="127"/>
                    <a:pt x="141" y="133"/>
                  </a:cubicBezTo>
                  <a:cubicBezTo>
                    <a:pt x="141" y="133"/>
                    <a:pt x="142" y="133"/>
                    <a:pt x="142" y="133"/>
                  </a:cubicBezTo>
                  <a:cubicBezTo>
                    <a:pt x="145" y="133"/>
                    <a:pt x="147" y="133"/>
                    <a:pt x="150" y="133"/>
                  </a:cubicBezTo>
                  <a:cubicBezTo>
                    <a:pt x="152" y="133"/>
                    <a:pt x="154" y="133"/>
                    <a:pt x="155" y="133"/>
                  </a:cubicBezTo>
                  <a:cubicBezTo>
                    <a:pt x="156" y="119"/>
                    <a:pt x="158" y="105"/>
                    <a:pt x="162" y="91"/>
                  </a:cubicBezTo>
                  <a:cubicBezTo>
                    <a:pt x="172" y="56"/>
                    <a:pt x="197" y="28"/>
                    <a:pt x="231" y="14"/>
                  </a:cubicBezTo>
                  <a:cubicBezTo>
                    <a:pt x="256" y="3"/>
                    <a:pt x="283" y="0"/>
                    <a:pt x="309" y="6"/>
                  </a:cubicBezTo>
                  <a:cubicBezTo>
                    <a:pt x="333" y="11"/>
                    <a:pt x="355" y="26"/>
                    <a:pt x="368" y="47"/>
                  </a:cubicBezTo>
                  <a:cubicBezTo>
                    <a:pt x="380" y="54"/>
                    <a:pt x="387" y="69"/>
                    <a:pt x="392" y="81"/>
                  </a:cubicBezTo>
                  <a:cubicBezTo>
                    <a:pt x="398" y="97"/>
                    <a:pt x="397" y="115"/>
                    <a:pt x="399" y="133"/>
                  </a:cubicBezTo>
                  <a:cubicBezTo>
                    <a:pt x="399" y="133"/>
                    <a:pt x="399" y="133"/>
                    <a:pt x="399" y="133"/>
                  </a:cubicBezTo>
                  <a:cubicBezTo>
                    <a:pt x="404" y="133"/>
                    <a:pt x="409" y="133"/>
                    <a:pt x="414" y="133"/>
                  </a:cubicBezTo>
                  <a:cubicBezTo>
                    <a:pt x="417" y="133"/>
                    <a:pt x="421" y="133"/>
                    <a:pt x="424" y="133"/>
                  </a:cubicBezTo>
                  <a:cubicBezTo>
                    <a:pt x="428" y="127"/>
                    <a:pt x="434" y="122"/>
                    <a:pt x="441" y="119"/>
                  </a:cubicBezTo>
                  <a:cubicBezTo>
                    <a:pt x="449" y="116"/>
                    <a:pt x="463" y="117"/>
                    <a:pt x="466" y="125"/>
                  </a:cubicBezTo>
                  <a:cubicBezTo>
                    <a:pt x="467" y="126"/>
                    <a:pt x="467" y="127"/>
                    <a:pt x="467" y="127"/>
                  </a:cubicBezTo>
                  <a:cubicBezTo>
                    <a:pt x="473" y="133"/>
                    <a:pt x="477" y="140"/>
                    <a:pt x="475" y="148"/>
                  </a:cubicBezTo>
                  <a:cubicBezTo>
                    <a:pt x="473" y="155"/>
                    <a:pt x="467" y="160"/>
                    <a:pt x="460" y="162"/>
                  </a:cubicBezTo>
                  <a:cubicBezTo>
                    <a:pt x="454" y="165"/>
                    <a:pt x="447" y="164"/>
                    <a:pt x="441" y="162"/>
                  </a:cubicBezTo>
                  <a:cubicBezTo>
                    <a:pt x="434" y="160"/>
                    <a:pt x="427" y="155"/>
                    <a:pt x="424" y="149"/>
                  </a:cubicBezTo>
                  <a:cubicBezTo>
                    <a:pt x="421" y="149"/>
                    <a:pt x="418" y="149"/>
                    <a:pt x="415" y="149"/>
                  </a:cubicBezTo>
                  <a:cubicBezTo>
                    <a:pt x="410" y="148"/>
                    <a:pt x="405" y="148"/>
                    <a:pt x="400" y="148"/>
                  </a:cubicBezTo>
                  <a:cubicBezTo>
                    <a:pt x="401" y="161"/>
                    <a:pt x="402" y="173"/>
                    <a:pt x="402" y="186"/>
                  </a:cubicBezTo>
                  <a:cubicBezTo>
                    <a:pt x="403" y="194"/>
                    <a:pt x="403" y="203"/>
                    <a:pt x="402" y="211"/>
                  </a:cubicBezTo>
                  <a:cubicBezTo>
                    <a:pt x="402" y="215"/>
                    <a:pt x="401" y="219"/>
                    <a:pt x="401" y="223"/>
                  </a:cubicBezTo>
                  <a:cubicBezTo>
                    <a:pt x="401" y="225"/>
                    <a:pt x="401" y="228"/>
                    <a:pt x="401" y="230"/>
                  </a:cubicBezTo>
                  <a:cubicBezTo>
                    <a:pt x="402" y="232"/>
                    <a:pt x="402" y="235"/>
                    <a:pt x="401" y="237"/>
                  </a:cubicBezTo>
                  <a:cubicBezTo>
                    <a:pt x="401" y="240"/>
                    <a:pt x="400" y="241"/>
                    <a:pt x="398" y="242"/>
                  </a:cubicBezTo>
                  <a:cubicBezTo>
                    <a:pt x="388" y="246"/>
                    <a:pt x="377" y="246"/>
                    <a:pt x="367" y="247"/>
                  </a:cubicBezTo>
                  <a:cubicBezTo>
                    <a:pt x="356" y="247"/>
                    <a:pt x="345" y="247"/>
                    <a:pt x="334" y="247"/>
                  </a:cubicBezTo>
                  <a:cubicBezTo>
                    <a:pt x="326" y="247"/>
                    <a:pt x="318" y="246"/>
                    <a:pt x="310" y="246"/>
                  </a:cubicBezTo>
                  <a:cubicBezTo>
                    <a:pt x="310" y="248"/>
                    <a:pt x="310" y="250"/>
                    <a:pt x="310" y="252"/>
                  </a:cubicBezTo>
                  <a:cubicBezTo>
                    <a:pt x="311" y="254"/>
                    <a:pt x="311" y="257"/>
                    <a:pt x="312" y="259"/>
                  </a:cubicBezTo>
                  <a:cubicBezTo>
                    <a:pt x="312" y="259"/>
                    <a:pt x="313" y="259"/>
                    <a:pt x="314" y="259"/>
                  </a:cubicBezTo>
                  <a:cubicBezTo>
                    <a:pt x="315" y="259"/>
                    <a:pt x="316" y="260"/>
                    <a:pt x="318" y="260"/>
                  </a:cubicBezTo>
                  <a:cubicBezTo>
                    <a:pt x="318" y="260"/>
                    <a:pt x="318" y="260"/>
                    <a:pt x="318" y="260"/>
                  </a:cubicBezTo>
                  <a:cubicBezTo>
                    <a:pt x="324" y="259"/>
                    <a:pt x="329" y="260"/>
                    <a:pt x="334" y="262"/>
                  </a:cubicBezTo>
                  <a:cubicBezTo>
                    <a:pt x="340" y="264"/>
                    <a:pt x="346" y="267"/>
                    <a:pt x="351" y="270"/>
                  </a:cubicBezTo>
                  <a:cubicBezTo>
                    <a:pt x="361" y="275"/>
                    <a:pt x="370" y="281"/>
                    <a:pt x="379" y="288"/>
                  </a:cubicBezTo>
                  <a:cubicBezTo>
                    <a:pt x="397" y="301"/>
                    <a:pt x="412" y="318"/>
                    <a:pt x="422" y="338"/>
                  </a:cubicBezTo>
                  <a:cubicBezTo>
                    <a:pt x="427" y="349"/>
                    <a:pt x="431" y="359"/>
                    <a:pt x="434" y="370"/>
                  </a:cubicBezTo>
                  <a:cubicBezTo>
                    <a:pt x="438" y="381"/>
                    <a:pt x="443" y="392"/>
                    <a:pt x="447" y="404"/>
                  </a:cubicBezTo>
                  <a:cubicBezTo>
                    <a:pt x="450" y="415"/>
                    <a:pt x="453" y="427"/>
                    <a:pt x="453" y="439"/>
                  </a:cubicBezTo>
                  <a:cubicBezTo>
                    <a:pt x="454" y="452"/>
                    <a:pt x="452" y="464"/>
                    <a:pt x="449" y="476"/>
                  </a:cubicBezTo>
                  <a:cubicBezTo>
                    <a:pt x="448" y="480"/>
                    <a:pt x="447" y="485"/>
                    <a:pt x="445" y="488"/>
                  </a:cubicBezTo>
                  <a:cubicBezTo>
                    <a:pt x="446" y="490"/>
                    <a:pt x="448" y="491"/>
                    <a:pt x="449" y="493"/>
                  </a:cubicBezTo>
                  <a:cubicBezTo>
                    <a:pt x="450" y="494"/>
                    <a:pt x="452" y="495"/>
                    <a:pt x="453" y="497"/>
                  </a:cubicBezTo>
                  <a:cubicBezTo>
                    <a:pt x="455" y="501"/>
                    <a:pt x="455" y="506"/>
                    <a:pt x="454" y="511"/>
                  </a:cubicBezTo>
                  <a:cubicBezTo>
                    <a:pt x="453" y="517"/>
                    <a:pt x="446" y="522"/>
                    <a:pt x="439" y="523"/>
                  </a:cubicBezTo>
                  <a:cubicBezTo>
                    <a:pt x="440" y="526"/>
                    <a:pt x="441" y="528"/>
                    <a:pt x="441" y="532"/>
                  </a:cubicBezTo>
                  <a:cubicBezTo>
                    <a:pt x="442" y="538"/>
                    <a:pt x="442" y="544"/>
                    <a:pt x="440" y="550"/>
                  </a:cubicBezTo>
                  <a:cubicBezTo>
                    <a:pt x="439" y="555"/>
                    <a:pt x="437" y="563"/>
                    <a:pt x="432" y="565"/>
                  </a:cubicBezTo>
                  <a:cubicBezTo>
                    <a:pt x="432" y="568"/>
                    <a:pt x="431" y="571"/>
                    <a:pt x="430" y="573"/>
                  </a:cubicBezTo>
                  <a:cubicBezTo>
                    <a:pt x="428" y="576"/>
                    <a:pt x="426" y="578"/>
                    <a:pt x="425" y="581"/>
                  </a:cubicBezTo>
                  <a:cubicBezTo>
                    <a:pt x="423" y="584"/>
                    <a:pt x="421" y="587"/>
                    <a:pt x="419" y="590"/>
                  </a:cubicBezTo>
                  <a:cubicBezTo>
                    <a:pt x="416" y="594"/>
                    <a:pt x="408" y="590"/>
                    <a:pt x="409" y="585"/>
                  </a:cubicBezTo>
                  <a:cubicBezTo>
                    <a:pt x="409" y="579"/>
                    <a:pt x="414" y="573"/>
                    <a:pt x="418" y="569"/>
                  </a:cubicBezTo>
                  <a:cubicBezTo>
                    <a:pt x="419" y="568"/>
                    <a:pt x="419" y="567"/>
                    <a:pt x="419" y="567"/>
                  </a:cubicBezTo>
                  <a:cubicBezTo>
                    <a:pt x="417" y="566"/>
                    <a:pt x="415" y="565"/>
                    <a:pt x="413" y="564"/>
                  </a:cubicBezTo>
                  <a:cubicBezTo>
                    <a:pt x="411" y="564"/>
                    <a:pt x="410" y="563"/>
                    <a:pt x="408" y="562"/>
                  </a:cubicBezTo>
                  <a:cubicBezTo>
                    <a:pt x="408" y="564"/>
                    <a:pt x="407" y="566"/>
                    <a:pt x="406" y="567"/>
                  </a:cubicBezTo>
                  <a:cubicBezTo>
                    <a:pt x="405" y="571"/>
                    <a:pt x="402" y="574"/>
                    <a:pt x="399" y="577"/>
                  </a:cubicBezTo>
                  <a:cubicBezTo>
                    <a:pt x="395" y="579"/>
                    <a:pt x="391" y="575"/>
                    <a:pt x="392" y="571"/>
                  </a:cubicBezTo>
                  <a:cubicBezTo>
                    <a:pt x="393" y="567"/>
                    <a:pt x="397" y="564"/>
                    <a:pt x="399" y="561"/>
                  </a:cubicBezTo>
                  <a:cubicBezTo>
                    <a:pt x="400" y="560"/>
                    <a:pt x="400" y="560"/>
                    <a:pt x="400" y="559"/>
                  </a:cubicBezTo>
                  <a:cubicBezTo>
                    <a:pt x="400" y="559"/>
                    <a:pt x="400" y="559"/>
                    <a:pt x="400" y="559"/>
                  </a:cubicBezTo>
                  <a:cubicBezTo>
                    <a:pt x="396" y="558"/>
                    <a:pt x="392" y="556"/>
                    <a:pt x="389" y="555"/>
                  </a:cubicBezTo>
                  <a:cubicBezTo>
                    <a:pt x="388" y="555"/>
                    <a:pt x="388" y="555"/>
                    <a:pt x="388" y="555"/>
                  </a:cubicBezTo>
                  <a:cubicBezTo>
                    <a:pt x="386" y="558"/>
                    <a:pt x="385" y="560"/>
                    <a:pt x="383" y="562"/>
                  </a:cubicBezTo>
                  <a:cubicBezTo>
                    <a:pt x="381" y="564"/>
                    <a:pt x="379" y="567"/>
                    <a:pt x="377" y="569"/>
                  </a:cubicBezTo>
                  <a:cubicBezTo>
                    <a:pt x="376" y="570"/>
                    <a:pt x="375" y="570"/>
                    <a:pt x="374" y="571"/>
                  </a:cubicBezTo>
                  <a:cubicBezTo>
                    <a:pt x="373" y="572"/>
                    <a:pt x="372" y="572"/>
                    <a:pt x="371" y="572"/>
                  </a:cubicBezTo>
                  <a:cubicBezTo>
                    <a:pt x="371" y="572"/>
                    <a:pt x="369" y="572"/>
                    <a:pt x="368" y="572"/>
                  </a:cubicBezTo>
                  <a:cubicBezTo>
                    <a:pt x="369" y="572"/>
                    <a:pt x="369" y="572"/>
                    <a:pt x="369" y="572"/>
                  </a:cubicBezTo>
                  <a:cubicBezTo>
                    <a:pt x="368" y="572"/>
                    <a:pt x="368" y="572"/>
                    <a:pt x="368" y="572"/>
                  </a:cubicBezTo>
                  <a:cubicBezTo>
                    <a:pt x="364" y="571"/>
                    <a:pt x="362" y="567"/>
                    <a:pt x="365" y="563"/>
                  </a:cubicBezTo>
                  <a:cubicBezTo>
                    <a:pt x="364" y="564"/>
                    <a:pt x="365" y="562"/>
                    <a:pt x="366" y="562"/>
                  </a:cubicBezTo>
                  <a:cubicBezTo>
                    <a:pt x="366" y="561"/>
                    <a:pt x="367" y="561"/>
                    <a:pt x="368" y="560"/>
                  </a:cubicBezTo>
                  <a:cubicBezTo>
                    <a:pt x="369" y="560"/>
                    <a:pt x="369" y="559"/>
                    <a:pt x="370" y="558"/>
                  </a:cubicBezTo>
                  <a:cubicBezTo>
                    <a:pt x="373" y="555"/>
                    <a:pt x="375" y="553"/>
                    <a:pt x="378" y="550"/>
                  </a:cubicBezTo>
                  <a:cubicBezTo>
                    <a:pt x="378" y="550"/>
                    <a:pt x="378" y="550"/>
                    <a:pt x="378" y="550"/>
                  </a:cubicBezTo>
                  <a:cubicBezTo>
                    <a:pt x="376" y="549"/>
                    <a:pt x="375" y="548"/>
                    <a:pt x="373" y="547"/>
                  </a:cubicBezTo>
                  <a:cubicBezTo>
                    <a:pt x="372" y="546"/>
                    <a:pt x="371" y="545"/>
                    <a:pt x="370" y="544"/>
                  </a:cubicBezTo>
                  <a:cubicBezTo>
                    <a:pt x="369" y="546"/>
                    <a:pt x="368" y="547"/>
                    <a:pt x="368" y="548"/>
                  </a:cubicBezTo>
                  <a:cubicBezTo>
                    <a:pt x="365" y="553"/>
                    <a:pt x="361" y="557"/>
                    <a:pt x="356" y="560"/>
                  </a:cubicBezTo>
                  <a:cubicBezTo>
                    <a:pt x="351" y="562"/>
                    <a:pt x="347" y="555"/>
                    <a:pt x="350" y="551"/>
                  </a:cubicBezTo>
                  <a:cubicBezTo>
                    <a:pt x="352" y="548"/>
                    <a:pt x="355" y="545"/>
                    <a:pt x="358" y="542"/>
                  </a:cubicBezTo>
                  <a:cubicBezTo>
                    <a:pt x="359" y="541"/>
                    <a:pt x="360" y="539"/>
                    <a:pt x="361" y="538"/>
                  </a:cubicBezTo>
                  <a:cubicBezTo>
                    <a:pt x="360" y="537"/>
                    <a:pt x="358" y="536"/>
                    <a:pt x="357" y="535"/>
                  </a:cubicBezTo>
                  <a:cubicBezTo>
                    <a:pt x="356" y="534"/>
                    <a:pt x="356" y="533"/>
                    <a:pt x="355" y="532"/>
                  </a:cubicBezTo>
                  <a:cubicBezTo>
                    <a:pt x="352" y="536"/>
                    <a:pt x="348" y="541"/>
                    <a:pt x="344" y="544"/>
                  </a:cubicBezTo>
                  <a:cubicBezTo>
                    <a:pt x="337" y="548"/>
                    <a:pt x="329" y="538"/>
                    <a:pt x="335" y="533"/>
                  </a:cubicBezTo>
                  <a:cubicBezTo>
                    <a:pt x="340" y="529"/>
                    <a:pt x="344" y="525"/>
                    <a:pt x="349" y="520"/>
                  </a:cubicBezTo>
                  <a:cubicBezTo>
                    <a:pt x="349" y="520"/>
                    <a:pt x="349" y="520"/>
                    <a:pt x="349" y="519"/>
                  </a:cubicBezTo>
                  <a:cubicBezTo>
                    <a:pt x="351" y="511"/>
                    <a:pt x="356" y="502"/>
                    <a:pt x="363" y="496"/>
                  </a:cubicBezTo>
                  <a:cubicBezTo>
                    <a:pt x="366" y="493"/>
                    <a:pt x="370" y="492"/>
                    <a:pt x="374" y="491"/>
                  </a:cubicBezTo>
                  <a:cubicBezTo>
                    <a:pt x="374" y="489"/>
                    <a:pt x="373" y="488"/>
                    <a:pt x="374" y="487"/>
                  </a:cubicBezTo>
                  <a:cubicBezTo>
                    <a:pt x="371" y="481"/>
                    <a:pt x="373" y="474"/>
                    <a:pt x="378" y="469"/>
                  </a:cubicBezTo>
                  <a:cubicBezTo>
                    <a:pt x="381" y="465"/>
                    <a:pt x="386" y="464"/>
                    <a:pt x="390" y="464"/>
                  </a:cubicBezTo>
                  <a:cubicBezTo>
                    <a:pt x="390" y="463"/>
                    <a:pt x="390" y="463"/>
                    <a:pt x="390" y="462"/>
                  </a:cubicBezTo>
                  <a:cubicBezTo>
                    <a:pt x="391" y="459"/>
                    <a:pt x="391" y="455"/>
                    <a:pt x="391" y="452"/>
                  </a:cubicBezTo>
                  <a:cubicBezTo>
                    <a:pt x="392" y="444"/>
                    <a:pt x="391" y="437"/>
                    <a:pt x="390" y="430"/>
                  </a:cubicBezTo>
                  <a:cubicBezTo>
                    <a:pt x="388" y="415"/>
                    <a:pt x="384" y="401"/>
                    <a:pt x="379" y="387"/>
                  </a:cubicBezTo>
                  <a:cubicBezTo>
                    <a:pt x="374" y="375"/>
                    <a:pt x="368" y="363"/>
                    <a:pt x="360" y="352"/>
                  </a:cubicBezTo>
                  <a:cubicBezTo>
                    <a:pt x="357" y="347"/>
                    <a:pt x="353" y="342"/>
                    <a:pt x="348" y="338"/>
                  </a:cubicBezTo>
                  <a:cubicBezTo>
                    <a:pt x="347" y="337"/>
                    <a:pt x="346" y="336"/>
                    <a:pt x="344" y="335"/>
                  </a:cubicBezTo>
                  <a:cubicBezTo>
                    <a:pt x="344" y="339"/>
                    <a:pt x="344" y="343"/>
                    <a:pt x="343" y="347"/>
                  </a:cubicBezTo>
                  <a:cubicBezTo>
                    <a:pt x="343" y="363"/>
                    <a:pt x="342" y="379"/>
                    <a:pt x="341" y="395"/>
                  </a:cubicBezTo>
                  <a:cubicBezTo>
                    <a:pt x="341" y="403"/>
                    <a:pt x="341" y="411"/>
                    <a:pt x="341" y="418"/>
                  </a:cubicBezTo>
                  <a:cubicBezTo>
                    <a:pt x="341" y="422"/>
                    <a:pt x="341" y="426"/>
                    <a:pt x="341" y="430"/>
                  </a:cubicBezTo>
                  <a:cubicBezTo>
                    <a:pt x="341" y="434"/>
                    <a:pt x="342" y="438"/>
                    <a:pt x="341" y="441"/>
                  </a:cubicBezTo>
                  <a:cubicBezTo>
                    <a:pt x="343" y="447"/>
                    <a:pt x="342" y="453"/>
                    <a:pt x="338" y="457"/>
                  </a:cubicBezTo>
                  <a:cubicBezTo>
                    <a:pt x="331" y="465"/>
                    <a:pt x="319" y="463"/>
                    <a:pt x="309" y="462"/>
                  </a:cubicBezTo>
                  <a:cubicBezTo>
                    <a:pt x="305" y="462"/>
                    <a:pt x="300" y="462"/>
                    <a:pt x="296" y="462"/>
                  </a:cubicBezTo>
                  <a:cubicBezTo>
                    <a:pt x="297" y="468"/>
                    <a:pt x="296" y="475"/>
                    <a:pt x="296" y="481"/>
                  </a:cubicBezTo>
                  <a:cubicBezTo>
                    <a:pt x="296" y="490"/>
                    <a:pt x="296" y="499"/>
                    <a:pt x="296" y="509"/>
                  </a:cubicBezTo>
                  <a:cubicBezTo>
                    <a:pt x="296" y="518"/>
                    <a:pt x="297" y="527"/>
                    <a:pt x="297" y="536"/>
                  </a:cubicBezTo>
                  <a:cubicBezTo>
                    <a:pt x="298" y="543"/>
                    <a:pt x="300" y="550"/>
                    <a:pt x="299" y="557"/>
                  </a:cubicBezTo>
                  <a:cubicBezTo>
                    <a:pt x="301" y="558"/>
                    <a:pt x="304" y="559"/>
                    <a:pt x="305" y="561"/>
                  </a:cubicBezTo>
                  <a:cubicBezTo>
                    <a:pt x="310" y="564"/>
                    <a:pt x="315" y="569"/>
                    <a:pt x="319" y="574"/>
                  </a:cubicBezTo>
                  <a:cubicBezTo>
                    <a:pt x="325" y="583"/>
                    <a:pt x="333" y="600"/>
                    <a:pt x="326" y="611"/>
                  </a:cubicBezTo>
                  <a:cubicBezTo>
                    <a:pt x="321" y="617"/>
                    <a:pt x="312" y="619"/>
                    <a:pt x="303" y="619"/>
                  </a:cubicBezTo>
                  <a:cubicBezTo>
                    <a:pt x="303" y="619"/>
                    <a:pt x="303" y="619"/>
                    <a:pt x="303" y="619"/>
                  </a:cubicBezTo>
                  <a:cubicBezTo>
                    <a:pt x="304" y="623"/>
                    <a:pt x="303" y="628"/>
                    <a:pt x="301" y="632"/>
                  </a:cubicBezTo>
                  <a:cubicBezTo>
                    <a:pt x="298" y="642"/>
                    <a:pt x="290" y="650"/>
                    <a:pt x="280" y="652"/>
                  </a:cubicBezTo>
                  <a:cubicBezTo>
                    <a:pt x="258" y="659"/>
                    <a:pt x="244" y="634"/>
                    <a:pt x="240" y="616"/>
                  </a:cubicBezTo>
                  <a:cubicBezTo>
                    <a:pt x="235" y="617"/>
                    <a:pt x="229" y="613"/>
                    <a:pt x="226" y="609"/>
                  </a:cubicBezTo>
                  <a:cubicBezTo>
                    <a:pt x="222" y="603"/>
                    <a:pt x="224" y="593"/>
                    <a:pt x="225" y="586"/>
                  </a:cubicBezTo>
                  <a:cubicBezTo>
                    <a:pt x="227" y="579"/>
                    <a:pt x="231" y="572"/>
                    <a:pt x="237" y="567"/>
                  </a:cubicBezTo>
                  <a:cubicBezTo>
                    <a:pt x="242" y="562"/>
                    <a:pt x="248" y="559"/>
                    <a:pt x="254" y="556"/>
                  </a:cubicBezTo>
                  <a:cubicBezTo>
                    <a:pt x="253" y="554"/>
                    <a:pt x="253" y="551"/>
                    <a:pt x="253" y="549"/>
                  </a:cubicBezTo>
                  <a:cubicBezTo>
                    <a:pt x="253" y="544"/>
                    <a:pt x="253" y="540"/>
                    <a:pt x="253" y="536"/>
                  </a:cubicBezTo>
                  <a:cubicBezTo>
                    <a:pt x="253" y="527"/>
                    <a:pt x="253" y="518"/>
                    <a:pt x="252" y="509"/>
                  </a:cubicBezTo>
                  <a:cubicBezTo>
                    <a:pt x="252" y="500"/>
                    <a:pt x="251" y="491"/>
                    <a:pt x="251" y="482"/>
                  </a:cubicBezTo>
                  <a:cubicBezTo>
                    <a:pt x="251" y="475"/>
                    <a:pt x="250" y="468"/>
                    <a:pt x="251" y="461"/>
                  </a:cubicBezTo>
                  <a:cubicBezTo>
                    <a:pt x="249" y="461"/>
                    <a:pt x="247" y="461"/>
                    <a:pt x="245" y="461"/>
                  </a:cubicBezTo>
                  <a:cubicBezTo>
                    <a:pt x="240" y="461"/>
                    <a:pt x="234" y="461"/>
                    <a:pt x="229" y="461"/>
                  </a:cubicBezTo>
                  <a:cubicBezTo>
                    <a:pt x="223" y="460"/>
                    <a:pt x="216" y="459"/>
                    <a:pt x="213" y="454"/>
                  </a:cubicBezTo>
                  <a:cubicBezTo>
                    <a:pt x="210" y="451"/>
                    <a:pt x="209" y="448"/>
                    <a:pt x="210" y="445"/>
                  </a:cubicBezTo>
                  <a:cubicBezTo>
                    <a:pt x="209" y="444"/>
                    <a:pt x="209" y="443"/>
                    <a:pt x="210" y="441"/>
                  </a:cubicBezTo>
                  <a:cubicBezTo>
                    <a:pt x="212" y="431"/>
                    <a:pt x="211" y="421"/>
                    <a:pt x="210" y="411"/>
                  </a:cubicBezTo>
                  <a:cubicBezTo>
                    <a:pt x="210" y="400"/>
                    <a:pt x="210" y="389"/>
                    <a:pt x="210" y="378"/>
                  </a:cubicBezTo>
                  <a:cubicBezTo>
                    <a:pt x="210" y="364"/>
                    <a:pt x="210" y="350"/>
                    <a:pt x="210" y="336"/>
                  </a:cubicBezTo>
                  <a:cubicBezTo>
                    <a:pt x="210" y="337"/>
                    <a:pt x="210" y="337"/>
                    <a:pt x="209" y="338"/>
                  </a:cubicBezTo>
                  <a:cubicBezTo>
                    <a:pt x="207" y="344"/>
                    <a:pt x="206" y="351"/>
                    <a:pt x="205" y="358"/>
                  </a:cubicBezTo>
                  <a:cubicBezTo>
                    <a:pt x="204" y="364"/>
                    <a:pt x="203" y="370"/>
                    <a:pt x="201" y="377"/>
                  </a:cubicBezTo>
                  <a:cubicBezTo>
                    <a:pt x="199" y="383"/>
                    <a:pt x="195" y="388"/>
                    <a:pt x="191" y="393"/>
                  </a:cubicBezTo>
                  <a:cubicBezTo>
                    <a:pt x="183" y="404"/>
                    <a:pt x="172" y="411"/>
                    <a:pt x="161" y="417"/>
                  </a:cubicBezTo>
                  <a:cubicBezTo>
                    <a:pt x="154" y="419"/>
                    <a:pt x="148" y="422"/>
                    <a:pt x="141" y="423"/>
                  </a:cubicBezTo>
                  <a:cubicBezTo>
                    <a:pt x="137" y="425"/>
                    <a:pt x="134" y="425"/>
                    <a:pt x="130" y="426"/>
                  </a:cubicBezTo>
                  <a:cubicBezTo>
                    <a:pt x="126" y="427"/>
                    <a:pt x="122" y="428"/>
                    <a:pt x="118" y="427"/>
                  </a:cubicBezTo>
                  <a:cubicBezTo>
                    <a:pt x="118" y="428"/>
                    <a:pt x="118" y="430"/>
                    <a:pt x="117" y="432"/>
                  </a:cubicBezTo>
                  <a:cubicBezTo>
                    <a:pt x="114" y="439"/>
                    <a:pt x="106" y="445"/>
                    <a:pt x="98" y="442"/>
                  </a:cubicBezTo>
                  <a:cubicBezTo>
                    <a:pt x="98" y="442"/>
                    <a:pt x="97" y="441"/>
                    <a:pt x="97" y="441"/>
                  </a:cubicBezTo>
                  <a:cubicBezTo>
                    <a:pt x="95" y="445"/>
                    <a:pt x="92" y="448"/>
                    <a:pt x="89" y="451"/>
                  </a:cubicBezTo>
                  <a:cubicBezTo>
                    <a:pt x="84" y="455"/>
                    <a:pt x="78" y="455"/>
                    <a:pt x="72" y="456"/>
                  </a:cubicBezTo>
                  <a:cubicBezTo>
                    <a:pt x="66" y="457"/>
                    <a:pt x="59" y="459"/>
                    <a:pt x="53" y="459"/>
                  </a:cubicBezTo>
                  <a:cubicBezTo>
                    <a:pt x="51" y="460"/>
                    <a:pt x="49" y="459"/>
                    <a:pt x="48" y="458"/>
                  </a:cubicBezTo>
                  <a:cubicBezTo>
                    <a:pt x="47" y="459"/>
                    <a:pt x="46" y="459"/>
                    <a:pt x="46" y="459"/>
                  </a:cubicBezTo>
                  <a:cubicBezTo>
                    <a:pt x="39" y="461"/>
                    <a:pt x="31" y="465"/>
                    <a:pt x="25" y="463"/>
                  </a:cubicBezTo>
                  <a:cubicBezTo>
                    <a:pt x="18" y="461"/>
                    <a:pt x="19" y="453"/>
                    <a:pt x="25" y="451"/>
                  </a:cubicBezTo>
                  <a:cubicBezTo>
                    <a:pt x="28" y="449"/>
                    <a:pt x="31" y="450"/>
                    <a:pt x="35" y="449"/>
                  </a:cubicBezTo>
                  <a:cubicBezTo>
                    <a:pt x="36" y="449"/>
                    <a:pt x="38" y="448"/>
                    <a:pt x="39" y="448"/>
                  </a:cubicBezTo>
                  <a:cubicBezTo>
                    <a:pt x="39" y="447"/>
                    <a:pt x="38" y="445"/>
                    <a:pt x="38" y="444"/>
                  </a:cubicBezTo>
                  <a:cubicBezTo>
                    <a:pt x="34" y="445"/>
                    <a:pt x="30" y="445"/>
                    <a:pt x="26" y="446"/>
                  </a:cubicBezTo>
                  <a:cubicBezTo>
                    <a:pt x="19" y="448"/>
                    <a:pt x="15" y="438"/>
                    <a:pt x="21" y="435"/>
                  </a:cubicBezTo>
                  <a:cubicBezTo>
                    <a:pt x="25" y="434"/>
                    <a:pt x="29" y="434"/>
                    <a:pt x="33" y="434"/>
                  </a:cubicBezTo>
                  <a:cubicBezTo>
                    <a:pt x="34" y="434"/>
                    <a:pt x="34" y="434"/>
                    <a:pt x="35" y="434"/>
                  </a:cubicBezTo>
                  <a:cubicBezTo>
                    <a:pt x="35" y="432"/>
                    <a:pt x="34" y="429"/>
                    <a:pt x="33" y="427"/>
                  </a:cubicBezTo>
                  <a:cubicBezTo>
                    <a:pt x="33" y="426"/>
                    <a:pt x="33" y="426"/>
                    <a:pt x="32" y="425"/>
                  </a:cubicBezTo>
                  <a:cubicBezTo>
                    <a:pt x="31" y="425"/>
                    <a:pt x="29" y="426"/>
                    <a:pt x="27" y="426"/>
                  </a:cubicBezTo>
                  <a:cubicBezTo>
                    <a:pt x="22" y="427"/>
                    <a:pt x="17" y="430"/>
                    <a:pt x="11" y="427"/>
                  </a:cubicBezTo>
                  <a:cubicBezTo>
                    <a:pt x="8" y="426"/>
                    <a:pt x="8" y="421"/>
                    <a:pt x="10" y="418"/>
                  </a:cubicBezTo>
                  <a:cubicBezTo>
                    <a:pt x="14" y="415"/>
                    <a:pt x="21" y="414"/>
                    <a:pt x="26" y="414"/>
                  </a:cubicBezTo>
                  <a:cubicBezTo>
                    <a:pt x="27" y="414"/>
                    <a:pt x="29" y="413"/>
                    <a:pt x="30" y="413"/>
                  </a:cubicBezTo>
                  <a:cubicBezTo>
                    <a:pt x="30" y="413"/>
                    <a:pt x="30" y="412"/>
                    <a:pt x="30" y="412"/>
                  </a:cubicBezTo>
                  <a:cubicBezTo>
                    <a:pt x="30" y="410"/>
                    <a:pt x="30" y="408"/>
                    <a:pt x="29" y="406"/>
                  </a:cubicBezTo>
                  <a:cubicBezTo>
                    <a:pt x="29" y="406"/>
                    <a:pt x="28" y="406"/>
                    <a:pt x="28" y="407"/>
                  </a:cubicBezTo>
                  <a:cubicBezTo>
                    <a:pt x="25" y="407"/>
                    <a:pt x="22" y="407"/>
                    <a:pt x="20" y="407"/>
                  </a:cubicBezTo>
                  <a:cubicBezTo>
                    <a:pt x="17" y="407"/>
                    <a:pt x="15" y="408"/>
                    <a:pt x="12" y="407"/>
                  </a:cubicBezTo>
                  <a:cubicBezTo>
                    <a:pt x="8" y="407"/>
                    <a:pt x="7" y="402"/>
                    <a:pt x="9" y="398"/>
                  </a:cubicBezTo>
                  <a:cubicBezTo>
                    <a:pt x="10" y="395"/>
                    <a:pt x="14" y="394"/>
                    <a:pt x="18" y="394"/>
                  </a:cubicBezTo>
                  <a:cubicBezTo>
                    <a:pt x="20" y="394"/>
                    <a:pt x="21" y="394"/>
                    <a:pt x="23" y="395"/>
                  </a:cubicBezTo>
                  <a:cubicBezTo>
                    <a:pt x="23" y="395"/>
                    <a:pt x="24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6" y="395"/>
                    <a:pt x="27" y="395"/>
                    <a:pt x="28" y="394"/>
                  </a:cubicBezTo>
                  <a:cubicBezTo>
                    <a:pt x="27" y="392"/>
                    <a:pt x="27" y="390"/>
                    <a:pt x="27" y="388"/>
                  </a:cubicBezTo>
                  <a:cubicBezTo>
                    <a:pt x="21" y="390"/>
                    <a:pt x="15" y="391"/>
                    <a:pt x="9" y="391"/>
                  </a:cubicBezTo>
                  <a:cubicBezTo>
                    <a:pt x="0" y="391"/>
                    <a:pt x="0" y="380"/>
                    <a:pt x="7" y="37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" name="îṡḻiḓé"/>
            <p:cNvSpPr/>
            <p:nvPr/>
          </p:nvSpPr>
          <p:spPr bwMode="auto">
            <a:xfrm>
              <a:off x="5616882" y="3074837"/>
              <a:ext cx="6775" cy="67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" name="iṡḷïḑè"/>
            <p:cNvSpPr/>
            <p:nvPr/>
          </p:nvSpPr>
          <p:spPr bwMode="auto">
            <a:xfrm>
              <a:off x="6433270" y="2099235"/>
              <a:ext cx="220189" cy="189700"/>
            </a:xfrm>
            <a:custGeom>
              <a:avLst/>
              <a:gdLst>
                <a:gd name="T0" fmla="*/ 6 w 31"/>
                <a:gd name="T1" fmla="*/ 7 h 27"/>
                <a:gd name="T2" fmla="*/ 19 w 31"/>
                <a:gd name="T3" fmla="*/ 1 h 27"/>
                <a:gd name="T4" fmla="*/ 24 w 31"/>
                <a:gd name="T5" fmla="*/ 5 h 27"/>
                <a:gd name="T6" fmla="*/ 25 w 31"/>
                <a:gd name="T7" fmla="*/ 5 h 27"/>
                <a:gd name="T8" fmla="*/ 30 w 31"/>
                <a:gd name="T9" fmla="*/ 18 h 27"/>
                <a:gd name="T10" fmla="*/ 16 w 31"/>
                <a:gd name="T11" fmla="*/ 27 h 27"/>
                <a:gd name="T12" fmla="*/ 6 w 3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6" y="7"/>
                  </a:moveTo>
                  <a:cubicBezTo>
                    <a:pt x="9" y="2"/>
                    <a:pt x="14" y="0"/>
                    <a:pt x="19" y="1"/>
                  </a:cubicBezTo>
                  <a:cubicBezTo>
                    <a:pt x="21" y="2"/>
                    <a:pt x="23" y="3"/>
                    <a:pt x="24" y="5"/>
                  </a:cubicBezTo>
                  <a:cubicBezTo>
                    <a:pt x="24" y="5"/>
                    <a:pt x="24" y="5"/>
                    <a:pt x="25" y="5"/>
                  </a:cubicBezTo>
                  <a:cubicBezTo>
                    <a:pt x="29" y="8"/>
                    <a:pt x="31" y="13"/>
                    <a:pt x="30" y="18"/>
                  </a:cubicBezTo>
                  <a:cubicBezTo>
                    <a:pt x="29" y="24"/>
                    <a:pt x="22" y="27"/>
                    <a:pt x="16" y="27"/>
                  </a:cubicBezTo>
                  <a:cubicBezTo>
                    <a:pt x="6" y="27"/>
                    <a:pt x="0" y="15"/>
                    <a:pt x="6" y="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" name="îṥliḍe"/>
            <p:cNvSpPr/>
            <p:nvPr/>
          </p:nvSpPr>
          <p:spPr bwMode="auto">
            <a:xfrm>
              <a:off x="5813357" y="2092460"/>
              <a:ext cx="226964" cy="196475"/>
            </a:xfrm>
            <a:custGeom>
              <a:avLst/>
              <a:gdLst>
                <a:gd name="T0" fmla="*/ 16 w 32"/>
                <a:gd name="T1" fmla="*/ 28 h 28"/>
                <a:gd name="T2" fmla="*/ 4 w 32"/>
                <a:gd name="T3" fmla="*/ 10 h 28"/>
                <a:gd name="T4" fmla="*/ 13 w 32"/>
                <a:gd name="T5" fmla="*/ 1 h 28"/>
                <a:gd name="T6" fmla="*/ 25 w 32"/>
                <a:gd name="T7" fmla="*/ 3 h 28"/>
                <a:gd name="T8" fmla="*/ 28 w 32"/>
                <a:gd name="T9" fmla="*/ 5 h 28"/>
                <a:gd name="T10" fmla="*/ 32 w 32"/>
                <a:gd name="T11" fmla="*/ 14 h 28"/>
                <a:gd name="T12" fmla="*/ 16 w 3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8">
                  <a:moveTo>
                    <a:pt x="16" y="28"/>
                  </a:moveTo>
                  <a:cubicBezTo>
                    <a:pt x="7" y="27"/>
                    <a:pt x="0" y="19"/>
                    <a:pt x="4" y="10"/>
                  </a:cubicBezTo>
                  <a:cubicBezTo>
                    <a:pt x="6" y="5"/>
                    <a:pt x="9" y="3"/>
                    <a:pt x="13" y="1"/>
                  </a:cubicBezTo>
                  <a:cubicBezTo>
                    <a:pt x="16" y="0"/>
                    <a:pt x="22" y="1"/>
                    <a:pt x="25" y="3"/>
                  </a:cubicBezTo>
                  <a:cubicBezTo>
                    <a:pt x="26" y="4"/>
                    <a:pt x="27" y="4"/>
                    <a:pt x="28" y="5"/>
                  </a:cubicBezTo>
                  <a:cubicBezTo>
                    <a:pt x="31" y="7"/>
                    <a:pt x="32" y="11"/>
                    <a:pt x="32" y="14"/>
                  </a:cubicBezTo>
                  <a:cubicBezTo>
                    <a:pt x="31" y="22"/>
                    <a:pt x="25" y="28"/>
                    <a:pt x="16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işḷîḑé"/>
            <p:cNvSpPr/>
            <p:nvPr/>
          </p:nvSpPr>
          <p:spPr bwMode="auto">
            <a:xfrm>
              <a:off x="6019994" y="2349910"/>
              <a:ext cx="399726" cy="149050"/>
            </a:xfrm>
            <a:custGeom>
              <a:avLst/>
              <a:gdLst>
                <a:gd name="T0" fmla="*/ 26 w 57"/>
                <a:gd name="T1" fmla="*/ 20 h 21"/>
                <a:gd name="T2" fmla="*/ 10 w 57"/>
                <a:gd name="T3" fmla="*/ 17 h 21"/>
                <a:gd name="T4" fmla="*/ 3 w 57"/>
                <a:gd name="T5" fmla="*/ 3 h 21"/>
                <a:gd name="T6" fmla="*/ 9 w 57"/>
                <a:gd name="T7" fmla="*/ 2 h 21"/>
                <a:gd name="T8" fmla="*/ 16 w 57"/>
                <a:gd name="T9" fmla="*/ 8 h 21"/>
                <a:gd name="T10" fmla="*/ 26 w 57"/>
                <a:gd name="T11" fmla="*/ 10 h 21"/>
                <a:gd name="T12" fmla="*/ 52 w 57"/>
                <a:gd name="T13" fmla="*/ 2 h 21"/>
                <a:gd name="T14" fmla="*/ 56 w 57"/>
                <a:gd name="T15" fmla="*/ 4 h 21"/>
                <a:gd name="T16" fmla="*/ 26 w 57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21">
                  <a:moveTo>
                    <a:pt x="26" y="20"/>
                  </a:moveTo>
                  <a:cubicBezTo>
                    <a:pt x="20" y="21"/>
                    <a:pt x="15" y="19"/>
                    <a:pt x="10" y="17"/>
                  </a:cubicBezTo>
                  <a:cubicBezTo>
                    <a:pt x="5" y="15"/>
                    <a:pt x="0" y="9"/>
                    <a:pt x="3" y="3"/>
                  </a:cubicBezTo>
                  <a:cubicBezTo>
                    <a:pt x="4" y="1"/>
                    <a:pt x="7" y="1"/>
                    <a:pt x="9" y="2"/>
                  </a:cubicBezTo>
                  <a:cubicBezTo>
                    <a:pt x="12" y="3"/>
                    <a:pt x="13" y="6"/>
                    <a:pt x="16" y="8"/>
                  </a:cubicBezTo>
                  <a:cubicBezTo>
                    <a:pt x="19" y="9"/>
                    <a:pt x="23" y="9"/>
                    <a:pt x="26" y="10"/>
                  </a:cubicBezTo>
                  <a:cubicBezTo>
                    <a:pt x="35" y="10"/>
                    <a:pt x="47" y="9"/>
                    <a:pt x="52" y="2"/>
                  </a:cubicBezTo>
                  <a:cubicBezTo>
                    <a:pt x="54" y="0"/>
                    <a:pt x="57" y="2"/>
                    <a:pt x="56" y="4"/>
                  </a:cubicBezTo>
                  <a:cubicBezTo>
                    <a:pt x="50" y="15"/>
                    <a:pt x="38" y="20"/>
                    <a:pt x="26" y="2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î$ľidé"/>
            <p:cNvSpPr/>
            <p:nvPr/>
          </p:nvSpPr>
          <p:spPr bwMode="auto">
            <a:xfrm>
              <a:off x="6968496" y="1909534"/>
              <a:ext cx="57589" cy="40650"/>
            </a:xfrm>
            <a:custGeom>
              <a:avLst/>
              <a:gdLst>
                <a:gd name="T0" fmla="*/ 4 w 8"/>
                <a:gd name="T1" fmla="*/ 6 h 6"/>
                <a:gd name="T2" fmla="*/ 4 w 8"/>
                <a:gd name="T3" fmla="*/ 0 h 6"/>
                <a:gd name="T4" fmla="*/ 4 w 8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cubicBezTo>
                    <a:pt x="0" y="6"/>
                    <a:pt x="0" y="0"/>
                    <a:pt x="4" y="0"/>
                  </a:cubicBezTo>
                  <a:cubicBezTo>
                    <a:pt x="8" y="0"/>
                    <a:pt x="8" y="6"/>
                    <a:pt x="4" y="6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ïŝ1îḋé"/>
            <p:cNvSpPr/>
            <p:nvPr/>
          </p:nvSpPr>
          <p:spPr bwMode="auto">
            <a:xfrm>
              <a:off x="7012535" y="2055196"/>
              <a:ext cx="40650" cy="50814"/>
            </a:xfrm>
            <a:custGeom>
              <a:avLst/>
              <a:gdLst>
                <a:gd name="T0" fmla="*/ 5 w 6"/>
                <a:gd name="T1" fmla="*/ 5 h 7"/>
                <a:gd name="T2" fmla="*/ 1 w 6"/>
                <a:gd name="T3" fmla="*/ 5 h 7"/>
                <a:gd name="T4" fmla="*/ 0 w 6"/>
                <a:gd name="T5" fmla="*/ 4 h 7"/>
                <a:gd name="T6" fmla="*/ 0 w 6"/>
                <a:gd name="T7" fmla="*/ 1 h 7"/>
                <a:gd name="T8" fmla="*/ 3 w 6"/>
                <a:gd name="T9" fmla="*/ 0 h 7"/>
                <a:gd name="T10" fmla="*/ 5 w 6"/>
                <a:gd name="T11" fmla="*/ 1 h 7"/>
                <a:gd name="T12" fmla="*/ 5 w 6"/>
                <a:gd name="T13" fmla="*/ 4 h 7"/>
                <a:gd name="T14" fmla="*/ 5 w 6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5" y="5"/>
                  </a:moveTo>
                  <a:cubicBezTo>
                    <a:pt x="4" y="7"/>
                    <a:pt x="1" y="7"/>
                    <a:pt x="1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6" y="2"/>
                    <a:pt x="6" y="3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ïṥlïḑé"/>
            <p:cNvSpPr/>
            <p:nvPr/>
          </p:nvSpPr>
          <p:spPr bwMode="auto">
            <a:xfrm>
              <a:off x="7012535" y="2183921"/>
              <a:ext cx="33875" cy="47425"/>
            </a:xfrm>
            <a:custGeom>
              <a:avLst/>
              <a:gdLst>
                <a:gd name="T0" fmla="*/ 2 w 5"/>
                <a:gd name="T1" fmla="*/ 0 h 7"/>
                <a:gd name="T2" fmla="*/ 5 w 5"/>
                <a:gd name="T3" fmla="*/ 3 h 7"/>
                <a:gd name="T4" fmla="*/ 5 w 5"/>
                <a:gd name="T5" fmla="*/ 5 h 7"/>
                <a:gd name="T6" fmla="*/ 2 w 5"/>
                <a:gd name="T7" fmla="*/ 7 h 7"/>
                <a:gd name="T8" fmla="*/ 0 w 5"/>
                <a:gd name="T9" fmla="*/ 5 h 7"/>
                <a:gd name="T10" fmla="*/ 0 w 5"/>
                <a:gd name="T11" fmla="*/ 3 h 7"/>
                <a:gd name="T12" fmla="*/ 2 w 5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7">
                  <a:moveTo>
                    <a:pt x="2" y="0"/>
                  </a:moveTo>
                  <a:cubicBezTo>
                    <a:pt x="4" y="0"/>
                    <a:pt x="5" y="1"/>
                    <a:pt x="5" y="3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4" y="6"/>
                    <a:pt x="3" y="7"/>
                    <a:pt x="2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iṧľiḋê"/>
            <p:cNvSpPr/>
            <p:nvPr/>
          </p:nvSpPr>
          <p:spPr bwMode="auto">
            <a:xfrm>
              <a:off x="7019310" y="2434597"/>
              <a:ext cx="33875" cy="44039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íṡľïḑè"/>
            <p:cNvSpPr/>
            <p:nvPr/>
          </p:nvSpPr>
          <p:spPr bwMode="auto">
            <a:xfrm>
              <a:off x="7019310" y="2556547"/>
              <a:ext cx="40650" cy="47425"/>
            </a:xfrm>
            <a:custGeom>
              <a:avLst/>
              <a:gdLst>
                <a:gd name="T0" fmla="*/ 3 w 6"/>
                <a:gd name="T1" fmla="*/ 0 h 7"/>
                <a:gd name="T2" fmla="*/ 5 w 6"/>
                <a:gd name="T3" fmla="*/ 1 h 7"/>
                <a:gd name="T4" fmla="*/ 6 w 6"/>
                <a:gd name="T5" fmla="*/ 4 h 7"/>
                <a:gd name="T6" fmla="*/ 6 w 6"/>
                <a:gd name="T7" fmla="*/ 5 h 7"/>
                <a:gd name="T8" fmla="*/ 3 w 6"/>
                <a:gd name="T9" fmla="*/ 7 h 7"/>
                <a:gd name="T10" fmla="*/ 0 w 6"/>
                <a:gd name="T11" fmla="*/ 5 h 7"/>
                <a:gd name="T12" fmla="*/ 0 w 6"/>
                <a:gd name="T13" fmla="*/ 4 h 7"/>
                <a:gd name="T14" fmla="*/ 1 w 6"/>
                <a:gd name="T15" fmla="*/ 2 h 7"/>
                <a:gd name="T16" fmla="*/ 3 w 6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4" y="0"/>
                    <a:pt x="5" y="1"/>
                    <a:pt x="5" y="1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6"/>
                    <a:pt x="4" y="7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íSḷiḍè"/>
            <p:cNvSpPr/>
            <p:nvPr/>
          </p:nvSpPr>
          <p:spPr bwMode="auto">
            <a:xfrm>
              <a:off x="7026085" y="2695436"/>
              <a:ext cx="40650" cy="5081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íSlidê"/>
            <p:cNvSpPr/>
            <p:nvPr/>
          </p:nvSpPr>
          <p:spPr bwMode="auto">
            <a:xfrm>
              <a:off x="7019310" y="2813998"/>
              <a:ext cx="40650" cy="37264"/>
            </a:xfrm>
            <a:custGeom>
              <a:avLst/>
              <a:gdLst>
                <a:gd name="T0" fmla="*/ 1 w 6"/>
                <a:gd name="T1" fmla="*/ 0 h 5"/>
                <a:gd name="T2" fmla="*/ 3 w 6"/>
                <a:gd name="T3" fmla="*/ 0 h 5"/>
                <a:gd name="T4" fmla="*/ 3 w 6"/>
                <a:gd name="T5" fmla="*/ 0 h 5"/>
                <a:gd name="T6" fmla="*/ 4 w 6"/>
                <a:gd name="T7" fmla="*/ 0 h 5"/>
                <a:gd name="T8" fmla="*/ 6 w 6"/>
                <a:gd name="T9" fmla="*/ 0 h 5"/>
                <a:gd name="T10" fmla="*/ 6 w 6"/>
                <a:gd name="T11" fmla="*/ 2 h 5"/>
                <a:gd name="T12" fmla="*/ 6 w 6"/>
                <a:gd name="T13" fmla="*/ 4 h 5"/>
                <a:gd name="T14" fmla="*/ 4 w 6"/>
                <a:gd name="T15" fmla="*/ 5 h 5"/>
                <a:gd name="T16" fmla="*/ 3 w 6"/>
                <a:gd name="T17" fmla="*/ 5 h 5"/>
                <a:gd name="T18" fmla="*/ 3 w 6"/>
                <a:gd name="T19" fmla="*/ 5 h 5"/>
                <a:gd name="T20" fmla="*/ 1 w 6"/>
                <a:gd name="T21" fmla="*/ 4 h 5"/>
                <a:gd name="T22" fmla="*/ 1 w 6"/>
                <a:gd name="T23" fmla="*/ 4 h 5"/>
                <a:gd name="T24" fmla="*/ 0 w 6"/>
                <a:gd name="T25" fmla="*/ 2 h 5"/>
                <a:gd name="T26" fmla="*/ 1 w 6"/>
                <a:gd name="T27" fmla="*/ 0 h 5"/>
                <a:gd name="T28" fmla="*/ 1 w 6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5">
                  <a:moveTo>
                    <a:pt x="1" y="0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íšlîdê"/>
            <p:cNvSpPr/>
            <p:nvPr/>
          </p:nvSpPr>
          <p:spPr bwMode="auto">
            <a:xfrm>
              <a:off x="7032860" y="2922398"/>
              <a:ext cx="57589" cy="40650"/>
            </a:xfrm>
            <a:custGeom>
              <a:avLst/>
              <a:gdLst>
                <a:gd name="T0" fmla="*/ 4 w 8"/>
                <a:gd name="T1" fmla="*/ 0 h 6"/>
                <a:gd name="T2" fmla="*/ 4 w 8"/>
                <a:gd name="T3" fmla="*/ 6 h 6"/>
                <a:gd name="T4" fmla="*/ 4 w 8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4" y="0"/>
                  </a:moveTo>
                  <a:cubicBezTo>
                    <a:pt x="8" y="0"/>
                    <a:pt x="8" y="6"/>
                    <a:pt x="4" y="6"/>
                  </a:cubicBezTo>
                  <a:cubicBezTo>
                    <a:pt x="0" y="6"/>
                    <a:pt x="0" y="0"/>
                    <a:pt x="4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ïṩľiḑê"/>
            <p:cNvSpPr/>
            <p:nvPr/>
          </p:nvSpPr>
          <p:spPr bwMode="auto">
            <a:xfrm>
              <a:off x="7005760" y="5388503"/>
              <a:ext cx="67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íŝḻíḓê"/>
            <p:cNvSpPr/>
            <p:nvPr/>
          </p:nvSpPr>
          <p:spPr bwMode="auto">
            <a:xfrm>
              <a:off x="4414315" y="1367533"/>
              <a:ext cx="3357022" cy="4634110"/>
            </a:xfrm>
            <a:custGeom>
              <a:avLst/>
              <a:gdLst>
                <a:gd name="T0" fmla="*/ 109 w 477"/>
                <a:gd name="T1" fmla="*/ 376 h 659"/>
                <a:gd name="T2" fmla="*/ 250 w 477"/>
                <a:gd name="T3" fmla="*/ 251 h 659"/>
                <a:gd name="T4" fmla="*/ 154 w 477"/>
                <a:gd name="T5" fmla="*/ 160 h 659"/>
                <a:gd name="T6" fmla="*/ 155 w 477"/>
                <a:gd name="T7" fmla="*/ 133 h 659"/>
                <a:gd name="T8" fmla="*/ 467 w 477"/>
                <a:gd name="T9" fmla="*/ 127 h 659"/>
                <a:gd name="T10" fmla="*/ 398 w 477"/>
                <a:gd name="T11" fmla="*/ 242 h 659"/>
                <a:gd name="T12" fmla="*/ 422 w 477"/>
                <a:gd name="T13" fmla="*/ 338 h 659"/>
                <a:gd name="T14" fmla="*/ 432 w 477"/>
                <a:gd name="T15" fmla="*/ 565 h 659"/>
                <a:gd name="T16" fmla="*/ 399 w 477"/>
                <a:gd name="T17" fmla="*/ 561 h 659"/>
                <a:gd name="T18" fmla="*/ 368 w 477"/>
                <a:gd name="T19" fmla="*/ 560 h 659"/>
                <a:gd name="T20" fmla="*/ 355 w 477"/>
                <a:gd name="T21" fmla="*/ 532 h 659"/>
                <a:gd name="T22" fmla="*/ 390 w 477"/>
                <a:gd name="T23" fmla="*/ 430 h 659"/>
                <a:gd name="T24" fmla="*/ 296 w 477"/>
                <a:gd name="T25" fmla="*/ 462 h 659"/>
                <a:gd name="T26" fmla="*/ 240 w 477"/>
                <a:gd name="T27" fmla="*/ 616 h 659"/>
                <a:gd name="T28" fmla="*/ 213 w 477"/>
                <a:gd name="T29" fmla="*/ 454 h 659"/>
                <a:gd name="T30" fmla="*/ 130 w 477"/>
                <a:gd name="T31" fmla="*/ 426 h 659"/>
                <a:gd name="T32" fmla="*/ 35 w 477"/>
                <a:gd name="T33" fmla="*/ 449 h 659"/>
                <a:gd name="T34" fmla="*/ 26 w 477"/>
                <a:gd name="T35" fmla="*/ 414 h 659"/>
                <a:gd name="T36" fmla="*/ 25 w 477"/>
                <a:gd name="T37" fmla="*/ 395 h 659"/>
                <a:gd name="T38" fmla="*/ 112 w 477"/>
                <a:gd name="T39" fmla="*/ 141 h 659"/>
                <a:gd name="T40" fmla="*/ 450 w 477"/>
                <a:gd name="T41" fmla="*/ 149 h 659"/>
                <a:gd name="T42" fmla="*/ 439 w 477"/>
                <a:gd name="T43" fmla="*/ 144 h 659"/>
                <a:gd name="T44" fmla="*/ 333 w 477"/>
                <a:gd name="T45" fmla="*/ 307 h 659"/>
                <a:gd name="T46" fmla="*/ 319 w 477"/>
                <a:gd name="T47" fmla="*/ 289 h 659"/>
                <a:gd name="T48" fmla="*/ 232 w 477"/>
                <a:gd name="T49" fmla="*/ 303 h 659"/>
                <a:gd name="T50" fmla="*/ 228 w 477"/>
                <a:gd name="T51" fmla="*/ 346 h 659"/>
                <a:gd name="T52" fmla="*/ 282 w 477"/>
                <a:gd name="T53" fmla="*/ 434 h 659"/>
                <a:gd name="T54" fmla="*/ 283 w 477"/>
                <a:gd name="T55" fmla="*/ 270 h 659"/>
                <a:gd name="T56" fmla="*/ 238 w 477"/>
                <a:gd name="T57" fmla="*/ 343 h 659"/>
                <a:gd name="T58" fmla="*/ 225 w 477"/>
                <a:gd name="T59" fmla="*/ 300 h 659"/>
                <a:gd name="T60" fmla="*/ 365 w 477"/>
                <a:gd name="T61" fmla="*/ 61 h 659"/>
                <a:gd name="T62" fmla="*/ 388 w 477"/>
                <a:gd name="T63" fmla="*/ 229 h 659"/>
                <a:gd name="T64" fmla="*/ 385 w 477"/>
                <a:gd name="T65" fmla="*/ 232 h 659"/>
                <a:gd name="T66" fmla="*/ 342 w 477"/>
                <a:gd name="T67" fmla="*/ 35 h 659"/>
                <a:gd name="T68" fmla="*/ 276 w 477"/>
                <a:gd name="T69" fmla="*/ 231 h 659"/>
                <a:gd name="T70" fmla="*/ 345 w 477"/>
                <a:gd name="T71" fmla="*/ 281 h 659"/>
                <a:gd name="T72" fmla="*/ 418 w 477"/>
                <a:gd name="T73" fmla="*/ 365 h 659"/>
                <a:gd name="T74" fmla="*/ 437 w 477"/>
                <a:gd name="T75" fmla="*/ 420 h 659"/>
                <a:gd name="T76" fmla="*/ 440 w 477"/>
                <a:gd name="T77" fmla="*/ 449 h 659"/>
                <a:gd name="T78" fmla="*/ 437 w 477"/>
                <a:gd name="T79" fmla="*/ 468 h 659"/>
                <a:gd name="T80" fmla="*/ 427 w 477"/>
                <a:gd name="T81" fmla="*/ 524 h 659"/>
                <a:gd name="T82" fmla="*/ 433 w 477"/>
                <a:gd name="T83" fmla="*/ 505 h 659"/>
                <a:gd name="T84" fmla="*/ 428 w 477"/>
                <a:gd name="T85" fmla="*/ 479 h 659"/>
                <a:gd name="T86" fmla="*/ 404 w 477"/>
                <a:gd name="T87" fmla="*/ 396 h 659"/>
                <a:gd name="T88" fmla="*/ 389 w 477"/>
                <a:gd name="T89" fmla="*/ 346 h 659"/>
                <a:gd name="T90" fmla="*/ 363 w 477"/>
                <a:gd name="T91" fmla="*/ 292 h 659"/>
                <a:gd name="T92" fmla="*/ 265 w 477"/>
                <a:gd name="T93" fmla="*/ 539 h 659"/>
                <a:gd name="T94" fmla="*/ 264 w 477"/>
                <a:gd name="T95" fmla="*/ 507 h 659"/>
                <a:gd name="T96" fmla="*/ 285 w 477"/>
                <a:gd name="T97" fmla="*/ 558 h 659"/>
                <a:gd name="T98" fmla="*/ 263 w 477"/>
                <a:gd name="T99" fmla="*/ 479 h 659"/>
                <a:gd name="T100" fmla="*/ 239 w 477"/>
                <a:gd name="T101" fmla="*/ 600 h 659"/>
                <a:gd name="T102" fmla="*/ 285 w 477"/>
                <a:gd name="T103" fmla="*/ 570 h 659"/>
                <a:gd name="T104" fmla="*/ 261 w 477"/>
                <a:gd name="T105" fmla="*/ 461 h 659"/>
                <a:gd name="T106" fmla="*/ 281 w 477"/>
                <a:gd name="T107" fmla="*/ 440 h 659"/>
                <a:gd name="T108" fmla="*/ 193 w 477"/>
                <a:gd name="T109" fmla="*/ 289 h 659"/>
                <a:gd name="T110" fmla="*/ 194 w 477"/>
                <a:gd name="T111" fmla="*/ 345 h 659"/>
                <a:gd name="T112" fmla="*/ 193 w 477"/>
                <a:gd name="T113" fmla="*/ 351 h 659"/>
                <a:gd name="T114" fmla="*/ 118 w 477"/>
                <a:gd name="T115" fmla="*/ 413 h 659"/>
                <a:gd name="T116" fmla="*/ 138 w 477"/>
                <a:gd name="T117" fmla="*/ 407 h 659"/>
                <a:gd name="T118" fmla="*/ 94 w 477"/>
                <a:gd name="T119" fmla="*/ 375 h 659"/>
                <a:gd name="T120" fmla="*/ 81 w 477"/>
                <a:gd name="T121" fmla="*/ 39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7" h="659">
                  <a:moveTo>
                    <a:pt x="7" y="378"/>
                  </a:moveTo>
                  <a:cubicBezTo>
                    <a:pt x="10" y="377"/>
                    <a:pt x="13" y="377"/>
                    <a:pt x="17" y="376"/>
                  </a:cubicBezTo>
                  <a:cubicBezTo>
                    <a:pt x="20" y="376"/>
                    <a:pt x="24" y="375"/>
                    <a:pt x="28" y="375"/>
                  </a:cubicBezTo>
                  <a:cubicBezTo>
                    <a:pt x="31" y="375"/>
                    <a:pt x="35" y="374"/>
                    <a:pt x="39" y="374"/>
                  </a:cubicBezTo>
                  <a:cubicBezTo>
                    <a:pt x="41" y="373"/>
                    <a:pt x="43" y="373"/>
                    <a:pt x="45" y="372"/>
                  </a:cubicBezTo>
                  <a:cubicBezTo>
                    <a:pt x="51" y="371"/>
                    <a:pt x="56" y="371"/>
                    <a:pt x="62" y="372"/>
                  </a:cubicBezTo>
                  <a:cubicBezTo>
                    <a:pt x="67" y="373"/>
                    <a:pt x="71" y="373"/>
                    <a:pt x="75" y="375"/>
                  </a:cubicBezTo>
                  <a:cubicBezTo>
                    <a:pt x="77" y="376"/>
                    <a:pt x="78" y="377"/>
                    <a:pt x="79" y="378"/>
                  </a:cubicBezTo>
                  <a:cubicBezTo>
                    <a:pt x="79" y="377"/>
                    <a:pt x="79" y="377"/>
                    <a:pt x="79" y="376"/>
                  </a:cubicBezTo>
                  <a:cubicBezTo>
                    <a:pt x="81" y="369"/>
                    <a:pt x="87" y="363"/>
                    <a:pt x="95" y="363"/>
                  </a:cubicBezTo>
                  <a:cubicBezTo>
                    <a:pt x="101" y="363"/>
                    <a:pt x="104" y="366"/>
                    <a:pt x="105" y="371"/>
                  </a:cubicBezTo>
                  <a:cubicBezTo>
                    <a:pt x="107" y="372"/>
                    <a:pt x="108" y="374"/>
                    <a:pt x="109" y="376"/>
                  </a:cubicBezTo>
                  <a:cubicBezTo>
                    <a:pt x="111" y="375"/>
                    <a:pt x="114" y="375"/>
                    <a:pt x="117" y="374"/>
                  </a:cubicBezTo>
                  <a:cubicBezTo>
                    <a:pt x="121" y="373"/>
                    <a:pt x="125" y="372"/>
                    <a:pt x="129" y="371"/>
                  </a:cubicBezTo>
                  <a:cubicBezTo>
                    <a:pt x="135" y="369"/>
                    <a:pt x="142" y="365"/>
                    <a:pt x="146" y="359"/>
                  </a:cubicBezTo>
                  <a:cubicBezTo>
                    <a:pt x="150" y="352"/>
                    <a:pt x="151" y="343"/>
                    <a:pt x="152" y="335"/>
                  </a:cubicBezTo>
                  <a:cubicBezTo>
                    <a:pt x="153" y="326"/>
                    <a:pt x="155" y="318"/>
                    <a:pt x="159" y="310"/>
                  </a:cubicBezTo>
                  <a:cubicBezTo>
                    <a:pt x="162" y="302"/>
                    <a:pt x="167" y="295"/>
                    <a:pt x="172" y="288"/>
                  </a:cubicBezTo>
                  <a:cubicBezTo>
                    <a:pt x="178" y="282"/>
                    <a:pt x="185" y="277"/>
                    <a:pt x="193" y="272"/>
                  </a:cubicBezTo>
                  <a:cubicBezTo>
                    <a:pt x="201" y="267"/>
                    <a:pt x="210" y="262"/>
                    <a:pt x="219" y="260"/>
                  </a:cubicBezTo>
                  <a:cubicBezTo>
                    <a:pt x="222" y="260"/>
                    <a:pt x="224" y="260"/>
                    <a:pt x="227" y="259"/>
                  </a:cubicBezTo>
                  <a:cubicBezTo>
                    <a:pt x="231" y="257"/>
                    <a:pt x="236" y="256"/>
                    <a:pt x="240" y="256"/>
                  </a:cubicBezTo>
                  <a:cubicBezTo>
                    <a:pt x="243" y="256"/>
                    <a:pt x="246" y="256"/>
                    <a:pt x="249" y="257"/>
                  </a:cubicBezTo>
                  <a:cubicBezTo>
                    <a:pt x="250" y="255"/>
                    <a:pt x="250" y="253"/>
                    <a:pt x="250" y="251"/>
                  </a:cubicBezTo>
                  <a:cubicBezTo>
                    <a:pt x="251" y="250"/>
                    <a:pt x="251" y="248"/>
                    <a:pt x="251" y="247"/>
                  </a:cubicBezTo>
                  <a:cubicBezTo>
                    <a:pt x="246" y="247"/>
                    <a:pt x="240" y="247"/>
                    <a:pt x="235" y="247"/>
                  </a:cubicBezTo>
                  <a:cubicBezTo>
                    <a:pt x="224" y="247"/>
                    <a:pt x="213" y="248"/>
                    <a:pt x="202" y="247"/>
                  </a:cubicBezTo>
                  <a:cubicBezTo>
                    <a:pt x="196" y="247"/>
                    <a:pt x="191" y="246"/>
                    <a:pt x="186" y="245"/>
                  </a:cubicBezTo>
                  <a:cubicBezTo>
                    <a:pt x="183" y="245"/>
                    <a:pt x="181" y="245"/>
                    <a:pt x="179" y="244"/>
                  </a:cubicBezTo>
                  <a:cubicBezTo>
                    <a:pt x="177" y="244"/>
                    <a:pt x="176" y="244"/>
                    <a:pt x="174" y="244"/>
                  </a:cubicBezTo>
                  <a:cubicBezTo>
                    <a:pt x="174" y="244"/>
                    <a:pt x="170" y="243"/>
                    <a:pt x="171" y="243"/>
                  </a:cubicBezTo>
                  <a:cubicBezTo>
                    <a:pt x="168" y="243"/>
                    <a:pt x="164" y="243"/>
                    <a:pt x="161" y="241"/>
                  </a:cubicBezTo>
                  <a:cubicBezTo>
                    <a:pt x="157" y="239"/>
                    <a:pt x="156" y="233"/>
                    <a:pt x="157" y="229"/>
                  </a:cubicBezTo>
                  <a:cubicBezTo>
                    <a:pt x="157" y="229"/>
                    <a:pt x="157" y="229"/>
                    <a:pt x="157" y="228"/>
                  </a:cubicBezTo>
                  <a:cubicBezTo>
                    <a:pt x="155" y="217"/>
                    <a:pt x="156" y="206"/>
                    <a:pt x="155" y="194"/>
                  </a:cubicBezTo>
                  <a:cubicBezTo>
                    <a:pt x="155" y="183"/>
                    <a:pt x="154" y="171"/>
                    <a:pt x="154" y="160"/>
                  </a:cubicBezTo>
                  <a:cubicBezTo>
                    <a:pt x="154" y="156"/>
                    <a:pt x="154" y="152"/>
                    <a:pt x="154" y="147"/>
                  </a:cubicBezTo>
                  <a:cubicBezTo>
                    <a:pt x="153" y="148"/>
                    <a:pt x="152" y="148"/>
                    <a:pt x="151" y="148"/>
                  </a:cubicBezTo>
                  <a:cubicBezTo>
                    <a:pt x="148" y="148"/>
                    <a:pt x="145" y="148"/>
                    <a:pt x="142" y="148"/>
                  </a:cubicBezTo>
                  <a:cubicBezTo>
                    <a:pt x="140" y="155"/>
                    <a:pt x="134" y="160"/>
                    <a:pt x="128" y="162"/>
                  </a:cubicBezTo>
                  <a:cubicBezTo>
                    <a:pt x="107" y="170"/>
                    <a:pt x="87" y="145"/>
                    <a:pt x="102" y="128"/>
                  </a:cubicBezTo>
                  <a:cubicBezTo>
                    <a:pt x="105" y="125"/>
                    <a:pt x="109" y="123"/>
                    <a:pt x="113" y="122"/>
                  </a:cubicBezTo>
                  <a:cubicBezTo>
                    <a:pt x="117" y="121"/>
                    <a:pt x="124" y="120"/>
                    <a:pt x="128" y="122"/>
                  </a:cubicBezTo>
                  <a:cubicBezTo>
                    <a:pt x="128" y="122"/>
                    <a:pt x="128" y="122"/>
                    <a:pt x="128" y="122"/>
                  </a:cubicBezTo>
                  <a:cubicBezTo>
                    <a:pt x="134" y="122"/>
                    <a:pt x="138" y="127"/>
                    <a:pt x="141" y="133"/>
                  </a:cubicBezTo>
                  <a:cubicBezTo>
                    <a:pt x="141" y="133"/>
                    <a:pt x="142" y="133"/>
                    <a:pt x="142" y="133"/>
                  </a:cubicBezTo>
                  <a:cubicBezTo>
                    <a:pt x="145" y="133"/>
                    <a:pt x="147" y="133"/>
                    <a:pt x="150" y="133"/>
                  </a:cubicBezTo>
                  <a:cubicBezTo>
                    <a:pt x="152" y="133"/>
                    <a:pt x="154" y="133"/>
                    <a:pt x="155" y="133"/>
                  </a:cubicBezTo>
                  <a:cubicBezTo>
                    <a:pt x="156" y="119"/>
                    <a:pt x="158" y="105"/>
                    <a:pt x="162" y="91"/>
                  </a:cubicBezTo>
                  <a:cubicBezTo>
                    <a:pt x="172" y="56"/>
                    <a:pt x="197" y="28"/>
                    <a:pt x="231" y="14"/>
                  </a:cubicBezTo>
                  <a:cubicBezTo>
                    <a:pt x="256" y="3"/>
                    <a:pt x="283" y="0"/>
                    <a:pt x="309" y="6"/>
                  </a:cubicBezTo>
                  <a:cubicBezTo>
                    <a:pt x="333" y="11"/>
                    <a:pt x="355" y="26"/>
                    <a:pt x="368" y="47"/>
                  </a:cubicBezTo>
                  <a:cubicBezTo>
                    <a:pt x="380" y="54"/>
                    <a:pt x="387" y="69"/>
                    <a:pt x="392" y="81"/>
                  </a:cubicBezTo>
                  <a:cubicBezTo>
                    <a:pt x="398" y="97"/>
                    <a:pt x="397" y="115"/>
                    <a:pt x="399" y="133"/>
                  </a:cubicBezTo>
                  <a:cubicBezTo>
                    <a:pt x="399" y="133"/>
                    <a:pt x="399" y="133"/>
                    <a:pt x="399" y="133"/>
                  </a:cubicBezTo>
                  <a:cubicBezTo>
                    <a:pt x="404" y="133"/>
                    <a:pt x="409" y="133"/>
                    <a:pt x="414" y="133"/>
                  </a:cubicBezTo>
                  <a:cubicBezTo>
                    <a:pt x="417" y="133"/>
                    <a:pt x="421" y="133"/>
                    <a:pt x="424" y="133"/>
                  </a:cubicBezTo>
                  <a:cubicBezTo>
                    <a:pt x="428" y="127"/>
                    <a:pt x="434" y="122"/>
                    <a:pt x="441" y="119"/>
                  </a:cubicBezTo>
                  <a:cubicBezTo>
                    <a:pt x="449" y="116"/>
                    <a:pt x="463" y="117"/>
                    <a:pt x="466" y="125"/>
                  </a:cubicBezTo>
                  <a:cubicBezTo>
                    <a:pt x="467" y="126"/>
                    <a:pt x="467" y="127"/>
                    <a:pt x="467" y="127"/>
                  </a:cubicBezTo>
                  <a:cubicBezTo>
                    <a:pt x="473" y="133"/>
                    <a:pt x="477" y="140"/>
                    <a:pt x="475" y="148"/>
                  </a:cubicBezTo>
                  <a:cubicBezTo>
                    <a:pt x="473" y="155"/>
                    <a:pt x="467" y="160"/>
                    <a:pt x="460" y="162"/>
                  </a:cubicBezTo>
                  <a:cubicBezTo>
                    <a:pt x="454" y="165"/>
                    <a:pt x="447" y="164"/>
                    <a:pt x="441" y="162"/>
                  </a:cubicBezTo>
                  <a:cubicBezTo>
                    <a:pt x="434" y="160"/>
                    <a:pt x="427" y="155"/>
                    <a:pt x="424" y="149"/>
                  </a:cubicBezTo>
                  <a:cubicBezTo>
                    <a:pt x="421" y="149"/>
                    <a:pt x="418" y="149"/>
                    <a:pt x="415" y="149"/>
                  </a:cubicBezTo>
                  <a:cubicBezTo>
                    <a:pt x="410" y="148"/>
                    <a:pt x="405" y="148"/>
                    <a:pt x="400" y="148"/>
                  </a:cubicBezTo>
                  <a:cubicBezTo>
                    <a:pt x="401" y="161"/>
                    <a:pt x="402" y="173"/>
                    <a:pt x="402" y="186"/>
                  </a:cubicBezTo>
                  <a:cubicBezTo>
                    <a:pt x="403" y="194"/>
                    <a:pt x="403" y="203"/>
                    <a:pt x="402" y="211"/>
                  </a:cubicBezTo>
                  <a:cubicBezTo>
                    <a:pt x="402" y="215"/>
                    <a:pt x="401" y="219"/>
                    <a:pt x="401" y="223"/>
                  </a:cubicBezTo>
                  <a:cubicBezTo>
                    <a:pt x="401" y="225"/>
                    <a:pt x="401" y="228"/>
                    <a:pt x="401" y="230"/>
                  </a:cubicBezTo>
                  <a:cubicBezTo>
                    <a:pt x="402" y="232"/>
                    <a:pt x="402" y="235"/>
                    <a:pt x="401" y="237"/>
                  </a:cubicBezTo>
                  <a:cubicBezTo>
                    <a:pt x="401" y="240"/>
                    <a:pt x="400" y="241"/>
                    <a:pt x="398" y="242"/>
                  </a:cubicBezTo>
                  <a:cubicBezTo>
                    <a:pt x="388" y="246"/>
                    <a:pt x="377" y="246"/>
                    <a:pt x="367" y="247"/>
                  </a:cubicBezTo>
                  <a:cubicBezTo>
                    <a:pt x="356" y="247"/>
                    <a:pt x="345" y="247"/>
                    <a:pt x="334" y="247"/>
                  </a:cubicBezTo>
                  <a:cubicBezTo>
                    <a:pt x="326" y="247"/>
                    <a:pt x="318" y="246"/>
                    <a:pt x="310" y="246"/>
                  </a:cubicBezTo>
                  <a:cubicBezTo>
                    <a:pt x="310" y="248"/>
                    <a:pt x="310" y="250"/>
                    <a:pt x="310" y="252"/>
                  </a:cubicBezTo>
                  <a:cubicBezTo>
                    <a:pt x="311" y="254"/>
                    <a:pt x="311" y="257"/>
                    <a:pt x="312" y="259"/>
                  </a:cubicBezTo>
                  <a:cubicBezTo>
                    <a:pt x="312" y="259"/>
                    <a:pt x="313" y="259"/>
                    <a:pt x="314" y="259"/>
                  </a:cubicBezTo>
                  <a:cubicBezTo>
                    <a:pt x="315" y="259"/>
                    <a:pt x="316" y="260"/>
                    <a:pt x="318" y="260"/>
                  </a:cubicBezTo>
                  <a:cubicBezTo>
                    <a:pt x="318" y="260"/>
                    <a:pt x="318" y="260"/>
                    <a:pt x="318" y="260"/>
                  </a:cubicBezTo>
                  <a:cubicBezTo>
                    <a:pt x="324" y="259"/>
                    <a:pt x="329" y="260"/>
                    <a:pt x="334" y="262"/>
                  </a:cubicBezTo>
                  <a:cubicBezTo>
                    <a:pt x="340" y="264"/>
                    <a:pt x="346" y="267"/>
                    <a:pt x="351" y="270"/>
                  </a:cubicBezTo>
                  <a:cubicBezTo>
                    <a:pt x="361" y="275"/>
                    <a:pt x="370" y="281"/>
                    <a:pt x="379" y="288"/>
                  </a:cubicBezTo>
                  <a:cubicBezTo>
                    <a:pt x="397" y="301"/>
                    <a:pt x="412" y="318"/>
                    <a:pt x="422" y="338"/>
                  </a:cubicBezTo>
                  <a:cubicBezTo>
                    <a:pt x="427" y="349"/>
                    <a:pt x="431" y="359"/>
                    <a:pt x="434" y="370"/>
                  </a:cubicBezTo>
                  <a:cubicBezTo>
                    <a:pt x="438" y="381"/>
                    <a:pt x="443" y="392"/>
                    <a:pt x="447" y="404"/>
                  </a:cubicBezTo>
                  <a:cubicBezTo>
                    <a:pt x="450" y="415"/>
                    <a:pt x="453" y="427"/>
                    <a:pt x="453" y="439"/>
                  </a:cubicBezTo>
                  <a:cubicBezTo>
                    <a:pt x="454" y="452"/>
                    <a:pt x="452" y="464"/>
                    <a:pt x="449" y="476"/>
                  </a:cubicBezTo>
                  <a:cubicBezTo>
                    <a:pt x="448" y="480"/>
                    <a:pt x="447" y="485"/>
                    <a:pt x="445" y="488"/>
                  </a:cubicBezTo>
                  <a:cubicBezTo>
                    <a:pt x="446" y="490"/>
                    <a:pt x="448" y="491"/>
                    <a:pt x="449" y="493"/>
                  </a:cubicBezTo>
                  <a:cubicBezTo>
                    <a:pt x="450" y="494"/>
                    <a:pt x="452" y="495"/>
                    <a:pt x="453" y="497"/>
                  </a:cubicBezTo>
                  <a:cubicBezTo>
                    <a:pt x="455" y="501"/>
                    <a:pt x="455" y="506"/>
                    <a:pt x="454" y="511"/>
                  </a:cubicBezTo>
                  <a:cubicBezTo>
                    <a:pt x="453" y="517"/>
                    <a:pt x="446" y="522"/>
                    <a:pt x="439" y="523"/>
                  </a:cubicBezTo>
                  <a:cubicBezTo>
                    <a:pt x="440" y="526"/>
                    <a:pt x="441" y="528"/>
                    <a:pt x="441" y="532"/>
                  </a:cubicBezTo>
                  <a:cubicBezTo>
                    <a:pt x="442" y="538"/>
                    <a:pt x="442" y="544"/>
                    <a:pt x="440" y="550"/>
                  </a:cubicBezTo>
                  <a:cubicBezTo>
                    <a:pt x="439" y="555"/>
                    <a:pt x="437" y="563"/>
                    <a:pt x="432" y="565"/>
                  </a:cubicBezTo>
                  <a:cubicBezTo>
                    <a:pt x="432" y="568"/>
                    <a:pt x="431" y="571"/>
                    <a:pt x="430" y="573"/>
                  </a:cubicBezTo>
                  <a:cubicBezTo>
                    <a:pt x="428" y="576"/>
                    <a:pt x="426" y="578"/>
                    <a:pt x="425" y="581"/>
                  </a:cubicBezTo>
                  <a:cubicBezTo>
                    <a:pt x="423" y="584"/>
                    <a:pt x="421" y="587"/>
                    <a:pt x="419" y="590"/>
                  </a:cubicBezTo>
                  <a:cubicBezTo>
                    <a:pt x="416" y="594"/>
                    <a:pt x="408" y="590"/>
                    <a:pt x="409" y="585"/>
                  </a:cubicBezTo>
                  <a:cubicBezTo>
                    <a:pt x="409" y="579"/>
                    <a:pt x="414" y="573"/>
                    <a:pt x="418" y="569"/>
                  </a:cubicBezTo>
                  <a:cubicBezTo>
                    <a:pt x="419" y="568"/>
                    <a:pt x="419" y="567"/>
                    <a:pt x="419" y="567"/>
                  </a:cubicBezTo>
                  <a:cubicBezTo>
                    <a:pt x="417" y="566"/>
                    <a:pt x="415" y="565"/>
                    <a:pt x="413" y="564"/>
                  </a:cubicBezTo>
                  <a:cubicBezTo>
                    <a:pt x="411" y="564"/>
                    <a:pt x="410" y="563"/>
                    <a:pt x="408" y="562"/>
                  </a:cubicBezTo>
                  <a:cubicBezTo>
                    <a:pt x="408" y="564"/>
                    <a:pt x="407" y="566"/>
                    <a:pt x="406" y="567"/>
                  </a:cubicBezTo>
                  <a:cubicBezTo>
                    <a:pt x="405" y="571"/>
                    <a:pt x="402" y="574"/>
                    <a:pt x="399" y="577"/>
                  </a:cubicBezTo>
                  <a:cubicBezTo>
                    <a:pt x="395" y="579"/>
                    <a:pt x="391" y="575"/>
                    <a:pt x="392" y="571"/>
                  </a:cubicBezTo>
                  <a:cubicBezTo>
                    <a:pt x="393" y="567"/>
                    <a:pt x="397" y="564"/>
                    <a:pt x="399" y="561"/>
                  </a:cubicBezTo>
                  <a:cubicBezTo>
                    <a:pt x="400" y="560"/>
                    <a:pt x="400" y="560"/>
                    <a:pt x="400" y="559"/>
                  </a:cubicBezTo>
                  <a:cubicBezTo>
                    <a:pt x="400" y="559"/>
                    <a:pt x="400" y="559"/>
                    <a:pt x="400" y="559"/>
                  </a:cubicBezTo>
                  <a:cubicBezTo>
                    <a:pt x="396" y="558"/>
                    <a:pt x="392" y="556"/>
                    <a:pt x="389" y="555"/>
                  </a:cubicBezTo>
                  <a:cubicBezTo>
                    <a:pt x="388" y="555"/>
                    <a:pt x="388" y="555"/>
                    <a:pt x="388" y="555"/>
                  </a:cubicBezTo>
                  <a:cubicBezTo>
                    <a:pt x="386" y="558"/>
                    <a:pt x="385" y="560"/>
                    <a:pt x="383" y="562"/>
                  </a:cubicBezTo>
                  <a:cubicBezTo>
                    <a:pt x="381" y="564"/>
                    <a:pt x="379" y="567"/>
                    <a:pt x="377" y="569"/>
                  </a:cubicBezTo>
                  <a:cubicBezTo>
                    <a:pt x="376" y="570"/>
                    <a:pt x="375" y="570"/>
                    <a:pt x="374" y="571"/>
                  </a:cubicBezTo>
                  <a:cubicBezTo>
                    <a:pt x="373" y="572"/>
                    <a:pt x="372" y="572"/>
                    <a:pt x="371" y="572"/>
                  </a:cubicBezTo>
                  <a:cubicBezTo>
                    <a:pt x="371" y="572"/>
                    <a:pt x="369" y="572"/>
                    <a:pt x="368" y="572"/>
                  </a:cubicBezTo>
                  <a:cubicBezTo>
                    <a:pt x="364" y="571"/>
                    <a:pt x="362" y="567"/>
                    <a:pt x="365" y="563"/>
                  </a:cubicBezTo>
                  <a:cubicBezTo>
                    <a:pt x="364" y="564"/>
                    <a:pt x="365" y="562"/>
                    <a:pt x="366" y="562"/>
                  </a:cubicBezTo>
                  <a:cubicBezTo>
                    <a:pt x="366" y="561"/>
                    <a:pt x="367" y="561"/>
                    <a:pt x="368" y="560"/>
                  </a:cubicBezTo>
                  <a:cubicBezTo>
                    <a:pt x="369" y="560"/>
                    <a:pt x="369" y="559"/>
                    <a:pt x="370" y="558"/>
                  </a:cubicBezTo>
                  <a:cubicBezTo>
                    <a:pt x="373" y="555"/>
                    <a:pt x="375" y="553"/>
                    <a:pt x="378" y="550"/>
                  </a:cubicBezTo>
                  <a:cubicBezTo>
                    <a:pt x="378" y="550"/>
                    <a:pt x="378" y="550"/>
                    <a:pt x="378" y="550"/>
                  </a:cubicBezTo>
                  <a:cubicBezTo>
                    <a:pt x="376" y="549"/>
                    <a:pt x="375" y="548"/>
                    <a:pt x="373" y="547"/>
                  </a:cubicBezTo>
                  <a:cubicBezTo>
                    <a:pt x="372" y="546"/>
                    <a:pt x="371" y="545"/>
                    <a:pt x="370" y="544"/>
                  </a:cubicBezTo>
                  <a:cubicBezTo>
                    <a:pt x="369" y="546"/>
                    <a:pt x="368" y="547"/>
                    <a:pt x="368" y="548"/>
                  </a:cubicBezTo>
                  <a:cubicBezTo>
                    <a:pt x="365" y="553"/>
                    <a:pt x="361" y="557"/>
                    <a:pt x="356" y="560"/>
                  </a:cubicBezTo>
                  <a:cubicBezTo>
                    <a:pt x="351" y="562"/>
                    <a:pt x="347" y="555"/>
                    <a:pt x="350" y="551"/>
                  </a:cubicBezTo>
                  <a:cubicBezTo>
                    <a:pt x="352" y="548"/>
                    <a:pt x="355" y="545"/>
                    <a:pt x="358" y="542"/>
                  </a:cubicBezTo>
                  <a:cubicBezTo>
                    <a:pt x="359" y="541"/>
                    <a:pt x="360" y="539"/>
                    <a:pt x="361" y="538"/>
                  </a:cubicBezTo>
                  <a:cubicBezTo>
                    <a:pt x="360" y="537"/>
                    <a:pt x="358" y="536"/>
                    <a:pt x="357" y="535"/>
                  </a:cubicBezTo>
                  <a:cubicBezTo>
                    <a:pt x="356" y="534"/>
                    <a:pt x="356" y="533"/>
                    <a:pt x="355" y="532"/>
                  </a:cubicBezTo>
                  <a:cubicBezTo>
                    <a:pt x="352" y="536"/>
                    <a:pt x="348" y="541"/>
                    <a:pt x="344" y="544"/>
                  </a:cubicBezTo>
                  <a:cubicBezTo>
                    <a:pt x="337" y="548"/>
                    <a:pt x="329" y="538"/>
                    <a:pt x="335" y="533"/>
                  </a:cubicBezTo>
                  <a:cubicBezTo>
                    <a:pt x="340" y="529"/>
                    <a:pt x="344" y="525"/>
                    <a:pt x="349" y="520"/>
                  </a:cubicBezTo>
                  <a:cubicBezTo>
                    <a:pt x="349" y="520"/>
                    <a:pt x="349" y="520"/>
                    <a:pt x="349" y="519"/>
                  </a:cubicBezTo>
                  <a:cubicBezTo>
                    <a:pt x="351" y="511"/>
                    <a:pt x="356" y="502"/>
                    <a:pt x="363" y="496"/>
                  </a:cubicBezTo>
                  <a:cubicBezTo>
                    <a:pt x="366" y="493"/>
                    <a:pt x="370" y="492"/>
                    <a:pt x="374" y="491"/>
                  </a:cubicBezTo>
                  <a:cubicBezTo>
                    <a:pt x="374" y="489"/>
                    <a:pt x="373" y="488"/>
                    <a:pt x="374" y="487"/>
                  </a:cubicBezTo>
                  <a:cubicBezTo>
                    <a:pt x="371" y="481"/>
                    <a:pt x="373" y="474"/>
                    <a:pt x="378" y="469"/>
                  </a:cubicBezTo>
                  <a:cubicBezTo>
                    <a:pt x="381" y="465"/>
                    <a:pt x="386" y="464"/>
                    <a:pt x="390" y="464"/>
                  </a:cubicBezTo>
                  <a:cubicBezTo>
                    <a:pt x="390" y="463"/>
                    <a:pt x="390" y="463"/>
                    <a:pt x="390" y="462"/>
                  </a:cubicBezTo>
                  <a:cubicBezTo>
                    <a:pt x="391" y="459"/>
                    <a:pt x="391" y="455"/>
                    <a:pt x="391" y="452"/>
                  </a:cubicBezTo>
                  <a:cubicBezTo>
                    <a:pt x="392" y="444"/>
                    <a:pt x="391" y="437"/>
                    <a:pt x="390" y="430"/>
                  </a:cubicBezTo>
                  <a:cubicBezTo>
                    <a:pt x="388" y="415"/>
                    <a:pt x="384" y="401"/>
                    <a:pt x="379" y="387"/>
                  </a:cubicBezTo>
                  <a:cubicBezTo>
                    <a:pt x="374" y="375"/>
                    <a:pt x="368" y="363"/>
                    <a:pt x="360" y="352"/>
                  </a:cubicBezTo>
                  <a:cubicBezTo>
                    <a:pt x="357" y="347"/>
                    <a:pt x="353" y="342"/>
                    <a:pt x="348" y="338"/>
                  </a:cubicBezTo>
                  <a:cubicBezTo>
                    <a:pt x="347" y="337"/>
                    <a:pt x="346" y="336"/>
                    <a:pt x="344" y="335"/>
                  </a:cubicBezTo>
                  <a:cubicBezTo>
                    <a:pt x="344" y="339"/>
                    <a:pt x="344" y="343"/>
                    <a:pt x="343" y="347"/>
                  </a:cubicBezTo>
                  <a:cubicBezTo>
                    <a:pt x="343" y="363"/>
                    <a:pt x="342" y="379"/>
                    <a:pt x="341" y="395"/>
                  </a:cubicBezTo>
                  <a:cubicBezTo>
                    <a:pt x="341" y="403"/>
                    <a:pt x="341" y="411"/>
                    <a:pt x="341" y="418"/>
                  </a:cubicBezTo>
                  <a:cubicBezTo>
                    <a:pt x="341" y="422"/>
                    <a:pt x="341" y="426"/>
                    <a:pt x="341" y="430"/>
                  </a:cubicBezTo>
                  <a:cubicBezTo>
                    <a:pt x="341" y="434"/>
                    <a:pt x="342" y="438"/>
                    <a:pt x="341" y="441"/>
                  </a:cubicBezTo>
                  <a:cubicBezTo>
                    <a:pt x="343" y="447"/>
                    <a:pt x="342" y="453"/>
                    <a:pt x="338" y="457"/>
                  </a:cubicBezTo>
                  <a:cubicBezTo>
                    <a:pt x="331" y="465"/>
                    <a:pt x="319" y="463"/>
                    <a:pt x="309" y="462"/>
                  </a:cubicBezTo>
                  <a:cubicBezTo>
                    <a:pt x="305" y="462"/>
                    <a:pt x="300" y="462"/>
                    <a:pt x="296" y="462"/>
                  </a:cubicBezTo>
                  <a:cubicBezTo>
                    <a:pt x="297" y="468"/>
                    <a:pt x="296" y="475"/>
                    <a:pt x="296" y="481"/>
                  </a:cubicBezTo>
                  <a:cubicBezTo>
                    <a:pt x="296" y="490"/>
                    <a:pt x="296" y="499"/>
                    <a:pt x="296" y="509"/>
                  </a:cubicBezTo>
                  <a:cubicBezTo>
                    <a:pt x="296" y="518"/>
                    <a:pt x="297" y="527"/>
                    <a:pt x="297" y="536"/>
                  </a:cubicBezTo>
                  <a:cubicBezTo>
                    <a:pt x="298" y="543"/>
                    <a:pt x="300" y="550"/>
                    <a:pt x="299" y="557"/>
                  </a:cubicBezTo>
                  <a:cubicBezTo>
                    <a:pt x="301" y="558"/>
                    <a:pt x="304" y="559"/>
                    <a:pt x="305" y="561"/>
                  </a:cubicBezTo>
                  <a:cubicBezTo>
                    <a:pt x="310" y="564"/>
                    <a:pt x="315" y="569"/>
                    <a:pt x="319" y="574"/>
                  </a:cubicBezTo>
                  <a:cubicBezTo>
                    <a:pt x="325" y="583"/>
                    <a:pt x="333" y="600"/>
                    <a:pt x="326" y="611"/>
                  </a:cubicBezTo>
                  <a:cubicBezTo>
                    <a:pt x="321" y="617"/>
                    <a:pt x="312" y="619"/>
                    <a:pt x="303" y="619"/>
                  </a:cubicBezTo>
                  <a:cubicBezTo>
                    <a:pt x="303" y="619"/>
                    <a:pt x="303" y="619"/>
                    <a:pt x="303" y="619"/>
                  </a:cubicBezTo>
                  <a:cubicBezTo>
                    <a:pt x="304" y="623"/>
                    <a:pt x="303" y="628"/>
                    <a:pt x="301" y="632"/>
                  </a:cubicBezTo>
                  <a:cubicBezTo>
                    <a:pt x="298" y="642"/>
                    <a:pt x="290" y="650"/>
                    <a:pt x="280" y="652"/>
                  </a:cubicBezTo>
                  <a:cubicBezTo>
                    <a:pt x="258" y="659"/>
                    <a:pt x="244" y="634"/>
                    <a:pt x="240" y="616"/>
                  </a:cubicBezTo>
                  <a:cubicBezTo>
                    <a:pt x="235" y="617"/>
                    <a:pt x="229" y="613"/>
                    <a:pt x="226" y="609"/>
                  </a:cubicBezTo>
                  <a:cubicBezTo>
                    <a:pt x="222" y="603"/>
                    <a:pt x="224" y="593"/>
                    <a:pt x="225" y="586"/>
                  </a:cubicBezTo>
                  <a:cubicBezTo>
                    <a:pt x="227" y="579"/>
                    <a:pt x="231" y="572"/>
                    <a:pt x="237" y="567"/>
                  </a:cubicBezTo>
                  <a:cubicBezTo>
                    <a:pt x="242" y="562"/>
                    <a:pt x="248" y="559"/>
                    <a:pt x="254" y="556"/>
                  </a:cubicBezTo>
                  <a:cubicBezTo>
                    <a:pt x="253" y="554"/>
                    <a:pt x="253" y="551"/>
                    <a:pt x="253" y="549"/>
                  </a:cubicBezTo>
                  <a:cubicBezTo>
                    <a:pt x="253" y="544"/>
                    <a:pt x="253" y="540"/>
                    <a:pt x="253" y="536"/>
                  </a:cubicBezTo>
                  <a:cubicBezTo>
                    <a:pt x="253" y="527"/>
                    <a:pt x="253" y="518"/>
                    <a:pt x="252" y="509"/>
                  </a:cubicBezTo>
                  <a:cubicBezTo>
                    <a:pt x="252" y="500"/>
                    <a:pt x="251" y="491"/>
                    <a:pt x="251" y="482"/>
                  </a:cubicBezTo>
                  <a:cubicBezTo>
                    <a:pt x="251" y="475"/>
                    <a:pt x="250" y="468"/>
                    <a:pt x="251" y="461"/>
                  </a:cubicBezTo>
                  <a:cubicBezTo>
                    <a:pt x="249" y="461"/>
                    <a:pt x="247" y="461"/>
                    <a:pt x="245" y="461"/>
                  </a:cubicBezTo>
                  <a:cubicBezTo>
                    <a:pt x="240" y="461"/>
                    <a:pt x="234" y="461"/>
                    <a:pt x="229" y="461"/>
                  </a:cubicBezTo>
                  <a:cubicBezTo>
                    <a:pt x="223" y="460"/>
                    <a:pt x="216" y="459"/>
                    <a:pt x="213" y="454"/>
                  </a:cubicBezTo>
                  <a:cubicBezTo>
                    <a:pt x="210" y="451"/>
                    <a:pt x="209" y="448"/>
                    <a:pt x="210" y="445"/>
                  </a:cubicBezTo>
                  <a:cubicBezTo>
                    <a:pt x="209" y="444"/>
                    <a:pt x="209" y="443"/>
                    <a:pt x="210" y="441"/>
                  </a:cubicBezTo>
                  <a:cubicBezTo>
                    <a:pt x="212" y="431"/>
                    <a:pt x="211" y="421"/>
                    <a:pt x="210" y="411"/>
                  </a:cubicBezTo>
                  <a:cubicBezTo>
                    <a:pt x="210" y="400"/>
                    <a:pt x="210" y="389"/>
                    <a:pt x="210" y="378"/>
                  </a:cubicBezTo>
                  <a:cubicBezTo>
                    <a:pt x="210" y="364"/>
                    <a:pt x="210" y="350"/>
                    <a:pt x="210" y="336"/>
                  </a:cubicBezTo>
                  <a:cubicBezTo>
                    <a:pt x="210" y="337"/>
                    <a:pt x="210" y="337"/>
                    <a:pt x="209" y="338"/>
                  </a:cubicBezTo>
                  <a:cubicBezTo>
                    <a:pt x="207" y="344"/>
                    <a:pt x="206" y="351"/>
                    <a:pt x="205" y="358"/>
                  </a:cubicBezTo>
                  <a:cubicBezTo>
                    <a:pt x="204" y="364"/>
                    <a:pt x="203" y="370"/>
                    <a:pt x="201" y="377"/>
                  </a:cubicBezTo>
                  <a:cubicBezTo>
                    <a:pt x="199" y="383"/>
                    <a:pt x="195" y="388"/>
                    <a:pt x="191" y="393"/>
                  </a:cubicBezTo>
                  <a:cubicBezTo>
                    <a:pt x="183" y="404"/>
                    <a:pt x="172" y="411"/>
                    <a:pt x="161" y="417"/>
                  </a:cubicBezTo>
                  <a:cubicBezTo>
                    <a:pt x="154" y="419"/>
                    <a:pt x="148" y="422"/>
                    <a:pt x="141" y="423"/>
                  </a:cubicBezTo>
                  <a:cubicBezTo>
                    <a:pt x="137" y="425"/>
                    <a:pt x="134" y="425"/>
                    <a:pt x="130" y="426"/>
                  </a:cubicBezTo>
                  <a:cubicBezTo>
                    <a:pt x="126" y="427"/>
                    <a:pt x="122" y="428"/>
                    <a:pt x="118" y="427"/>
                  </a:cubicBezTo>
                  <a:cubicBezTo>
                    <a:pt x="118" y="428"/>
                    <a:pt x="118" y="430"/>
                    <a:pt x="117" y="432"/>
                  </a:cubicBezTo>
                  <a:cubicBezTo>
                    <a:pt x="114" y="439"/>
                    <a:pt x="106" y="445"/>
                    <a:pt x="98" y="442"/>
                  </a:cubicBezTo>
                  <a:cubicBezTo>
                    <a:pt x="98" y="442"/>
                    <a:pt x="97" y="441"/>
                    <a:pt x="97" y="441"/>
                  </a:cubicBezTo>
                  <a:cubicBezTo>
                    <a:pt x="95" y="445"/>
                    <a:pt x="92" y="448"/>
                    <a:pt x="89" y="451"/>
                  </a:cubicBezTo>
                  <a:cubicBezTo>
                    <a:pt x="84" y="455"/>
                    <a:pt x="78" y="455"/>
                    <a:pt x="72" y="456"/>
                  </a:cubicBezTo>
                  <a:cubicBezTo>
                    <a:pt x="66" y="457"/>
                    <a:pt x="59" y="459"/>
                    <a:pt x="53" y="459"/>
                  </a:cubicBezTo>
                  <a:cubicBezTo>
                    <a:pt x="51" y="460"/>
                    <a:pt x="49" y="459"/>
                    <a:pt x="48" y="458"/>
                  </a:cubicBezTo>
                  <a:cubicBezTo>
                    <a:pt x="47" y="459"/>
                    <a:pt x="46" y="459"/>
                    <a:pt x="46" y="459"/>
                  </a:cubicBezTo>
                  <a:cubicBezTo>
                    <a:pt x="39" y="461"/>
                    <a:pt x="31" y="465"/>
                    <a:pt x="25" y="463"/>
                  </a:cubicBezTo>
                  <a:cubicBezTo>
                    <a:pt x="18" y="461"/>
                    <a:pt x="19" y="453"/>
                    <a:pt x="25" y="451"/>
                  </a:cubicBezTo>
                  <a:cubicBezTo>
                    <a:pt x="28" y="449"/>
                    <a:pt x="31" y="450"/>
                    <a:pt x="35" y="449"/>
                  </a:cubicBezTo>
                  <a:cubicBezTo>
                    <a:pt x="36" y="449"/>
                    <a:pt x="38" y="448"/>
                    <a:pt x="39" y="448"/>
                  </a:cubicBezTo>
                  <a:cubicBezTo>
                    <a:pt x="39" y="447"/>
                    <a:pt x="38" y="445"/>
                    <a:pt x="38" y="444"/>
                  </a:cubicBezTo>
                  <a:cubicBezTo>
                    <a:pt x="34" y="445"/>
                    <a:pt x="30" y="445"/>
                    <a:pt x="26" y="446"/>
                  </a:cubicBezTo>
                  <a:cubicBezTo>
                    <a:pt x="19" y="448"/>
                    <a:pt x="15" y="438"/>
                    <a:pt x="21" y="435"/>
                  </a:cubicBezTo>
                  <a:cubicBezTo>
                    <a:pt x="25" y="434"/>
                    <a:pt x="29" y="434"/>
                    <a:pt x="33" y="434"/>
                  </a:cubicBezTo>
                  <a:cubicBezTo>
                    <a:pt x="34" y="434"/>
                    <a:pt x="34" y="434"/>
                    <a:pt x="35" y="434"/>
                  </a:cubicBezTo>
                  <a:cubicBezTo>
                    <a:pt x="35" y="432"/>
                    <a:pt x="34" y="429"/>
                    <a:pt x="33" y="427"/>
                  </a:cubicBezTo>
                  <a:cubicBezTo>
                    <a:pt x="33" y="426"/>
                    <a:pt x="33" y="426"/>
                    <a:pt x="32" y="425"/>
                  </a:cubicBezTo>
                  <a:cubicBezTo>
                    <a:pt x="31" y="425"/>
                    <a:pt x="29" y="426"/>
                    <a:pt x="27" y="426"/>
                  </a:cubicBezTo>
                  <a:cubicBezTo>
                    <a:pt x="22" y="427"/>
                    <a:pt x="17" y="430"/>
                    <a:pt x="11" y="427"/>
                  </a:cubicBezTo>
                  <a:cubicBezTo>
                    <a:pt x="8" y="426"/>
                    <a:pt x="8" y="421"/>
                    <a:pt x="10" y="418"/>
                  </a:cubicBezTo>
                  <a:cubicBezTo>
                    <a:pt x="14" y="415"/>
                    <a:pt x="21" y="414"/>
                    <a:pt x="26" y="414"/>
                  </a:cubicBezTo>
                  <a:cubicBezTo>
                    <a:pt x="27" y="414"/>
                    <a:pt x="29" y="413"/>
                    <a:pt x="30" y="413"/>
                  </a:cubicBezTo>
                  <a:cubicBezTo>
                    <a:pt x="30" y="413"/>
                    <a:pt x="30" y="412"/>
                    <a:pt x="30" y="412"/>
                  </a:cubicBezTo>
                  <a:cubicBezTo>
                    <a:pt x="30" y="410"/>
                    <a:pt x="30" y="408"/>
                    <a:pt x="29" y="406"/>
                  </a:cubicBezTo>
                  <a:cubicBezTo>
                    <a:pt x="29" y="406"/>
                    <a:pt x="28" y="406"/>
                    <a:pt x="28" y="407"/>
                  </a:cubicBezTo>
                  <a:cubicBezTo>
                    <a:pt x="25" y="407"/>
                    <a:pt x="22" y="407"/>
                    <a:pt x="20" y="407"/>
                  </a:cubicBezTo>
                  <a:cubicBezTo>
                    <a:pt x="17" y="407"/>
                    <a:pt x="15" y="408"/>
                    <a:pt x="12" y="407"/>
                  </a:cubicBezTo>
                  <a:cubicBezTo>
                    <a:pt x="8" y="407"/>
                    <a:pt x="7" y="402"/>
                    <a:pt x="9" y="398"/>
                  </a:cubicBezTo>
                  <a:cubicBezTo>
                    <a:pt x="10" y="395"/>
                    <a:pt x="14" y="394"/>
                    <a:pt x="18" y="394"/>
                  </a:cubicBezTo>
                  <a:cubicBezTo>
                    <a:pt x="20" y="394"/>
                    <a:pt x="21" y="394"/>
                    <a:pt x="23" y="395"/>
                  </a:cubicBezTo>
                  <a:cubicBezTo>
                    <a:pt x="23" y="395"/>
                    <a:pt x="24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6" y="395"/>
                    <a:pt x="27" y="395"/>
                    <a:pt x="28" y="394"/>
                  </a:cubicBezTo>
                  <a:cubicBezTo>
                    <a:pt x="27" y="392"/>
                    <a:pt x="27" y="390"/>
                    <a:pt x="27" y="388"/>
                  </a:cubicBezTo>
                  <a:cubicBezTo>
                    <a:pt x="21" y="390"/>
                    <a:pt x="15" y="391"/>
                    <a:pt x="9" y="391"/>
                  </a:cubicBezTo>
                  <a:cubicBezTo>
                    <a:pt x="0" y="391"/>
                    <a:pt x="0" y="380"/>
                    <a:pt x="7" y="378"/>
                  </a:cubicBezTo>
                  <a:close/>
                  <a:moveTo>
                    <a:pt x="112" y="141"/>
                  </a:moveTo>
                  <a:cubicBezTo>
                    <a:pt x="112" y="141"/>
                    <a:pt x="112" y="141"/>
                    <a:pt x="112" y="141"/>
                  </a:cubicBezTo>
                  <a:cubicBezTo>
                    <a:pt x="112" y="143"/>
                    <a:pt x="114" y="146"/>
                    <a:pt x="116" y="147"/>
                  </a:cubicBezTo>
                  <a:cubicBezTo>
                    <a:pt x="119" y="149"/>
                    <a:pt x="121" y="149"/>
                    <a:pt x="124" y="147"/>
                  </a:cubicBezTo>
                  <a:cubicBezTo>
                    <a:pt x="126" y="146"/>
                    <a:pt x="128" y="144"/>
                    <a:pt x="128" y="141"/>
                  </a:cubicBezTo>
                  <a:cubicBezTo>
                    <a:pt x="128" y="139"/>
                    <a:pt x="127" y="138"/>
                    <a:pt x="126" y="136"/>
                  </a:cubicBezTo>
                  <a:cubicBezTo>
                    <a:pt x="122" y="137"/>
                    <a:pt x="119" y="136"/>
                    <a:pt x="115" y="137"/>
                  </a:cubicBezTo>
                  <a:cubicBezTo>
                    <a:pt x="114" y="137"/>
                    <a:pt x="112" y="139"/>
                    <a:pt x="112" y="141"/>
                  </a:cubicBezTo>
                  <a:close/>
                  <a:moveTo>
                    <a:pt x="141" y="133"/>
                  </a:move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lose/>
                  <a:moveTo>
                    <a:pt x="440" y="145"/>
                  </a:moveTo>
                  <a:cubicBezTo>
                    <a:pt x="440" y="145"/>
                    <a:pt x="440" y="145"/>
                    <a:pt x="440" y="145"/>
                  </a:cubicBezTo>
                  <a:cubicBezTo>
                    <a:pt x="439" y="144"/>
                    <a:pt x="441" y="146"/>
                    <a:pt x="442" y="146"/>
                  </a:cubicBezTo>
                  <a:cubicBezTo>
                    <a:pt x="444" y="147"/>
                    <a:pt x="443" y="147"/>
                    <a:pt x="446" y="148"/>
                  </a:cubicBezTo>
                  <a:cubicBezTo>
                    <a:pt x="447" y="148"/>
                    <a:pt x="448" y="148"/>
                    <a:pt x="448" y="148"/>
                  </a:cubicBezTo>
                  <a:cubicBezTo>
                    <a:pt x="449" y="148"/>
                    <a:pt x="449" y="149"/>
                    <a:pt x="449" y="149"/>
                  </a:cubicBezTo>
                  <a:cubicBezTo>
                    <a:pt x="449" y="149"/>
                    <a:pt x="450" y="149"/>
                    <a:pt x="450" y="149"/>
                  </a:cubicBezTo>
                  <a:cubicBezTo>
                    <a:pt x="451" y="149"/>
                    <a:pt x="452" y="149"/>
                    <a:pt x="453" y="149"/>
                  </a:cubicBezTo>
                  <a:cubicBezTo>
                    <a:pt x="454" y="149"/>
                    <a:pt x="454" y="149"/>
                    <a:pt x="454" y="149"/>
                  </a:cubicBezTo>
                  <a:cubicBezTo>
                    <a:pt x="454" y="149"/>
                    <a:pt x="455" y="148"/>
                    <a:pt x="455" y="148"/>
                  </a:cubicBezTo>
                  <a:cubicBezTo>
                    <a:pt x="458" y="148"/>
                    <a:pt x="461" y="147"/>
                    <a:pt x="462" y="145"/>
                  </a:cubicBezTo>
                  <a:cubicBezTo>
                    <a:pt x="463" y="141"/>
                    <a:pt x="460" y="138"/>
                    <a:pt x="458" y="135"/>
                  </a:cubicBezTo>
                  <a:cubicBezTo>
                    <a:pt x="458" y="135"/>
                    <a:pt x="458" y="135"/>
                    <a:pt x="458" y="134"/>
                  </a:cubicBezTo>
                  <a:cubicBezTo>
                    <a:pt x="454" y="134"/>
                    <a:pt x="450" y="132"/>
                    <a:pt x="446" y="133"/>
                  </a:cubicBezTo>
                  <a:cubicBezTo>
                    <a:pt x="444" y="134"/>
                    <a:pt x="442" y="135"/>
                    <a:pt x="441" y="137"/>
                  </a:cubicBezTo>
                  <a:cubicBezTo>
                    <a:pt x="440" y="138"/>
                    <a:pt x="439" y="138"/>
                    <a:pt x="439" y="139"/>
                  </a:cubicBezTo>
                  <a:cubicBezTo>
                    <a:pt x="439" y="139"/>
                    <a:pt x="439" y="139"/>
                    <a:pt x="439" y="139"/>
                  </a:cubicBezTo>
                  <a:cubicBezTo>
                    <a:pt x="439" y="141"/>
                    <a:pt x="439" y="142"/>
                    <a:pt x="439" y="144"/>
                  </a:cubicBezTo>
                  <a:cubicBezTo>
                    <a:pt x="439" y="144"/>
                    <a:pt x="439" y="144"/>
                    <a:pt x="439" y="144"/>
                  </a:cubicBezTo>
                  <a:cubicBezTo>
                    <a:pt x="439" y="144"/>
                    <a:pt x="440" y="145"/>
                    <a:pt x="440" y="145"/>
                  </a:cubicBezTo>
                  <a:close/>
                  <a:moveTo>
                    <a:pt x="197" y="285"/>
                  </a:moveTo>
                  <a:cubicBezTo>
                    <a:pt x="197" y="285"/>
                    <a:pt x="197" y="285"/>
                    <a:pt x="197" y="285"/>
                  </a:cubicBezTo>
                  <a:cubicBezTo>
                    <a:pt x="197" y="285"/>
                    <a:pt x="197" y="285"/>
                    <a:pt x="197" y="285"/>
                  </a:cubicBezTo>
                  <a:cubicBezTo>
                    <a:pt x="200" y="287"/>
                    <a:pt x="203" y="289"/>
                    <a:pt x="205" y="292"/>
                  </a:cubicBezTo>
                  <a:cubicBezTo>
                    <a:pt x="207" y="294"/>
                    <a:pt x="209" y="297"/>
                    <a:pt x="210" y="299"/>
                  </a:cubicBezTo>
                  <a:cubicBezTo>
                    <a:pt x="210" y="293"/>
                    <a:pt x="211" y="287"/>
                    <a:pt x="213" y="280"/>
                  </a:cubicBezTo>
                  <a:cubicBezTo>
                    <a:pt x="213" y="278"/>
                    <a:pt x="214" y="276"/>
                    <a:pt x="215" y="274"/>
                  </a:cubicBezTo>
                  <a:cubicBezTo>
                    <a:pt x="209" y="276"/>
                    <a:pt x="204" y="280"/>
                    <a:pt x="199" y="283"/>
                  </a:cubicBezTo>
                  <a:cubicBezTo>
                    <a:pt x="198" y="283"/>
                    <a:pt x="198" y="284"/>
                    <a:pt x="197" y="285"/>
                  </a:cubicBezTo>
                  <a:close/>
                  <a:moveTo>
                    <a:pt x="333" y="307"/>
                  </a:moveTo>
                  <a:cubicBezTo>
                    <a:pt x="333" y="307"/>
                    <a:pt x="333" y="307"/>
                    <a:pt x="333" y="307"/>
                  </a:cubicBezTo>
                  <a:cubicBezTo>
                    <a:pt x="334" y="299"/>
                    <a:pt x="334" y="292"/>
                    <a:pt x="334" y="284"/>
                  </a:cubicBezTo>
                  <a:cubicBezTo>
                    <a:pt x="334" y="284"/>
                    <a:pt x="333" y="284"/>
                    <a:pt x="333" y="283"/>
                  </a:cubicBezTo>
                  <a:cubicBezTo>
                    <a:pt x="331" y="281"/>
                    <a:pt x="331" y="278"/>
                    <a:pt x="329" y="276"/>
                  </a:cubicBezTo>
                  <a:cubicBezTo>
                    <a:pt x="329" y="277"/>
                    <a:pt x="328" y="278"/>
                    <a:pt x="328" y="279"/>
                  </a:cubicBezTo>
                  <a:cubicBezTo>
                    <a:pt x="327" y="283"/>
                    <a:pt x="326" y="287"/>
                    <a:pt x="326" y="291"/>
                  </a:cubicBezTo>
                  <a:cubicBezTo>
                    <a:pt x="325" y="300"/>
                    <a:pt x="326" y="310"/>
                    <a:pt x="332" y="317"/>
                  </a:cubicBezTo>
                  <a:cubicBezTo>
                    <a:pt x="332" y="314"/>
                    <a:pt x="332" y="310"/>
                    <a:pt x="333" y="307"/>
                  </a:cubicBezTo>
                  <a:close/>
                  <a:moveTo>
                    <a:pt x="326" y="398"/>
                  </a:moveTo>
                  <a:cubicBezTo>
                    <a:pt x="326" y="398"/>
                    <a:pt x="326" y="398"/>
                    <a:pt x="326" y="398"/>
                  </a:cubicBezTo>
                  <a:cubicBezTo>
                    <a:pt x="327" y="382"/>
                    <a:pt x="328" y="366"/>
                    <a:pt x="329" y="350"/>
                  </a:cubicBezTo>
                  <a:cubicBezTo>
                    <a:pt x="330" y="342"/>
                    <a:pt x="330" y="335"/>
                    <a:pt x="331" y="328"/>
                  </a:cubicBezTo>
                  <a:cubicBezTo>
                    <a:pt x="319" y="318"/>
                    <a:pt x="317" y="303"/>
                    <a:pt x="319" y="289"/>
                  </a:cubicBezTo>
                  <a:cubicBezTo>
                    <a:pt x="319" y="286"/>
                    <a:pt x="321" y="277"/>
                    <a:pt x="324" y="272"/>
                  </a:cubicBezTo>
                  <a:cubicBezTo>
                    <a:pt x="322" y="272"/>
                    <a:pt x="320" y="272"/>
                    <a:pt x="318" y="271"/>
                  </a:cubicBezTo>
                  <a:cubicBezTo>
                    <a:pt x="316" y="271"/>
                    <a:pt x="315" y="271"/>
                    <a:pt x="313" y="271"/>
                  </a:cubicBezTo>
                  <a:cubicBezTo>
                    <a:pt x="310" y="274"/>
                    <a:pt x="306" y="276"/>
                    <a:pt x="303" y="277"/>
                  </a:cubicBezTo>
                  <a:cubicBezTo>
                    <a:pt x="294" y="281"/>
                    <a:pt x="285" y="283"/>
                    <a:pt x="275" y="285"/>
                  </a:cubicBezTo>
                  <a:cubicBezTo>
                    <a:pt x="267" y="286"/>
                    <a:pt x="260" y="282"/>
                    <a:pt x="254" y="276"/>
                  </a:cubicBezTo>
                  <a:cubicBezTo>
                    <a:pt x="252" y="275"/>
                    <a:pt x="249" y="272"/>
                    <a:pt x="247" y="269"/>
                  </a:cubicBezTo>
                  <a:cubicBezTo>
                    <a:pt x="243" y="269"/>
                    <a:pt x="240" y="269"/>
                    <a:pt x="236" y="270"/>
                  </a:cubicBezTo>
                  <a:cubicBezTo>
                    <a:pt x="236" y="270"/>
                    <a:pt x="236" y="270"/>
                    <a:pt x="236" y="270"/>
                  </a:cubicBezTo>
                  <a:cubicBezTo>
                    <a:pt x="237" y="274"/>
                    <a:pt x="237" y="280"/>
                    <a:pt x="237" y="285"/>
                  </a:cubicBezTo>
                  <a:cubicBezTo>
                    <a:pt x="237" y="290"/>
                    <a:pt x="235" y="295"/>
                    <a:pt x="233" y="300"/>
                  </a:cubicBezTo>
                  <a:cubicBezTo>
                    <a:pt x="233" y="301"/>
                    <a:pt x="233" y="302"/>
                    <a:pt x="232" y="303"/>
                  </a:cubicBezTo>
                  <a:cubicBezTo>
                    <a:pt x="236" y="300"/>
                    <a:pt x="241" y="300"/>
                    <a:pt x="246" y="300"/>
                  </a:cubicBezTo>
                  <a:cubicBezTo>
                    <a:pt x="252" y="301"/>
                    <a:pt x="258" y="301"/>
                    <a:pt x="263" y="305"/>
                  </a:cubicBezTo>
                  <a:cubicBezTo>
                    <a:pt x="264" y="305"/>
                    <a:pt x="264" y="305"/>
                    <a:pt x="265" y="305"/>
                  </a:cubicBezTo>
                  <a:cubicBezTo>
                    <a:pt x="267" y="308"/>
                    <a:pt x="267" y="312"/>
                    <a:pt x="267" y="316"/>
                  </a:cubicBezTo>
                  <a:cubicBezTo>
                    <a:pt x="267" y="320"/>
                    <a:pt x="266" y="325"/>
                    <a:pt x="266" y="329"/>
                  </a:cubicBezTo>
                  <a:cubicBezTo>
                    <a:pt x="266" y="333"/>
                    <a:pt x="266" y="338"/>
                    <a:pt x="266" y="342"/>
                  </a:cubicBezTo>
                  <a:cubicBezTo>
                    <a:pt x="265" y="345"/>
                    <a:pt x="266" y="350"/>
                    <a:pt x="262" y="350"/>
                  </a:cubicBezTo>
                  <a:cubicBezTo>
                    <a:pt x="262" y="351"/>
                    <a:pt x="262" y="351"/>
                    <a:pt x="261" y="351"/>
                  </a:cubicBezTo>
                  <a:cubicBezTo>
                    <a:pt x="257" y="353"/>
                    <a:pt x="251" y="352"/>
                    <a:pt x="246" y="351"/>
                  </a:cubicBezTo>
                  <a:cubicBezTo>
                    <a:pt x="243" y="351"/>
                    <a:pt x="240" y="351"/>
                    <a:pt x="238" y="351"/>
                  </a:cubicBezTo>
                  <a:cubicBezTo>
                    <a:pt x="235" y="351"/>
                    <a:pt x="232" y="351"/>
                    <a:pt x="230" y="350"/>
                  </a:cubicBezTo>
                  <a:cubicBezTo>
                    <a:pt x="228" y="349"/>
                    <a:pt x="227" y="347"/>
                    <a:pt x="228" y="346"/>
                  </a:cubicBezTo>
                  <a:cubicBezTo>
                    <a:pt x="227" y="343"/>
                    <a:pt x="227" y="340"/>
                    <a:pt x="227" y="338"/>
                  </a:cubicBezTo>
                  <a:cubicBezTo>
                    <a:pt x="227" y="333"/>
                    <a:pt x="227" y="329"/>
                    <a:pt x="227" y="325"/>
                  </a:cubicBezTo>
                  <a:cubicBezTo>
                    <a:pt x="227" y="320"/>
                    <a:pt x="227" y="316"/>
                    <a:pt x="228" y="311"/>
                  </a:cubicBezTo>
                  <a:cubicBezTo>
                    <a:pt x="228" y="312"/>
                    <a:pt x="228" y="312"/>
                    <a:pt x="227" y="313"/>
                  </a:cubicBezTo>
                  <a:cubicBezTo>
                    <a:pt x="227" y="313"/>
                    <a:pt x="226" y="314"/>
                    <a:pt x="225" y="315"/>
                  </a:cubicBezTo>
                  <a:cubicBezTo>
                    <a:pt x="225" y="317"/>
                    <a:pt x="225" y="319"/>
                    <a:pt x="225" y="321"/>
                  </a:cubicBezTo>
                  <a:cubicBezTo>
                    <a:pt x="225" y="342"/>
                    <a:pt x="226" y="363"/>
                    <a:pt x="225" y="384"/>
                  </a:cubicBezTo>
                  <a:cubicBezTo>
                    <a:pt x="225" y="394"/>
                    <a:pt x="225" y="404"/>
                    <a:pt x="226" y="414"/>
                  </a:cubicBezTo>
                  <a:cubicBezTo>
                    <a:pt x="226" y="420"/>
                    <a:pt x="226" y="426"/>
                    <a:pt x="226" y="432"/>
                  </a:cubicBezTo>
                  <a:cubicBezTo>
                    <a:pt x="230" y="431"/>
                    <a:pt x="235" y="433"/>
                    <a:pt x="239" y="433"/>
                  </a:cubicBezTo>
                  <a:cubicBezTo>
                    <a:pt x="243" y="433"/>
                    <a:pt x="248" y="434"/>
                    <a:pt x="253" y="434"/>
                  </a:cubicBezTo>
                  <a:cubicBezTo>
                    <a:pt x="263" y="435"/>
                    <a:pt x="272" y="434"/>
                    <a:pt x="282" y="434"/>
                  </a:cubicBezTo>
                  <a:cubicBezTo>
                    <a:pt x="292" y="433"/>
                    <a:pt x="302" y="432"/>
                    <a:pt x="312" y="432"/>
                  </a:cubicBezTo>
                  <a:cubicBezTo>
                    <a:pt x="316" y="432"/>
                    <a:pt x="321" y="432"/>
                    <a:pt x="326" y="432"/>
                  </a:cubicBezTo>
                  <a:cubicBezTo>
                    <a:pt x="326" y="429"/>
                    <a:pt x="326" y="425"/>
                    <a:pt x="326" y="421"/>
                  </a:cubicBezTo>
                  <a:cubicBezTo>
                    <a:pt x="326" y="414"/>
                    <a:pt x="326" y="406"/>
                    <a:pt x="326" y="398"/>
                  </a:cubicBezTo>
                  <a:close/>
                  <a:moveTo>
                    <a:pt x="283" y="270"/>
                  </a:moveTo>
                  <a:cubicBezTo>
                    <a:pt x="283" y="270"/>
                    <a:pt x="283" y="270"/>
                    <a:pt x="283" y="270"/>
                  </a:cubicBezTo>
                  <a:cubicBezTo>
                    <a:pt x="274" y="270"/>
                    <a:pt x="265" y="270"/>
                    <a:pt x="256" y="270"/>
                  </a:cubicBezTo>
                  <a:cubicBezTo>
                    <a:pt x="257" y="271"/>
                    <a:pt x="258" y="271"/>
                    <a:pt x="258" y="272"/>
                  </a:cubicBezTo>
                  <a:cubicBezTo>
                    <a:pt x="263" y="276"/>
                    <a:pt x="269" y="279"/>
                    <a:pt x="275" y="278"/>
                  </a:cubicBezTo>
                  <a:cubicBezTo>
                    <a:pt x="283" y="278"/>
                    <a:pt x="291" y="276"/>
                    <a:pt x="298" y="273"/>
                  </a:cubicBezTo>
                  <a:cubicBezTo>
                    <a:pt x="300" y="272"/>
                    <a:pt x="301" y="271"/>
                    <a:pt x="303" y="271"/>
                  </a:cubicBezTo>
                  <a:cubicBezTo>
                    <a:pt x="296" y="270"/>
                    <a:pt x="290" y="270"/>
                    <a:pt x="283" y="270"/>
                  </a:cubicBezTo>
                  <a:close/>
                  <a:moveTo>
                    <a:pt x="258" y="344"/>
                  </a:moveTo>
                  <a:cubicBezTo>
                    <a:pt x="258" y="344"/>
                    <a:pt x="258" y="344"/>
                    <a:pt x="258" y="344"/>
                  </a:cubicBezTo>
                  <a:cubicBezTo>
                    <a:pt x="258" y="339"/>
                    <a:pt x="258" y="335"/>
                    <a:pt x="259" y="330"/>
                  </a:cubicBezTo>
                  <a:cubicBezTo>
                    <a:pt x="259" y="326"/>
                    <a:pt x="259" y="322"/>
                    <a:pt x="259" y="317"/>
                  </a:cubicBezTo>
                  <a:cubicBezTo>
                    <a:pt x="260" y="314"/>
                    <a:pt x="259" y="311"/>
                    <a:pt x="260" y="309"/>
                  </a:cubicBezTo>
                  <a:cubicBezTo>
                    <a:pt x="256" y="307"/>
                    <a:pt x="251" y="308"/>
                    <a:pt x="246" y="308"/>
                  </a:cubicBezTo>
                  <a:cubicBezTo>
                    <a:pt x="244" y="307"/>
                    <a:pt x="241" y="307"/>
                    <a:pt x="239" y="308"/>
                  </a:cubicBezTo>
                  <a:cubicBezTo>
                    <a:pt x="237" y="309"/>
                    <a:pt x="237" y="312"/>
                    <a:pt x="237" y="314"/>
                  </a:cubicBezTo>
                  <a:cubicBezTo>
                    <a:pt x="236" y="318"/>
                    <a:pt x="236" y="323"/>
                    <a:pt x="236" y="327"/>
                  </a:cubicBezTo>
                  <a:cubicBezTo>
                    <a:pt x="235" y="331"/>
                    <a:pt x="236" y="335"/>
                    <a:pt x="236" y="339"/>
                  </a:cubicBezTo>
                  <a:cubicBezTo>
                    <a:pt x="236" y="340"/>
                    <a:pt x="236" y="342"/>
                    <a:pt x="236" y="343"/>
                  </a:cubicBezTo>
                  <a:cubicBezTo>
                    <a:pt x="237" y="343"/>
                    <a:pt x="237" y="343"/>
                    <a:pt x="238" y="343"/>
                  </a:cubicBezTo>
                  <a:cubicBezTo>
                    <a:pt x="241" y="343"/>
                    <a:pt x="244" y="343"/>
                    <a:pt x="247" y="344"/>
                  </a:cubicBezTo>
                  <a:cubicBezTo>
                    <a:pt x="251" y="344"/>
                    <a:pt x="255" y="344"/>
                    <a:pt x="258" y="346"/>
                  </a:cubicBezTo>
                  <a:cubicBezTo>
                    <a:pt x="258" y="345"/>
                    <a:pt x="258" y="344"/>
                    <a:pt x="258" y="344"/>
                  </a:cubicBezTo>
                  <a:close/>
                  <a:moveTo>
                    <a:pt x="230" y="274"/>
                  </a:moveTo>
                  <a:cubicBezTo>
                    <a:pt x="230" y="274"/>
                    <a:pt x="230" y="274"/>
                    <a:pt x="230" y="274"/>
                  </a:cubicBezTo>
                  <a:cubicBezTo>
                    <a:pt x="229" y="275"/>
                    <a:pt x="229" y="275"/>
                    <a:pt x="229" y="275"/>
                  </a:cubicBezTo>
                  <a:cubicBezTo>
                    <a:pt x="228" y="277"/>
                    <a:pt x="227" y="280"/>
                    <a:pt x="227" y="282"/>
                  </a:cubicBezTo>
                  <a:cubicBezTo>
                    <a:pt x="227" y="282"/>
                    <a:pt x="227" y="283"/>
                    <a:pt x="227" y="283"/>
                  </a:cubicBezTo>
                  <a:cubicBezTo>
                    <a:pt x="227" y="283"/>
                    <a:pt x="227" y="285"/>
                    <a:pt x="227" y="285"/>
                  </a:cubicBezTo>
                  <a:cubicBezTo>
                    <a:pt x="226" y="286"/>
                    <a:pt x="226" y="288"/>
                    <a:pt x="226" y="289"/>
                  </a:cubicBezTo>
                  <a:cubicBezTo>
                    <a:pt x="226" y="293"/>
                    <a:pt x="226" y="297"/>
                    <a:pt x="225" y="301"/>
                  </a:cubicBezTo>
                  <a:cubicBezTo>
                    <a:pt x="225" y="300"/>
                    <a:pt x="225" y="300"/>
                    <a:pt x="225" y="300"/>
                  </a:cubicBezTo>
                  <a:cubicBezTo>
                    <a:pt x="227" y="296"/>
                    <a:pt x="229" y="290"/>
                    <a:pt x="230" y="285"/>
                  </a:cubicBezTo>
                  <a:cubicBezTo>
                    <a:pt x="230" y="281"/>
                    <a:pt x="230" y="278"/>
                    <a:pt x="230" y="274"/>
                  </a:cubicBezTo>
                  <a:close/>
                  <a:moveTo>
                    <a:pt x="352" y="43"/>
                  </a:moveTo>
                  <a:cubicBezTo>
                    <a:pt x="352" y="43"/>
                    <a:pt x="352" y="43"/>
                    <a:pt x="352" y="43"/>
                  </a:cubicBezTo>
                  <a:cubicBezTo>
                    <a:pt x="354" y="48"/>
                    <a:pt x="355" y="54"/>
                    <a:pt x="356" y="59"/>
                  </a:cubicBezTo>
                  <a:cubicBezTo>
                    <a:pt x="357" y="57"/>
                    <a:pt x="359" y="56"/>
                    <a:pt x="360" y="56"/>
                  </a:cubicBezTo>
                  <a:cubicBezTo>
                    <a:pt x="361" y="56"/>
                    <a:pt x="362" y="56"/>
                    <a:pt x="362" y="57"/>
                  </a:cubicBezTo>
                  <a:cubicBezTo>
                    <a:pt x="362" y="55"/>
                    <a:pt x="361" y="53"/>
                    <a:pt x="360" y="51"/>
                  </a:cubicBezTo>
                  <a:cubicBezTo>
                    <a:pt x="357" y="48"/>
                    <a:pt x="355" y="45"/>
                    <a:pt x="352" y="43"/>
                  </a:cubicBezTo>
                  <a:close/>
                  <a:moveTo>
                    <a:pt x="370" y="69"/>
                  </a:moveTo>
                  <a:cubicBezTo>
                    <a:pt x="370" y="69"/>
                    <a:pt x="370" y="69"/>
                    <a:pt x="370" y="69"/>
                  </a:cubicBezTo>
                  <a:cubicBezTo>
                    <a:pt x="368" y="67"/>
                    <a:pt x="366" y="64"/>
                    <a:pt x="365" y="61"/>
                  </a:cubicBezTo>
                  <a:cubicBezTo>
                    <a:pt x="365" y="63"/>
                    <a:pt x="363" y="65"/>
                    <a:pt x="360" y="65"/>
                  </a:cubicBezTo>
                  <a:cubicBezTo>
                    <a:pt x="359" y="65"/>
                    <a:pt x="358" y="64"/>
                    <a:pt x="357" y="63"/>
                  </a:cubicBezTo>
                  <a:cubicBezTo>
                    <a:pt x="357" y="64"/>
                    <a:pt x="358" y="66"/>
                    <a:pt x="358" y="67"/>
                  </a:cubicBezTo>
                  <a:cubicBezTo>
                    <a:pt x="361" y="85"/>
                    <a:pt x="363" y="104"/>
                    <a:pt x="364" y="122"/>
                  </a:cubicBezTo>
                  <a:cubicBezTo>
                    <a:pt x="364" y="127"/>
                    <a:pt x="364" y="131"/>
                    <a:pt x="364" y="135"/>
                  </a:cubicBezTo>
                  <a:cubicBezTo>
                    <a:pt x="367" y="134"/>
                    <a:pt x="371" y="134"/>
                    <a:pt x="374" y="134"/>
                  </a:cubicBezTo>
                  <a:cubicBezTo>
                    <a:pt x="378" y="134"/>
                    <a:pt x="382" y="134"/>
                    <a:pt x="385" y="134"/>
                  </a:cubicBezTo>
                  <a:cubicBezTo>
                    <a:pt x="384" y="118"/>
                    <a:pt x="384" y="103"/>
                    <a:pt x="380" y="88"/>
                  </a:cubicBezTo>
                  <a:cubicBezTo>
                    <a:pt x="377" y="82"/>
                    <a:pt x="374" y="75"/>
                    <a:pt x="370" y="69"/>
                  </a:cubicBezTo>
                  <a:close/>
                  <a:moveTo>
                    <a:pt x="385" y="232"/>
                  </a:moveTo>
                  <a:cubicBezTo>
                    <a:pt x="385" y="232"/>
                    <a:pt x="385" y="232"/>
                    <a:pt x="385" y="232"/>
                  </a:cubicBezTo>
                  <a:cubicBezTo>
                    <a:pt x="386" y="231"/>
                    <a:pt x="387" y="230"/>
                    <a:pt x="388" y="229"/>
                  </a:cubicBezTo>
                  <a:cubicBezTo>
                    <a:pt x="388" y="229"/>
                    <a:pt x="389" y="228"/>
                    <a:pt x="389" y="228"/>
                  </a:cubicBezTo>
                  <a:cubicBezTo>
                    <a:pt x="389" y="223"/>
                    <a:pt x="389" y="219"/>
                    <a:pt x="389" y="215"/>
                  </a:cubicBezTo>
                  <a:cubicBezTo>
                    <a:pt x="389" y="207"/>
                    <a:pt x="389" y="198"/>
                    <a:pt x="389" y="190"/>
                  </a:cubicBezTo>
                  <a:cubicBezTo>
                    <a:pt x="389" y="176"/>
                    <a:pt x="388" y="162"/>
                    <a:pt x="387" y="149"/>
                  </a:cubicBezTo>
                  <a:cubicBezTo>
                    <a:pt x="383" y="149"/>
                    <a:pt x="380" y="149"/>
                    <a:pt x="376" y="149"/>
                  </a:cubicBezTo>
                  <a:cubicBezTo>
                    <a:pt x="373" y="149"/>
                    <a:pt x="370" y="149"/>
                    <a:pt x="367" y="148"/>
                  </a:cubicBezTo>
                  <a:cubicBezTo>
                    <a:pt x="366" y="148"/>
                    <a:pt x="365" y="148"/>
                    <a:pt x="364" y="148"/>
                  </a:cubicBezTo>
                  <a:cubicBezTo>
                    <a:pt x="364" y="158"/>
                    <a:pt x="364" y="168"/>
                    <a:pt x="364" y="178"/>
                  </a:cubicBezTo>
                  <a:cubicBezTo>
                    <a:pt x="364" y="187"/>
                    <a:pt x="364" y="197"/>
                    <a:pt x="364" y="206"/>
                  </a:cubicBezTo>
                  <a:cubicBezTo>
                    <a:pt x="364" y="211"/>
                    <a:pt x="364" y="215"/>
                    <a:pt x="364" y="220"/>
                  </a:cubicBezTo>
                  <a:cubicBezTo>
                    <a:pt x="364" y="224"/>
                    <a:pt x="364" y="228"/>
                    <a:pt x="363" y="232"/>
                  </a:cubicBezTo>
                  <a:cubicBezTo>
                    <a:pt x="371" y="232"/>
                    <a:pt x="378" y="232"/>
                    <a:pt x="385" y="232"/>
                  </a:cubicBezTo>
                  <a:close/>
                  <a:moveTo>
                    <a:pt x="337" y="232"/>
                  </a:moveTo>
                  <a:cubicBezTo>
                    <a:pt x="337" y="232"/>
                    <a:pt x="337" y="232"/>
                    <a:pt x="337" y="232"/>
                  </a:cubicBezTo>
                  <a:cubicBezTo>
                    <a:pt x="343" y="232"/>
                    <a:pt x="350" y="232"/>
                    <a:pt x="356" y="232"/>
                  </a:cubicBezTo>
                  <a:cubicBezTo>
                    <a:pt x="355" y="224"/>
                    <a:pt x="356" y="216"/>
                    <a:pt x="356" y="208"/>
                  </a:cubicBezTo>
                  <a:cubicBezTo>
                    <a:pt x="356" y="199"/>
                    <a:pt x="356" y="190"/>
                    <a:pt x="356" y="181"/>
                  </a:cubicBezTo>
                  <a:cubicBezTo>
                    <a:pt x="356" y="168"/>
                    <a:pt x="356" y="156"/>
                    <a:pt x="357" y="144"/>
                  </a:cubicBezTo>
                  <a:cubicBezTo>
                    <a:pt x="355" y="143"/>
                    <a:pt x="355" y="140"/>
                    <a:pt x="357" y="139"/>
                  </a:cubicBezTo>
                  <a:cubicBezTo>
                    <a:pt x="357" y="134"/>
                    <a:pt x="357" y="130"/>
                    <a:pt x="357" y="125"/>
                  </a:cubicBezTo>
                  <a:cubicBezTo>
                    <a:pt x="357" y="107"/>
                    <a:pt x="355" y="89"/>
                    <a:pt x="352" y="71"/>
                  </a:cubicBezTo>
                  <a:cubicBezTo>
                    <a:pt x="351" y="63"/>
                    <a:pt x="350" y="55"/>
                    <a:pt x="347" y="47"/>
                  </a:cubicBezTo>
                  <a:cubicBezTo>
                    <a:pt x="346" y="43"/>
                    <a:pt x="344" y="39"/>
                    <a:pt x="342" y="35"/>
                  </a:cubicBezTo>
                  <a:cubicBezTo>
                    <a:pt x="342" y="35"/>
                    <a:pt x="342" y="35"/>
                    <a:pt x="342" y="35"/>
                  </a:cubicBezTo>
                  <a:cubicBezTo>
                    <a:pt x="337" y="32"/>
                    <a:pt x="332" y="29"/>
                    <a:pt x="327" y="27"/>
                  </a:cubicBezTo>
                  <a:cubicBezTo>
                    <a:pt x="311" y="20"/>
                    <a:pt x="293" y="17"/>
                    <a:pt x="276" y="18"/>
                  </a:cubicBezTo>
                  <a:cubicBezTo>
                    <a:pt x="244" y="20"/>
                    <a:pt x="212" y="36"/>
                    <a:pt x="193" y="62"/>
                  </a:cubicBezTo>
                  <a:cubicBezTo>
                    <a:pt x="177" y="84"/>
                    <a:pt x="171" y="111"/>
                    <a:pt x="170" y="138"/>
                  </a:cubicBezTo>
                  <a:cubicBezTo>
                    <a:pt x="169" y="153"/>
                    <a:pt x="169" y="168"/>
                    <a:pt x="169" y="183"/>
                  </a:cubicBezTo>
                  <a:cubicBezTo>
                    <a:pt x="169" y="198"/>
                    <a:pt x="170" y="212"/>
                    <a:pt x="168" y="226"/>
                  </a:cubicBezTo>
                  <a:cubicBezTo>
                    <a:pt x="168" y="227"/>
                    <a:pt x="169" y="228"/>
                    <a:pt x="169" y="229"/>
                  </a:cubicBezTo>
                  <a:cubicBezTo>
                    <a:pt x="170" y="229"/>
                    <a:pt x="170" y="229"/>
                    <a:pt x="172" y="229"/>
                  </a:cubicBezTo>
                  <a:cubicBezTo>
                    <a:pt x="176" y="230"/>
                    <a:pt x="180" y="230"/>
                    <a:pt x="184" y="230"/>
                  </a:cubicBezTo>
                  <a:cubicBezTo>
                    <a:pt x="195" y="232"/>
                    <a:pt x="204" y="232"/>
                    <a:pt x="215" y="233"/>
                  </a:cubicBezTo>
                  <a:cubicBezTo>
                    <a:pt x="225" y="233"/>
                    <a:pt x="235" y="232"/>
                    <a:pt x="245" y="232"/>
                  </a:cubicBezTo>
                  <a:cubicBezTo>
                    <a:pt x="256" y="231"/>
                    <a:pt x="266" y="231"/>
                    <a:pt x="276" y="231"/>
                  </a:cubicBezTo>
                  <a:cubicBezTo>
                    <a:pt x="297" y="231"/>
                    <a:pt x="317" y="232"/>
                    <a:pt x="337" y="232"/>
                  </a:cubicBezTo>
                  <a:close/>
                  <a:moveTo>
                    <a:pt x="297" y="251"/>
                  </a:moveTo>
                  <a:cubicBezTo>
                    <a:pt x="297" y="251"/>
                    <a:pt x="297" y="251"/>
                    <a:pt x="297" y="251"/>
                  </a:cubicBezTo>
                  <a:cubicBezTo>
                    <a:pt x="297" y="249"/>
                    <a:pt x="297" y="248"/>
                    <a:pt x="297" y="246"/>
                  </a:cubicBezTo>
                  <a:cubicBezTo>
                    <a:pt x="287" y="246"/>
                    <a:pt x="278" y="246"/>
                    <a:pt x="268" y="246"/>
                  </a:cubicBezTo>
                  <a:cubicBezTo>
                    <a:pt x="266" y="246"/>
                    <a:pt x="264" y="247"/>
                    <a:pt x="262" y="247"/>
                  </a:cubicBezTo>
                  <a:cubicBezTo>
                    <a:pt x="262" y="248"/>
                    <a:pt x="262" y="249"/>
                    <a:pt x="262" y="250"/>
                  </a:cubicBezTo>
                  <a:cubicBezTo>
                    <a:pt x="262" y="252"/>
                    <a:pt x="262" y="255"/>
                    <a:pt x="262" y="257"/>
                  </a:cubicBezTo>
                  <a:cubicBezTo>
                    <a:pt x="267" y="258"/>
                    <a:pt x="271" y="258"/>
                    <a:pt x="276" y="258"/>
                  </a:cubicBezTo>
                  <a:cubicBezTo>
                    <a:pt x="283" y="258"/>
                    <a:pt x="291" y="258"/>
                    <a:pt x="298" y="258"/>
                  </a:cubicBezTo>
                  <a:cubicBezTo>
                    <a:pt x="298" y="256"/>
                    <a:pt x="298" y="253"/>
                    <a:pt x="297" y="251"/>
                  </a:cubicBezTo>
                  <a:close/>
                  <a:moveTo>
                    <a:pt x="345" y="281"/>
                  </a:moveTo>
                  <a:cubicBezTo>
                    <a:pt x="345" y="281"/>
                    <a:pt x="345" y="281"/>
                    <a:pt x="345" y="281"/>
                  </a:cubicBezTo>
                  <a:cubicBezTo>
                    <a:pt x="347" y="287"/>
                    <a:pt x="347" y="295"/>
                    <a:pt x="346" y="302"/>
                  </a:cubicBezTo>
                  <a:cubicBezTo>
                    <a:pt x="347" y="301"/>
                    <a:pt x="348" y="300"/>
                    <a:pt x="348" y="299"/>
                  </a:cubicBezTo>
                  <a:cubicBezTo>
                    <a:pt x="351" y="296"/>
                    <a:pt x="355" y="292"/>
                    <a:pt x="358" y="289"/>
                  </a:cubicBezTo>
                  <a:cubicBezTo>
                    <a:pt x="354" y="286"/>
                    <a:pt x="350" y="283"/>
                    <a:pt x="345" y="281"/>
                  </a:cubicBezTo>
                  <a:close/>
                  <a:moveTo>
                    <a:pt x="407" y="341"/>
                  </a:moveTo>
                  <a:cubicBezTo>
                    <a:pt x="407" y="341"/>
                    <a:pt x="407" y="341"/>
                    <a:pt x="407" y="341"/>
                  </a:cubicBezTo>
                  <a:cubicBezTo>
                    <a:pt x="401" y="345"/>
                    <a:pt x="395" y="350"/>
                    <a:pt x="389" y="354"/>
                  </a:cubicBezTo>
                  <a:cubicBezTo>
                    <a:pt x="386" y="355"/>
                    <a:pt x="383" y="357"/>
                    <a:pt x="380" y="359"/>
                  </a:cubicBezTo>
                  <a:cubicBezTo>
                    <a:pt x="383" y="364"/>
                    <a:pt x="385" y="369"/>
                    <a:pt x="387" y="374"/>
                  </a:cubicBezTo>
                  <a:cubicBezTo>
                    <a:pt x="390" y="373"/>
                    <a:pt x="393" y="371"/>
                    <a:pt x="395" y="371"/>
                  </a:cubicBezTo>
                  <a:cubicBezTo>
                    <a:pt x="402" y="368"/>
                    <a:pt x="410" y="367"/>
                    <a:pt x="418" y="365"/>
                  </a:cubicBezTo>
                  <a:cubicBezTo>
                    <a:pt x="418" y="365"/>
                    <a:pt x="418" y="365"/>
                    <a:pt x="418" y="365"/>
                  </a:cubicBezTo>
                  <a:cubicBezTo>
                    <a:pt x="417" y="361"/>
                    <a:pt x="415" y="358"/>
                    <a:pt x="414" y="354"/>
                  </a:cubicBezTo>
                  <a:cubicBezTo>
                    <a:pt x="412" y="349"/>
                    <a:pt x="410" y="345"/>
                    <a:pt x="407" y="341"/>
                  </a:cubicBezTo>
                  <a:close/>
                  <a:moveTo>
                    <a:pt x="431" y="400"/>
                  </a:moveTo>
                  <a:cubicBezTo>
                    <a:pt x="431" y="400"/>
                    <a:pt x="431" y="400"/>
                    <a:pt x="431" y="400"/>
                  </a:cubicBezTo>
                  <a:cubicBezTo>
                    <a:pt x="429" y="400"/>
                    <a:pt x="428" y="400"/>
                    <a:pt x="426" y="400"/>
                  </a:cubicBezTo>
                  <a:cubicBezTo>
                    <a:pt x="423" y="400"/>
                    <a:pt x="421" y="401"/>
                    <a:pt x="418" y="401"/>
                  </a:cubicBezTo>
                  <a:cubicBezTo>
                    <a:pt x="414" y="401"/>
                    <a:pt x="410" y="402"/>
                    <a:pt x="406" y="403"/>
                  </a:cubicBezTo>
                  <a:cubicBezTo>
                    <a:pt x="404" y="404"/>
                    <a:pt x="401" y="405"/>
                    <a:pt x="399" y="405"/>
                  </a:cubicBezTo>
                  <a:cubicBezTo>
                    <a:pt x="400" y="410"/>
                    <a:pt x="401" y="415"/>
                    <a:pt x="402" y="421"/>
                  </a:cubicBezTo>
                  <a:cubicBezTo>
                    <a:pt x="412" y="419"/>
                    <a:pt x="429" y="419"/>
                    <a:pt x="437" y="422"/>
                  </a:cubicBezTo>
                  <a:cubicBezTo>
                    <a:pt x="437" y="421"/>
                    <a:pt x="437" y="421"/>
                    <a:pt x="437" y="420"/>
                  </a:cubicBezTo>
                  <a:cubicBezTo>
                    <a:pt x="435" y="413"/>
                    <a:pt x="433" y="407"/>
                    <a:pt x="431" y="400"/>
                  </a:cubicBezTo>
                  <a:close/>
                  <a:moveTo>
                    <a:pt x="439" y="429"/>
                  </a:moveTo>
                  <a:cubicBezTo>
                    <a:pt x="439" y="429"/>
                    <a:pt x="439" y="429"/>
                    <a:pt x="439" y="429"/>
                  </a:cubicBezTo>
                  <a:cubicBezTo>
                    <a:pt x="438" y="429"/>
                    <a:pt x="438" y="429"/>
                    <a:pt x="438" y="428"/>
                  </a:cubicBezTo>
                  <a:cubicBezTo>
                    <a:pt x="438" y="428"/>
                    <a:pt x="436" y="428"/>
                    <a:pt x="436" y="427"/>
                  </a:cubicBezTo>
                  <a:cubicBezTo>
                    <a:pt x="434" y="427"/>
                    <a:pt x="432" y="427"/>
                    <a:pt x="430" y="427"/>
                  </a:cubicBezTo>
                  <a:cubicBezTo>
                    <a:pt x="425" y="427"/>
                    <a:pt x="420" y="427"/>
                    <a:pt x="415" y="427"/>
                  </a:cubicBezTo>
                  <a:cubicBezTo>
                    <a:pt x="411" y="428"/>
                    <a:pt x="407" y="428"/>
                    <a:pt x="403" y="428"/>
                  </a:cubicBezTo>
                  <a:cubicBezTo>
                    <a:pt x="404" y="433"/>
                    <a:pt x="404" y="437"/>
                    <a:pt x="405" y="441"/>
                  </a:cubicBezTo>
                  <a:cubicBezTo>
                    <a:pt x="411" y="441"/>
                    <a:pt x="417" y="442"/>
                    <a:pt x="424" y="443"/>
                  </a:cubicBezTo>
                  <a:cubicBezTo>
                    <a:pt x="427" y="443"/>
                    <a:pt x="430" y="444"/>
                    <a:pt x="434" y="445"/>
                  </a:cubicBezTo>
                  <a:cubicBezTo>
                    <a:pt x="436" y="446"/>
                    <a:pt x="438" y="448"/>
                    <a:pt x="440" y="449"/>
                  </a:cubicBezTo>
                  <a:cubicBezTo>
                    <a:pt x="440" y="442"/>
                    <a:pt x="440" y="436"/>
                    <a:pt x="439" y="429"/>
                  </a:cubicBezTo>
                  <a:close/>
                  <a:moveTo>
                    <a:pt x="437" y="468"/>
                  </a:moveTo>
                  <a:cubicBezTo>
                    <a:pt x="437" y="468"/>
                    <a:pt x="437" y="468"/>
                    <a:pt x="437" y="468"/>
                  </a:cubicBezTo>
                  <a:cubicBezTo>
                    <a:pt x="438" y="464"/>
                    <a:pt x="439" y="460"/>
                    <a:pt x="439" y="455"/>
                  </a:cubicBezTo>
                  <a:cubicBezTo>
                    <a:pt x="439" y="455"/>
                    <a:pt x="439" y="455"/>
                    <a:pt x="439" y="454"/>
                  </a:cubicBezTo>
                  <a:cubicBezTo>
                    <a:pt x="434" y="452"/>
                    <a:pt x="429" y="450"/>
                    <a:pt x="423" y="449"/>
                  </a:cubicBezTo>
                  <a:cubicBezTo>
                    <a:pt x="417" y="448"/>
                    <a:pt x="410" y="448"/>
                    <a:pt x="405" y="446"/>
                  </a:cubicBezTo>
                  <a:cubicBezTo>
                    <a:pt x="405" y="448"/>
                    <a:pt x="405" y="450"/>
                    <a:pt x="405" y="452"/>
                  </a:cubicBezTo>
                  <a:cubicBezTo>
                    <a:pt x="405" y="453"/>
                    <a:pt x="405" y="454"/>
                    <a:pt x="405" y="454"/>
                  </a:cubicBezTo>
                  <a:cubicBezTo>
                    <a:pt x="407" y="455"/>
                    <a:pt x="409" y="455"/>
                    <a:pt x="410" y="455"/>
                  </a:cubicBezTo>
                  <a:cubicBezTo>
                    <a:pt x="415" y="455"/>
                    <a:pt x="420" y="457"/>
                    <a:pt x="424" y="460"/>
                  </a:cubicBezTo>
                  <a:cubicBezTo>
                    <a:pt x="428" y="464"/>
                    <a:pt x="433" y="465"/>
                    <a:pt x="437" y="468"/>
                  </a:cubicBezTo>
                  <a:close/>
                  <a:moveTo>
                    <a:pt x="363" y="521"/>
                  </a:moveTo>
                  <a:cubicBezTo>
                    <a:pt x="363" y="521"/>
                    <a:pt x="363" y="521"/>
                    <a:pt x="363" y="521"/>
                  </a:cubicBezTo>
                  <a:cubicBezTo>
                    <a:pt x="363" y="521"/>
                    <a:pt x="363" y="521"/>
                    <a:pt x="363" y="521"/>
                  </a:cubicBezTo>
                  <a:cubicBezTo>
                    <a:pt x="365" y="523"/>
                    <a:pt x="367" y="525"/>
                    <a:pt x="369" y="527"/>
                  </a:cubicBezTo>
                  <a:cubicBezTo>
                    <a:pt x="374" y="530"/>
                    <a:pt x="380" y="534"/>
                    <a:pt x="385" y="537"/>
                  </a:cubicBezTo>
                  <a:cubicBezTo>
                    <a:pt x="392" y="541"/>
                    <a:pt x="400" y="544"/>
                    <a:pt x="409" y="547"/>
                  </a:cubicBezTo>
                  <a:cubicBezTo>
                    <a:pt x="412" y="548"/>
                    <a:pt x="416" y="550"/>
                    <a:pt x="420" y="551"/>
                  </a:cubicBezTo>
                  <a:cubicBezTo>
                    <a:pt x="422" y="552"/>
                    <a:pt x="424" y="553"/>
                    <a:pt x="426" y="554"/>
                  </a:cubicBezTo>
                  <a:cubicBezTo>
                    <a:pt x="426" y="554"/>
                    <a:pt x="426" y="554"/>
                    <a:pt x="426" y="553"/>
                  </a:cubicBezTo>
                  <a:cubicBezTo>
                    <a:pt x="427" y="551"/>
                    <a:pt x="428" y="549"/>
                    <a:pt x="428" y="547"/>
                  </a:cubicBezTo>
                  <a:cubicBezTo>
                    <a:pt x="429" y="542"/>
                    <a:pt x="429" y="537"/>
                    <a:pt x="429" y="533"/>
                  </a:cubicBezTo>
                  <a:cubicBezTo>
                    <a:pt x="429" y="529"/>
                    <a:pt x="428" y="526"/>
                    <a:pt x="427" y="524"/>
                  </a:cubicBezTo>
                  <a:cubicBezTo>
                    <a:pt x="426" y="521"/>
                    <a:pt x="425" y="517"/>
                    <a:pt x="425" y="515"/>
                  </a:cubicBezTo>
                  <a:cubicBezTo>
                    <a:pt x="419" y="512"/>
                    <a:pt x="414" y="509"/>
                    <a:pt x="409" y="507"/>
                  </a:cubicBezTo>
                  <a:cubicBezTo>
                    <a:pt x="403" y="504"/>
                    <a:pt x="397" y="500"/>
                    <a:pt x="391" y="498"/>
                  </a:cubicBezTo>
                  <a:cubicBezTo>
                    <a:pt x="390" y="497"/>
                    <a:pt x="389" y="497"/>
                    <a:pt x="388" y="497"/>
                  </a:cubicBezTo>
                  <a:cubicBezTo>
                    <a:pt x="383" y="500"/>
                    <a:pt x="377" y="502"/>
                    <a:pt x="373" y="506"/>
                  </a:cubicBezTo>
                  <a:cubicBezTo>
                    <a:pt x="368" y="510"/>
                    <a:pt x="365" y="515"/>
                    <a:pt x="363" y="521"/>
                  </a:cubicBezTo>
                  <a:close/>
                  <a:moveTo>
                    <a:pt x="389" y="478"/>
                  </a:moveTo>
                  <a:cubicBezTo>
                    <a:pt x="389" y="478"/>
                    <a:pt x="389" y="478"/>
                    <a:pt x="389" y="478"/>
                  </a:cubicBezTo>
                  <a:cubicBezTo>
                    <a:pt x="388" y="478"/>
                    <a:pt x="387" y="479"/>
                    <a:pt x="387" y="481"/>
                  </a:cubicBezTo>
                  <a:cubicBezTo>
                    <a:pt x="386" y="481"/>
                    <a:pt x="386" y="481"/>
                    <a:pt x="386" y="482"/>
                  </a:cubicBezTo>
                  <a:cubicBezTo>
                    <a:pt x="397" y="484"/>
                    <a:pt x="407" y="490"/>
                    <a:pt x="417" y="496"/>
                  </a:cubicBezTo>
                  <a:cubicBezTo>
                    <a:pt x="422" y="499"/>
                    <a:pt x="428" y="502"/>
                    <a:pt x="433" y="505"/>
                  </a:cubicBezTo>
                  <a:cubicBezTo>
                    <a:pt x="435" y="506"/>
                    <a:pt x="437" y="508"/>
                    <a:pt x="439" y="510"/>
                  </a:cubicBezTo>
                  <a:cubicBezTo>
                    <a:pt x="441" y="509"/>
                    <a:pt x="442" y="509"/>
                    <a:pt x="442" y="506"/>
                  </a:cubicBezTo>
                  <a:cubicBezTo>
                    <a:pt x="442" y="504"/>
                    <a:pt x="441" y="501"/>
                    <a:pt x="440" y="498"/>
                  </a:cubicBezTo>
                  <a:cubicBezTo>
                    <a:pt x="439" y="498"/>
                    <a:pt x="439" y="497"/>
                    <a:pt x="438" y="497"/>
                  </a:cubicBezTo>
                  <a:cubicBezTo>
                    <a:pt x="434" y="495"/>
                    <a:pt x="430" y="494"/>
                    <a:pt x="427" y="492"/>
                  </a:cubicBezTo>
                  <a:cubicBezTo>
                    <a:pt x="419" y="489"/>
                    <a:pt x="413" y="486"/>
                    <a:pt x="406" y="483"/>
                  </a:cubicBezTo>
                  <a:cubicBezTo>
                    <a:pt x="403" y="482"/>
                    <a:pt x="400" y="481"/>
                    <a:pt x="397" y="480"/>
                  </a:cubicBezTo>
                  <a:cubicBezTo>
                    <a:pt x="395" y="479"/>
                    <a:pt x="392" y="477"/>
                    <a:pt x="389" y="478"/>
                  </a:cubicBezTo>
                  <a:close/>
                  <a:moveTo>
                    <a:pt x="403" y="467"/>
                  </a:moveTo>
                  <a:cubicBezTo>
                    <a:pt x="403" y="467"/>
                    <a:pt x="403" y="467"/>
                    <a:pt x="403" y="467"/>
                  </a:cubicBezTo>
                  <a:cubicBezTo>
                    <a:pt x="407" y="469"/>
                    <a:pt x="411" y="470"/>
                    <a:pt x="415" y="472"/>
                  </a:cubicBezTo>
                  <a:cubicBezTo>
                    <a:pt x="419" y="474"/>
                    <a:pt x="423" y="477"/>
                    <a:pt x="428" y="479"/>
                  </a:cubicBezTo>
                  <a:cubicBezTo>
                    <a:pt x="430" y="480"/>
                    <a:pt x="432" y="481"/>
                    <a:pt x="434" y="482"/>
                  </a:cubicBezTo>
                  <a:cubicBezTo>
                    <a:pt x="435" y="480"/>
                    <a:pt x="435" y="477"/>
                    <a:pt x="436" y="474"/>
                  </a:cubicBezTo>
                  <a:cubicBezTo>
                    <a:pt x="434" y="473"/>
                    <a:pt x="432" y="473"/>
                    <a:pt x="430" y="472"/>
                  </a:cubicBezTo>
                  <a:cubicBezTo>
                    <a:pt x="426" y="470"/>
                    <a:pt x="422" y="469"/>
                    <a:pt x="419" y="466"/>
                  </a:cubicBezTo>
                  <a:cubicBezTo>
                    <a:pt x="415" y="463"/>
                    <a:pt x="411" y="462"/>
                    <a:pt x="406" y="462"/>
                  </a:cubicBezTo>
                  <a:cubicBezTo>
                    <a:pt x="405" y="462"/>
                    <a:pt x="404" y="462"/>
                    <a:pt x="404" y="462"/>
                  </a:cubicBezTo>
                  <a:cubicBezTo>
                    <a:pt x="403" y="464"/>
                    <a:pt x="403" y="466"/>
                    <a:pt x="402" y="467"/>
                  </a:cubicBezTo>
                  <a:cubicBezTo>
                    <a:pt x="402" y="467"/>
                    <a:pt x="402" y="467"/>
                    <a:pt x="403" y="467"/>
                  </a:cubicBezTo>
                  <a:close/>
                  <a:moveTo>
                    <a:pt x="391" y="382"/>
                  </a:moveTo>
                  <a:cubicBezTo>
                    <a:pt x="391" y="382"/>
                    <a:pt x="391" y="382"/>
                    <a:pt x="391" y="382"/>
                  </a:cubicBezTo>
                  <a:cubicBezTo>
                    <a:pt x="393" y="388"/>
                    <a:pt x="395" y="393"/>
                    <a:pt x="397" y="399"/>
                  </a:cubicBezTo>
                  <a:cubicBezTo>
                    <a:pt x="399" y="398"/>
                    <a:pt x="402" y="397"/>
                    <a:pt x="404" y="396"/>
                  </a:cubicBezTo>
                  <a:cubicBezTo>
                    <a:pt x="409" y="395"/>
                    <a:pt x="413" y="395"/>
                    <a:pt x="418" y="394"/>
                  </a:cubicBezTo>
                  <a:cubicBezTo>
                    <a:pt x="422" y="394"/>
                    <a:pt x="426" y="394"/>
                    <a:pt x="429" y="395"/>
                  </a:cubicBezTo>
                  <a:cubicBezTo>
                    <a:pt x="428" y="392"/>
                    <a:pt x="427" y="389"/>
                    <a:pt x="426" y="385"/>
                  </a:cubicBezTo>
                  <a:cubicBezTo>
                    <a:pt x="424" y="380"/>
                    <a:pt x="422" y="375"/>
                    <a:pt x="420" y="369"/>
                  </a:cubicBezTo>
                  <a:cubicBezTo>
                    <a:pt x="420" y="370"/>
                    <a:pt x="419" y="370"/>
                    <a:pt x="419" y="370"/>
                  </a:cubicBezTo>
                  <a:cubicBezTo>
                    <a:pt x="413" y="371"/>
                    <a:pt x="406" y="373"/>
                    <a:pt x="400" y="376"/>
                  </a:cubicBezTo>
                  <a:cubicBezTo>
                    <a:pt x="397" y="377"/>
                    <a:pt x="394" y="379"/>
                    <a:pt x="390" y="380"/>
                  </a:cubicBezTo>
                  <a:cubicBezTo>
                    <a:pt x="390" y="380"/>
                    <a:pt x="390" y="381"/>
                    <a:pt x="390" y="381"/>
                  </a:cubicBezTo>
                  <a:cubicBezTo>
                    <a:pt x="390" y="381"/>
                    <a:pt x="390" y="382"/>
                    <a:pt x="391" y="382"/>
                  </a:cubicBezTo>
                  <a:close/>
                  <a:moveTo>
                    <a:pt x="376" y="353"/>
                  </a:moveTo>
                  <a:cubicBezTo>
                    <a:pt x="376" y="353"/>
                    <a:pt x="376" y="353"/>
                    <a:pt x="376" y="353"/>
                  </a:cubicBezTo>
                  <a:cubicBezTo>
                    <a:pt x="380" y="350"/>
                    <a:pt x="385" y="348"/>
                    <a:pt x="389" y="346"/>
                  </a:cubicBezTo>
                  <a:cubicBezTo>
                    <a:pt x="394" y="342"/>
                    <a:pt x="399" y="339"/>
                    <a:pt x="405" y="337"/>
                  </a:cubicBezTo>
                  <a:cubicBezTo>
                    <a:pt x="400" y="329"/>
                    <a:pt x="394" y="321"/>
                    <a:pt x="388" y="314"/>
                  </a:cubicBezTo>
                  <a:cubicBezTo>
                    <a:pt x="384" y="318"/>
                    <a:pt x="380" y="322"/>
                    <a:pt x="376" y="326"/>
                  </a:cubicBezTo>
                  <a:cubicBezTo>
                    <a:pt x="372" y="329"/>
                    <a:pt x="370" y="334"/>
                    <a:pt x="366" y="338"/>
                  </a:cubicBezTo>
                  <a:cubicBezTo>
                    <a:pt x="368" y="340"/>
                    <a:pt x="369" y="341"/>
                    <a:pt x="370" y="343"/>
                  </a:cubicBezTo>
                  <a:cubicBezTo>
                    <a:pt x="372" y="346"/>
                    <a:pt x="375" y="349"/>
                    <a:pt x="376" y="353"/>
                  </a:cubicBezTo>
                  <a:close/>
                  <a:moveTo>
                    <a:pt x="356" y="328"/>
                  </a:moveTo>
                  <a:cubicBezTo>
                    <a:pt x="356" y="328"/>
                    <a:pt x="356" y="328"/>
                    <a:pt x="356" y="328"/>
                  </a:cubicBezTo>
                  <a:cubicBezTo>
                    <a:pt x="359" y="330"/>
                    <a:pt x="361" y="332"/>
                    <a:pt x="363" y="334"/>
                  </a:cubicBezTo>
                  <a:cubicBezTo>
                    <a:pt x="366" y="324"/>
                    <a:pt x="376" y="317"/>
                    <a:pt x="384" y="311"/>
                  </a:cubicBezTo>
                  <a:cubicBezTo>
                    <a:pt x="381" y="308"/>
                    <a:pt x="378" y="305"/>
                    <a:pt x="375" y="302"/>
                  </a:cubicBezTo>
                  <a:cubicBezTo>
                    <a:pt x="371" y="298"/>
                    <a:pt x="367" y="295"/>
                    <a:pt x="363" y="292"/>
                  </a:cubicBezTo>
                  <a:cubicBezTo>
                    <a:pt x="360" y="296"/>
                    <a:pt x="357" y="299"/>
                    <a:pt x="353" y="303"/>
                  </a:cubicBezTo>
                  <a:cubicBezTo>
                    <a:pt x="351" y="305"/>
                    <a:pt x="350" y="308"/>
                    <a:pt x="348" y="310"/>
                  </a:cubicBezTo>
                  <a:cubicBezTo>
                    <a:pt x="347" y="312"/>
                    <a:pt x="346" y="314"/>
                    <a:pt x="345" y="316"/>
                  </a:cubicBezTo>
                  <a:cubicBezTo>
                    <a:pt x="345" y="318"/>
                    <a:pt x="345" y="319"/>
                    <a:pt x="345" y="321"/>
                  </a:cubicBezTo>
                  <a:cubicBezTo>
                    <a:pt x="349" y="323"/>
                    <a:pt x="353" y="326"/>
                    <a:pt x="356" y="328"/>
                  </a:cubicBezTo>
                  <a:close/>
                  <a:moveTo>
                    <a:pt x="285" y="535"/>
                  </a:moveTo>
                  <a:cubicBezTo>
                    <a:pt x="285" y="535"/>
                    <a:pt x="285" y="535"/>
                    <a:pt x="285" y="535"/>
                  </a:cubicBezTo>
                  <a:cubicBezTo>
                    <a:pt x="284" y="530"/>
                    <a:pt x="284" y="526"/>
                    <a:pt x="284" y="521"/>
                  </a:cubicBezTo>
                  <a:cubicBezTo>
                    <a:pt x="280" y="522"/>
                    <a:pt x="277" y="522"/>
                    <a:pt x="273" y="522"/>
                  </a:cubicBezTo>
                  <a:cubicBezTo>
                    <a:pt x="271" y="522"/>
                    <a:pt x="268" y="522"/>
                    <a:pt x="265" y="521"/>
                  </a:cubicBezTo>
                  <a:cubicBezTo>
                    <a:pt x="265" y="526"/>
                    <a:pt x="265" y="530"/>
                    <a:pt x="265" y="534"/>
                  </a:cubicBezTo>
                  <a:cubicBezTo>
                    <a:pt x="266" y="536"/>
                    <a:pt x="265" y="538"/>
                    <a:pt x="265" y="539"/>
                  </a:cubicBezTo>
                  <a:cubicBezTo>
                    <a:pt x="269" y="538"/>
                    <a:pt x="273" y="539"/>
                    <a:pt x="276" y="538"/>
                  </a:cubicBezTo>
                  <a:cubicBezTo>
                    <a:pt x="279" y="538"/>
                    <a:pt x="282" y="538"/>
                    <a:pt x="285" y="538"/>
                  </a:cubicBezTo>
                  <a:cubicBezTo>
                    <a:pt x="285" y="537"/>
                    <a:pt x="285" y="536"/>
                    <a:pt x="285" y="535"/>
                  </a:cubicBezTo>
                  <a:close/>
                  <a:moveTo>
                    <a:pt x="264" y="507"/>
                  </a:moveTo>
                  <a:cubicBezTo>
                    <a:pt x="264" y="507"/>
                    <a:pt x="264" y="507"/>
                    <a:pt x="264" y="507"/>
                  </a:cubicBezTo>
                  <a:cubicBezTo>
                    <a:pt x="265" y="510"/>
                    <a:pt x="265" y="512"/>
                    <a:pt x="265" y="515"/>
                  </a:cubicBezTo>
                  <a:cubicBezTo>
                    <a:pt x="268" y="514"/>
                    <a:pt x="271" y="515"/>
                    <a:pt x="273" y="515"/>
                  </a:cubicBezTo>
                  <a:cubicBezTo>
                    <a:pt x="277" y="516"/>
                    <a:pt x="280" y="516"/>
                    <a:pt x="284" y="516"/>
                  </a:cubicBezTo>
                  <a:cubicBezTo>
                    <a:pt x="284" y="514"/>
                    <a:pt x="283" y="511"/>
                    <a:pt x="283" y="509"/>
                  </a:cubicBezTo>
                  <a:cubicBezTo>
                    <a:pt x="283" y="505"/>
                    <a:pt x="283" y="502"/>
                    <a:pt x="283" y="498"/>
                  </a:cubicBezTo>
                  <a:cubicBezTo>
                    <a:pt x="278" y="499"/>
                    <a:pt x="269" y="500"/>
                    <a:pt x="264" y="498"/>
                  </a:cubicBezTo>
                  <a:cubicBezTo>
                    <a:pt x="264" y="501"/>
                    <a:pt x="264" y="504"/>
                    <a:pt x="264" y="507"/>
                  </a:cubicBezTo>
                  <a:close/>
                  <a:moveTo>
                    <a:pt x="286" y="558"/>
                  </a:moveTo>
                  <a:cubicBezTo>
                    <a:pt x="286" y="558"/>
                    <a:pt x="286" y="558"/>
                    <a:pt x="286" y="558"/>
                  </a:cubicBezTo>
                  <a:cubicBezTo>
                    <a:pt x="286" y="558"/>
                    <a:pt x="286" y="557"/>
                    <a:pt x="286" y="557"/>
                  </a:cubicBezTo>
                  <a:cubicBezTo>
                    <a:pt x="287" y="554"/>
                    <a:pt x="286" y="550"/>
                    <a:pt x="286" y="547"/>
                  </a:cubicBezTo>
                  <a:cubicBezTo>
                    <a:pt x="286" y="546"/>
                    <a:pt x="286" y="545"/>
                    <a:pt x="285" y="544"/>
                  </a:cubicBezTo>
                  <a:cubicBezTo>
                    <a:pt x="282" y="545"/>
                    <a:pt x="279" y="545"/>
                    <a:pt x="276" y="545"/>
                  </a:cubicBezTo>
                  <a:cubicBezTo>
                    <a:pt x="273" y="545"/>
                    <a:pt x="269" y="546"/>
                    <a:pt x="266" y="545"/>
                  </a:cubicBezTo>
                  <a:cubicBezTo>
                    <a:pt x="266" y="546"/>
                    <a:pt x="266" y="547"/>
                    <a:pt x="266" y="548"/>
                  </a:cubicBezTo>
                  <a:cubicBezTo>
                    <a:pt x="266" y="550"/>
                    <a:pt x="266" y="553"/>
                    <a:pt x="266" y="556"/>
                  </a:cubicBezTo>
                  <a:cubicBezTo>
                    <a:pt x="267" y="556"/>
                    <a:pt x="267" y="557"/>
                    <a:pt x="268" y="557"/>
                  </a:cubicBezTo>
                  <a:cubicBezTo>
                    <a:pt x="271" y="558"/>
                    <a:pt x="273" y="559"/>
                    <a:pt x="276" y="559"/>
                  </a:cubicBezTo>
                  <a:cubicBezTo>
                    <a:pt x="279" y="559"/>
                    <a:pt x="282" y="559"/>
                    <a:pt x="285" y="558"/>
                  </a:cubicBezTo>
                  <a:cubicBezTo>
                    <a:pt x="285" y="558"/>
                    <a:pt x="286" y="558"/>
                    <a:pt x="286" y="558"/>
                  </a:cubicBezTo>
                  <a:close/>
                  <a:moveTo>
                    <a:pt x="263" y="480"/>
                  </a:moveTo>
                  <a:cubicBezTo>
                    <a:pt x="263" y="480"/>
                    <a:pt x="263" y="480"/>
                    <a:pt x="263" y="480"/>
                  </a:cubicBezTo>
                  <a:cubicBezTo>
                    <a:pt x="263" y="484"/>
                    <a:pt x="263" y="488"/>
                    <a:pt x="263" y="491"/>
                  </a:cubicBezTo>
                  <a:cubicBezTo>
                    <a:pt x="264" y="491"/>
                    <a:pt x="265" y="492"/>
                    <a:pt x="266" y="492"/>
                  </a:cubicBezTo>
                  <a:cubicBezTo>
                    <a:pt x="268" y="492"/>
                    <a:pt x="271" y="493"/>
                    <a:pt x="273" y="493"/>
                  </a:cubicBezTo>
                  <a:cubicBezTo>
                    <a:pt x="276" y="493"/>
                    <a:pt x="280" y="493"/>
                    <a:pt x="283" y="493"/>
                  </a:cubicBezTo>
                  <a:cubicBezTo>
                    <a:pt x="283" y="489"/>
                    <a:pt x="284" y="486"/>
                    <a:pt x="284" y="482"/>
                  </a:cubicBezTo>
                  <a:cubicBezTo>
                    <a:pt x="284" y="481"/>
                    <a:pt x="284" y="480"/>
                    <a:pt x="284" y="479"/>
                  </a:cubicBezTo>
                  <a:cubicBezTo>
                    <a:pt x="281" y="479"/>
                    <a:pt x="278" y="480"/>
                    <a:pt x="274" y="480"/>
                  </a:cubicBezTo>
                  <a:cubicBezTo>
                    <a:pt x="271" y="480"/>
                    <a:pt x="266" y="482"/>
                    <a:pt x="263" y="479"/>
                  </a:cubicBezTo>
                  <a:cubicBezTo>
                    <a:pt x="263" y="479"/>
                    <a:pt x="263" y="479"/>
                    <a:pt x="263" y="479"/>
                  </a:cubicBezTo>
                  <a:cubicBezTo>
                    <a:pt x="263" y="479"/>
                    <a:pt x="263" y="480"/>
                    <a:pt x="263" y="480"/>
                  </a:cubicBezTo>
                  <a:close/>
                  <a:moveTo>
                    <a:pt x="277" y="638"/>
                  </a:moveTo>
                  <a:cubicBezTo>
                    <a:pt x="277" y="638"/>
                    <a:pt x="277" y="638"/>
                    <a:pt x="277" y="638"/>
                  </a:cubicBezTo>
                  <a:cubicBezTo>
                    <a:pt x="284" y="636"/>
                    <a:pt x="288" y="631"/>
                    <a:pt x="290" y="625"/>
                  </a:cubicBezTo>
                  <a:cubicBezTo>
                    <a:pt x="291" y="624"/>
                    <a:pt x="291" y="621"/>
                    <a:pt x="292" y="618"/>
                  </a:cubicBezTo>
                  <a:cubicBezTo>
                    <a:pt x="291" y="618"/>
                    <a:pt x="290" y="618"/>
                    <a:pt x="289" y="618"/>
                  </a:cubicBezTo>
                  <a:cubicBezTo>
                    <a:pt x="282" y="617"/>
                    <a:pt x="274" y="617"/>
                    <a:pt x="267" y="617"/>
                  </a:cubicBezTo>
                  <a:cubicBezTo>
                    <a:pt x="263" y="617"/>
                    <a:pt x="260" y="617"/>
                    <a:pt x="256" y="617"/>
                  </a:cubicBezTo>
                  <a:cubicBezTo>
                    <a:pt x="260" y="628"/>
                    <a:pt x="265" y="641"/>
                    <a:pt x="277" y="638"/>
                  </a:cubicBezTo>
                  <a:close/>
                  <a:moveTo>
                    <a:pt x="242" y="585"/>
                  </a:moveTo>
                  <a:cubicBezTo>
                    <a:pt x="242" y="585"/>
                    <a:pt x="242" y="585"/>
                    <a:pt x="242" y="585"/>
                  </a:cubicBezTo>
                  <a:cubicBezTo>
                    <a:pt x="239" y="589"/>
                    <a:pt x="239" y="595"/>
                    <a:pt x="239" y="600"/>
                  </a:cubicBezTo>
                  <a:cubicBezTo>
                    <a:pt x="239" y="599"/>
                    <a:pt x="239" y="600"/>
                    <a:pt x="239" y="601"/>
                  </a:cubicBezTo>
                  <a:cubicBezTo>
                    <a:pt x="240" y="601"/>
                    <a:pt x="240" y="602"/>
                    <a:pt x="240" y="602"/>
                  </a:cubicBezTo>
                  <a:cubicBezTo>
                    <a:pt x="242" y="602"/>
                    <a:pt x="243" y="603"/>
                    <a:pt x="244" y="604"/>
                  </a:cubicBezTo>
                  <a:cubicBezTo>
                    <a:pt x="245" y="604"/>
                    <a:pt x="246" y="603"/>
                    <a:pt x="248" y="603"/>
                  </a:cubicBezTo>
                  <a:cubicBezTo>
                    <a:pt x="251" y="603"/>
                    <a:pt x="255" y="603"/>
                    <a:pt x="260" y="603"/>
                  </a:cubicBezTo>
                  <a:cubicBezTo>
                    <a:pt x="266" y="603"/>
                    <a:pt x="273" y="603"/>
                    <a:pt x="280" y="603"/>
                  </a:cubicBezTo>
                  <a:cubicBezTo>
                    <a:pt x="291" y="604"/>
                    <a:pt x="302" y="607"/>
                    <a:pt x="312" y="604"/>
                  </a:cubicBezTo>
                  <a:cubicBezTo>
                    <a:pt x="315" y="603"/>
                    <a:pt x="316" y="602"/>
                    <a:pt x="315" y="598"/>
                  </a:cubicBezTo>
                  <a:cubicBezTo>
                    <a:pt x="314" y="593"/>
                    <a:pt x="312" y="588"/>
                    <a:pt x="309" y="583"/>
                  </a:cubicBezTo>
                  <a:cubicBezTo>
                    <a:pt x="306" y="579"/>
                    <a:pt x="302" y="575"/>
                    <a:pt x="298" y="571"/>
                  </a:cubicBezTo>
                  <a:cubicBezTo>
                    <a:pt x="297" y="570"/>
                    <a:pt x="295" y="569"/>
                    <a:pt x="293" y="567"/>
                  </a:cubicBezTo>
                  <a:cubicBezTo>
                    <a:pt x="290" y="568"/>
                    <a:pt x="288" y="569"/>
                    <a:pt x="285" y="570"/>
                  </a:cubicBezTo>
                  <a:cubicBezTo>
                    <a:pt x="282" y="571"/>
                    <a:pt x="278" y="571"/>
                    <a:pt x="274" y="571"/>
                  </a:cubicBezTo>
                  <a:cubicBezTo>
                    <a:pt x="269" y="571"/>
                    <a:pt x="262" y="570"/>
                    <a:pt x="258" y="566"/>
                  </a:cubicBezTo>
                  <a:cubicBezTo>
                    <a:pt x="256" y="568"/>
                    <a:pt x="254" y="570"/>
                    <a:pt x="252" y="572"/>
                  </a:cubicBezTo>
                  <a:cubicBezTo>
                    <a:pt x="248" y="575"/>
                    <a:pt x="244" y="580"/>
                    <a:pt x="242" y="585"/>
                  </a:cubicBezTo>
                  <a:close/>
                  <a:moveTo>
                    <a:pt x="262" y="476"/>
                  </a:moveTo>
                  <a:cubicBezTo>
                    <a:pt x="262" y="476"/>
                    <a:pt x="262" y="476"/>
                    <a:pt x="262" y="476"/>
                  </a:cubicBezTo>
                  <a:cubicBezTo>
                    <a:pt x="263" y="476"/>
                    <a:pt x="263" y="476"/>
                    <a:pt x="263" y="476"/>
                  </a:cubicBezTo>
                  <a:cubicBezTo>
                    <a:pt x="265" y="473"/>
                    <a:pt x="269" y="473"/>
                    <a:pt x="273" y="473"/>
                  </a:cubicBezTo>
                  <a:cubicBezTo>
                    <a:pt x="277" y="473"/>
                    <a:pt x="281" y="473"/>
                    <a:pt x="284" y="473"/>
                  </a:cubicBezTo>
                  <a:cubicBezTo>
                    <a:pt x="285" y="469"/>
                    <a:pt x="285" y="465"/>
                    <a:pt x="285" y="462"/>
                  </a:cubicBezTo>
                  <a:cubicBezTo>
                    <a:pt x="281" y="461"/>
                    <a:pt x="276" y="461"/>
                    <a:pt x="272" y="461"/>
                  </a:cubicBezTo>
                  <a:cubicBezTo>
                    <a:pt x="268" y="461"/>
                    <a:pt x="265" y="461"/>
                    <a:pt x="261" y="461"/>
                  </a:cubicBezTo>
                  <a:cubicBezTo>
                    <a:pt x="262" y="466"/>
                    <a:pt x="262" y="471"/>
                    <a:pt x="262" y="476"/>
                  </a:cubicBezTo>
                  <a:close/>
                  <a:moveTo>
                    <a:pt x="245" y="445"/>
                  </a:moveTo>
                  <a:cubicBezTo>
                    <a:pt x="245" y="445"/>
                    <a:pt x="245" y="445"/>
                    <a:pt x="245" y="445"/>
                  </a:cubicBezTo>
                  <a:cubicBezTo>
                    <a:pt x="257" y="445"/>
                    <a:pt x="268" y="446"/>
                    <a:pt x="280" y="446"/>
                  </a:cubicBezTo>
                  <a:cubicBezTo>
                    <a:pt x="292" y="446"/>
                    <a:pt x="304" y="446"/>
                    <a:pt x="316" y="447"/>
                  </a:cubicBezTo>
                  <a:cubicBezTo>
                    <a:pt x="319" y="448"/>
                    <a:pt x="323" y="449"/>
                    <a:pt x="326" y="447"/>
                  </a:cubicBezTo>
                  <a:cubicBezTo>
                    <a:pt x="327" y="447"/>
                    <a:pt x="327" y="444"/>
                    <a:pt x="327" y="445"/>
                  </a:cubicBezTo>
                  <a:cubicBezTo>
                    <a:pt x="327" y="444"/>
                    <a:pt x="327" y="442"/>
                    <a:pt x="327" y="440"/>
                  </a:cubicBezTo>
                  <a:cubicBezTo>
                    <a:pt x="327" y="440"/>
                    <a:pt x="327" y="439"/>
                    <a:pt x="327" y="438"/>
                  </a:cubicBezTo>
                  <a:cubicBezTo>
                    <a:pt x="324" y="438"/>
                    <a:pt x="322" y="438"/>
                    <a:pt x="320" y="438"/>
                  </a:cubicBezTo>
                  <a:cubicBezTo>
                    <a:pt x="316" y="438"/>
                    <a:pt x="312" y="439"/>
                    <a:pt x="309" y="439"/>
                  </a:cubicBezTo>
                  <a:cubicBezTo>
                    <a:pt x="299" y="439"/>
                    <a:pt x="290" y="440"/>
                    <a:pt x="281" y="440"/>
                  </a:cubicBezTo>
                  <a:cubicBezTo>
                    <a:pt x="271" y="441"/>
                    <a:pt x="262" y="441"/>
                    <a:pt x="253" y="441"/>
                  </a:cubicBezTo>
                  <a:cubicBezTo>
                    <a:pt x="248" y="440"/>
                    <a:pt x="243" y="440"/>
                    <a:pt x="239" y="440"/>
                  </a:cubicBezTo>
                  <a:cubicBezTo>
                    <a:pt x="235" y="439"/>
                    <a:pt x="230" y="440"/>
                    <a:pt x="226" y="438"/>
                  </a:cubicBezTo>
                  <a:cubicBezTo>
                    <a:pt x="225" y="440"/>
                    <a:pt x="225" y="442"/>
                    <a:pt x="224" y="444"/>
                  </a:cubicBezTo>
                  <a:cubicBezTo>
                    <a:pt x="225" y="445"/>
                    <a:pt x="226" y="445"/>
                    <a:pt x="227" y="445"/>
                  </a:cubicBezTo>
                  <a:cubicBezTo>
                    <a:pt x="232" y="446"/>
                    <a:pt x="239" y="446"/>
                    <a:pt x="245" y="445"/>
                  </a:cubicBezTo>
                  <a:close/>
                  <a:moveTo>
                    <a:pt x="210" y="316"/>
                  </a:moveTo>
                  <a:cubicBezTo>
                    <a:pt x="210" y="316"/>
                    <a:pt x="210" y="316"/>
                    <a:pt x="210" y="316"/>
                  </a:cubicBezTo>
                  <a:cubicBezTo>
                    <a:pt x="210" y="315"/>
                    <a:pt x="210" y="313"/>
                    <a:pt x="210" y="311"/>
                  </a:cubicBezTo>
                  <a:cubicBezTo>
                    <a:pt x="210" y="311"/>
                    <a:pt x="210" y="310"/>
                    <a:pt x="210" y="310"/>
                  </a:cubicBezTo>
                  <a:cubicBezTo>
                    <a:pt x="207" y="304"/>
                    <a:pt x="204" y="300"/>
                    <a:pt x="200" y="296"/>
                  </a:cubicBezTo>
                  <a:cubicBezTo>
                    <a:pt x="197" y="293"/>
                    <a:pt x="195" y="291"/>
                    <a:pt x="193" y="289"/>
                  </a:cubicBezTo>
                  <a:cubicBezTo>
                    <a:pt x="192" y="289"/>
                    <a:pt x="192" y="289"/>
                    <a:pt x="192" y="289"/>
                  </a:cubicBezTo>
                  <a:cubicBezTo>
                    <a:pt x="188" y="292"/>
                    <a:pt x="184" y="295"/>
                    <a:pt x="181" y="299"/>
                  </a:cubicBezTo>
                  <a:cubicBezTo>
                    <a:pt x="186" y="299"/>
                    <a:pt x="191" y="304"/>
                    <a:pt x="195" y="308"/>
                  </a:cubicBezTo>
                  <a:cubicBezTo>
                    <a:pt x="199" y="311"/>
                    <a:pt x="202" y="316"/>
                    <a:pt x="205" y="320"/>
                  </a:cubicBezTo>
                  <a:cubicBezTo>
                    <a:pt x="207" y="319"/>
                    <a:pt x="208" y="318"/>
                    <a:pt x="210" y="316"/>
                  </a:cubicBezTo>
                  <a:close/>
                  <a:moveTo>
                    <a:pt x="193" y="351"/>
                  </a:moveTo>
                  <a:cubicBezTo>
                    <a:pt x="193" y="351"/>
                    <a:pt x="193" y="351"/>
                    <a:pt x="193" y="351"/>
                  </a:cubicBezTo>
                  <a:cubicBezTo>
                    <a:pt x="190" y="349"/>
                    <a:pt x="186" y="346"/>
                    <a:pt x="184" y="343"/>
                  </a:cubicBezTo>
                  <a:cubicBezTo>
                    <a:pt x="179" y="339"/>
                    <a:pt x="173" y="335"/>
                    <a:pt x="169" y="330"/>
                  </a:cubicBezTo>
                  <a:cubicBezTo>
                    <a:pt x="169" y="328"/>
                    <a:pt x="169" y="327"/>
                    <a:pt x="171" y="327"/>
                  </a:cubicBezTo>
                  <a:cubicBezTo>
                    <a:pt x="177" y="327"/>
                    <a:pt x="182" y="332"/>
                    <a:pt x="185" y="336"/>
                  </a:cubicBezTo>
                  <a:cubicBezTo>
                    <a:pt x="188" y="339"/>
                    <a:pt x="191" y="342"/>
                    <a:pt x="194" y="345"/>
                  </a:cubicBezTo>
                  <a:cubicBezTo>
                    <a:pt x="196" y="338"/>
                    <a:pt x="198" y="331"/>
                    <a:pt x="202" y="325"/>
                  </a:cubicBezTo>
                  <a:cubicBezTo>
                    <a:pt x="198" y="321"/>
                    <a:pt x="195" y="318"/>
                    <a:pt x="192" y="314"/>
                  </a:cubicBezTo>
                  <a:cubicBezTo>
                    <a:pt x="189" y="312"/>
                    <a:pt x="187" y="310"/>
                    <a:pt x="184" y="308"/>
                  </a:cubicBezTo>
                  <a:cubicBezTo>
                    <a:pt x="182" y="306"/>
                    <a:pt x="180" y="305"/>
                    <a:pt x="179" y="302"/>
                  </a:cubicBezTo>
                  <a:cubicBezTo>
                    <a:pt x="174" y="308"/>
                    <a:pt x="171" y="314"/>
                    <a:pt x="169" y="321"/>
                  </a:cubicBezTo>
                  <a:cubicBezTo>
                    <a:pt x="166" y="330"/>
                    <a:pt x="166" y="339"/>
                    <a:pt x="164" y="347"/>
                  </a:cubicBezTo>
                  <a:cubicBezTo>
                    <a:pt x="164" y="350"/>
                    <a:pt x="163" y="352"/>
                    <a:pt x="163" y="354"/>
                  </a:cubicBezTo>
                  <a:cubicBezTo>
                    <a:pt x="164" y="355"/>
                    <a:pt x="165" y="356"/>
                    <a:pt x="166" y="356"/>
                  </a:cubicBezTo>
                  <a:cubicBezTo>
                    <a:pt x="169" y="358"/>
                    <a:pt x="173" y="361"/>
                    <a:pt x="176" y="363"/>
                  </a:cubicBezTo>
                  <a:cubicBezTo>
                    <a:pt x="178" y="365"/>
                    <a:pt x="179" y="367"/>
                    <a:pt x="181" y="370"/>
                  </a:cubicBezTo>
                  <a:cubicBezTo>
                    <a:pt x="182" y="372"/>
                    <a:pt x="184" y="375"/>
                    <a:pt x="186" y="377"/>
                  </a:cubicBezTo>
                  <a:cubicBezTo>
                    <a:pt x="190" y="369"/>
                    <a:pt x="191" y="360"/>
                    <a:pt x="193" y="351"/>
                  </a:cubicBezTo>
                  <a:close/>
                  <a:moveTo>
                    <a:pt x="183" y="383"/>
                  </a:moveTo>
                  <a:cubicBezTo>
                    <a:pt x="183" y="383"/>
                    <a:pt x="183" y="383"/>
                    <a:pt x="183" y="383"/>
                  </a:cubicBezTo>
                  <a:cubicBezTo>
                    <a:pt x="183" y="382"/>
                    <a:pt x="184" y="381"/>
                    <a:pt x="185" y="380"/>
                  </a:cubicBezTo>
                  <a:cubicBezTo>
                    <a:pt x="180" y="378"/>
                    <a:pt x="177" y="373"/>
                    <a:pt x="174" y="370"/>
                  </a:cubicBezTo>
                  <a:cubicBezTo>
                    <a:pt x="171" y="367"/>
                    <a:pt x="168" y="365"/>
                    <a:pt x="164" y="362"/>
                  </a:cubicBezTo>
                  <a:cubicBezTo>
                    <a:pt x="163" y="362"/>
                    <a:pt x="162" y="361"/>
                    <a:pt x="161" y="360"/>
                  </a:cubicBezTo>
                  <a:cubicBezTo>
                    <a:pt x="159" y="365"/>
                    <a:pt x="156" y="369"/>
                    <a:pt x="153" y="372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6" y="374"/>
                    <a:pt x="159" y="378"/>
                    <a:pt x="161" y="381"/>
                  </a:cubicBezTo>
                  <a:cubicBezTo>
                    <a:pt x="164" y="386"/>
                    <a:pt x="166" y="392"/>
                    <a:pt x="168" y="397"/>
                  </a:cubicBezTo>
                  <a:cubicBezTo>
                    <a:pt x="174" y="393"/>
                    <a:pt x="179" y="388"/>
                    <a:pt x="183" y="383"/>
                  </a:cubicBezTo>
                  <a:close/>
                  <a:moveTo>
                    <a:pt x="118" y="413"/>
                  </a:moveTo>
                  <a:cubicBezTo>
                    <a:pt x="118" y="413"/>
                    <a:pt x="118" y="413"/>
                    <a:pt x="118" y="413"/>
                  </a:cubicBezTo>
                  <a:cubicBezTo>
                    <a:pt x="118" y="414"/>
                    <a:pt x="118" y="414"/>
                    <a:pt x="118" y="415"/>
                  </a:cubicBezTo>
                  <a:cubicBezTo>
                    <a:pt x="120" y="414"/>
                    <a:pt x="123" y="413"/>
                    <a:pt x="126" y="413"/>
                  </a:cubicBezTo>
                  <a:cubicBezTo>
                    <a:pt x="130" y="412"/>
                    <a:pt x="134" y="411"/>
                    <a:pt x="137" y="410"/>
                  </a:cubicBezTo>
                  <a:cubicBezTo>
                    <a:pt x="144" y="409"/>
                    <a:pt x="149" y="407"/>
                    <a:pt x="155" y="404"/>
                  </a:cubicBezTo>
                  <a:cubicBezTo>
                    <a:pt x="158" y="403"/>
                    <a:pt x="161" y="401"/>
                    <a:pt x="164" y="399"/>
                  </a:cubicBezTo>
                  <a:cubicBezTo>
                    <a:pt x="162" y="395"/>
                    <a:pt x="159" y="391"/>
                    <a:pt x="157" y="386"/>
                  </a:cubicBezTo>
                  <a:cubicBezTo>
                    <a:pt x="155" y="383"/>
                    <a:pt x="151" y="380"/>
                    <a:pt x="149" y="376"/>
                  </a:cubicBezTo>
                  <a:cubicBezTo>
                    <a:pt x="145" y="379"/>
                    <a:pt x="141" y="381"/>
                    <a:pt x="137" y="383"/>
                  </a:cubicBezTo>
                  <a:cubicBezTo>
                    <a:pt x="137" y="384"/>
                    <a:pt x="137" y="385"/>
                    <a:pt x="137" y="385"/>
                  </a:cubicBezTo>
                  <a:cubicBezTo>
                    <a:pt x="140" y="392"/>
                    <a:pt x="141" y="398"/>
                    <a:pt x="143" y="404"/>
                  </a:cubicBezTo>
                  <a:cubicBezTo>
                    <a:pt x="144" y="407"/>
                    <a:pt x="139" y="409"/>
                    <a:pt x="138" y="407"/>
                  </a:cubicBezTo>
                  <a:cubicBezTo>
                    <a:pt x="135" y="402"/>
                    <a:pt x="134" y="396"/>
                    <a:pt x="132" y="391"/>
                  </a:cubicBezTo>
                  <a:cubicBezTo>
                    <a:pt x="131" y="389"/>
                    <a:pt x="131" y="387"/>
                    <a:pt x="130" y="385"/>
                  </a:cubicBezTo>
                  <a:cubicBezTo>
                    <a:pt x="125" y="387"/>
                    <a:pt x="118" y="389"/>
                    <a:pt x="112" y="388"/>
                  </a:cubicBezTo>
                  <a:cubicBezTo>
                    <a:pt x="113" y="389"/>
                    <a:pt x="113" y="389"/>
                    <a:pt x="113" y="389"/>
                  </a:cubicBezTo>
                  <a:cubicBezTo>
                    <a:pt x="116" y="397"/>
                    <a:pt x="117" y="405"/>
                    <a:pt x="118" y="413"/>
                  </a:cubicBezTo>
                  <a:close/>
                  <a:moveTo>
                    <a:pt x="104" y="429"/>
                  </a:moveTo>
                  <a:cubicBezTo>
                    <a:pt x="104" y="429"/>
                    <a:pt x="104" y="429"/>
                    <a:pt x="104" y="429"/>
                  </a:cubicBezTo>
                  <a:cubicBezTo>
                    <a:pt x="104" y="429"/>
                    <a:pt x="105" y="428"/>
                    <a:pt x="105" y="426"/>
                  </a:cubicBezTo>
                  <a:cubicBezTo>
                    <a:pt x="106" y="423"/>
                    <a:pt x="105" y="417"/>
                    <a:pt x="105" y="413"/>
                  </a:cubicBezTo>
                  <a:cubicBezTo>
                    <a:pt x="104" y="407"/>
                    <a:pt x="103" y="400"/>
                    <a:pt x="101" y="394"/>
                  </a:cubicBezTo>
                  <a:cubicBezTo>
                    <a:pt x="101" y="392"/>
                    <a:pt x="100" y="390"/>
                    <a:pt x="100" y="388"/>
                  </a:cubicBezTo>
                  <a:cubicBezTo>
                    <a:pt x="97" y="384"/>
                    <a:pt x="96" y="379"/>
                    <a:pt x="94" y="375"/>
                  </a:cubicBezTo>
                  <a:cubicBezTo>
                    <a:pt x="94" y="376"/>
                    <a:pt x="93" y="376"/>
                    <a:pt x="93" y="376"/>
                  </a:cubicBezTo>
                  <a:cubicBezTo>
                    <a:pt x="92" y="378"/>
                    <a:pt x="91" y="380"/>
                    <a:pt x="91" y="382"/>
                  </a:cubicBezTo>
                  <a:cubicBezTo>
                    <a:pt x="91" y="389"/>
                    <a:pt x="94" y="396"/>
                    <a:pt x="96" y="403"/>
                  </a:cubicBezTo>
                  <a:cubicBezTo>
                    <a:pt x="98" y="411"/>
                    <a:pt x="99" y="419"/>
                    <a:pt x="102" y="427"/>
                  </a:cubicBezTo>
                  <a:cubicBezTo>
                    <a:pt x="102" y="428"/>
                    <a:pt x="102" y="429"/>
                    <a:pt x="102" y="430"/>
                  </a:cubicBezTo>
                  <a:cubicBezTo>
                    <a:pt x="103" y="429"/>
                    <a:pt x="103" y="429"/>
                    <a:pt x="104" y="429"/>
                  </a:cubicBezTo>
                  <a:close/>
                  <a:moveTo>
                    <a:pt x="80" y="441"/>
                  </a:moveTo>
                  <a:cubicBezTo>
                    <a:pt x="80" y="441"/>
                    <a:pt x="80" y="441"/>
                    <a:pt x="80" y="441"/>
                  </a:cubicBezTo>
                  <a:cubicBezTo>
                    <a:pt x="83" y="440"/>
                    <a:pt x="85" y="437"/>
                    <a:pt x="87" y="434"/>
                  </a:cubicBezTo>
                  <a:cubicBezTo>
                    <a:pt x="87" y="432"/>
                    <a:pt x="88" y="429"/>
                    <a:pt x="88" y="427"/>
                  </a:cubicBezTo>
                  <a:cubicBezTo>
                    <a:pt x="87" y="424"/>
                    <a:pt x="87" y="421"/>
                    <a:pt x="86" y="419"/>
                  </a:cubicBezTo>
                  <a:cubicBezTo>
                    <a:pt x="85" y="412"/>
                    <a:pt x="83" y="406"/>
                    <a:pt x="81" y="399"/>
                  </a:cubicBezTo>
                  <a:cubicBezTo>
                    <a:pt x="80" y="397"/>
                    <a:pt x="80" y="394"/>
                    <a:pt x="79" y="392"/>
                  </a:cubicBezTo>
                  <a:cubicBezTo>
                    <a:pt x="77" y="391"/>
                    <a:pt x="76" y="390"/>
                    <a:pt x="74" y="389"/>
                  </a:cubicBezTo>
                  <a:cubicBezTo>
                    <a:pt x="71" y="387"/>
                    <a:pt x="68" y="386"/>
                    <a:pt x="64" y="385"/>
                  </a:cubicBezTo>
                  <a:cubicBezTo>
                    <a:pt x="59" y="385"/>
                    <a:pt x="55" y="384"/>
                    <a:pt x="50" y="385"/>
                  </a:cubicBezTo>
                  <a:cubicBezTo>
                    <a:pt x="48" y="385"/>
                    <a:pt x="45" y="387"/>
                    <a:pt x="42" y="387"/>
                  </a:cubicBezTo>
                  <a:cubicBezTo>
                    <a:pt x="42" y="394"/>
                    <a:pt x="44" y="401"/>
                    <a:pt x="44" y="408"/>
                  </a:cubicBezTo>
                  <a:cubicBezTo>
                    <a:pt x="45" y="416"/>
                    <a:pt x="47" y="423"/>
                    <a:pt x="50" y="431"/>
                  </a:cubicBezTo>
                  <a:cubicBezTo>
                    <a:pt x="51" y="435"/>
                    <a:pt x="51" y="439"/>
                    <a:pt x="52" y="442"/>
                  </a:cubicBezTo>
                  <a:cubicBezTo>
                    <a:pt x="53" y="443"/>
                    <a:pt x="53" y="444"/>
                    <a:pt x="53" y="445"/>
                  </a:cubicBezTo>
                  <a:cubicBezTo>
                    <a:pt x="62" y="444"/>
                    <a:pt x="71" y="443"/>
                    <a:pt x="80" y="44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islîḋe"/>
            <p:cNvSpPr/>
            <p:nvPr/>
          </p:nvSpPr>
          <p:spPr bwMode="auto">
            <a:xfrm>
              <a:off x="6616196" y="3674424"/>
              <a:ext cx="77914" cy="169375"/>
            </a:xfrm>
            <a:custGeom>
              <a:avLst/>
              <a:gdLst>
                <a:gd name="T0" fmla="*/ 0 w 11"/>
                <a:gd name="T1" fmla="*/ 18 h 24"/>
                <a:gd name="T2" fmla="*/ 2 w 11"/>
                <a:gd name="T3" fmla="*/ 2 h 24"/>
                <a:gd name="T4" fmla="*/ 9 w 11"/>
                <a:gd name="T5" fmla="*/ 2 h 24"/>
                <a:gd name="T6" fmla="*/ 10 w 11"/>
                <a:gd name="T7" fmla="*/ 18 h 24"/>
                <a:gd name="T8" fmla="*/ 0 w 11"/>
                <a:gd name="T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4">
                  <a:moveTo>
                    <a:pt x="0" y="18"/>
                  </a:moveTo>
                  <a:cubicBezTo>
                    <a:pt x="0" y="13"/>
                    <a:pt x="0" y="7"/>
                    <a:pt x="2" y="2"/>
                  </a:cubicBezTo>
                  <a:cubicBezTo>
                    <a:pt x="3" y="0"/>
                    <a:pt x="8" y="0"/>
                    <a:pt x="9" y="2"/>
                  </a:cubicBezTo>
                  <a:cubicBezTo>
                    <a:pt x="11" y="7"/>
                    <a:pt x="11" y="13"/>
                    <a:pt x="10" y="18"/>
                  </a:cubicBezTo>
                  <a:cubicBezTo>
                    <a:pt x="10" y="24"/>
                    <a:pt x="1" y="24"/>
                    <a:pt x="0" y="1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ïṧlïḍé"/>
            <p:cNvSpPr/>
            <p:nvPr/>
          </p:nvSpPr>
          <p:spPr bwMode="auto">
            <a:xfrm>
              <a:off x="6517959" y="3681199"/>
              <a:ext cx="84689" cy="138889"/>
            </a:xfrm>
            <a:custGeom>
              <a:avLst/>
              <a:gdLst>
                <a:gd name="T0" fmla="*/ 8 w 12"/>
                <a:gd name="T1" fmla="*/ 19 h 20"/>
                <a:gd name="T2" fmla="*/ 3 w 12"/>
                <a:gd name="T3" fmla="*/ 19 h 20"/>
                <a:gd name="T4" fmla="*/ 1 w 12"/>
                <a:gd name="T5" fmla="*/ 9 h 20"/>
                <a:gd name="T6" fmla="*/ 7 w 12"/>
                <a:gd name="T7" fmla="*/ 0 h 20"/>
                <a:gd name="T8" fmla="*/ 11 w 12"/>
                <a:gd name="T9" fmla="*/ 3 h 20"/>
                <a:gd name="T10" fmla="*/ 11 w 12"/>
                <a:gd name="T11" fmla="*/ 10 h 20"/>
                <a:gd name="T12" fmla="*/ 8 w 12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">
                  <a:moveTo>
                    <a:pt x="8" y="19"/>
                  </a:moveTo>
                  <a:cubicBezTo>
                    <a:pt x="7" y="20"/>
                    <a:pt x="4" y="20"/>
                    <a:pt x="3" y="19"/>
                  </a:cubicBezTo>
                  <a:cubicBezTo>
                    <a:pt x="0" y="16"/>
                    <a:pt x="1" y="12"/>
                    <a:pt x="1" y="9"/>
                  </a:cubicBezTo>
                  <a:cubicBezTo>
                    <a:pt x="2" y="5"/>
                    <a:pt x="3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ubicBezTo>
                    <a:pt x="12" y="5"/>
                    <a:pt x="11" y="8"/>
                    <a:pt x="11" y="10"/>
                  </a:cubicBezTo>
                  <a:cubicBezTo>
                    <a:pt x="11" y="14"/>
                    <a:pt x="11" y="17"/>
                    <a:pt x="8" y="1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íşḷíḑè"/>
            <p:cNvSpPr/>
            <p:nvPr/>
          </p:nvSpPr>
          <p:spPr bwMode="auto">
            <a:xfrm>
              <a:off x="6419720" y="3667649"/>
              <a:ext cx="84689" cy="165989"/>
            </a:xfrm>
            <a:custGeom>
              <a:avLst/>
              <a:gdLst>
                <a:gd name="T0" fmla="*/ 1 w 12"/>
                <a:gd name="T1" fmla="*/ 20 h 24"/>
                <a:gd name="T2" fmla="*/ 4 w 12"/>
                <a:gd name="T3" fmla="*/ 2 h 24"/>
                <a:gd name="T4" fmla="*/ 10 w 12"/>
                <a:gd name="T5" fmla="*/ 2 h 24"/>
                <a:gd name="T6" fmla="*/ 10 w 12"/>
                <a:gd name="T7" fmla="*/ 20 h 24"/>
                <a:gd name="T8" fmla="*/ 1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1" y="20"/>
                  </a:moveTo>
                  <a:cubicBezTo>
                    <a:pt x="0" y="14"/>
                    <a:pt x="1" y="7"/>
                    <a:pt x="4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7"/>
                    <a:pt x="11" y="14"/>
                    <a:pt x="10" y="20"/>
                  </a:cubicBezTo>
                  <a:cubicBezTo>
                    <a:pt x="8" y="23"/>
                    <a:pt x="3" y="24"/>
                    <a:pt x="1" y="2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îṧlîďe"/>
            <p:cNvSpPr/>
            <p:nvPr/>
          </p:nvSpPr>
          <p:spPr bwMode="auto">
            <a:xfrm>
              <a:off x="6419720" y="3667649"/>
              <a:ext cx="84689" cy="165989"/>
            </a:xfrm>
            <a:custGeom>
              <a:avLst/>
              <a:gdLst>
                <a:gd name="T0" fmla="*/ 1 w 12"/>
                <a:gd name="T1" fmla="*/ 20 h 24"/>
                <a:gd name="T2" fmla="*/ 4 w 12"/>
                <a:gd name="T3" fmla="*/ 2 h 24"/>
                <a:gd name="T4" fmla="*/ 10 w 12"/>
                <a:gd name="T5" fmla="*/ 2 h 24"/>
                <a:gd name="T6" fmla="*/ 10 w 12"/>
                <a:gd name="T7" fmla="*/ 20 h 24"/>
                <a:gd name="T8" fmla="*/ 1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1" y="20"/>
                  </a:moveTo>
                  <a:cubicBezTo>
                    <a:pt x="0" y="14"/>
                    <a:pt x="1" y="7"/>
                    <a:pt x="4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7"/>
                    <a:pt x="11" y="14"/>
                    <a:pt x="10" y="20"/>
                  </a:cubicBezTo>
                  <a:cubicBezTo>
                    <a:pt x="8" y="23"/>
                    <a:pt x="3" y="24"/>
                    <a:pt x="1" y="2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i$ľïḓé"/>
            <p:cNvSpPr/>
            <p:nvPr/>
          </p:nvSpPr>
          <p:spPr bwMode="auto">
            <a:xfrm>
              <a:off x="6517959" y="3681199"/>
              <a:ext cx="84689" cy="138889"/>
            </a:xfrm>
            <a:custGeom>
              <a:avLst/>
              <a:gdLst>
                <a:gd name="T0" fmla="*/ 8 w 12"/>
                <a:gd name="T1" fmla="*/ 19 h 20"/>
                <a:gd name="T2" fmla="*/ 3 w 12"/>
                <a:gd name="T3" fmla="*/ 19 h 20"/>
                <a:gd name="T4" fmla="*/ 1 w 12"/>
                <a:gd name="T5" fmla="*/ 9 h 20"/>
                <a:gd name="T6" fmla="*/ 7 w 12"/>
                <a:gd name="T7" fmla="*/ 0 h 20"/>
                <a:gd name="T8" fmla="*/ 11 w 12"/>
                <a:gd name="T9" fmla="*/ 3 h 20"/>
                <a:gd name="T10" fmla="*/ 11 w 12"/>
                <a:gd name="T11" fmla="*/ 10 h 20"/>
                <a:gd name="T12" fmla="*/ 8 w 12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">
                  <a:moveTo>
                    <a:pt x="8" y="19"/>
                  </a:moveTo>
                  <a:cubicBezTo>
                    <a:pt x="7" y="20"/>
                    <a:pt x="4" y="20"/>
                    <a:pt x="3" y="19"/>
                  </a:cubicBezTo>
                  <a:cubicBezTo>
                    <a:pt x="0" y="16"/>
                    <a:pt x="1" y="12"/>
                    <a:pt x="1" y="9"/>
                  </a:cubicBezTo>
                  <a:cubicBezTo>
                    <a:pt x="2" y="5"/>
                    <a:pt x="3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ubicBezTo>
                    <a:pt x="12" y="5"/>
                    <a:pt x="11" y="8"/>
                    <a:pt x="11" y="10"/>
                  </a:cubicBezTo>
                  <a:cubicBezTo>
                    <a:pt x="11" y="14"/>
                    <a:pt x="11" y="17"/>
                    <a:pt x="8" y="19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îšlîďê"/>
            <p:cNvSpPr/>
            <p:nvPr/>
          </p:nvSpPr>
          <p:spPr bwMode="auto">
            <a:xfrm>
              <a:off x="6616196" y="3674424"/>
              <a:ext cx="77914" cy="169375"/>
            </a:xfrm>
            <a:custGeom>
              <a:avLst/>
              <a:gdLst>
                <a:gd name="T0" fmla="*/ 0 w 11"/>
                <a:gd name="T1" fmla="*/ 18 h 24"/>
                <a:gd name="T2" fmla="*/ 2 w 11"/>
                <a:gd name="T3" fmla="*/ 2 h 24"/>
                <a:gd name="T4" fmla="*/ 9 w 11"/>
                <a:gd name="T5" fmla="*/ 2 h 24"/>
                <a:gd name="T6" fmla="*/ 10 w 11"/>
                <a:gd name="T7" fmla="*/ 18 h 24"/>
                <a:gd name="T8" fmla="*/ 0 w 11"/>
                <a:gd name="T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4">
                  <a:moveTo>
                    <a:pt x="0" y="18"/>
                  </a:moveTo>
                  <a:cubicBezTo>
                    <a:pt x="0" y="13"/>
                    <a:pt x="0" y="7"/>
                    <a:pt x="2" y="2"/>
                  </a:cubicBezTo>
                  <a:cubicBezTo>
                    <a:pt x="3" y="0"/>
                    <a:pt x="8" y="0"/>
                    <a:pt x="9" y="2"/>
                  </a:cubicBezTo>
                  <a:cubicBezTo>
                    <a:pt x="11" y="7"/>
                    <a:pt x="11" y="13"/>
                    <a:pt x="10" y="18"/>
                  </a:cubicBezTo>
                  <a:cubicBezTo>
                    <a:pt x="10" y="24"/>
                    <a:pt x="1" y="24"/>
                    <a:pt x="0" y="18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ïṧļiḓè"/>
            <p:cNvSpPr/>
            <p:nvPr/>
          </p:nvSpPr>
          <p:spPr bwMode="auto">
            <a:xfrm>
              <a:off x="6968496" y="4863441"/>
              <a:ext cx="464090" cy="399726"/>
            </a:xfrm>
            <a:custGeom>
              <a:avLst/>
              <a:gdLst>
                <a:gd name="T0" fmla="*/ 0 w 66"/>
                <a:gd name="T1" fmla="*/ 24 h 57"/>
                <a:gd name="T2" fmla="*/ 0 w 66"/>
                <a:gd name="T3" fmla="*/ 24 h 57"/>
                <a:gd name="T4" fmla="*/ 0 w 66"/>
                <a:gd name="T5" fmla="*/ 24 h 57"/>
                <a:gd name="T6" fmla="*/ 6 w 66"/>
                <a:gd name="T7" fmla="*/ 30 h 57"/>
                <a:gd name="T8" fmla="*/ 22 w 66"/>
                <a:gd name="T9" fmla="*/ 40 h 57"/>
                <a:gd name="T10" fmla="*/ 46 w 66"/>
                <a:gd name="T11" fmla="*/ 50 h 57"/>
                <a:gd name="T12" fmla="*/ 57 w 66"/>
                <a:gd name="T13" fmla="*/ 54 h 57"/>
                <a:gd name="T14" fmla="*/ 63 w 66"/>
                <a:gd name="T15" fmla="*/ 57 h 57"/>
                <a:gd name="T16" fmla="*/ 63 w 66"/>
                <a:gd name="T17" fmla="*/ 56 h 57"/>
                <a:gd name="T18" fmla="*/ 65 w 66"/>
                <a:gd name="T19" fmla="*/ 50 h 57"/>
                <a:gd name="T20" fmla="*/ 66 w 66"/>
                <a:gd name="T21" fmla="*/ 36 h 57"/>
                <a:gd name="T22" fmla="*/ 64 w 66"/>
                <a:gd name="T23" fmla="*/ 27 h 57"/>
                <a:gd name="T24" fmla="*/ 62 w 66"/>
                <a:gd name="T25" fmla="*/ 18 h 57"/>
                <a:gd name="T26" fmla="*/ 46 w 66"/>
                <a:gd name="T27" fmla="*/ 10 h 57"/>
                <a:gd name="T28" fmla="*/ 28 w 66"/>
                <a:gd name="T29" fmla="*/ 1 h 57"/>
                <a:gd name="T30" fmla="*/ 25 w 66"/>
                <a:gd name="T31" fmla="*/ 0 h 57"/>
                <a:gd name="T32" fmla="*/ 10 w 66"/>
                <a:gd name="T33" fmla="*/ 9 h 57"/>
                <a:gd name="T34" fmla="*/ 0 w 66"/>
                <a:gd name="T35" fmla="*/ 2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7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6"/>
                    <a:pt x="4" y="28"/>
                    <a:pt x="6" y="30"/>
                  </a:cubicBezTo>
                  <a:cubicBezTo>
                    <a:pt x="11" y="33"/>
                    <a:pt x="17" y="37"/>
                    <a:pt x="22" y="40"/>
                  </a:cubicBezTo>
                  <a:cubicBezTo>
                    <a:pt x="29" y="44"/>
                    <a:pt x="37" y="47"/>
                    <a:pt x="46" y="50"/>
                  </a:cubicBezTo>
                  <a:cubicBezTo>
                    <a:pt x="49" y="51"/>
                    <a:pt x="53" y="53"/>
                    <a:pt x="57" y="54"/>
                  </a:cubicBezTo>
                  <a:cubicBezTo>
                    <a:pt x="59" y="55"/>
                    <a:pt x="61" y="56"/>
                    <a:pt x="63" y="57"/>
                  </a:cubicBezTo>
                  <a:cubicBezTo>
                    <a:pt x="63" y="57"/>
                    <a:pt x="63" y="57"/>
                    <a:pt x="63" y="56"/>
                  </a:cubicBezTo>
                  <a:cubicBezTo>
                    <a:pt x="64" y="54"/>
                    <a:pt x="65" y="52"/>
                    <a:pt x="65" y="50"/>
                  </a:cubicBezTo>
                  <a:cubicBezTo>
                    <a:pt x="66" y="45"/>
                    <a:pt x="66" y="40"/>
                    <a:pt x="66" y="36"/>
                  </a:cubicBezTo>
                  <a:cubicBezTo>
                    <a:pt x="66" y="32"/>
                    <a:pt x="65" y="29"/>
                    <a:pt x="64" y="27"/>
                  </a:cubicBezTo>
                  <a:cubicBezTo>
                    <a:pt x="63" y="24"/>
                    <a:pt x="62" y="20"/>
                    <a:pt x="62" y="18"/>
                  </a:cubicBezTo>
                  <a:cubicBezTo>
                    <a:pt x="56" y="15"/>
                    <a:pt x="51" y="12"/>
                    <a:pt x="46" y="10"/>
                  </a:cubicBezTo>
                  <a:cubicBezTo>
                    <a:pt x="40" y="7"/>
                    <a:pt x="34" y="3"/>
                    <a:pt x="28" y="1"/>
                  </a:cubicBezTo>
                  <a:cubicBezTo>
                    <a:pt x="27" y="0"/>
                    <a:pt x="26" y="0"/>
                    <a:pt x="25" y="0"/>
                  </a:cubicBezTo>
                  <a:cubicBezTo>
                    <a:pt x="20" y="3"/>
                    <a:pt x="14" y="5"/>
                    <a:pt x="10" y="9"/>
                  </a:cubicBezTo>
                  <a:cubicBezTo>
                    <a:pt x="5" y="13"/>
                    <a:pt x="2" y="18"/>
                    <a:pt x="0" y="24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îsḻïďé"/>
            <p:cNvSpPr/>
            <p:nvPr/>
          </p:nvSpPr>
          <p:spPr bwMode="auto">
            <a:xfrm>
              <a:off x="6968496" y="4863441"/>
              <a:ext cx="240514" cy="250676"/>
            </a:xfrm>
            <a:custGeom>
              <a:avLst/>
              <a:gdLst>
                <a:gd name="T0" fmla="*/ 0 w 34"/>
                <a:gd name="T1" fmla="*/ 24 h 36"/>
                <a:gd name="T2" fmla="*/ 0 w 34"/>
                <a:gd name="T3" fmla="*/ 24 h 36"/>
                <a:gd name="T4" fmla="*/ 0 w 34"/>
                <a:gd name="T5" fmla="*/ 24 h 36"/>
                <a:gd name="T6" fmla="*/ 6 w 34"/>
                <a:gd name="T7" fmla="*/ 30 h 36"/>
                <a:gd name="T8" fmla="*/ 14 w 34"/>
                <a:gd name="T9" fmla="*/ 36 h 36"/>
                <a:gd name="T10" fmla="*/ 34 w 34"/>
                <a:gd name="T11" fmla="*/ 3 h 36"/>
                <a:gd name="T12" fmla="*/ 28 w 34"/>
                <a:gd name="T13" fmla="*/ 1 h 36"/>
                <a:gd name="T14" fmla="*/ 25 w 34"/>
                <a:gd name="T15" fmla="*/ 0 h 36"/>
                <a:gd name="T16" fmla="*/ 10 w 34"/>
                <a:gd name="T17" fmla="*/ 9 h 36"/>
                <a:gd name="T18" fmla="*/ 0 w 34"/>
                <a:gd name="T1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6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6"/>
                    <a:pt x="4" y="28"/>
                    <a:pt x="6" y="30"/>
                  </a:cubicBezTo>
                  <a:cubicBezTo>
                    <a:pt x="9" y="32"/>
                    <a:pt x="11" y="34"/>
                    <a:pt x="14" y="36"/>
                  </a:cubicBezTo>
                  <a:cubicBezTo>
                    <a:pt x="17" y="20"/>
                    <a:pt x="28" y="10"/>
                    <a:pt x="34" y="3"/>
                  </a:cubicBezTo>
                  <a:cubicBezTo>
                    <a:pt x="32" y="2"/>
                    <a:pt x="30" y="2"/>
                    <a:pt x="28" y="1"/>
                  </a:cubicBezTo>
                  <a:cubicBezTo>
                    <a:pt x="27" y="0"/>
                    <a:pt x="26" y="0"/>
                    <a:pt x="25" y="0"/>
                  </a:cubicBezTo>
                  <a:cubicBezTo>
                    <a:pt x="20" y="3"/>
                    <a:pt x="14" y="5"/>
                    <a:pt x="10" y="9"/>
                  </a:cubicBezTo>
                  <a:cubicBezTo>
                    <a:pt x="5" y="13"/>
                    <a:pt x="2" y="18"/>
                    <a:pt x="0" y="24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iş1íďê"/>
            <p:cNvSpPr/>
            <p:nvPr/>
          </p:nvSpPr>
          <p:spPr bwMode="auto">
            <a:xfrm>
              <a:off x="6097908" y="5347853"/>
              <a:ext cx="542001" cy="287939"/>
            </a:xfrm>
            <a:custGeom>
              <a:avLst/>
              <a:gdLst>
                <a:gd name="T0" fmla="*/ 3 w 77"/>
                <a:gd name="T1" fmla="*/ 19 h 41"/>
                <a:gd name="T2" fmla="*/ 3 w 77"/>
                <a:gd name="T3" fmla="*/ 19 h 41"/>
                <a:gd name="T4" fmla="*/ 0 w 77"/>
                <a:gd name="T5" fmla="*/ 34 h 41"/>
                <a:gd name="T6" fmla="*/ 0 w 77"/>
                <a:gd name="T7" fmla="*/ 35 h 41"/>
                <a:gd name="T8" fmla="*/ 1 w 77"/>
                <a:gd name="T9" fmla="*/ 36 h 41"/>
                <a:gd name="T10" fmla="*/ 5 w 77"/>
                <a:gd name="T11" fmla="*/ 38 h 41"/>
                <a:gd name="T12" fmla="*/ 9 w 77"/>
                <a:gd name="T13" fmla="*/ 37 h 41"/>
                <a:gd name="T14" fmla="*/ 21 w 77"/>
                <a:gd name="T15" fmla="*/ 37 h 41"/>
                <a:gd name="T16" fmla="*/ 41 w 77"/>
                <a:gd name="T17" fmla="*/ 37 h 41"/>
                <a:gd name="T18" fmla="*/ 73 w 77"/>
                <a:gd name="T19" fmla="*/ 38 h 41"/>
                <a:gd name="T20" fmla="*/ 76 w 77"/>
                <a:gd name="T21" fmla="*/ 32 h 41"/>
                <a:gd name="T22" fmla="*/ 70 w 77"/>
                <a:gd name="T23" fmla="*/ 17 h 41"/>
                <a:gd name="T24" fmla="*/ 59 w 77"/>
                <a:gd name="T25" fmla="*/ 5 h 41"/>
                <a:gd name="T26" fmla="*/ 54 w 77"/>
                <a:gd name="T27" fmla="*/ 1 h 41"/>
                <a:gd name="T28" fmla="*/ 46 w 77"/>
                <a:gd name="T29" fmla="*/ 4 h 41"/>
                <a:gd name="T30" fmla="*/ 35 w 77"/>
                <a:gd name="T31" fmla="*/ 5 h 41"/>
                <a:gd name="T32" fmla="*/ 19 w 77"/>
                <a:gd name="T33" fmla="*/ 0 h 41"/>
                <a:gd name="T34" fmla="*/ 13 w 77"/>
                <a:gd name="T35" fmla="*/ 6 h 41"/>
                <a:gd name="T36" fmla="*/ 3 w 77"/>
                <a:gd name="T37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41">
                  <a:moveTo>
                    <a:pt x="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23"/>
                    <a:pt x="0" y="29"/>
                    <a:pt x="0" y="34"/>
                  </a:cubicBezTo>
                  <a:cubicBezTo>
                    <a:pt x="0" y="33"/>
                    <a:pt x="0" y="34"/>
                    <a:pt x="0" y="35"/>
                  </a:cubicBezTo>
                  <a:cubicBezTo>
                    <a:pt x="1" y="35"/>
                    <a:pt x="1" y="36"/>
                    <a:pt x="1" y="36"/>
                  </a:cubicBezTo>
                  <a:cubicBezTo>
                    <a:pt x="3" y="36"/>
                    <a:pt x="4" y="37"/>
                    <a:pt x="5" y="38"/>
                  </a:cubicBezTo>
                  <a:cubicBezTo>
                    <a:pt x="6" y="38"/>
                    <a:pt x="7" y="37"/>
                    <a:pt x="9" y="37"/>
                  </a:cubicBezTo>
                  <a:cubicBezTo>
                    <a:pt x="12" y="37"/>
                    <a:pt x="16" y="37"/>
                    <a:pt x="21" y="37"/>
                  </a:cubicBezTo>
                  <a:cubicBezTo>
                    <a:pt x="27" y="37"/>
                    <a:pt x="34" y="37"/>
                    <a:pt x="41" y="37"/>
                  </a:cubicBezTo>
                  <a:cubicBezTo>
                    <a:pt x="52" y="38"/>
                    <a:pt x="63" y="41"/>
                    <a:pt x="73" y="38"/>
                  </a:cubicBezTo>
                  <a:cubicBezTo>
                    <a:pt x="76" y="37"/>
                    <a:pt x="77" y="36"/>
                    <a:pt x="76" y="32"/>
                  </a:cubicBezTo>
                  <a:cubicBezTo>
                    <a:pt x="75" y="27"/>
                    <a:pt x="73" y="22"/>
                    <a:pt x="70" y="17"/>
                  </a:cubicBezTo>
                  <a:cubicBezTo>
                    <a:pt x="67" y="13"/>
                    <a:pt x="63" y="9"/>
                    <a:pt x="59" y="5"/>
                  </a:cubicBezTo>
                  <a:cubicBezTo>
                    <a:pt x="58" y="4"/>
                    <a:pt x="56" y="3"/>
                    <a:pt x="54" y="1"/>
                  </a:cubicBezTo>
                  <a:cubicBezTo>
                    <a:pt x="51" y="2"/>
                    <a:pt x="49" y="3"/>
                    <a:pt x="46" y="4"/>
                  </a:cubicBezTo>
                  <a:cubicBezTo>
                    <a:pt x="43" y="5"/>
                    <a:pt x="39" y="5"/>
                    <a:pt x="35" y="5"/>
                  </a:cubicBezTo>
                  <a:cubicBezTo>
                    <a:pt x="30" y="5"/>
                    <a:pt x="23" y="4"/>
                    <a:pt x="19" y="0"/>
                  </a:cubicBezTo>
                  <a:cubicBezTo>
                    <a:pt x="17" y="2"/>
                    <a:pt x="15" y="4"/>
                    <a:pt x="13" y="6"/>
                  </a:cubicBezTo>
                  <a:cubicBezTo>
                    <a:pt x="9" y="9"/>
                    <a:pt x="5" y="14"/>
                    <a:pt x="3" y="19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îṥliḑe"/>
            <p:cNvSpPr/>
            <p:nvPr/>
          </p:nvSpPr>
          <p:spPr bwMode="auto">
            <a:xfrm>
              <a:off x="6341808" y="5354628"/>
              <a:ext cx="298101" cy="281164"/>
            </a:xfrm>
            <a:custGeom>
              <a:avLst/>
              <a:gdLst>
                <a:gd name="T0" fmla="*/ 6 w 42"/>
                <a:gd name="T1" fmla="*/ 36 h 40"/>
                <a:gd name="T2" fmla="*/ 38 w 42"/>
                <a:gd name="T3" fmla="*/ 37 h 40"/>
                <a:gd name="T4" fmla="*/ 41 w 42"/>
                <a:gd name="T5" fmla="*/ 31 h 40"/>
                <a:gd name="T6" fmla="*/ 35 w 42"/>
                <a:gd name="T7" fmla="*/ 16 h 40"/>
                <a:gd name="T8" fmla="*/ 24 w 42"/>
                <a:gd name="T9" fmla="*/ 4 h 40"/>
                <a:gd name="T10" fmla="*/ 19 w 42"/>
                <a:gd name="T11" fmla="*/ 0 h 40"/>
                <a:gd name="T12" fmla="*/ 11 w 42"/>
                <a:gd name="T13" fmla="*/ 3 h 40"/>
                <a:gd name="T14" fmla="*/ 0 w 42"/>
                <a:gd name="T15" fmla="*/ 4 h 40"/>
                <a:gd name="T16" fmla="*/ 6 w 42"/>
                <a:gd name="T17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40">
                  <a:moveTo>
                    <a:pt x="6" y="36"/>
                  </a:moveTo>
                  <a:cubicBezTo>
                    <a:pt x="17" y="37"/>
                    <a:pt x="28" y="40"/>
                    <a:pt x="38" y="37"/>
                  </a:cubicBezTo>
                  <a:cubicBezTo>
                    <a:pt x="41" y="36"/>
                    <a:pt x="42" y="35"/>
                    <a:pt x="41" y="31"/>
                  </a:cubicBezTo>
                  <a:cubicBezTo>
                    <a:pt x="40" y="26"/>
                    <a:pt x="38" y="21"/>
                    <a:pt x="35" y="16"/>
                  </a:cubicBezTo>
                  <a:cubicBezTo>
                    <a:pt x="32" y="12"/>
                    <a:pt x="28" y="8"/>
                    <a:pt x="24" y="4"/>
                  </a:cubicBezTo>
                  <a:cubicBezTo>
                    <a:pt x="23" y="3"/>
                    <a:pt x="21" y="2"/>
                    <a:pt x="19" y="0"/>
                  </a:cubicBezTo>
                  <a:cubicBezTo>
                    <a:pt x="16" y="1"/>
                    <a:pt x="14" y="2"/>
                    <a:pt x="11" y="3"/>
                  </a:cubicBezTo>
                  <a:cubicBezTo>
                    <a:pt x="8" y="4"/>
                    <a:pt x="4" y="4"/>
                    <a:pt x="0" y="4"/>
                  </a:cubicBezTo>
                  <a:cubicBezTo>
                    <a:pt x="0" y="4"/>
                    <a:pt x="13" y="12"/>
                    <a:pt x="6" y="36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ïš1ídé"/>
            <p:cNvSpPr/>
            <p:nvPr/>
          </p:nvSpPr>
          <p:spPr bwMode="auto">
            <a:xfrm>
              <a:off x="4709029" y="4067375"/>
              <a:ext cx="325201" cy="430214"/>
            </a:xfrm>
            <a:custGeom>
              <a:avLst/>
              <a:gdLst>
                <a:gd name="T0" fmla="*/ 38 w 46"/>
                <a:gd name="T1" fmla="*/ 57 h 61"/>
                <a:gd name="T2" fmla="*/ 38 w 46"/>
                <a:gd name="T3" fmla="*/ 57 h 61"/>
                <a:gd name="T4" fmla="*/ 45 w 46"/>
                <a:gd name="T5" fmla="*/ 50 h 61"/>
                <a:gd name="T6" fmla="*/ 46 w 46"/>
                <a:gd name="T7" fmla="*/ 43 h 61"/>
                <a:gd name="T8" fmla="*/ 44 w 46"/>
                <a:gd name="T9" fmla="*/ 35 h 61"/>
                <a:gd name="T10" fmla="*/ 39 w 46"/>
                <a:gd name="T11" fmla="*/ 15 h 61"/>
                <a:gd name="T12" fmla="*/ 37 w 46"/>
                <a:gd name="T13" fmla="*/ 8 h 61"/>
                <a:gd name="T14" fmla="*/ 32 w 46"/>
                <a:gd name="T15" fmla="*/ 5 h 61"/>
                <a:gd name="T16" fmla="*/ 22 w 46"/>
                <a:gd name="T17" fmla="*/ 1 h 61"/>
                <a:gd name="T18" fmla="*/ 8 w 46"/>
                <a:gd name="T19" fmla="*/ 1 h 61"/>
                <a:gd name="T20" fmla="*/ 0 w 46"/>
                <a:gd name="T21" fmla="*/ 3 h 61"/>
                <a:gd name="T22" fmla="*/ 2 w 46"/>
                <a:gd name="T23" fmla="*/ 24 h 61"/>
                <a:gd name="T24" fmla="*/ 8 w 46"/>
                <a:gd name="T25" fmla="*/ 47 h 61"/>
                <a:gd name="T26" fmla="*/ 10 w 46"/>
                <a:gd name="T27" fmla="*/ 58 h 61"/>
                <a:gd name="T28" fmla="*/ 11 w 46"/>
                <a:gd name="T29" fmla="*/ 61 h 61"/>
                <a:gd name="T30" fmla="*/ 38 w 46"/>
                <a:gd name="T31" fmla="*/ 5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61">
                  <a:moveTo>
                    <a:pt x="38" y="57"/>
                  </a:moveTo>
                  <a:cubicBezTo>
                    <a:pt x="38" y="57"/>
                    <a:pt x="38" y="57"/>
                    <a:pt x="38" y="57"/>
                  </a:cubicBezTo>
                  <a:cubicBezTo>
                    <a:pt x="41" y="56"/>
                    <a:pt x="43" y="53"/>
                    <a:pt x="45" y="50"/>
                  </a:cubicBezTo>
                  <a:cubicBezTo>
                    <a:pt x="45" y="48"/>
                    <a:pt x="46" y="45"/>
                    <a:pt x="46" y="43"/>
                  </a:cubicBezTo>
                  <a:cubicBezTo>
                    <a:pt x="45" y="40"/>
                    <a:pt x="45" y="37"/>
                    <a:pt x="44" y="35"/>
                  </a:cubicBezTo>
                  <a:cubicBezTo>
                    <a:pt x="43" y="28"/>
                    <a:pt x="41" y="22"/>
                    <a:pt x="39" y="15"/>
                  </a:cubicBezTo>
                  <a:cubicBezTo>
                    <a:pt x="38" y="13"/>
                    <a:pt x="38" y="10"/>
                    <a:pt x="37" y="8"/>
                  </a:cubicBezTo>
                  <a:cubicBezTo>
                    <a:pt x="35" y="7"/>
                    <a:pt x="34" y="6"/>
                    <a:pt x="32" y="5"/>
                  </a:cubicBezTo>
                  <a:cubicBezTo>
                    <a:pt x="29" y="3"/>
                    <a:pt x="26" y="2"/>
                    <a:pt x="22" y="1"/>
                  </a:cubicBezTo>
                  <a:cubicBezTo>
                    <a:pt x="17" y="1"/>
                    <a:pt x="13" y="0"/>
                    <a:pt x="8" y="1"/>
                  </a:cubicBezTo>
                  <a:cubicBezTo>
                    <a:pt x="6" y="1"/>
                    <a:pt x="3" y="3"/>
                    <a:pt x="0" y="3"/>
                  </a:cubicBezTo>
                  <a:cubicBezTo>
                    <a:pt x="0" y="10"/>
                    <a:pt x="2" y="17"/>
                    <a:pt x="2" y="24"/>
                  </a:cubicBezTo>
                  <a:cubicBezTo>
                    <a:pt x="3" y="32"/>
                    <a:pt x="5" y="39"/>
                    <a:pt x="8" y="47"/>
                  </a:cubicBezTo>
                  <a:cubicBezTo>
                    <a:pt x="9" y="51"/>
                    <a:pt x="9" y="55"/>
                    <a:pt x="10" y="58"/>
                  </a:cubicBezTo>
                  <a:cubicBezTo>
                    <a:pt x="11" y="59"/>
                    <a:pt x="11" y="60"/>
                    <a:pt x="11" y="61"/>
                  </a:cubicBezTo>
                  <a:cubicBezTo>
                    <a:pt x="20" y="60"/>
                    <a:pt x="29" y="59"/>
                    <a:pt x="38" y="57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íŝ1ïḓê"/>
            <p:cNvSpPr/>
            <p:nvPr/>
          </p:nvSpPr>
          <p:spPr bwMode="auto">
            <a:xfrm>
              <a:off x="4736129" y="4263851"/>
              <a:ext cx="298101" cy="233739"/>
            </a:xfrm>
            <a:custGeom>
              <a:avLst/>
              <a:gdLst>
                <a:gd name="T0" fmla="*/ 34 w 42"/>
                <a:gd name="T1" fmla="*/ 29 h 33"/>
                <a:gd name="T2" fmla="*/ 34 w 42"/>
                <a:gd name="T3" fmla="*/ 29 h 33"/>
                <a:gd name="T4" fmla="*/ 41 w 42"/>
                <a:gd name="T5" fmla="*/ 22 h 33"/>
                <a:gd name="T6" fmla="*/ 42 w 42"/>
                <a:gd name="T7" fmla="*/ 15 h 33"/>
                <a:gd name="T8" fmla="*/ 40 w 42"/>
                <a:gd name="T9" fmla="*/ 7 h 33"/>
                <a:gd name="T10" fmla="*/ 39 w 42"/>
                <a:gd name="T11" fmla="*/ 0 h 33"/>
                <a:gd name="T12" fmla="*/ 0 w 42"/>
                <a:gd name="T13" fmla="*/ 3 h 33"/>
                <a:gd name="T14" fmla="*/ 4 w 42"/>
                <a:gd name="T15" fmla="*/ 19 h 33"/>
                <a:gd name="T16" fmla="*/ 6 w 42"/>
                <a:gd name="T17" fmla="*/ 30 h 33"/>
                <a:gd name="T18" fmla="*/ 7 w 42"/>
                <a:gd name="T19" fmla="*/ 33 h 33"/>
                <a:gd name="T20" fmla="*/ 34 w 42"/>
                <a:gd name="T21" fmla="*/ 2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33">
                  <a:moveTo>
                    <a:pt x="34" y="29"/>
                  </a:moveTo>
                  <a:cubicBezTo>
                    <a:pt x="34" y="29"/>
                    <a:pt x="34" y="29"/>
                    <a:pt x="34" y="29"/>
                  </a:cubicBezTo>
                  <a:cubicBezTo>
                    <a:pt x="37" y="28"/>
                    <a:pt x="39" y="25"/>
                    <a:pt x="41" y="22"/>
                  </a:cubicBezTo>
                  <a:cubicBezTo>
                    <a:pt x="41" y="20"/>
                    <a:pt x="42" y="17"/>
                    <a:pt x="42" y="15"/>
                  </a:cubicBezTo>
                  <a:cubicBezTo>
                    <a:pt x="41" y="12"/>
                    <a:pt x="41" y="9"/>
                    <a:pt x="40" y="7"/>
                  </a:cubicBezTo>
                  <a:cubicBezTo>
                    <a:pt x="40" y="5"/>
                    <a:pt x="39" y="2"/>
                    <a:pt x="39" y="0"/>
                  </a:cubicBezTo>
                  <a:cubicBezTo>
                    <a:pt x="26" y="2"/>
                    <a:pt x="13" y="3"/>
                    <a:pt x="0" y="3"/>
                  </a:cubicBezTo>
                  <a:cubicBezTo>
                    <a:pt x="1" y="9"/>
                    <a:pt x="2" y="14"/>
                    <a:pt x="4" y="19"/>
                  </a:cubicBezTo>
                  <a:cubicBezTo>
                    <a:pt x="5" y="23"/>
                    <a:pt x="5" y="27"/>
                    <a:pt x="6" y="30"/>
                  </a:cubicBezTo>
                  <a:cubicBezTo>
                    <a:pt x="7" y="31"/>
                    <a:pt x="7" y="32"/>
                    <a:pt x="7" y="33"/>
                  </a:cubicBezTo>
                  <a:cubicBezTo>
                    <a:pt x="16" y="32"/>
                    <a:pt x="25" y="31"/>
                    <a:pt x="34" y="29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ïṥ1ïdé"/>
            <p:cNvSpPr/>
            <p:nvPr/>
          </p:nvSpPr>
          <p:spPr bwMode="auto">
            <a:xfrm>
              <a:off x="6250345" y="4609376"/>
              <a:ext cx="182925" cy="687665"/>
            </a:xfrm>
            <a:custGeom>
              <a:avLst/>
              <a:gdLst>
                <a:gd name="T0" fmla="*/ 2 w 26"/>
                <a:gd name="T1" fmla="*/ 19 h 98"/>
                <a:gd name="T2" fmla="*/ 2 w 26"/>
                <a:gd name="T3" fmla="*/ 19 h 98"/>
                <a:gd name="T4" fmla="*/ 2 w 26"/>
                <a:gd name="T5" fmla="*/ 30 h 98"/>
                <a:gd name="T6" fmla="*/ 5 w 26"/>
                <a:gd name="T7" fmla="*/ 31 h 98"/>
                <a:gd name="T8" fmla="*/ 12 w 26"/>
                <a:gd name="T9" fmla="*/ 32 h 98"/>
                <a:gd name="T10" fmla="*/ 22 w 26"/>
                <a:gd name="T11" fmla="*/ 32 h 98"/>
                <a:gd name="T12" fmla="*/ 23 w 26"/>
                <a:gd name="T13" fmla="*/ 21 h 98"/>
                <a:gd name="T14" fmla="*/ 23 w 26"/>
                <a:gd name="T15" fmla="*/ 18 h 98"/>
                <a:gd name="T16" fmla="*/ 13 w 26"/>
                <a:gd name="T17" fmla="*/ 19 h 98"/>
                <a:gd name="T18" fmla="*/ 2 w 26"/>
                <a:gd name="T19" fmla="*/ 18 h 98"/>
                <a:gd name="T20" fmla="*/ 2 w 26"/>
                <a:gd name="T21" fmla="*/ 18 h 98"/>
                <a:gd name="T22" fmla="*/ 2 w 26"/>
                <a:gd name="T23" fmla="*/ 19 h 98"/>
                <a:gd name="T24" fmla="*/ 1 w 26"/>
                <a:gd name="T25" fmla="*/ 15 h 98"/>
                <a:gd name="T26" fmla="*/ 1 w 26"/>
                <a:gd name="T27" fmla="*/ 15 h 98"/>
                <a:gd name="T28" fmla="*/ 2 w 26"/>
                <a:gd name="T29" fmla="*/ 15 h 98"/>
                <a:gd name="T30" fmla="*/ 12 w 26"/>
                <a:gd name="T31" fmla="*/ 12 h 98"/>
                <a:gd name="T32" fmla="*/ 23 w 26"/>
                <a:gd name="T33" fmla="*/ 12 h 98"/>
                <a:gd name="T34" fmla="*/ 24 w 26"/>
                <a:gd name="T35" fmla="*/ 1 h 98"/>
                <a:gd name="T36" fmla="*/ 11 w 26"/>
                <a:gd name="T37" fmla="*/ 0 h 98"/>
                <a:gd name="T38" fmla="*/ 0 w 26"/>
                <a:gd name="T39" fmla="*/ 0 h 98"/>
                <a:gd name="T40" fmla="*/ 1 w 26"/>
                <a:gd name="T41" fmla="*/ 15 h 98"/>
                <a:gd name="T42" fmla="*/ 24 w 26"/>
                <a:gd name="T43" fmla="*/ 74 h 98"/>
                <a:gd name="T44" fmla="*/ 24 w 26"/>
                <a:gd name="T45" fmla="*/ 74 h 98"/>
                <a:gd name="T46" fmla="*/ 23 w 26"/>
                <a:gd name="T47" fmla="*/ 60 h 98"/>
                <a:gd name="T48" fmla="*/ 12 w 26"/>
                <a:gd name="T49" fmla="*/ 61 h 98"/>
                <a:gd name="T50" fmla="*/ 4 w 26"/>
                <a:gd name="T51" fmla="*/ 60 h 98"/>
                <a:gd name="T52" fmla="*/ 4 w 26"/>
                <a:gd name="T53" fmla="*/ 73 h 98"/>
                <a:gd name="T54" fmla="*/ 4 w 26"/>
                <a:gd name="T55" fmla="*/ 78 h 98"/>
                <a:gd name="T56" fmla="*/ 15 w 26"/>
                <a:gd name="T57" fmla="*/ 77 h 98"/>
                <a:gd name="T58" fmla="*/ 24 w 26"/>
                <a:gd name="T59" fmla="*/ 77 h 98"/>
                <a:gd name="T60" fmla="*/ 24 w 26"/>
                <a:gd name="T61" fmla="*/ 74 h 98"/>
                <a:gd name="T62" fmla="*/ 3 w 26"/>
                <a:gd name="T63" fmla="*/ 46 h 98"/>
                <a:gd name="T64" fmla="*/ 3 w 26"/>
                <a:gd name="T65" fmla="*/ 46 h 98"/>
                <a:gd name="T66" fmla="*/ 4 w 26"/>
                <a:gd name="T67" fmla="*/ 54 h 98"/>
                <a:gd name="T68" fmla="*/ 12 w 26"/>
                <a:gd name="T69" fmla="*/ 54 h 98"/>
                <a:gd name="T70" fmla="*/ 23 w 26"/>
                <a:gd name="T71" fmla="*/ 55 h 98"/>
                <a:gd name="T72" fmla="*/ 22 w 26"/>
                <a:gd name="T73" fmla="*/ 48 h 98"/>
                <a:gd name="T74" fmla="*/ 22 w 26"/>
                <a:gd name="T75" fmla="*/ 37 h 98"/>
                <a:gd name="T76" fmla="*/ 3 w 26"/>
                <a:gd name="T77" fmla="*/ 37 h 98"/>
                <a:gd name="T78" fmla="*/ 3 w 26"/>
                <a:gd name="T79" fmla="*/ 46 h 98"/>
                <a:gd name="T80" fmla="*/ 25 w 26"/>
                <a:gd name="T81" fmla="*/ 97 h 98"/>
                <a:gd name="T82" fmla="*/ 25 w 26"/>
                <a:gd name="T83" fmla="*/ 97 h 98"/>
                <a:gd name="T84" fmla="*/ 25 w 26"/>
                <a:gd name="T85" fmla="*/ 96 h 98"/>
                <a:gd name="T86" fmla="*/ 25 w 26"/>
                <a:gd name="T87" fmla="*/ 86 h 98"/>
                <a:gd name="T88" fmla="*/ 24 w 26"/>
                <a:gd name="T89" fmla="*/ 83 h 98"/>
                <a:gd name="T90" fmla="*/ 15 w 26"/>
                <a:gd name="T91" fmla="*/ 84 h 98"/>
                <a:gd name="T92" fmla="*/ 5 w 26"/>
                <a:gd name="T93" fmla="*/ 84 h 98"/>
                <a:gd name="T94" fmla="*/ 5 w 26"/>
                <a:gd name="T95" fmla="*/ 87 h 98"/>
                <a:gd name="T96" fmla="*/ 5 w 26"/>
                <a:gd name="T97" fmla="*/ 95 h 98"/>
                <a:gd name="T98" fmla="*/ 7 w 26"/>
                <a:gd name="T99" fmla="*/ 96 h 98"/>
                <a:gd name="T100" fmla="*/ 15 w 26"/>
                <a:gd name="T101" fmla="*/ 98 h 98"/>
                <a:gd name="T102" fmla="*/ 24 w 26"/>
                <a:gd name="T103" fmla="*/ 97 h 98"/>
                <a:gd name="T104" fmla="*/ 25 w 26"/>
                <a:gd name="T105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" h="98">
                  <a:moveTo>
                    <a:pt x="2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2" y="23"/>
                    <a:pt x="2" y="27"/>
                    <a:pt x="2" y="30"/>
                  </a:cubicBezTo>
                  <a:cubicBezTo>
                    <a:pt x="3" y="30"/>
                    <a:pt x="4" y="31"/>
                    <a:pt x="5" y="31"/>
                  </a:cubicBezTo>
                  <a:cubicBezTo>
                    <a:pt x="7" y="31"/>
                    <a:pt x="10" y="32"/>
                    <a:pt x="12" y="32"/>
                  </a:cubicBezTo>
                  <a:cubicBezTo>
                    <a:pt x="15" y="32"/>
                    <a:pt x="19" y="32"/>
                    <a:pt x="22" y="32"/>
                  </a:cubicBezTo>
                  <a:cubicBezTo>
                    <a:pt x="22" y="28"/>
                    <a:pt x="23" y="25"/>
                    <a:pt x="23" y="21"/>
                  </a:cubicBezTo>
                  <a:cubicBezTo>
                    <a:pt x="23" y="20"/>
                    <a:pt x="23" y="19"/>
                    <a:pt x="23" y="18"/>
                  </a:cubicBezTo>
                  <a:cubicBezTo>
                    <a:pt x="20" y="18"/>
                    <a:pt x="17" y="19"/>
                    <a:pt x="13" y="19"/>
                  </a:cubicBezTo>
                  <a:cubicBezTo>
                    <a:pt x="10" y="19"/>
                    <a:pt x="5" y="21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lose/>
                  <a:moveTo>
                    <a:pt x="1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4" y="12"/>
                    <a:pt x="8" y="12"/>
                    <a:pt x="12" y="12"/>
                  </a:cubicBezTo>
                  <a:cubicBezTo>
                    <a:pt x="16" y="12"/>
                    <a:pt x="20" y="12"/>
                    <a:pt x="23" y="12"/>
                  </a:cubicBezTo>
                  <a:cubicBezTo>
                    <a:pt x="24" y="8"/>
                    <a:pt x="24" y="4"/>
                    <a:pt x="24" y="1"/>
                  </a:cubicBezTo>
                  <a:cubicBezTo>
                    <a:pt x="20" y="0"/>
                    <a:pt x="15" y="0"/>
                    <a:pt x="11" y="0"/>
                  </a:cubicBezTo>
                  <a:cubicBezTo>
                    <a:pt x="7" y="0"/>
                    <a:pt x="4" y="0"/>
                    <a:pt x="0" y="0"/>
                  </a:cubicBezTo>
                  <a:cubicBezTo>
                    <a:pt x="1" y="5"/>
                    <a:pt x="1" y="10"/>
                    <a:pt x="1" y="15"/>
                  </a:cubicBezTo>
                  <a:close/>
                  <a:moveTo>
                    <a:pt x="24" y="74"/>
                  </a:moveTo>
                  <a:cubicBezTo>
                    <a:pt x="24" y="74"/>
                    <a:pt x="24" y="74"/>
                    <a:pt x="24" y="74"/>
                  </a:cubicBezTo>
                  <a:cubicBezTo>
                    <a:pt x="23" y="69"/>
                    <a:pt x="23" y="65"/>
                    <a:pt x="23" y="60"/>
                  </a:cubicBezTo>
                  <a:cubicBezTo>
                    <a:pt x="19" y="61"/>
                    <a:pt x="16" y="61"/>
                    <a:pt x="12" y="61"/>
                  </a:cubicBezTo>
                  <a:cubicBezTo>
                    <a:pt x="10" y="61"/>
                    <a:pt x="7" y="61"/>
                    <a:pt x="4" y="60"/>
                  </a:cubicBezTo>
                  <a:cubicBezTo>
                    <a:pt x="4" y="65"/>
                    <a:pt x="4" y="69"/>
                    <a:pt x="4" y="73"/>
                  </a:cubicBezTo>
                  <a:cubicBezTo>
                    <a:pt x="5" y="75"/>
                    <a:pt x="4" y="77"/>
                    <a:pt x="4" y="78"/>
                  </a:cubicBezTo>
                  <a:cubicBezTo>
                    <a:pt x="8" y="77"/>
                    <a:pt x="12" y="78"/>
                    <a:pt x="15" y="77"/>
                  </a:cubicBezTo>
                  <a:cubicBezTo>
                    <a:pt x="18" y="77"/>
                    <a:pt x="21" y="77"/>
                    <a:pt x="24" y="77"/>
                  </a:cubicBezTo>
                  <a:cubicBezTo>
                    <a:pt x="24" y="76"/>
                    <a:pt x="24" y="75"/>
                    <a:pt x="24" y="74"/>
                  </a:cubicBezTo>
                  <a:close/>
                  <a:moveTo>
                    <a:pt x="3" y="46"/>
                  </a:moveTo>
                  <a:cubicBezTo>
                    <a:pt x="3" y="46"/>
                    <a:pt x="3" y="46"/>
                    <a:pt x="3" y="46"/>
                  </a:cubicBezTo>
                  <a:cubicBezTo>
                    <a:pt x="4" y="49"/>
                    <a:pt x="4" y="51"/>
                    <a:pt x="4" y="54"/>
                  </a:cubicBezTo>
                  <a:cubicBezTo>
                    <a:pt x="7" y="53"/>
                    <a:pt x="10" y="54"/>
                    <a:pt x="12" y="54"/>
                  </a:cubicBezTo>
                  <a:cubicBezTo>
                    <a:pt x="16" y="55"/>
                    <a:pt x="19" y="55"/>
                    <a:pt x="23" y="55"/>
                  </a:cubicBezTo>
                  <a:cubicBezTo>
                    <a:pt x="23" y="53"/>
                    <a:pt x="22" y="50"/>
                    <a:pt x="22" y="48"/>
                  </a:cubicBezTo>
                  <a:cubicBezTo>
                    <a:pt x="22" y="44"/>
                    <a:pt x="22" y="41"/>
                    <a:pt x="22" y="37"/>
                  </a:cubicBezTo>
                  <a:cubicBezTo>
                    <a:pt x="17" y="38"/>
                    <a:pt x="8" y="39"/>
                    <a:pt x="3" y="37"/>
                  </a:cubicBezTo>
                  <a:cubicBezTo>
                    <a:pt x="3" y="40"/>
                    <a:pt x="3" y="43"/>
                    <a:pt x="3" y="46"/>
                  </a:cubicBezTo>
                  <a:close/>
                  <a:moveTo>
                    <a:pt x="25" y="97"/>
                  </a:move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6"/>
                    <a:pt x="25" y="96"/>
                  </a:cubicBezTo>
                  <a:cubicBezTo>
                    <a:pt x="26" y="93"/>
                    <a:pt x="25" y="89"/>
                    <a:pt x="25" y="86"/>
                  </a:cubicBezTo>
                  <a:cubicBezTo>
                    <a:pt x="25" y="85"/>
                    <a:pt x="25" y="84"/>
                    <a:pt x="24" y="83"/>
                  </a:cubicBezTo>
                  <a:cubicBezTo>
                    <a:pt x="21" y="84"/>
                    <a:pt x="18" y="84"/>
                    <a:pt x="15" y="84"/>
                  </a:cubicBezTo>
                  <a:cubicBezTo>
                    <a:pt x="12" y="84"/>
                    <a:pt x="8" y="85"/>
                    <a:pt x="5" y="84"/>
                  </a:cubicBezTo>
                  <a:cubicBezTo>
                    <a:pt x="5" y="85"/>
                    <a:pt x="5" y="86"/>
                    <a:pt x="5" y="87"/>
                  </a:cubicBezTo>
                  <a:cubicBezTo>
                    <a:pt x="5" y="89"/>
                    <a:pt x="5" y="92"/>
                    <a:pt x="5" y="95"/>
                  </a:cubicBezTo>
                  <a:cubicBezTo>
                    <a:pt x="6" y="95"/>
                    <a:pt x="6" y="96"/>
                    <a:pt x="7" y="96"/>
                  </a:cubicBezTo>
                  <a:cubicBezTo>
                    <a:pt x="10" y="97"/>
                    <a:pt x="12" y="98"/>
                    <a:pt x="15" y="98"/>
                  </a:cubicBezTo>
                  <a:cubicBezTo>
                    <a:pt x="18" y="98"/>
                    <a:pt x="21" y="98"/>
                    <a:pt x="24" y="97"/>
                  </a:cubicBezTo>
                  <a:cubicBezTo>
                    <a:pt x="24" y="97"/>
                    <a:pt x="25" y="97"/>
                    <a:pt x="25" y="9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islîḓê"/>
            <p:cNvSpPr/>
            <p:nvPr/>
          </p:nvSpPr>
          <p:spPr bwMode="auto">
            <a:xfrm>
              <a:off x="6314708" y="4609376"/>
              <a:ext cx="118564" cy="687665"/>
            </a:xfrm>
            <a:custGeom>
              <a:avLst/>
              <a:gdLst>
                <a:gd name="T0" fmla="*/ 3 w 17"/>
                <a:gd name="T1" fmla="*/ 32 h 98"/>
                <a:gd name="T2" fmla="*/ 13 w 17"/>
                <a:gd name="T3" fmla="*/ 32 h 98"/>
                <a:gd name="T4" fmla="*/ 14 w 17"/>
                <a:gd name="T5" fmla="*/ 21 h 98"/>
                <a:gd name="T6" fmla="*/ 14 w 17"/>
                <a:gd name="T7" fmla="*/ 18 h 98"/>
                <a:gd name="T8" fmla="*/ 4 w 17"/>
                <a:gd name="T9" fmla="*/ 19 h 98"/>
                <a:gd name="T10" fmla="*/ 2 w 17"/>
                <a:gd name="T11" fmla="*/ 19 h 98"/>
                <a:gd name="T12" fmla="*/ 3 w 17"/>
                <a:gd name="T13" fmla="*/ 32 h 98"/>
                <a:gd name="T14" fmla="*/ 0 w 17"/>
                <a:gd name="T15" fmla="*/ 0 h 98"/>
                <a:gd name="T16" fmla="*/ 2 w 17"/>
                <a:gd name="T17" fmla="*/ 12 h 98"/>
                <a:gd name="T18" fmla="*/ 3 w 17"/>
                <a:gd name="T19" fmla="*/ 12 h 98"/>
                <a:gd name="T20" fmla="*/ 14 w 17"/>
                <a:gd name="T21" fmla="*/ 12 h 98"/>
                <a:gd name="T22" fmla="*/ 15 w 17"/>
                <a:gd name="T23" fmla="*/ 1 h 98"/>
                <a:gd name="T24" fmla="*/ 2 w 17"/>
                <a:gd name="T25" fmla="*/ 0 h 98"/>
                <a:gd name="T26" fmla="*/ 0 w 17"/>
                <a:gd name="T27" fmla="*/ 0 h 98"/>
                <a:gd name="T28" fmla="*/ 4 w 17"/>
                <a:gd name="T29" fmla="*/ 38 h 98"/>
                <a:gd name="T30" fmla="*/ 5 w 17"/>
                <a:gd name="T31" fmla="*/ 55 h 98"/>
                <a:gd name="T32" fmla="*/ 14 w 17"/>
                <a:gd name="T33" fmla="*/ 55 h 98"/>
                <a:gd name="T34" fmla="*/ 13 w 17"/>
                <a:gd name="T35" fmla="*/ 48 h 98"/>
                <a:gd name="T36" fmla="*/ 13 w 17"/>
                <a:gd name="T37" fmla="*/ 37 h 98"/>
                <a:gd name="T38" fmla="*/ 4 w 17"/>
                <a:gd name="T39" fmla="*/ 38 h 98"/>
                <a:gd name="T40" fmla="*/ 5 w 17"/>
                <a:gd name="T41" fmla="*/ 61 h 98"/>
                <a:gd name="T42" fmla="*/ 5 w 17"/>
                <a:gd name="T43" fmla="*/ 77 h 98"/>
                <a:gd name="T44" fmla="*/ 6 w 17"/>
                <a:gd name="T45" fmla="*/ 77 h 98"/>
                <a:gd name="T46" fmla="*/ 15 w 17"/>
                <a:gd name="T47" fmla="*/ 77 h 98"/>
                <a:gd name="T48" fmla="*/ 15 w 17"/>
                <a:gd name="T49" fmla="*/ 74 h 98"/>
                <a:gd name="T50" fmla="*/ 15 w 17"/>
                <a:gd name="T51" fmla="*/ 74 h 98"/>
                <a:gd name="T52" fmla="*/ 14 w 17"/>
                <a:gd name="T53" fmla="*/ 60 h 98"/>
                <a:gd name="T54" fmla="*/ 5 w 17"/>
                <a:gd name="T55" fmla="*/ 61 h 98"/>
                <a:gd name="T56" fmla="*/ 5 w 17"/>
                <a:gd name="T57" fmla="*/ 84 h 98"/>
                <a:gd name="T58" fmla="*/ 5 w 17"/>
                <a:gd name="T59" fmla="*/ 98 h 98"/>
                <a:gd name="T60" fmla="*/ 6 w 17"/>
                <a:gd name="T61" fmla="*/ 98 h 98"/>
                <a:gd name="T62" fmla="*/ 15 w 17"/>
                <a:gd name="T63" fmla="*/ 97 h 98"/>
                <a:gd name="T64" fmla="*/ 16 w 17"/>
                <a:gd name="T65" fmla="*/ 97 h 98"/>
                <a:gd name="T66" fmla="*/ 16 w 17"/>
                <a:gd name="T67" fmla="*/ 97 h 98"/>
                <a:gd name="T68" fmla="*/ 16 w 17"/>
                <a:gd name="T69" fmla="*/ 96 h 98"/>
                <a:gd name="T70" fmla="*/ 16 w 17"/>
                <a:gd name="T71" fmla="*/ 86 h 98"/>
                <a:gd name="T72" fmla="*/ 15 w 17"/>
                <a:gd name="T73" fmla="*/ 83 h 98"/>
                <a:gd name="T74" fmla="*/ 6 w 17"/>
                <a:gd name="T75" fmla="*/ 84 h 98"/>
                <a:gd name="T76" fmla="*/ 5 w 17"/>
                <a:gd name="T77" fmla="*/ 8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" h="98">
                  <a:moveTo>
                    <a:pt x="3" y="32"/>
                  </a:moveTo>
                  <a:cubicBezTo>
                    <a:pt x="7" y="32"/>
                    <a:pt x="10" y="32"/>
                    <a:pt x="13" y="32"/>
                  </a:cubicBezTo>
                  <a:cubicBezTo>
                    <a:pt x="13" y="28"/>
                    <a:pt x="14" y="25"/>
                    <a:pt x="14" y="21"/>
                  </a:cubicBezTo>
                  <a:cubicBezTo>
                    <a:pt x="14" y="20"/>
                    <a:pt x="14" y="19"/>
                    <a:pt x="14" y="18"/>
                  </a:cubicBezTo>
                  <a:cubicBezTo>
                    <a:pt x="11" y="18"/>
                    <a:pt x="8" y="19"/>
                    <a:pt x="4" y="19"/>
                  </a:cubicBezTo>
                  <a:cubicBezTo>
                    <a:pt x="4" y="19"/>
                    <a:pt x="3" y="19"/>
                    <a:pt x="2" y="19"/>
                  </a:cubicBezTo>
                  <a:cubicBezTo>
                    <a:pt x="3" y="23"/>
                    <a:pt x="3" y="28"/>
                    <a:pt x="3" y="32"/>
                  </a:cubicBezTo>
                  <a:close/>
                  <a:moveTo>
                    <a:pt x="0" y="0"/>
                  </a:moveTo>
                  <a:cubicBezTo>
                    <a:pt x="1" y="4"/>
                    <a:pt x="1" y="8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7" y="12"/>
                    <a:pt x="11" y="12"/>
                    <a:pt x="14" y="12"/>
                  </a:cubicBezTo>
                  <a:cubicBezTo>
                    <a:pt x="15" y="8"/>
                    <a:pt x="15" y="4"/>
                    <a:pt x="15" y="1"/>
                  </a:cubicBezTo>
                  <a:cubicBezTo>
                    <a:pt x="11" y="0"/>
                    <a:pt x="6" y="0"/>
                    <a:pt x="2" y="0"/>
                  </a:cubicBezTo>
                  <a:lnTo>
                    <a:pt x="0" y="0"/>
                  </a:lnTo>
                  <a:close/>
                  <a:moveTo>
                    <a:pt x="4" y="38"/>
                  </a:moveTo>
                  <a:cubicBezTo>
                    <a:pt x="4" y="44"/>
                    <a:pt x="4" y="49"/>
                    <a:pt x="5" y="55"/>
                  </a:cubicBezTo>
                  <a:cubicBezTo>
                    <a:pt x="8" y="55"/>
                    <a:pt x="11" y="55"/>
                    <a:pt x="14" y="55"/>
                  </a:cubicBezTo>
                  <a:cubicBezTo>
                    <a:pt x="14" y="53"/>
                    <a:pt x="13" y="50"/>
                    <a:pt x="13" y="48"/>
                  </a:cubicBezTo>
                  <a:cubicBezTo>
                    <a:pt x="13" y="44"/>
                    <a:pt x="13" y="41"/>
                    <a:pt x="13" y="37"/>
                  </a:cubicBezTo>
                  <a:cubicBezTo>
                    <a:pt x="11" y="38"/>
                    <a:pt x="7" y="38"/>
                    <a:pt x="4" y="38"/>
                  </a:cubicBezTo>
                  <a:close/>
                  <a:moveTo>
                    <a:pt x="5" y="61"/>
                  </a:moveTo>
                  <a:cubicBezTo>
                    <a:pt x="5" y="67"/>
                    <a:pt x="5" y="72"/>
                    <a:pt x="5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9" y="77"/>
                    <a:pt x="12" y="77"/>
                    <a:pt x="15" y="77"/>
                  </a:cubicBezTo>
                  <a:cubicBezTo>
                    <a:pt x="15" y="76"/>
                    <a:pt x="15" y="75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4" y="69"/>
                    <a:pt x="14" y="65"/>
                    <a:pt x="14" y="60"/>
                  </a:cubicBezTo>
                  <a:cubicBezTo>
                    <a:pt x="11" y="61"/>
                    <a:pt x="8" y="61"/>
                    <a:pt x="5" y="61"/>
                  </a:cubicBezTo>
                  <a:close/>
                  <a:moveTo>
                    <a:pt x="5" y="84"/>
                  </a:moveTo>
                  <a:cubicBezTo>
                    <a:pt x="5" y="89"/>
                    <a:pt x="5" y="93"/>
                    <a:pt x="5" y="98"/>
                  </a:cubicBezTo>
                  <a:cubicBezTo>
                    <a:pt x="5" y="98"/>
                    <a:pt x="6" y="98"/>
                    <a:pt x="6" y="98"/>
                  </a:cubicBezTo>
                  <a:cubicBezTo>
                    <a:pt x="9" y="98"/>
                    <a:pt x="12" y="98"/>
                    <a:pt x="15" y="97"/>
                  </a:cubicBezTo>
                  <a:cubicBezTo>
                    <a:pt x="15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6"/>
                    <a:pt x="16" y="96"/>
                  </a:cubicBezTo>
                  <a:cubicBezTo>
                    <a:pt x="17" y="93"/>
                    <a:pt x="16" y="89"/>
                    <a:pt x="16" y="86"/>
                  </a:cubicBezTo>
                  <a:cubicBezTo>
                    <a:pt x="16" y="85"/>
                    <a:pt x="16" y="84"/>
                    <a:pt x="15" y="83"/>
                  </a:cubicBezTo>
                  <a:cubicBezTo>
                    <a:pt x="12" y="84"/>
                    <a:pt x="9" y="84"/>
                    <a:pt x="6" y="84"/>
                  </a:cubicBezTo>
                  <a:lnTo>
                    <a:pt x="5" y="84"/>
                  </a:ln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î$ḻidè"/>
            <p:cNvSpPr/>
            <p:nvPr/>
          </p:nvSpPr>
          <p:spPr bwMode="auto">
            <a:xfrm>
              <a:off x="5203606" y="3295024"/>
              <a:ext cx="724927" cy="989152"/>
            </a:xfrm>
            <a:custGeom>
              <a:avLst/>
              <a:gdLst>
                <a:gd name="T0" fmla="*/ 6 w 103"/>
                <a:gd name="T1" fmla="*/ 139 h 141"/>
                <a:gd name="T2" fmla="*/ 14 w 103"/>
                <a:gd name="T3" fmla="*/ 139 h 141"/>
                <a:gd name="T4" fmla="*/ 43 w 103"/>
                <a:gd name="T5" fmla="*/ 130 h 141"/>
                <a:gd name="T6" fmla="*/ 45 w 103"/>
                <a:gd name="T7" fmla="*/ 112 h 141"/>
                <a:gd name="T8" fmla="*/ 25 w 103"/>
                <a:gd name="T9" fmla="*/ 109 h 141"/>
                <a:gd name="T10" fmla="*/ 31 w 103"/>
                <a:gd name="T11" fmla="*/ 130 h 141"/>
                <a:gd name="T12" fmla="*/ 20 w 103"/>
                <a:gd name="T13" fmla="*/ 117 h 141"/>
                <a:gd name="T14" fmla="*/ 0 w 103"/>
                <a:gd name="T15" fmla="*/ 114 h 141"/>
                <a:gd name="T16" fmla="*/ 6 w 103"/>
                <a:gd name="T17" fmla="*/ 139 h 141"/>
                <a:gd name="T18" fmla="*/ 85 w 103"/>
                <a:gd name="T19" fmla="*/ 11 h 141"/>
                <a:gd name="T20" fmla="*/ 93 w 103"/>
                <a:gd name="T21" fmla="*/ 18 h 141"/>
                <a:gd name="T22" fmla="*/ 101 w 103"/>
                <a:gd name="T23" fmla="*/ 6 h 141"/>
                <a:gd name="T24" fmla="*/ 87 w 103"/>
                <a:gd name="T25" fmla="*/ 9 h 141"/>
                <a:gd name="T26" fmla="*/ 98 w 103"/>
                <a:gd name="T27" fmla="*/ 42 h 141"/>
                <a:gd name="T28" fmla="*/ 98 w 103"/>
                <a:gd name="T29" fmla="*/ 37 h 141"/>
                <a:gd name="T30" fmla="*/ 88 w 103"/>
                <a:gd name="T31" fmla="*/ 22 h 141"/>
                <a:gd name="T32" fmla="*/ 80 w 103"/>
                <a:gd name="T33" fmla="*/ 15 h 141"/>
                <a:gd name="T34" fmla="*/ 83 w 103"/>
                <a:gd name="T35" fmla="*/ 34 h 141"/>
                <a:gd name="T36" fmla="*/ 98 w 103"/>
                <a:gd name="T37" fmla="*/ 42 h 141"/>
                <a:gd name="T38" fmla="*/ 81 w 103"/>
                <a:gd name="T39" fmla="*/ 77 h 141"/>
                <a:gd name="T40" fmla="*/ 57 w 103"/>
                <a:gd name="T41" fmla="*/ 56 h 141"/>
                <a:gd name="T42" fmla="*/ 73 w 103"/>
                <a:gd name="T43" fmla="*/ 62 h 141"/>
                <a:gd name="T44" fmla="*/ 90 w 103"/>
                <a:gd name="T45" fmla="*/ 51 h 141"/>
                <a:gd name="T46" fmla="*/ 72 w 103"/>
                <a:gd name="T47" fmla="*/ 34 h 141"/>
                <a:gd name="T48" fmla="*/ 57 w 103"/>
                <a:gd name="T49" fmla="*/ 47 h 141"/>
                <a:gd name="T50" fmla="*/ 51 w 103"/>
                <a:gd name="T51" fmla="*/ 80 h 141"/>
                <a:gd name="T52" fmla="*/ 64 w 103"/>
                <a:gd name="T53" fmla="*/ 89 h 141"/>
                <a:gd name="T54" fmla="*/ 74 w 103"/>
                <a:gd name="T55" fmla="*/ 103 h 141"/>
                <a:gd name="T56" fmla="*/ 71 w 103"/>
                <a:gd name="T57" fmla="*/ 109 h 141"/>
                <a:gd name="T58" fmla="*/ 73 w 103"/>
                <a:gd name="T59" fmla="*/ 106 h 141"/>
                <a:gd name="T60" fmla="*/ 52 w 103"/>
                <a:gd name="T61" fmla="*/ 88 h 141"/>
                <a:gd name="T62" fmla="*/ 41 w 103"/>
                <a:gd name="T63" fmla="*/ 98 h 141"/>
                <a:gd name="T64" fmla="*/ 49 w 103"/>
                <a:gd name="T65" fmla="*/ 107 h 141"/>
                <a:gd name="T66" fmla="*/ 71 w 103"/>
                <a:gd name="T67" fmla="*/ 10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141">
                  <a:moveTo>
                    <a:pt x="6" y="139"/>
                  </a:moveTo>
                  <a:cubicBezTo>
                    <a:pt x="6" y="139"/>
                    <a:pt x="6" y="139"/>
                    <a:pt x="6" y="139"/>
                  </a:cubicBezTo>
                  <a:cubicBezTo>
                    <a:pt x="6" y="140"/>
                    <a:pt x="6" y="140"/>
                    <a:pt x="6" y="141"/>
                  </a:cubicBezTo>
                  <a:cubicBezTo>
                    <a:pt x="8" y="140"/>
                    <a:pt x="11" y="139"/>
                    <a:pt x="14" y="139"/>
                  </a:cubicBezTo>
                  <a:cubicBezTo>
                    <a:pt x="18" y="138"/>
                    <a:pt x="22" y="137"/>
                    <a:pt x="25" y="136"/>
                  </a:cubicBezTo>
                  <a:cubicBezTo>
                    <a:pt x="32" y="135"/>
                    <a:pt x="37" y="133"/>
                    <a:pt x="43" y="130"/>
                  </a:cubicBezTo>
                  <a:cubicBezTo>
                    <a:pt x="46" y="129"/>
                    <a:pt x="49" y="127"/>
                    <a:pt x="52" y="125"/>
                  </a:cubicBezTo>
                  <a:cubicBezTo>
                    <a:pt x="50" y="121"/>
                    <a:pt x="47" y="117"/>
                    <a:pt x="45" y="112"/>
                  </a:cubicBezTo>
                  <a:cubicBezTo>
                    <a:pt x="43" y="109"/>
                    <a:pt x="39" y="106"/>
                    <a:pt x="37" y="102"/>
                  </a:cubicBezTo>
                  <a:cubicBezTo>
                    <a:pt x="33" y="105"/>
                    <a:pt x="29" y="107"/>
                    <a:pt x="25" y="109"/>
                  </a:cubicBezTo>
                  <a:cubicBezTo>
                    <a:pt x="25" y="110"/>
                    <a:pt x="25" y="111"/>
                    <a:pt x="25" y="111"/>
                  </a:cubicBezTo>
                  <a:cubicBezTo>
                    <a:pt x="28" y="118"/>
                    <a:pt x="29" y="124"/>
                    <a:pt x="31" y="130"/>
                  </a:cubicBezTo>
                  <a:cubicBezTo>
                    <a:pt x="32" y="133"/>
                    <a:pt x="27" y="135"/>
                    <a:pt x="26" y="133"/>
                  </a:cubicBezTo>
                  <a:cubicBezTo>
                    <a:pt x="23" y="128"/>
                    <a:pt x="22" y="122"/>
                    <a:pt x="20" y="117"/>
                  </a:cubicBezTo>
                  <a:cubicBezTo>
                    <a:pt x="19" y="115"/>
                    <a:pt x="19" y="113"/>
                    <a:pt x="18" y="111"/>
                  </a:cubicBezTo>
                  <a:cubicBezTo>
                    <a:pt x="13" y="113"/>
                    <a:pt x="6" y="115"/>
                    <a:pt x="0" y="114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4" y="123"/>
                    <a:pt x="5" y="131"/>
                    <a:pt x="6" y="139"/>
                  </a:cubicBezTo>
                  <a:close/>
                  <a:moveTo>
                    <a:pt x="85" y="11"/>
                  </a:move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8" y="13"/>
                    <a:pt x="91" y="15"/>
                    <a:pt x="93" y="18"/>
                  </a:cubicBezTo>
                  <a:cubicBezTo>
                    <a:pt x="95" y="20"/>
                    <a:pt x="97" y="23"/>
                    <a:pt x="98" y="25"/>
                  </a:cubicBezTo>
                  <a:cubicBezTo>
                    <a:pt x="98" y="19"/>
                    <a:pt x="99" y="13"/>
                    <a:pt x="101" y="6"/>
                  </a:cubicBezTo>
                  <a:cubicBezTo>
                    <a:pt x="101" y="4"/>
                    <a:pt x="102" y="2"/>
                    <a:pt x="103" y="0"/>
                  </a:cubicBezTo>
                  <a:cubicBezTo>
                    <a:pt x="97" y="2"/>
                    <a:pt x="92" y="6"/>
                    <a:pt x="87" y="9"/>
                  </a:cubicBezTo>
                  <a:cubicBezTo>
                    <a:pt x="86" y="9"/>
                    <a:pt x="86" y="10"/>
                    <a:pt x="85" y="11"/>
                  </a:cubicBezTo>
                  <a:close/>
                  <a:moveTo>
                    <a:pt x="98" y="42"/>
                  </a:moveTo>
                  <a:cubicBezTo>
                    <a:pt x="98" y="42"/>
                    <a:pt x="98" y="42"/>
                    <a:pt x="98" y="42"/>
                  </a:cubicBezTo>
                  <a:cubicBezTo>
                    <a:pt x="98" y="41"/>
                    <a:pt x="98" y="39"/>
                    <a:pt x="98" y="37"/>
                  </a:cubicBezTo>
                  <a:cubicBezTo>
                    <a:pt x="98" y="37"/>
                    <a:pt x="98" y="36"/>
                    <a:pt x="98" y="36"/>
                  </a:cubicBezTo>
                  <a:cubicBezTo>
                    <a:pt x="95" y="30"/>
                    <a:pt x="92" y="26"/>
                    <a:pt x="88" y="22"/>
                  </a:cubicBezTo>
                  <a:cubicBezTo>
                    <a:pt x="85" y="19"/>
                    <a:pt x="83" y="17"/>
                    <a:pt x="81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6" y="18"/>
                    <a:pt x="72" y="21"/>
                    <a:pt x="69" y="25"/>
                  </a:cubicBezTo>
                  <a:cubicBezTo>
                    <a:pt x="74" y="25"/>
                    <a:pt x="79" y="30"/>
                    <a:pt x="83" y="34"/>
                  </a:cubicBezTo>
                  <a:cubicBezTo>
                    <a:pt x="87" y="37"/>
                    <a:pt x="90" y="42"/>
                    <a:pt x="93" y="46"/>
                  </a:cubicBezTo>
                  <a:cubicBezTo>
                    <a:pt x="95" y="45"/>
                    <a:pt x="96" y="44"/>
                    <a:pt x="98" y="42"/>
                  </a:cubicBezTo>
                  <a:close/>
                  <a:moveTo>
                    <a:pt x="81" y="77"/>
                  </a:moveTo>
                  <a:cubicBezTo>
                    <a:pt x="81" y="77"/>
                    <a:pt x="81" y="77"/>
                    <a:pt x="81" y="77"/>
                  </a:cubicBezTo>
                  <a:cubicBezTo>
                    <a:pt x="78" y="75"/>
                    <a:pt x="74" y="72"/>
                    <a:pt x="72" y="69"/>
                  </a:cubicBezTo>
                  <a:cubicBezTo>
                    <a:pt x="67" y="65"/>
                    <a:pt x="61" y="61"/>
                    <a:pt x="57" y="56"/>
                  </a:cubicBezTo>
                  <a:cubicBezTo>
                    <a:pt x="57" y="54"/>
                    <a:pt x="57" y="53"/>
                    <a:pt x="59" y="53"/>
                  </a:cubicBezTo>
                  <a:cubicBezTo>
                    <a:pt x="65" y="53"/>
                    <a:pt x="70" y="58"/>
                    <a:pt x="73" y="62"/>
                  </a:cubicBezTo>
                  <a:cubicBezTo>
                    <a:pt x="76" y="65"/>
                    <a:pt x="79" y="68"/>
                    <a:pt x="82" y="71"/>
                  </a:cubicBezTo>
                  <a:cubicBezTo>
                    <a:pt x="84" y="64"/>
                    <a:pt x="86" y="57"/>
                    <a:pt x="90" y="51"/>
                  </a:cubicBezTo>
                  <a:cubicBezTo>
                    <a:pt x="86" y="47"/>
                    <a:pt x="83" y="44"/>
                    <a:pt x="80" y="40"/>
                  </a:cubicBezTo>
                  <a:cubicBezTo>
                    <a:pt x="77" y="38"/>
                    <a:pt x="75" y="36"/>
                    <a:pt x="72" y="34"/>
                  </a:cubicBezTo>
                  <a:cubicBezTo>
                    <a:pt x="70" y="32"/>
                    <a:pt x="68" y="31"/>
                    <a:pt x="67" y="28"/>
                  </a:cubicBezTo>
                  <a:cubicBezTo>
                    <a:pt x="62" y="34"/>
                    <a:pt x="59" y="40"/>
                    <a:pt x="57" y="47"/>
                  </a:cubicBezTo>
                  <a:cubicBezTo>
                    <a:pt x="54" y="56"/>
                    <a:pt x="54" y="65"/>
                    <a:pt x="52" y="73"/>
                  </a:cubicBezTo>
                  <a:cubicBezTo>
                    <a:pt x="52" y="76"/>
                    <a:pt x="51" y="78"/>
                    <a:pt x="51" y="80"/>
                  </a:cubicBezTo>
                  <a:cubicBezTo>
                    <a:pt x="52" y="81"/>
                    <a:pt x="53" y="82"/>
                    <a:pt x="54" y="82"/>
                  </a:cubicBezTo>
                  <a:cubicBezTo>
                    <a:pt x="57" y="84"/>
                    <a:pt x="61" y="87"/>
                    <a:pt x="64" y="89"/>
                  </a:cubicBezTo>
                  <a:cubicBezTo>
                    <a:pt x="66" y="91"/>
                    <a:pt x="67" y="93"/>
                    <a:pt x="69" y="96"/>
                  </a:cubicBezTo>
                  <a:cubicBezTo>
                    <a:pt x="70" y="98"/>
                    <a:pt x="72" y="101"/>
                    <a:pt x="74" y="103"/>
                  </a:cubicBezTo>
                  <a:cubicBezTo>
                    <a:pt x="78" y="95"/>
                    <a:pt x="79" y="86"/>
                    <a:pt x="81" y="77"/>
                  </a:cubicBezTo>
                  <a:close/>
                  <a:moveTo>
                    <a:pt x="71" y="109"/>
                  </a:moveTo>
                  <a:cubicBezTo>
                    <a:pt x="71" y="109"/>
                    <a:pt x="71" y="109"/>
                    <a:pt x="71" y="109"/>
                  </a:cubicBezTo>
                  <a:cubicBezTo>
                    <a:pt x="71" y="108"/>
                    <a:pt x="72" y="107"/>
                    <a:pt x="73" y="106"/>
                  </a:cubicBezTo>
                  <a:cubicBezTo>
                    <a:pt x="68" y="104"/>
                    <a:pt x="65" y="99"/>
                    <a:pt x="62" y="96"/>
                  </a:cubicBezTo>
                  <a:cubicBezTo>
                    <a:pt x="59" y="93"/>
                    <a:pt x="56" y="91"/>
                    <a:pt x="52" y="88"/>
                  </a:cubicBezTo>
                  <a:cubicBezTo>
                    <a:pt x="51" y="88"/>
                    <a:pt x="50" y="87"/>
                    <a:pt x="49" y="86"/>
                  </a:cubicBezTo>
                  <a:cubicBezTo>
                    <a:pt x="47" y="91"/>
                    <a:pt x="44" y="95"/>
                    <a:pt x="41" y="98"/>
                  </a:cubicBezTo>
                  <a:cubicBezTo>
                    <a:pt x="41" y="98"/>
                    <a:pt x="41" y="98"/>
                    <a:pt x="41" y="98"/>
                  </a:cubicBezTo>
                  <a:cubicBezTo>
                    <a:pt x="44" y="100"/>
                    <a:pt x="47" y="104"/>
                    <a:pt x="49" y="107"/>
                  </a:cubicBezTo>
                  <a:cubicBezTo>
                    <a:pt x="52" y="112"/>
                    <a:pt x="54" y="118"/>
                    <a:pt x="56" y="123"/>
                  </a:cubicBezTo>
                  <a:cubicBezTo>
                    <a:pt x="62" y="119"/>
                    <a:pt x="67" y="114"/>
                    <a:pt x="71" y="10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îŝlíḋê"/>
            <p:cNvSpPr/>
            <p:nvPr/>
          </p:nvSpPr>
          <p:spPr bwMode="auto">
            <a:xfrm>
              <a:off x="5237481" y="3447462"/>
              <a:ext cx="653790" cy="836715"/>
            </a:xfrm>
            <a:custGeom>
              <a:avLst/>
              <a:gdLst>
                <a:gd name="T0" fmla="*/ 1 w 93"/>
                <a:gd name="T1" fmla="*/ 117 h 119"/>
                <a:gd name="T2" fmla="*/ 1 w 93"/>
                <a:gd name="T3" fmla="*/ 117 h 119"/>
                <a:gd name="T4" fmla="*/ 1 w 93"/>
                <a:gd name="T5" fmla="*/ 119 h 119"/>
                <a:gd name="T6" fmla="*/ 9 w 93"/>
                <a:gd name="T7" fmla="*/ 117 h 119"/>
                <a:gd name="T8" fmla="*/ 20 w 93"/>
                <a:gd name="T9" fmla="*/ 114 h 119"/>
                <a:gd name="T10" fmla="*/ 38 w 93"/>
                <a:gd name="T11" fmla="*/ 108 h 119"/>
                <a:gd name="T12" fmla="*/ 47 w 93"/>
                <a:gd name="T13" fmla="*/ 103 h 119"/>
                <a:gd name="T14" fmla="*/ 40 w 93"/>
                <a:gd name="T15" fmla="*/ 92 h 119"/>
                <a:gd name="T16" fmla="*/ 24 w 93"/>
                <a:gd name="T17" fmla="*/ 101 h 119"/>
                <a:gd name="T18" fmla="*/ 26 w 93"/>
                <a:gd name="T19" fmla="*/ 108 h 119"/>
                <a:gd name="T20" fmla="*/ 21 w 93"/>
                <a:gd name="T21" fmla="*/ 111 h 119"/>
                <a:gd name="T22" fmla="*/ 18 w 93"/>
                <a:gd name="T23" fmla="*/ 103 h 119"/>
                <a:gd name="T24" fmla="*/ 12 w 93"/>
                <a:gd name="T25" fmla="*/ 105 h 119"/>
                <a:gd name="T26" fmla="*/ 0 w 93"/>
                <a:gd name="T27" fmla="*/ 110 h 119"/>
                <a:gd name="T28" fmla="*/ 1 w 93"/>
                <a:gd name="T29" fmla="*/ 117 h 119"/>
                <a:gd name="T30" fmla="*/ 45 w 93"/>
                <a:gd name="T31" fmla="*/ 88 h 119"/>
                <a:gd name="T32" fmla="*/ 54 w 93"/>
                <a:gd name="T33" fmla="*/ 71 h 119"/>
                <a:gd name="T34" fmla="*/ 57 w 93"/>
                <a:gd name="T35" fmla="*/ 74 h 119"/>
                <a:gd name="T36" fmla="*/ 68 w 93"/>
                <a:gd name="T37" fmla="*/ 84 h 119"/>
                <a:gd name="T38" fmla="*/ 66 w 93"/>
                <a:gd name="T39" fmla="*/ 87 h 119"/>
                <a:gd name="T40" fmla="*/ 66 w 93"/>
                <a:gd name="T41" fmla="*/ 87 h 119"/>
                <a:gd name="T42" fmla="*/ 51 w 93"/>
                <a:gd name="T43" fmla="*/ 101 h 119"/>
                <a:gd name="T44" fmla="*/ 45 w 93"/>
                <a:gd name="T45" fmla="*/ 88 h 119"/>
                <a:gd name="T46" fmla="*/ 56 w 93"/>
                <a:gd name="T47" fmla="*/ 65 h 119"/>
                <a:gd name="T48" fmla="*/ 61 w 93"/>
                <a:gd name="T49" fmla="*/ 42 h 119"/>
                <a:gd name="T50" fmla="*/ 67 w 93"/>
                <a:gd name="T51" fmla="*/ 47 h 119"/>
                <a:gd name="T52" fmla="*/ 76 w 93"/>
                <a:gd name="T53" fmla="*/ 55 h 119"/>
                <a:gd name="T54" fmla="*/ 76 w 93"/>
                <a:gd name="T55" fmla="*/ 55 h 119"/>
                <a:gd name="T56" fmla="*/ 69 w 93"/>
                <a:gd name="T57" fmla="*/ 81 h 119"/>
                <a:gd name="T58" fmla="*/ 64 w 93"/>
                <a:gd name="T59" fmla="*/ 74 h 119"/>
                <a:gd name="T60" fmla="*/ 59 w 93"/>
                <a:gd name="T61" fmla="*/ 67 h 119"/>
                <a:gd name="T62" fmla="*/ 56 w 93"/>
                <a:gd name="T63" fmla="*/ 65 h 119"/>
                <a:gd name="T64" fmla="*/ 63 w 93"/>
                <a:gd name="T65" fmla="*/ 35 h 119"/>
                <a:gd name="T66" fmla="*/ 74 w 93"/>
                <a:gd name="T67" fmla="*/ 17 h 119"/>
                <a:gd name="T68" fmla="*/ 75 w 93"/>
                <a:gd name="T69" fmla="*/ 18 h 119"/>
                <a:gd name="T70" fmla="*/ 85 w 93"/>
                <a:gd name="T71" fmla="*/ 29 h 119"/>
                <a:gd name="T72" fmla="*/ 77 w 93"/>
                <a:gd name="T73" fmla="*/ 49 h 119"/>
                <a:gd name="T74" fmla="*/ 68 w 93"/>
                <a:gd name="T75" fmla="*/ 40 h 119"/>
                <a:gd name="T76" fmla="*/ 63 w 93"/>
                <a:gd name="T77" fmla="*/ 35 h 119"/>
                <a:gd name="T78" fmla="*/ 78 w 93"/>
                <a:gd name="T79" fmla="*/ 12 h 119"/>
                <a:gd name="T80" fmla="*/ 87 w 93"/>
                <a:gd name="T81" fmla="*/ 5 h 119"/>
                <a:gd name="T82" fmla="*/ 93 w 93"/>
                <a:gd name="T83" fmla="*/ 14 h 119"/>
                <a:gd name="T84" fmla="*/ 93 w 93"/>
                <a:gd name="T85" fmla="*/ 15 h 119"/>
                <a:gd name="T86" fmla="*/ 93 w 93"/>
                <a:gd name="T87" fmla="*/ 20 h 119"/>
                <a:gd name="T88" fmla="*/ 93 w 93"/>
                <a:gd name="T89" fmla="*/ 20 h 119"/>
                <a:gd name="T90" fmla="*/ 88 w 93"/>
                <a:gd name="T91" fmla="*/ 24 h 119"/>
                <a:gd name="T92" fmla="*/ 78 w 93"/>
                <a:gd name="T93" fmla="*/ 12 h 119"/>
                <a:gd name="T94" fmla="*/ 92 w 93"/>
                <a:gd name="T95" fmla="*/ 1 h 119"/>
                <a:gd name="T96" fmla="*/ 93 w 93"/>
                <a:gd name="T97" fmla="*/ 0 h 119"/>
                <a:gd name="T98" fmla="*/ 93 w 93"/>
                <a:gd name="T99" fmla="*/ 3 h 119"/>
                <a:gd name="T100" fmla="*/ 92 w 93"/>
                <a:gd name="T101" fmla="*/ 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" h="119">
                  <a:moveTo>
                    <a:pt x="1" y="117"/>
                  </a:moveTo>
                  <a:cubicBezTo>
                    <a:pt x="1" y="117"/>
                    <a:pt x="1" y="117"/>
                    <a:pt x="1" y="117"/>
                  </a:cubicBezTo>
                  <a:cubicBezTo>
                    <a:pt x="1" y="118"/>
                    <a:pt x="1" y="118"/>
                    <a:pt x="1" y="119"/>
                  </a:cubicBezTo>
                  <a:cubicBezTo>
                    <a:pt x="3" y="118"/>
                    <a:pt x="6" y="117"/>
                    <a:pt x="9" y="117"/>
                  </a:cubicBezTo>
                  <a:cubicBezTo>
                    <a:pt x="13" y="116"/>
                    <a:pt x="17" y="115"/>
                    <a:pt x="20" y="114"/>
                  </a:cubicBezTo>
                  <a:cubicBezTo>
                    <a:pt x="27" y="113"/>
                    <a:pt x="32" y="111"/>
                    <a:pt x="38" y="108"/>
                  </a:cubicBezTo>
                  <a:cubicBezTo>
                    <a:pt x="41" y="107"/>
                    <a:pt x="44" y="105"/>
                    <a:pt x="47" y="103"/>
                  </a:cubicBezTo>
                  <a:cubicBezTo>
                    <a:pt x="45" y="99"/>
                    <a:pt x="43" y="95"/>
                    <a:pt x="40" y="92"/>
                  </a:cubicBezTo>
                  <a:cubicBezTo>
                    <a:pt x="36" y="94"/>
                    <a:pt x="31" y="97"/>
                    <a:pt x="24" y="101"/>
                  </a:cubicBezTo>
                  <a:cubicBezTo>
                    <a:pt x="24" y="103"/>
                    <a:pt x="25" y="106"/>
                    <a:pt x="26" y="108"/>
                  </a:cubicBezTo>
                  <a:cubicBezTo>
                    <a:pt x="27" y="111"/>
                    <a:pt x="22" y="113"/>
                    <a:pt x="21" y="111"/>
                  </a:cubicBezTo>
                  <a:cubicBezTo>
                    <a:pt x="20" y="108"/>
                    <a:pt x="19" y="106"/>
                    <a:pt x="18" y="103"/>
                  </a:cubicBezTo>
                  <a:cubicBezTo>
                    <a:pt x="16" y="104"/>
                    <a:pt x="14" y="105"/>
                    <a:pt x="12" y="105"/>
                  </a:cubicBezTo>
                  <a:cubicBezTo>
                    <a:pt x="8" y="107"/>
                    <a:pt x="4" y="108"/>
                    <a:pt x="0" y="110"/>
                  </a:cubicBezTo>
                  <a:cubicBezTo>
                    <a:pt x="0" y="112"/>
                    <a:pt x="0" y="114"/>
                    <a:pt x="1" y="117"/>
                  </a:cubicBezTo>
                  <a:close/>
                  <a:moveTo>
                    <a:pt x="45" y="88"/>
                  </a:moveTo>
                  <a:cubicBezTo>
                    <a:pt x="50" y="83"/>
                    <a:pt x="53" y="77"/>
                    <a:pt x="54" y="71"/>
                  </a:cubicBezTo>
                  <a:cubicBezTo>
                    <a:pt x="55" y="72"/>
                    <a:pt x="56" y="73"/>
                    <a:pt x="57" y="74"/>
                  </a:cubicBezTo>
                  <a:cubicBezTo>
                    <a:pt x="60" y="77"/>
                    <a:pt x="63" y="82"/>
                    <a:pt x="68" y="84"/>
                  </a:cubicBezTo>
                  <a:cubicBezTo>
                    <a:pt x="67" y="85"/>
                    <a:pt x="66" y="86"/>
                    <a:pt x="66" y="87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2" y="92"/>
                    <a:pt x="57" y="97"/>
                    <a:pt x="51" y="101"/>
                  </a:cubicBezTo>
                  <a:cubicBezTo>
                    <a:pt x="49" y="96"/>
                    <a:pt x="47" y="92"/>
                    <a:pt x="45" y="88"/>
                  </a:cubicBezTo>
                  <a:close/>
                  <a:moveTo>
                    <a:pt x="56" y="65"/>
                  </a:moveTo>
                  <a:cubicBezTo>
                    <a:pt x="57" y="58"/>
                    <a:pt x="58" y="51"/>
                    <a:pt x="61" y="42"/>
                  </a:cubicBezTo>
                  <a:cubicBezTo>
                    <a:pt x="63" y="44"/>
                    <a:pt x="65" y="45"/>
                    <a:pt x="67" y="47"/>
                  </a:cubicBezTo>
                  <a:cubicBezTo>
                    <a:pt x="69" y="50"/>
                    <a:pt x="73" y="53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4" y="64"/>
                    <a:pt x="73" y="73"/>
                    <a:pt x="69" y="81"/>
                  </a:cubicBezTo>
                  <a:cubicBezTo>
                    <a:pt x="67" y="79"/>
                    <a:pt x="65" y="76"/>
                    <a:pt x="64" y="74"/>
                  </a:cubicBezTo>
                  <a:cubicBezTo>
                    <a:pt x="62" y="71"/>
                    <a:pt x="61" y="69"/>
                    <a:pt x="59" y="67"/>
                  </a:cubicBezTo>
                  <a:cubicBezTo>
                    <a:pt x="58" y="66"/>
                    <a:pt x="57" y="65"/>
                    <a:pt x="56" y="65"/>
                  </a:cubicBezTo>
                  <a:close/>
                  <a:moveTo>
                    <a:pt x="63" y="35"/>
                  </a:moveTo>
                  <a:cubicBezTo>
                    <a:pt x="66" y="28"/>
                    <a:pt x="70" y="22"/>
                    <a:pt x="74" y="17"/>
                  </a:cubicBezTo>
                  <a:cubicBezTo>
                    <a:pt x="74" y="17"/>
                    <a:pt x="74" y="18"/>
                    <a:pt x="75" y="18"/>
                  </a:cubicBezTo>
                  <a:cubicBezTo>
                    <a:pt x="78" y="22"/>
                    <a:pt x="81" y="25"/>
                    <a:pt x="85" y="29"/>
                  </a:cubicBezTo>
                  <a:cubicBezTo>
                    <a:pt x="81" y="35"/>
                    <a:pt x="79" y="42"/>
                    <a:pt x="77" y="49"/>
                  </a:cubicBezTo>
                  <a:cubicBezTo>
                    <a:pt x="74" y="46"/>
                    <a:pt x="71" y="43"/>
                    <a:pt x="68" y="40"/>
                  </a:cubicBezTo>
                  <a:cubicBezTo>
                    <a:pt x="67" y="39"/>
                    <a:pt x="65" y="37"/>
                    <a:pt x="63" y="35"/>
                  </a:cubicBezTo>
                  <a:close/>
                  <a:moveTo>
                    <a:pt x="78" y="12"/>
                  </a:moveTo>
                  <a:cubicBezTo>
                    <a:pt x="81" y="9"/>
                    <a:pt x="84" y="7"/>
                    <a:pt x="87" y="5"/>
                  </a:cubicBezTo>
                  <a:cubicBezTo>
                    <a:pt x="89" y="7"/>
                    <a:pt x="91" y="10"/>
                    <a:pt x="93" y="14"/>
                  </a:cubicBezTo>
                  <a:cubicBezTo>
                    <a:pt x="93" y="14"/>
                    <a:pt x="93" y="15"/>
                    <a:pt x="93" y="15"/>
                  </a:cubicBezTo>
                  <a:cubicBezTo>
                    <a:pt x="93" y="17"/>
                    <a:pt x="93" y="19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1" y="22"/>
                    <a:pt x="90" y="23"/>
                    <a:pt x="88" y="24"/>
                  </a:cubicBezTo>
                  <a:cubicBezTo>
                    <a:pt x="85" y="21"/>
                    <a:pt x="82" y="16"/>
                    <a:pt x="78" y="12"/>
                  </a:cubicBezTo>
                  <a:close/>
                  <a:moveTo>
                    <a:pt x="92" y="1"/>
                  </a:moveTo>
                  <a:cubicBezTo>
                    <a:pt x="92" y="1"/>
                    <a:pt x="93" y="0"/>
                    <a:pt x="93" y="0"/>
                  </a:cubicBezTo>
                  <a:cubicBezTo>
                    <a:pt x="93" y="1"/>
                    <a:pt x="93" y="2"/>
                    <a:pt x="93" y="3"/>
                  </a:cubicBezTo>
                  <a:cubicBezTo>
                    <a:pt x="93" y="3"/>
                    <a:pt x="92" y="2"/>
                    <a:pt x="92" y="1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i$1íḑe"/>
            <p:cNvSpPr/>
            <p:nvPr/>
          </p:nvSpPr>
          <p:spPr bwMode="auto">
            <a:xfrm>
              <a:off x="6843160" y="3342449"/>
              <a:ext cx="667340" cy="1412592"/>
            </a:xfrm>
            <a:custGeom>
              <a:avLst/>
              <a:gdLst>
                <a:gd name="T0" fmla="*/ 11 w 95"/>
                <a:gd name="T1" fmla="*/ 47 h 201"/>
                <a:gd name="T2" fmla="*/ 39 w 95"/>
                <a:gd name="T3" fmla="*/ 30 h 201"/>
                <a:gd name="T4" fmla="*/ 18 w 95"/>
                <a:gd name="T5" fmla="*/ 11 h 201"/>
                <a:gd name="T6" fmla="*/ 3 w 95"/>
                <a:gd name="T7" fmla="*/ 29 h 201"/>
                <a:gd name="T8" fmla="*/ 0 w 95"/>
                <a:gd name="T9" fmla="*/ 40 h 201"/>
                <a:gd name="T10" fmla="*/ 0 w 95"/>
                <a:gd name="T11" fmla="*/ 0 h 201"/>
                <a:gd name="T12" fmla="*/ 1 w 95"/>
                <a:gd name="T13" fmla="*/ 21 h 201"/>
                <a:gd name="T14" fmla="*/ 13 w 95"/>
                <a:gd name="T15" fmla="*/ 8 h 201"/>
                <a:gd name="T16" fmla="*/ 62 w 95"/>
                <a:gd name="T17" fmla="*/ 60 h 201"/>
                <a:gd name="T18" fmla="*/ 44 w 95"/>
                <a:gd name="T19" fmla="*/ 73 h 201"/>
                <a:gd name="T20" fmla="*/ 42 w 95"/>
                <a:gd name="T21" fmla="*/ 93 h 201"/>
                <a:gd name="T22" fmla="*/ 73 w 95"/>
                <a:gd name="T23" fmla="*/ 84 h 201"/>
                <a:gd name="T24" fmla="*/ 69 w 95"/>
                <a:gd name="T25" fmla="*/ 73 h 201"/>
                <a:gd name="T26" fmla="*/ 86 w 95"/>
                <a:gd name="T27" fmla="*/ 119 h 201"/>
                <a:gd name="T28" fmla="*/ 81 w 95"/>
                <a:gd name="T29" fmla="*/ 119 h 201"/>
                <a:gd name="T30" fmla="*/ 61 w 95"/>
                <a:gd name="T31" fmla="*/ 122 h 201"/>
                <a:gd name="T32" fmla="*/ 57 w 95"/>
                <a:gd name="T33" fmla="*/ 140 h 201"/>
                <a:gd name="T34" fmla="*/ 92 w 95"/>
                <a:gd name="T35" fmla="*/ 139 h 201"/>
                <a:gd name="T36" fmla="*/ 94 w 95"/>
                <a:gd name="T37" fmla="*/ 148 h 201"/>
                <a:gd name="T38" fmla="*/ 93 w 95"/>
                <a:gd name="T39" fmla="*/ 147 h 201"/>
                <a:gd name="T40" fmla="*/ 85 w 95"/>
                <a:gd name="T41" fmla="*/ 146 h 201"/>
                <a:gd name="T42" fmla="*/ 58 w 95"/>
                <a:gd name="T43" fmla="*/ 147 h 201"/>
                <a:gd name="T44" fmla="*/ 79 w 95"/>
                <a:gd name="T45" fmla="*/ 162 h 201"/>
                <a:gd name="T46" fmla="*/ 95 w 95"/>
                <a:gd name="T47" fmla="*/ 168 h 201"/>
                <a:gd name="T48" fmla="*/ 92 w 95"/>
                <a:gd name="T49" fmla="*/ 187 h 201"/>
                <a:gd name="T50" fmla="*/ 94 w 95"/>
                <a:gd name="T51" fmla="*/ 174 h 201"/>
                <a:gd name="T52" fmla="*/ 78 w 95"/>
                <a:gd name="T53" fmla="*/ 168 h 201"/>
                <a:gd name="T54" fmla="*/ 60 w 95"/>
                <a:gd name="T55" fmla="*/ 171 h 201"/>
                <a:gd name="T56" fmla="*/ 65 w 95"/>
                <a:gd name="T57" fmla="*/ 174 h 201"/>
                <a:gd name="T58" fmla="*/ 92 w 95"/>
                <a:gd name="T59" fmla="*/ 187 h 201"/>
                <a:gd name="T60" fmla="*/ 58 w 95"/>
                <a:gd name="T61" fmla="*/ 186 h 201"/>
                <a:gd name="T62" fmla="*/ 83 w 95"/>
                <a:gd name="T63" fmla="*/ 198 h 201"/>
                <a:gd name="T64" fmla="*/ 91 w 95"/>
                <a:gd name="T65" fmla="*/ 193 h 201"/>
                <a:gd name="T66" fmla="*/ 74 w 95"/>
                <a:gd name="T67" fmla="*/ 185 h 201"/>
                <a:gd name="T68" fmla="*/ 59 w 95"/>
                <a:gd name="T69" fmla="*/ 181 h 201"/>
                <a:gd name="T70" fmla="*/ 58 w 95"/>
                <a:gd name="T71" fmla="*/ 186 h 201"/>
                <a:gd name="T72" fmla="*/ 46 w 95"/>
                <a:gd name="T73" fmla="*/ 101 h 201"/>
                <a:gd name="T74" fmla="*/ 59 w 95"/>
                <a:gd name="T75" fmla="*/ 115 h 201"/>
                <a:gd name="T76" fmla="*/ 84 w 95"/>
                <a:gd name="T77" fmla="*/ 114 h 201"/>
                <a:gd name="T78" fmla="*/ 75 w 95"/>
                <a:gd name="T79" fmla="*/ 88 h 201"/>
                <a:gd name="T80" fmla="*/ 55 w 95"/>
                <a:gd name="T81" fmla="*/ 95 h 201"/>
                <a:gd name="T82" fmla="*/ 45 w 95"/>
                <a:gd name="T83" fmla="*/ 100 h 201"/>
                <a:gd name="T84" fmla="*/ 31 w 95"/>
                <a:gd name="T85" fmla="*/ 72 h 201"/>
                <a:gd name="T86" fmla="*/ 44 w 95"/>
                <a:gd name="T87" fmla="*/ 65 h 201"/>
                <a:gd name="T88" fmla="*/ 43 w 95"/>
                <a:gd name="T89" fmla="*/ 33 h 201"/>
                <a:gd name="T90" fmla="*/ 21 w 95"/>
                <a:gd name="T91" fmla="*/ 57 h 201"/>
                <a:gd name="T92" fmla="*/ 31 w 95"/>
                <a:gd name="T93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201">
                  <a:moveTo>
                    <a:pt x="11" y="47"/>
                  </a:moveTo>
                  <a:cubicBezTo>
                    <a:pt x="11" y="47"/>
                    <a:pt x="11" y="47"/>
                    <a:pt x="11" y="47"/>
                  </a:cubicBezTo>
                  <a:cubicBezTo>
                    <a:pt x="14" y="49"/>
                    <a:pt x="16" y="51"/>
                    <a:pt x="18" y="53"/>
                  </a:cubicBezTo>
                  <a:cubicBezTo>
                    <a:pt x="21" y="43"/>
                    <a:pt x="31" y="36"/>
                    <a:pt x="39" y="30"/>
                  </a:cubicBezTo>
                  <a:cubicBezTo>
                    <a:pt x="36" y="27"/>
                    <a:pt x="33" y="24"/>
                    <a:pt x="30" y="21"/>
                  </a:cubicBezTo>
                  <a:cubicBezTo>
                    <a:pt x="26" y="17"/>
                    <a:pt x="22" y="14"/>
                    <a:pt x="18" y="11"/>
                  </a:cubicBezTo>
                  <a:cubicBezTo>
                    <a:pt x="15" y="15"/>
                    <a:pt x="12" y="18"/>
                    <a:pt x="8" y="22"/>
                  </a:cubicBezTo>
                  <a:cubicBezTo>
                    <a:pt x="6" y="24"/>
                    <a:pt x="5" y="27"/>
                    <a:pt x="3" y="29"/>
                  </a:cubicBezTo>
                  <a:cubicBezTo>
                    <a:pt x="2" y="31"/>
                    <a:pt x="1" y="33"/>
                    <a:pt x="0" y="35"/>
                  </a:cubicBezTo>
                  <a:cubicBezTo>
                    <a:pt x="0" y="37"/>
                    <a:pt x="0" y="38"/>
                    <a:pt x="0" y="40"/>
                  </a:cubicBezTo>
                  <a:cubicBezTo>
                    <a:pt x="4" y="42"/>
                    <a:pt x="8" y="45"/>
                    <a:pt x="11" y="47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2" y="14"/>
                    <a:pt x="1" y="21"/>
                  </a:cubicBezTo>
                  <a:cubicBezTo>
                    <a:pt x="2" y="20"/>
                    <a:pt x="3" y="19"/>
                    <a:pt x="3" y="18"/>
                  </a:cubicBezTo>
                  <a:cubicBezTo>
                    <a:pt x="6" y="15"/>
                    <a:pt x="10" y="11"/>
                    <a:pt x="13" y="8"/>
                  </a:cubicBezTo>
                  <a:cubicBezTo>
                    <a:pt x="9" y="5"/>
                    <a:pt x="5" y="2"/>
                    <a:pt x="0" y="0"/>
                  </a:cubicBezTo>
                  <a:close/>
                  <a:moveTo>
                    <a:pt x="62" y="60"/>
                  </a:moveTo>
                  <a:cubicBezTo>
                    <a:pt x="62" y="60"/>
                    <a:pt x="62" y="60"/>
                    <a:pt x="62" y="60"/>
                  </a:cubicBezTo>
                  <a:cubicBezTo>
                    <a:pt x="56" y="64"/>
                    <a:pt x="50" y="69"/>
                    <a:pt x="44" y="73"/>
                  </a:cubicBezTo>
                  <a:cubicBezTo>
                    <a:pt x="41" y="74"/>
                    <a:pt x="38" y="76"/>
                    <a:pt x="35" y="78"/>
                  </a:cubicBezTo>
                  <a:cubicBezTo>
                    <a:pt x="38" y="83"/>
                    <a:pt x="40" y="88"/>
                    <a:pt x="42" y="93"/>
                  </a:cubicBezTo>
                  <a:cubicBezTo>
                    <a:pt x="45" y="92"/>
                    <a:pt x="48" y="90"/>
                    <a:pt x="50" y="90"/>
                  </a:cubicBezTo>
                  <a:cubicBezTo>
                    <a:pt x="57" y="87"/>
                    <a:pt x="65" y="86"/>
                    <a:pt x="73" y="84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72" y="80"/>
                    <a:pt x="70" y="77"/>
                    <a:pt x="69" y="73"/>
                  </a:cubicBezTo>
                  <a:cubicBezTo>
                    <a:pt x="67" y="68"/>
                    <a:pt x="65" y="64"/>
                    <a:pt x="62" y="60"/>
                  </a:cubicBezTo>
                  <a:close/>
                  <a:moveTo>
                    <a:pt x="86" y="119"/>
                  </a:moveTo>
                  <a:cubicBezTo>
                    <a:pt x="86" y="119"/>
                    <a:pt x="86" y="119"/>
                    <a:pt x="86" y="119"/>
                  </a:cubicBezTo>
                  <a:cubicBezTo>
                    <a:pt x="84" y="119"/>
                    <a:pt x="83" y="119"/>
                    <a:pt x="81" y="119"/>
                  </a:cubicBezTo>
                  <a:cubicBezTo>
                    <a:pt x="78" y="119"/>
                    <a:pt x="76" y="120"/>
                    <a:pt x="73" y="120"/>
                  </a:cubicBezTo>
                  <a:cubicBezTo>
                    <a:pt x="69" y="120"/>
                    <a:pt x="65" y="121"/>
                    <a:pt x="61" y="122"/>
                  </a:cubicBezTo>
                  <a:cubicBezTo>
                    <a:pt x="59" y="123"/>
                    <a:pt x="56" y="124"/>
                    <a:pt x="54" y="124"/>
                  </a:cubicBezTo>
                  <a:cubicBezTo>
                    <a:pt x="55" y="129"/>
                    <a:pt x="56" y="134"/>
                    <a:pt x="57" y="140"/>
                  </a:cubicBezTo>
                  <a:cubicBezTo>
                    <a:pt x="67" y="138"/>
                    <a:pt x="84" y="138"/>
                    <a:pt x="92" y="141"/>
                  </a:cubicBezTo>
                  <a:cubicBezTo>
                    <a:pt x="92" y="140"/>
                    <a:pt x="92" y="140"/>
                    <a:pt x="92" y="139"/>
                  </a:cubicBezTo>
                  <a:cubicBezTo>
                    <a:pt x="90" y="132"/>
                    <a:pt x="88" y="126"/>
                    <a:pt x="86" y="119"/>
                  </a:cubicBezTo>
                  <a:close/>
                  <a:moveTo>
                    <a:pt x="94" y="148"/>
                  </a:moveTo>
                  <a:cubicBezTo>
                    <a:pt x="94" y="148"/>
                    <a:pt x="94" y="148"/>
                    <a:pt x="94" y="148"/>
                  </a:cubicBezTo>
                  <a:cubicBezTo>
                    <a:pt x="93" y="148"/>
                    <a:pt x="93" y="148"/>
                    <a:pt x="93" y="147"/>
                  </a:cubicBezTo>
                  <a:cubicBezTo>
                    <a:pt x="93" y="147"/>
                    <a:pt x="91" y="147"/>
                    <a:pt x="91" y="146"/>
                  </a:cubicBezTo>
                  <a:cubicBezTo>
                    <a:pt x="89" y="146"/>
                    <a:pt x="87" y="146"/>
                    <a:pt x="85" y="146"/>
                  </a:cubicBezTo>
                  <a:cubicBezTo>
                    <a:pt x="80" y="146"/>
                    <a:pt x="75" y="146"/>
                    <a:pt x="70" y="146"/>
                  </a:cubicBezTo>
                  <a:cubicBezTo>
                    <a:pt x="66" y="147"/>
                    <a:pt x="62" y="147"/>
                    <a:pt x="58" y="147"/>
                  </a:cubicBezTo>
                  <a:cubicBezTo>
                    <a:pt x="59" y="152"/>
                    <a:pt x="59" y="156"/>
                    <a:pt x="60" y="160"/>
                  </a:cubicBezTo>
                  <a:cubicBezTo>
                    <a:pt x="66" y="160"/>
                    <a:pt x="72" y="161"/>
                    <a:pt x="79" y="162"/>
                  </a:cubicBezTo>
                  <a:cubicBezTo>
                    <a:pt x="82" y="162"/>
                    <a:pt x="85" y="163"/>
                    <a:pt x="89" y="164"/>
                  </a:cubicBezTo>
                  <a:cubicBezTo>
                    <a:pt x="91" y="165"/>
                    <a:pt x="93" y="167"/>
                    <a:pt x="95" y="168"/>
                  </a:cubicBezTo>
                  <a:cubicBezTo>
                    <a:pt x="95" y="161"/>
                    <a:pt x="95" y="155"/>
                    <a:pt x="94" y="148"/>
                  </a:cubicBezTo>
                  <a:close/>
                  <a:moveTo>
                    <a:pt x="92" y="187"/>
                  </a:moveTo>
                  <a:cubicBezTo>
                    <a:pt x="92" y="187"/>
                    <a:pt x="92" y="187"/>
                    <a:pt x="92" y="187"/>
                  </a:cubicBezTo>
                  <a:cubicBezTo>
                    <a:pt x="93" y="183"/>
                    <a:pt x="94" y="179"/>
                    <a:pt x="94" y="174"/>
                  </a:cubicBezTo>
                  <a:cubicBezTo>
                    <a:pt x="94" y="174"/>
                    <a:pt x="94" y="174"/>
                    <a:pt x="94" y="173"/>
                  </a:cubicBezTo>
                  <a:cubicBezTo>
                    <a:pt x="89" y="171"/>
                    <a:pt x="84" y="169"/>
                    <a:pt x="78" y="168"/>
                  </a:cubicBezTo>
                  <a:cubicBezTo>
                    <a:pt x="72" y="167"/>
                    <a:pt x="65" y="167"/>
                    <a:pt x="60" y="165"/>
                  </a:cubicBezTo>
                  <a:cubicBezTo>
                    <a:pt x="60" y="167"/>
                    <a:pt x="60" y="169"/>
                    <a:pt x="60" y="171"/>
                  </a:cubicBezTo>
                  <a:cubicBezTo>
                    <a:pt x="60" y="172"/>
                    <a:pt x="60" y="173"/>
                    <a:pt x="60" y="173"/>
                  </a:cubicBezTo>
                  <a:cubicBezTo>
                    <a:pt x="62" y="174"/>
                    <a:pt x="64" y="174"/>
                    <a:pt x="65" y="174"/>
                  </a:cubicBezTo>
                  <a:cubicBezTo>
                    <a:pt x="70" y="174"/>
                    <a:pt x="75" y="176"/>
                    <a:pt x="79" y="179"/>
                  </a:cubicBezTo>
                  <a:cubicBezTo>
                    <a:pt x="83" y="183"/>
                    <a:pt x="88" y="184"/>
                    <a:pt x="92" y="187"/>
                  </a:cubicBezTo>
                  <a:close/>
                  <a:moveTo>
                    <a:pt x="58" y="186"/>
                  </a:moveTo>
                  <a:cubicBezTo>
                    <a:pt x="58" y="186"/>
                    <a:pt x="58" y="186"/>
                    <a:pt x="58" y="186"/>
                  </a:cubicBezTo>
                  <a:cubicBezTo>
                    <a:pt x="62" y="188"/>
                    <a:pt x="66" y="189"/>
                    <a:pt x="70" y="191"/>
                  </a:cubicBezTo>
                  <a:cubicBezTo>
                    <a:pt x="74" y="193"/>
                    <a:pt x="78" y="196"/>
                    <a:pt x="83" y="198"/>
                  </a:cubicBezTo>
                  <a:cubicBezTo>
                    <a:pt x="85" y="199"/>
                    <a:pt x="87" y="200"/>
                    <a:pt x="89" y="201"/>
                  </a:cubicBezTo>
                  <a:cubicBezTo>
                    <a:pt x="90" y="199"/>
                    <a:pt x="90" y="196"/>
                    <a:pt x="91" y="193"/>
                  </a:cubicBezTo>
                  <a:cubicBezTo>
                    <a:pt x="89" y="192"/>
                    <a:pt x="87" y="192"/>
                    <a:pt x="85" y="191"/>
                  </a:cubicBezTo>
                  <a:cubicBezTo>
                    <a:pt x="81" y="189"/>
                    <a:pt x="77" y="188"/>
                    <a:pt x="74" y="185"/>
                  </a:cubicBezTo>
                  <a:cubicBezTo>
                    <a:pt x="70" y="182"/>
                    <a:pt x="66" y="181"/>
                    <a:pt x="61" y="181"/>
                  </a:cubicBezTo>
                  <a:cubicBezTo>
                    <a:pt x="60" y="181"/>
                    <a:pt x="59" y="181"/>
                    <a:pt x="59" y="181"/>
                  </a:cubicBezTo>
                  <a:cubicBezTo>
                    <a:pt x="58" y="183"/>
                    <a:pt x="58" y="185"/>
                    <a:pt x="57" y="186"/>
                  </a:cubicBezTo>
                  <a:cubicBezTo>
                    <a:pt x="57" y="186"/>
                    <a:pt x="57" y="186"/>
                    <a:pt x="58" y="186"/>
                  </a:cubicBezTo>
                  <a:close/>
                  <a:moveTo>
                    <a:pt x="46" y="101"/>
                  </a:moveTo>
                  <a:cubicBezTo>
                    <a:pt x="46" y="101"/>
                    <a:pt x="46" y="101"/>
                    <a:pt x="46" y="101"/>
                  </a:cubicBezTo>
                  <a:cubicBezTo>
                    <a:pt x="48" y="107"/>
                    <a:pt x="50" y="112"/>
                    <a:pt x="52" y="118"/>
                  </a:cubicBezTo>
                  <a:cubicBezTo>
                    <a:pt x="54" y="117"/>
                    <a:pt x="57" y="116"/>
                    <a:pt x="59" y="115"/>
                  </a:cubicBezTo>
                  <a:cubicBezTo>
                    <a:pt x="64" y="114"/>
                    <a:pt x="68" y="114"/>
                    <a:pt x="73" y="113"/>
                  </a:cubicBezTo>
                  <a:cubicBezTo>
                    <a:pt x="77" y="113"/>
                    <a:pt x="81" y="113"/>
                    <a:pt x="84" y="114"/>
                  </a:cubicBezTo>
                  <a:cubicBezTo>
                    <a:pt x="83" y="111"/>
                    <a:pt x="82" y="108"/>
                    <a:pt x="81" y="104"/>
                  </a:cubicBezTo>
                  <a:cubicBezTo>
                    <a:pt x="79" y="99"/>
                    <a:pt x="77" y="94"/>
                    <a:pt x="75" y="88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68" y="90"/>
                    <a:pt x="61" y="92"/>
                    <a:pt x="55" y="95"/>
                  </a:cubicBezTo>
                  <a:cubicBezTo>
                    <a:pt x="52" y="96"/>
                    <a:pt x="49" y="98"/>
                    <a:pt x="45" y="99"/>
                  </a:cubicBezTo>
                  <a:cubicBezTo>
                    <a:pt x="45" y="99"/>
                    <a:pt x="45" y="100"/>
                    <a:pt x="45" y="100"/>
                  </a:cubicBezTo>
                  <a:cubicBezTo>
                    <a:pt x="45" y="100"/>
                    <a:pt x="45" y="101"/>
                    <a:pt x="46" y="101"/>
                  </a:cubicBezTo>
                  <a:close/>
                  <a:moveTo>
                    <a:pt x="31" y="72"/>
                  </a:moveTo>
                  <a:cubicBezTo>
                    <a:pt x="31" y="72"/>
                    <a:pt x="31" y="72"/>
                    <a:pt x="31" y="72"/>
                  </a:cubicBezTo>
                  <a:cubicBezTo>
                    <a:pt x="35" y="69"/>
                    <a:pt x="40" y="67"/>
                    <a:pt x="44" y="65"/>
                  </a:cubicBezTo>
                  <a:cubicBezTo>
                    <a:pt x="49" y="61"/>
                    <a:pt x="54" y="58"/>
                    <a:pt x="60" y="56"/>
                  </a:cubicBezTo>
                  <a:cubicBezTo>
                    <a:pt x="55" y="48"/>
                    <a:pt x="49" y="40"/>
                    <a:pt x="43" y="33"/>
                  </a:cubicBezTo>
                  <a:cubicBezTo>
                    <a:pt x="39" y="37"/>
                    <a:pt x="35" y="41"/>
                    <a:pt x="31" y="45"/>
                  </a:cubicBezTo>
                  <a:cubicBezTo>
                    <a:pt x="27" y="48"/>
                    <a:pt x="25" y="53"/>
                    <a:pt x="21" y="57"/>
                  </a:cubicBezTo>
                  <a:cubicBezTo>
                    <a:pt x="23" y="59"/>
                    <a:pt x="24" y="60"/>
                    <a:pt x="25" y="62"/>
                  </a:cubicBezTo>
                  <a:cubicBezTo>
                    <a:pt x="27" y="65"/>
                    <a:pt x="30" y="68"/>
                    <a:pt x="31" y="72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îśliḍè"/>
            <p:cNvSpPr/>
            <p:nvPr/>
          </p:nvSpPr>
          <p:spPr bwMode="auto">
            <a:xfrm>
              <a:off x="6843160" y="3477949"/>
              <a:ext cx="504740" cy="1209341"/>
            </a:xfrm>
            <a:custGeom>
              <a:avLst/>
              <a:gdLst>
                <a:gd name="T0" fmla="*/ 11 w 72"/>
                <a:gd name="T1" fmla="*/ 28 h 172"/>
                <a:gd name="T2" fmla="*/ 28 w 72"/>
                <a:gd name="T3" fmla="*/ 19 h 172"/>
                <a:gd name="T4" fmla="*/ 3 w 72"/>
                <a:gd name="T5" fmla="*/ 10 h 172"/>
                <a:gd name="T6" fmla="*/ 0 w 72"/>
                <a:gd name="T7" fmla="*/ 21 h 172"/>
                <a:gd name="T8" fmla="*/ 1 w 72"/>
                <a:gd name="T9" fmla="*/ 0 h 172"/>
                <a:gd name="T10" fmla="*/ 1 w 72"/>
                <a:gd name="T11" fmla="*/ 2 h 172"/>
                <a:gd name="T12" fmla="*/ 33 w 72"/>
                <a:gd name="T13" fmla="*/ 24 h 172"/>
                <a:gd name="T14" fmla="*/ 47 w 72"/>
                <a:gd name="T15" fmla="*/ 43 h 172"/>
                <a:gd name="T16" fmla="*/ 31 w 72"/>
                <a:gd name="T17" fmla="*/ 53 h 172"/>
                <a:gd name="T18" fmla="*/ 25 w 72"/>
                <a:gd name="T19" fmla="*/ 43 h 172"/>
                <a:gd name="T20" fmla="*/ 31 w 72"/>
                <a:gd name="T21" fmla="*/ 26 h 172"/>
                <a:gd name="T22" fmla="*/ 51 w 72"/>
                <a:gd name="T23" fmla="*/ 49 h 172"/>
                <a:gd name="T24" fmla="*/ 50 w 72"/>
                <a:gd name="T25" fmla="*/ 71 h 172"/>
                <a:gd name="T26" fmla="*/ 35 w 72"/>
                <a:gd name="T27" fmla="*/ 59 h 172"/>
                <a:gd name="T28" fmla="*/ 51 w 72"/>
                <a:gd name="T29" fmla="*/ 49 h 172"/>
                <a:gd name="T30" fmla="*/ 67 w 72"/>
                <a:gd name="T31" fmla="*/ 95 h 172"/>
                <a:gd name="T32" fmla="*/ 52 w 72"/>
                <a:gd name="T33" fmla="*/ 99 h 172"/>
                <a:gd name="T34" fmla="*/ 46 w 72"/>
                <a:gd name="T35" fmla="*/ 82 h 172"/>
                <a:gd name="T36" fmla="*/ 45 w 72"/>
                <a:gd name="T37" fmla="*/ 80 h 172"/>
                <a:gd name="T38" fmla="*/ 62 w 72"/>
                <a:gd name="T39" fmla="*/ 73 h 172"/>
                <a:gd name="T40" fmla="*/ 71 w 72"/>
                <a:gd name="T41" fmla="*/ 119 h 172"/>
                <a:gd name="T42" fmla="*/ 54 w 72"/>
                <a:gd name="T43" fmla="*/ 105 h 172"/>
                <a:gd name="T44" fmla="*/ 69 w 72"/>
                <a:gd name="T45" fmla="*/ 101 h 172"/>
                <a:gd name="T46" fmla="*/ 72 w 72"/>
                <a:gd name="T47" fmla="*/ 142 h 172"/>
                <a:gd name="T48" fmla="*/ 58 w 72"/>
                <a:gd name="T49" fmla="*/ 128 h 172"/>
                <a:gd name="T50" fmla="*/ 72 w 72"/>
                <a:gd name="T51" fmla="*/ 127 h 172"/>
                <a:gd name="T52" fmla="*/ 71 w 72"/>
                <a:gd name="T53" fmla="*/ 156 h 172"/>
                <a:gd name="T54" fmla="*/ 60 w 72"/>
                <a:gd name="T55" fmla="*/ 154 h 172"/>
                <a:gd name="T56" fmla="*/ 60 w 72"/>
                <a:gd name="T57" fmla="*/ 146 h 172"/>
                <a:gd name="T58" fmla="*/ 71 w 72"/>
                <a:gd name="T59" fmla="*/ 164 h 172"/>
                <a:gd name="T60" fmla="*/ 58 w 72"/>
                <a:gd name="T61" fmla="*/ 167 h 172"/>
                <a:gd name="T62" fmla="*/ 57 w 72"/>
                <a:gd name="T63" fmla="*/ 167 h 172"/>
                <a:gd name="T64" fmla="*/ 61 w 72"/>
                <a:gd name="T65" fmla="*/ 16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72">
                  <a:moveTo>
                    <a:pt x="11" y="28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4" y="30"/>
                    <a:pt x="16" y="32"/>
                    <a:pt x="18" y="34"/>
                  </a:cubicBezTo>
                  <a:cubicBezTo>
                    <a:pt x="20" y="29"/>
                    <a:pt x="24" y="24"/>
                    <a:pt x="28" y="19"/>
                  </a:cubicBezTo>
                  <a:cubicBezTo>
                    <a:pt x="22" y="13"/>
                    <a:pt x="15" y="8"/>
                    <a:pt x="8" y="4"/>
                  </a:cubicBezTo>
                  <a:cubicBezTo>
                    <a:pt x="6" y="6"/>
                    <a:pt x="4" y="8"/>
                    <a:pt x="3" y="10"/>
                  </a:cubicBezTo>
                  <a:cubicBezTo>
                    <a:pt x="2" y="12"/>
                    <a:pt x="1" y="14"/>
                    <a:pt x="0" y="16"/>
                  </a:cubicBezTo>
                  <a:cubicBezTo>
                    <a:pt x="0" y="18"/>
                    <a:pt x="0" y="19"/>
                    <a:pt x="0" y="21"/>
                  </a:cubicBezTo>
                  <a:cubicBezTo>
                    <a:pt x="4" y="23"/>
                    <a:pt x="8" y="26"/>
                    <a:pt x="11" y="28"/>
                  </a:cubicBezTo>
                  <a:close/>
                  <a:moveTo>
                    <a:pt x="1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1" y="0"/>
                  </a:lnTo>
                  <a:close/>
                  <a:moveTo>
                    <a:pt x="33" y="24"/>
                  </a:moveTo>
                  <a:cubicBezTo>
                    <a:pt x="37" y="28"/>
                    <a:pt x="41" y="33"/>
                    <a:pt x="44" y="38"/>
                  </a:cubicBezTo>
                  <a:cubicBezTo>
                    <a:pt x="45" y="40"/>
                    <a:pt x="46" y="42"/>
                    <a:pt x="47" y="43"/>
                  </a:cubicBezTo>
                  <a:cubicBezTo>
                    <a:pt x="46" y="44"/>
                    <a:pt x="45" y="45"/>
                    <a:pt x="44" y="46"/>
                  </a:cubicBezTo>
                  <a:cubicBezTo>
                    <a:pt x="40" y="48"/>
                    <a:pt x="35" y="50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0" y="49"/>
                    <a:pt x="27" y="46"/>
                    <a:pt x="25" y="43"/>
                  </a:cubicBezTo>
                  <a:cubicBezTo>
                    <a:pt x="24" y="41"/>
                    <a:pt x="23" y="40"/>
                    <a:pt x="21" y="38"/>
                  </a:cubicBezTo>
                  <a:cubicBezTo>
                    <a:pt x="25" y="34"/>
                    <a:pt x="27" y="29"/>
                    <a:pt x="31" y="26"/>
                  </a:cubicBezTo>
                  <a:lnTo>
                    <a:pt x="33" y="24"/>
                  </a:lnTo>
                  <a:close/>
                  <a:moveTo>
                    <a:pt x="51" y="49"/>
                  </a:moveTo>
                  <a:cubicBezTo>
                    <a:pt x="54" y="55"/>
                    <a:pt x="57" y="62"/>
                    <a:pt x="60" y="68"/>
                  </a:cubicBezTo>
                  <a:cubicBezTo>
                    <a:pt x="56" y="69"/>
                    <a:pt x="53" y="69"/>
                    <a:pt x="50" y="71"/>
                  </a:cubicBezTo>
                  <a:cubicBezTo>
                    <a:pt x="48" y="71"/>
                    <a:pt x="45" y="73"/>
                    <a:pt x="42" y="74"/>
                  </a:cubicBezTo>
                  <a:cubicBezTo>
                    <a:pt x="40" y="69"/>
                    <a:pt x="38" y="64"/>
                    <a:pt x="35" y="59"/>
                  </a:cubicBezTo>
                  <a:cubicBezTo>
                    <a:pt x="38" y="57"/>
                    <a:pt x="41" y="55"/>
                    <a:pt x="44" y="54"/>
                  </a:cubicBezTo>
                  <a:cubicBezTo>
                    <a:pt x="46" y="52"/>
                    <a:pt x="49" y="51"/>
                    <a:pt x="51" y="49"/>
                  </a:cubicBezTo>
                  <a:close/>
                  <a:moveTo>
                    <a:pt x="62" y="73"/>
                  </a:moveTo>
                  <a:cubicBezTo>
                    <a:pt x="64" y="81"/>
                    <a:pt x="66" y="88"/>
                    <a:pt x="67" y="95"/>
                  </a:cubicBezTo>
                  <a:cubicBezTo>
                    <a:pt x="65" y="95"/>
                    <a:pt x="62" y="96"/>
                    <a:pt x="59" y="96"/>
                  </a:cubicBezTo>
                  <a:cubicBezTo>
                    <a:pt x="57" y="97"/>
                    <a:pt x="54" y="98"/>
                    <a:pt x="52" y="99"/>
                  </a:cubicBezTo>
                  <a:cubicBezTo>
                    <a:pt x="50" y="93"/>
                    <a:pt x="48" y="88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5" y="82"/>
                    <a:pt x="45" y="81"/>
                    <a:pt x="45" y="81"/>
                  </a:cubicBezTo>
                  <a:cubicBezTo>
                    <a:pt x="45" y="81"/>
                    <a:pt x="45" y="80"/>
                    <a:pt x="45" y="80"/>
                  </a:cubicBezTo>
                  <a:cubicBezTo>
                    <a:pt x="49" y="79"/>
                    <a:pt x="52" y="77"/>
                    <a:pt x="55" y="76"/>
                  </a:cubicBezTo>
                  <a:cubicBezTo>
                    <a:pt x="57" y="75"/>
                    <a:pt x="59" y="74"/>
                    <a:pt x="62" y="73"/>
                  </a:cubicBezTo>
                  <a:close/>
                  <a:moveTo>
                    <a:pt x="69" y="101"/>
                  </a:moveTo>
                  <a:cubicBezTo>
                    <a:pt x="70" y="108"/>
                    <a:pt x="71" y="114"/>
                    <a:pt x="71" y="119"/>
                  </a:cubicBezTo>
                  <a:cubicBezTo>
                    <a:pt x="66" y="119"/>
                    <a:pt x="61" y="120"/>
                    <a:pt x="57" y="121"/>
                  </a:cubicBezTo>
                  <a:cubicBezTo>
                    <a:pt x="56" y="115"/>
                    <a:pt x="55" y="110"/>
                    <a:pt x="54" y="105"/>
                  </a:cubicBezTo>
                  <a:cubicBezTo>
                    <a:pt x="56" y="105"/>
                    <a:pt x="59" y="104"/>
                    <a:pt x="61" y="103"/>
                  </a:cubicBezTo>
                  <a:cubicBezTo>
                    <a:pt x="64" y="103"/>
                    <a:pt x="66" y="102"/>
                    <a:pt x="69" y="101"/>
                  </a:cubicBezTo>
                  <a:close/>
                  <a:moveTo>
                    <a:pt x="72" y="127"/>
                  </a:moveTo>
                  <a:cubicBezTo>
                    <a:pt x="72" y="132"/>
                    <a:pt x="72" y="137"/>
                    <a:pt x="72" y="142"/>
                  </a:cubicBezTo>
                  <a:cubicBezTo>
                    <a:pt x="68" y="141"/>
                    <a:pt x="64" y="141"/>
                    <a:pt x="60" y="141"/>
                  </a:cubicBezTo>
                  <a:cubicBezTo>
                    <a:pt x="59" y="137"/>
                    <a:pt x="59" y="133"/>
                    <a:pt x="58" y="128"/>
                  </a:cubicBezTo>
                  <a:cubicBezTo>
                    <a:pt x="62" y="128"/>
                    <a:pt x="66" y="128"/>
                    <a:pt x="70" y="127"/>
                  </a:cubicBezTo>
                  <a:lnTo>
                    <a:pt x="72" y="127"/>
                  </a:lnTo>
                  <a:close/>
                  <a:moveTo>
                    <a:pt x="72" y="148"/>
                  </a:moveTo>
                  <a:cubicBezTo>
                    <a:pt x="72" y="151"/>
                    <a:pt x="71" y="154"/>
                    <a:pt x="71" y="156"/>
                  </a:cubicBezTo>
                  <a:cubicBezTo>
                    <a:pt x="69" y="156"/>
                    <a:pt x="67" y="155"/>
                    <a:pt x="65" y="155"/>
                  </a:cubicBezTo>
                  <a:cubicBezTo>
                    <a:pt x="64" y="155"/>
                    <a:pt x="62" y="155"/>
                    <a:pt x="60" y="154"/>
                  </a:cubicBezTo>
                  <a:cubicBezTo>
                    <a:pt x="60" y="154"/>
                    <a:pt x="60" y="153"/>
                    <a:pt x="60" y="152"/>
                  </a:cubicBezTo>
                  <a:cubicBezTo>
                    <a:pt x="60" y="150"/>
                    <a:pt x="60" y="148"/>
                    <a:pt x="60" y="146"/>
                  </a:cubicBezTo>
                  <a:cubicBezTo>
                    <a:pt x="63" y="148"/>
                    <a:pt x="67" y="148"/>
                    <a:pt x="72" y="148"/>
                  </a:cubicBezTo>
                  <a:close/>
                  <a:moveTo>
                    <a:pt x="71" y="164"/>
                  </a:moveTo>
                  <a:cubicBezTo>
                    <a:pt x="70" y="167"/>
                    <a:pt x="70" y="170"/>
                    <a:pt x="69" y="172"/>
                  </a:cubicBezTo>
                  <a:cubicBezTo>
                    <a:pt x="66" y="170"/>
                    <a:pt x="62" y="169"/>
                    <a:pt x="58" y="167"/>
                  </a:cubicBezTo>
                  <a:cubicBezTo>
                    <a:pt x="58" y="167"/>
                    <a:pt x="58" y="167"/>
                    <a:pt x="58" y="167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8" y="166"/>
                    <a:pt x="58" y="164"/>
                    <a:pt x="59" y="162"/>
                  </a:cubicBezTo>
                  <a:cubicBezTo>
                    <a:pt x="59" y="162"/>
                    <a:pt x="60" y="162"/>
                    <a:pt x="61" y="162"/>
                  </a:cubicBezTo>
                  <a:cubicBezTo>
                    <a:pt x="65" y="162"/>
                    <a:pt x="68" y="163"/>
                    <a:pt x="71" y="164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ïṣļîďè"/>
            <p:cNvSpPr/>
            <p:nvPr/>
          </p:nvSpPr>
          <p:spPr bwMode="auto">
            <a:xfrm>
              <a:off x="6257120" y="3098548"/>
              <a:ext cx="254064" cy="81300"/>
            </a:xfrm>
            <a:custGeom>
              <a:avLst/>
              <a:gdLst>
                <a:gd name="T0" fmla="*/ 35 w 36"/>
                <a:gd name="T1" fmla="*/ 5 h 12"/>
                <a:gd name="T2" fmla="*/ 35 w 36"/>
                <a:gd name="T3" fmla="*/ 5 h 12"/>
                <a:gd name="T4" fmla="*/ 35 w 36"/>
                <a:gd name="T5" fmla="*/ 0 h 12"/>
                <a:gd name="T6" fmla="*/ 6 w 36"/>
                <a:gd name="T7" fmla="*/ 0 h 12"/>
                <a:gd name="T8" fmla="*/ 0 w 36"/>
                <a:gd name="T9" fmla="*/ 1 h 12"/>
                <a:gd name="T10" fmla="*/ 0 w 36"/>
                <a:gd name="T11" fmla="*/ 4 h 12"/>
                <a:gd name="T12" fmla="*/ 0 w 36"/>
                <a:gd name="T13" fmla="*/ 11 h 12"/>
                <a:gd name="T14" fmla="*/ 14 w 36"/>
                <a:gd name="T15" fmla="*/ 12 h 12"/>
                <a:gd name="T16" fmla="*/ 36 w 36"/>
                <a:gd name="T17" fmla="*/ 12 h 12"/>
                <a:gd name="T18" fmla="*/ 35 w 36"/>
                <a:gd name="T1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2">
                  <a:moveTo>
                    <a:pt x="35" y="5"/>
                  </a:moveTo>
                  <a:cubicBezTo>
                    <a:pt x="35" y="5"/>
                    <a:pt x="35" y="5"/>
                    <a:pt x="35" y="5"/>
                  </a:cubicBezTo>
                  <a:cubicBezTo>
                    <a:pt x="35" y="3"/>
                    <a:pt x="35" y="2"/>
                    <a:pt x="35" y="0"/>
                  </a:cubicBezTo>
                  <a:cubicBezTo>
                    <a:pt x="25" y="0"/>
                    <a:pt x="1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0" y="9"/>
                    <a:pt x="0" y="11"/>
                  </a:cubicBezTo>
                  <a:cubicBezTo>
                    <a:pt x="5" y="12"/>
                    <a:pt x="9" y="12"/>
                    <a:pt x="14" y="12"/>
                  </a:cubicBezTo>
                  <a:cubicBezTo>
                    <a:pt x="21" y="12"/>
                    <a:pt x="29" y="12"/>
                    <a:pt x="36" y="12"/>
                  </a:cubicBezTo>
                  <a:cubicBezTo>
                    <a:pt x="36" y="10"/>
                    <a:pt x="36" y="7"/>
                    <a:pt x="35" y="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ïS1iḓê"/>
            <p:cNvSpPr/>
            <p:nvPr/>
          </p:nvSpPr>
          <p:spPr bwMode="auto">
            <a:xfrm>
              <a:off x="5596557" y="1486095"/>
              <a:ext cx="1554867" cy="1520992"/>
            </a:xfrm>
            <a:custGeom>
              <a:avLst/>
              <a:gdLst>
                <a:gd name="T0" fmla="*/ 169 w 221"/>
                <a:gd name="T1" fmla="*/ 215 h 216"/>
                <a:gd name="T2" fmla="*/ 169 w 221"/>
                <a:gd name="T3" fmla="*/ 215 h 216"/>
                <a:gd name="T4" fmla="*/ 188 w 221"/>
                <a:gd name="T5" fmla="*/ 215 h 216"/>
                <a:gd name="T6" fmla="*/ 188 w 221"/>
                <a:gd name="T7" fmla="*/ 191 h 216"/>
                <a:gd name="T8" fmla="*/ 188 w 221"/>
                <a:gd name="T9" fmla="*/ 164 h 216"/>
                <a:gd name="T10" fmla="*/ 189 w 221"/>
                <a:gd name="T11" fmla="*/ 127 h 216"/>
                <a:gd name="T12" fmla="*/ 189 w 221"/>
                <a:gd name="T13" fmla="*/ 122 h 216"/>
                <a:gd name="T14" fmla="*/ 189 w 221"/>
                <a:gd name="T15" fmla="*/ 108 h 216"/>
                <a:gd name="T16" fmla="*/ 184 w 221"/>
                <a:gd name="T17" fmla="*/ 54 h 216"/>
                <a:gd name="T18" fmla="*/ 179 w 221"/>
                <a:gd name="T19" fmla="*/ 30 h 216"/>
                <a:gd name="T20" fmla="*/ 174 w 221"/>
                <a:gd name="T21" fmla="*/ 18 h 216"/>
                <a:gd name="T22" fmla="*/ 174 w 221"/>
                <a:gd name="T23" fmla="*/ 18 h 216"/>
                <a:gd name="T24" fmla="*/ 159 w 221"/>
                <a:gd name="T25" fmla="*/ 10 h 216"/>
                <a:gd name="T26" fmla="*/ 108 w 221"/>
                <a:gd name="T27" fmla="*/ 1 h 216"/>
                <a:gd name="T28" fmla="*/ 25 w 221"/>
                <a:gd name="T29" fmla="*/ 45 h 216"/>
                <a:gd name="T30" fmla="*/ 2 w 221"/>
                <a:gd name="T31" fmla="*/ 121 h 216"/>
                <a:gd name="T32" fmla="*/ 1 w 221"/>
                <a:gd name="T33" fmla="*/ 166 h 216"/>
                <a:gd name="T34" fmla="*/ 0 w 221"/>
                <a:gd name="T35" fmla="*/ 209 h 216"/>
                <a:gd name="T36" fmla="*/ 1 w 221"/>
                <a:gd name="T37" fmla="*/ 212 h 216"/>
                <a:gd name="T38" fmla="*/ 4 w 221"/>
                <a:gd name="T39" fmla="*/ 212 h 216"/>
                <a:gd name="T40" fmla="*/ 16 w 221"/>
                <a:gd name="T41" fmla="*/ 213 h 216"/>
                <a:gd name="T42" fmla="*/ 47 w 221"/>
                <a:gd name="T43" fmla="*/ 216 h 216"/>
                <a:gd name="T44" fmla="*/ 77 w 221"/>
                <a:gd name="T45" fmla="*/ 215 h 216"/>
                <a:gd name="T46" fmla="*/ 108 w 221"/>
                <a:gd name="T47" fmla="*/ 214 h 216"/>
                <a:gd name="T48" fmla="*/ 169 w 221"/>
                <a:gd name="T49" fmla="*/ 215 h 216"/>
                <a:gd name="T50" fmla="*/ 184 w 221"/>
                <a:gd name="T51" fmla="*/ 26 h 216"/>
                <a:gd name="T52" fmla="*/ 184 w 221"/>
                <a:gd name="T53" fmla="*/ 26 h 216"/>
                <a:gd name="T54" fmla="*/ 188 w 221"/>
                <a:gd name="T55" fmla="*/ 42 h 216"/>
                <a:gd name="T56" fmla="*/ 192 w 221"/>
                <a:gd name="T57" fmla="*/ 39 h 216"/>
                <a:gd name="T58" fmla="*/ 194 w 221"/>
                <a:gd name="T59" fmla="*/ 40 h 216"/>
                <a:gd name="T60" fmla="*/ 192 w 221"/>
                <a:gd name="T61" fmla="*/ 34 h 216"/>
                <a:gd name="T62" fmla="*/ 184 w 221"/>
                <a:gd name="T63" fmla="*/ 26 h 216"/>
                <a:gd name="T64" fmla="*/ 217 w 221"/>
                <a:gd name="T65" fmla="*/ 215 h 216"/>
                <a:gd name="T66" fmla="*/ 217 w 221"/>
                <a:gd name="T67" fmla="*/ 215 h 216"/>
                <a:gd name="T68" fmla="*/ 220 w 221"/>
                <a:gd name="T69" fmla="*/ 212 h 216"/>
                <a:gd name="T70" fmla="*/ 221 w 221"/>
                <a:gd name="T71" fmla="*/ 211 h 216"/>
                <a:gd name="T72" fmla="*/ 221 w 221"/>
                <a:gd name="T73" fmla="*/ 198 h 216"/>
                <a:gd name="T74" fmla="*/ 221 w 221"/>
                <a:gd name="T75" fmla="*/ 173 h 216"/>
                <a:gd name="T76" fmla="*/ 219 w 221"/>
                <a:gd name="T77" fmla="*/ 132 h 216"/>
                <a:gd name="T78" fmla="*/ 208 w 221"/>
                <a:gd name="T79" fmla="*/ 132 h 216"/>
                <a:gd name="T80" fmla="*/ 199 w 221"/>
                <a:gd name="T81" fmla="*/ 131 h 216"/>
                <a:gd name="T82" fmla="*/ 196 w 221"/>
                <a:gd name="T83" fmla="*/ 131 h 216"/>
                <a:gd name="T84" fmla="*/ 196 w 221"/>
                <a:gd name="T85" fmla="*/ 161 h 216"/>
                <a:gd name="T86" fmla="*/ 196 w 221"/>
                <a:gd name="T87" fmla="*/ 189 h 216"/>
                <a:gd name="T88" fmla="*/ 196 w 221"/>
                <a:gd name="T89" fmla="*/ 203 h 216"/>
                <a:gd name="T90" fmla="*/ 195 w 221"/>
                <a:gd name="T91" fmla="*/ 215 h 216"/>
                <a:gd name="T92" fmla="*/ 217 w 221"/>
                <a:gd name="T93" fmla="*/ 215 h 216"/>
                <a:gd name="T94" fmla="*/ 202 w 221"/>
                <a:gd name="T95" fmla="*/ 52 h 216"/>
                <a:gd name="T96" fmla="*/ 202 w 221"/>
                <a:gd name="T97" fmla="*/ 52 h 216"/>
                <a:gd name="T98" fmla="*/ 197 w 221"/>
                <a:gd name="T99" fmla="*/ 44 h 216"/>
                <a:gd name="T100" fmla="*/ 192 w 221"/>
                <a:gd name="T101" fmla="*/ 48 h 216"/>
                <a:gd name="T102" fmla="*/ 189 w 221"/>
                <a:gd name="T103" fmla="*/ 46 h 216"/>
                <a:gd name="T104" fmla="*/ 190 w 221"/>
                <a:gd name="T105" fmla="*/ 50 h 216"/>
                <a:gd name="T106" fmla="*/ 196 w 221"/>
                <a:gd name="T107" fmla="*/ 105 h 216"/>
                <a:gd name="T108" fmla="*/ 196 w 221"/>
                <a:gd name="T109" fmla="*/ 118 h 216"/>
                <a:gd name="T110" fmla="*/ 206 w 221"/>
                <a:gd name="T111" fmla="*/ 117 h 216"/>
                <a:gd name="T112" fmla="*/ 217 w 221"/>
                <a:gd name="T113" fmla="*/ 117 h 216"/>
                <a:gd name="T114" fmla="*/ 212 w 221"/>
                <a:gd name="T115" fmla="*/ 71 h 216"/>
                <a:gd name="T116" fmla="*/ 202 w 221"/>
                <a:gd name="T117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1" h="216">
                  <a:moveTo>
                    <a:pt x="169" y="215"/>
                  </a:moveTo>
                  <a:cubicBezTo>
                    <a:pt x="169" y="215"/>
                    <a:pt x="169" y="215"/>
                    <a:pt x="169" y="215"/>
                  </a:cubicBezTo>
                  <a:cubicBezTo>
                    <a:pt x="175" y="215"/>
                    <a:pt x="182" y="215"/>
                    <a:pt x="188" y="215"/>
                  </a:cubicBezTo>
                  <a:cubicBezTo>
                    <a:pt x="187" y="207"/>
                    <a:pt x="188" y="199"/>
                    <a:pt x="188" y="191"/>
                  </a:cubicBezTo>
                  <a:cubicBezTo>
                    <a:pt x="188" y="182"/>
                    <a:pt x="188" y="173"/>
                    <a:pt x="188" y="164"/>
                  </a:cubicBezTo>
                  <a:cubicBezTo>
                    <a:pt x="188" y="151"/>
                    <a:pt x="188" y="139"/>
                    <a:pt x="189" y="127"/>
                  </a:cubicBezTo>
                  <a:cubicBezTo>
                    <a:pt x="187" y="126"/>
                    <a:pt x="187" y="123"/>
                    <a:pt x="189" y="122"/>
                  </a:cubicBezTo>
                  <a:cubicBezTo>
                    <a:pt x="189" y="117"/>
                    <a:pt x="189" y="113"/>
                    <a:pt x="189" y="108"/>
                  </a:cubicBezTo>
                  <a:cubicBezTo>
                    <a:pt x="189" y="90"/>
                    <a:pt x="187" y="72"/>
                    <a:pt x="184" y="54"/>
                  </a:cubicBezTo>
                  <a:cubicBezTo>
                    <a:pt x="183" y="46"/>
                    <a:pt x="182" y="38"/>
                    <a:pt x="179" y="30"/>
                  </a:cubicBezTo>
                  <a:cubicBezTo>
                    <a:pt x="178" y="26"/>
                    <a:pt x="176" y="22"/>
                    <a:pt x="174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69" y="15"/>
                    <a:pt x="164" y="12"/>
                    <a:pt x="159" y="10"/>
                  </a:cubicBezTo>
                  <a:cubicBezTo>
                    <a:pt x="143" y="3"/>
                    <a:pt x="125" y="0"/>
                    <a:pt x="108" y="1"/>
                  </a:cubicBezTo>
                  <a:cubicBezTo>
                    <a:pt x="76" y="3"/>
                    <a:pt x="44" y="19"/>
                    <a:pt x="25" y="45"/>
                  </a:cubicBezTo>
                  <a:cubicBezTo>
                    <a:pt x="9" y="67"/>
                    <a:pt x="3" y="94"/>
                    <a:pt x="2" y="121"/>
                  </a:cubicBezTo>
                  <a:cubicBezTo>
                    <a:pt x="1" y="136"/>
                    <a:pt x="1" y="151"/>
                    <a:pt x="1" y="166"/>
                  </a:cubicBezTo>
                  <a:cubicBezTo>
                    <a:pt x="1" y="181"/>
                    <a:pt x="2" y="195"/>
                    <a:pt x="0" y="209"/>
                  </a:cubicBezTo>
                  <a:cubicBezTo>
                    <a:pt x="0" y="210"/>
                    <a:pt x="1" y="211"/>
                    <a:pt x="1" y="212"/>
                  </a:cubicBezTo>
                  <a:cubicBezTo>
                    <a:pt x="2" y="212"/>
                    <a:pt x="2" y="212"/>
                    <a:pt x="4" y="212"/>
                  </a:cubicBezTo>
                  <a:cubicBezTo>
                    <a:pt x="8" y="213"/>
                    <a:pt x="12" y="213"/>
                    <a:pt x="16" y="213"/>
                  </a:cubicBezTo>
                  <a:cubicBezTo>
                    <a:pt x="27" y="215"/>
                    <a:pt x="36" y="215"/>
                    <a:pt x="47" y="216"/>
                  </a:cubicBezTo>
                  <a:cubicBezTo>
                    <a:pt x="57" y="216"/>
                    <a:pt x="67" y="215"/>
                    <a:pt x="77" y="215"/>
                  </a:cubicBezTo>
                  <a:cubicBezTo>
                    <a:pt x="88" y="214"/>
                    <a:pt x="98" y="214"/>
                    <a:pt x="108" y="214"/>
                  </a:cubicBezTo>
                  <a:cubicBezTo>
                    <a:pt x="129" y="214"/>
                    <a:pt x="149" y="215"/>
                    <a:pt x="169" y="215"/>
                  </a:cubicBezTo>
                  <a:close/>
                  <a:moveTo>
                    <a:pt x="184" y="26"/>
                  </a:moveTo>
                  <a:cubicBezTo>
                    <a:pt x="184" y="26"/>
                    <a:pt x="184" y="26"/>
                    <a:pt x="184" y="26"/>
                  </a:cubicBezTo>
                  <a:cubicBezTo>
                    <a:pt x="186" y="31"/>
                    <a:pt x="187" y="37"/>
                    <a:pt x="188" y="42"/>
                  </a:cubicBezTo>
                  <a:cubicBezTo>
                    <a:pt x="189" y="40"/>
                    <a:pt x="191" y="39"/>
                    <a:pt x="192" y="39"/>
                  </a:cubicBezTo>
                  <a:cubicBezTo>
                    <a:pt x="193" y="39"/>
                    <a:pt x="194" y="39"/>
                    <a:pt x="194" y="40"/>
                  </a:cubicBezTo>
                  <a:cubicBezTo>
                    <a:pt x="194" y="38"/>
                    <a:pt x="193" y="36"/>
                    <a:pt x="192" y="34"/>
                  </a:cubicBezTo>
                  <a:cubicBezTo>
                    <a:pt x="189" y="31"/>
                    <a:pt x="187" y="28"/>
                    <a:pt x="184" y="26"/>
                  </a:cubicBezTo>
                  <a:close/>
                  <a:moveTo>
                    <a:pt x="217" y="215"/>
                  </a:moveTo>
                  <a:cubicBezTo>
                    <a:pt x="217" y="215"/>
                    <a:pt x="217" y="215"/>
                    <a:pt x="217" y="215"/>
                  </a:cubicBezTo>
                  <a:cubicBezTo>
                    <a:pt x="218" y="214"/>
                    <a:pt x="219" y="213"/>
                    <a:pt x="220" y="212"/>
                  </a:cubicBezTo>
                  <a:cubicBezTo>
                    <a:pt x="220" y="212"/>
                    <a:pt x="221" y="211"/>
                    <a:pt x="221" y="211"/>
                  </a:cubicBezTo>
                  <a:cubicBezTo>
                    <a:pt x="221" y="206"/>
                    <a:pt x="221" y="202"/>
                    <a:pt x="221" y="198"/>
                  </a:cubicBezTo>
                  <a:cubicBezTo>
                    <a:pt x="221" y="190"/>
                    <a:pt x="221" y="181"/>
                    <a:pt x="221" y="173"/>
                  </a:cubicBezTo>
                  <a:cubicBezTo>
                    <a:pt x="221" y="159"/>
                    <a:pt x="220" y="145"/>
                    <a:pt x="219" y="132"/>
                  </a:cubicBezTo>
                  <a:cubicBezTo>
                    <a:pt x="215" y="132"/>
                    <a:pt x="212" y="132"/>
                    <a:pt x="208" y="132"/>
                  </a:cubicBezTo>
                  <a:cubicBezTo>
                    <a:pt x="205" y="132"/>
                    <a:pt x="202" y="132"/>
                    <a:pt x="199" y="131"/>
                  </a:cubicBezTo>
                  <a:cubicBezTo>
                    <a:pt x="198" y="131"/>
                    <a:pt x="197" y="131"/>
                    <a:pt x="196" y="131"/>
                  </a:cubicBezTo>
                  <a:cubicBezTo>
                    <a:pt x="196" y="141"/>
                    <a:pt x="196" y="151"/>
                    <a:pt x="196" y="161"/>
                  </a:cubicBezTo>
                  <a:cubicBezTo>
                    <a:pt x="196" y="170"/>
                    <a:pt x="196" y="180"/>
                    <a:pt x="196" y="189"/>
                  </a:cubicBezTo>
                  <a:cubicBezTo>
                    <a:pt x="196" y="194"/>
                    <a:pt x="196" y="198"/>
                    <a:pt x="196" y="203"/>
                  </a:cubicBezTo>
                  <a:cubicBezTo>
                    <a:pt x="196" y="207"/>
                    <a:pt x="196" y="211"/>
                    <a:pt x="195" y="215"/>
                  </a:cubicBezTo>
                  <a:cubicBezTo>
                    <a:pt x="203" y="215"/>
                    <a:pt x="210" y="215"/>
                    <a:pt x="217" y="215"/>
                  </a:cubicBezTo>
                  <a:close/>
                  <a:moveTo>
                    <a:pt x="202" y="52"/>
                  </a:moveTo>
                  <a:cubicBezTo>
                    <a:pt x="202" y="52"/>
                    <a:pt x="202" y="52"/>
                    <a:pt x="202" y="52"/>
                  </a:cubicBezTo>
                  <a:cubicBezTo>
                    <a:pt x="200" y="50"/>
                    <a:pt x="198" y="47"/>
                    <a:pt x="197" y="44"/>
                  </a:cubicBezTo>
                  <a:cubicBezTo>
                    <a:pt x="197" y="46"/>
                    <a:pt x="195" y="48"/>
                    <a:pt x="192" y="48"/>
                  </a:cubicBezTo>
                  <a:cubicBezTo>
                    <a:pt x="191" y="48"/>
                    <a:pt x="190" y="47"/>
                    <a:pt x="189" y="46"/>
                  </a:cubicBezTo>
                  <a:cubicBezTo>
                    <a:pt x="189" y="47"/>
                    <a:pt x="190" y="49"/>
                    <a:pt x="190" y="50"/>
                  </a:cubicBezTo>
                  <a:cubicBezTo>
                    <a:pt x="193" y="68"/>
                    <a:pt x="195" y="87"/>
                    <a:pt x="196" y="105"/>
                  </a:cubicBezTo>
                  <a:cubicBezTo>
                    <a:pt x="196" y="110"/>
                    <a:pt x="196" y="114"/>
                    <a:pt x="196" y="118"/>
                  </a:cubicBezTo>
                  <a:cubicBezTo>
                    <a:pt x="199" y="117"/>
                    <a:pt x="203" y="117"/>
                    <a:pt x="206" y="117"/>
                  </a:cubicBezTo>
                  <a:cubicBezTo>
                    <a:pt x="210" y="117"/>
                    <a:pt x="214" y="117"/>
                    <a:pt x="217" y="117"/>
                  </a:cubicBezTo>
                  <a:cubicBezTo>
                    <a:pt x="216" y="101"/>
                    <a:pt x="216" y="86"/>
                    <a:pt x="212" y="71"/>
                  </a:cubicBezTo>
                  <a:cubicBezTo>
                    <a:pt x="209" y="65"/>
                    <a:pt x="206" y="58"/>
                    <a:pt x="202" y="52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îsḷîdê"/>
            <p:cNvSpPr/>
            <p:nvPr/>
          </p:nvSpPr>
          <p:spPr bwMode="auto">
            <a:xfrm>
              <a:off x="5596557" y="1536908"/>
              <a:ext cx="542001" cy="1446467"/>
            </a:xfrm>
            <a:custGeom>
              <a:avLst/>
              <a:gdLst>
                <a:gd name="T0" fmla="*/ 77 w 77"/>
                <a:gd name="T1" fmla="*/ 0 h 206"/>
                <a:gd name="T2" fmla="*/ 25 w 77"/>
                <a:gd name="T3" fmla="*/ 38 h 206"/>
                <a:gd name="T4" fmla="*/ 2 w 77"/>
                <a:gd name="T5" fmla="*/ 114 h 206"/>
                <a:gd name="T6" fmla="*/ 1 w 77"/>
                <a:gd name="T7" fmla="*/ 159 h 206"/>
                <a:gd name="T8" fmla="*/ 0 w 77"/>
                <a:gd name="T9" fmla="*/ 202 h 206"/>
                <a:gd name="T10" fmla="*/ 1 w 77"/>
                <a:gd name="T11" fmla="*/ 205 h 206"/>
                <a:gd name="T12" fmla="*/ 4 w 77"/>
                <a:gd name="T13" fmla="*/ 205 h 206"/>
                <a:gd name="T14" fmla="*/ 14 w 77"/>
                <a:gd name="T15" fmla="*/ 206 h 206"/>
                <a:gd name="T16" fmla="*/ 21 w 77"/>
                <a:gd name="T17" fmla="*/ 80 h 206"/>
                <a:gd name="T18" fmla="*/ 77 w 77"/>
                <a:gd name="T19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206">
                  <a:moveTo>
                    <a:pt x="77" y="0"/>
                  </a:moveTo>
                  <a:cubicBezTo>
                    <a:pt x="56" y="7"/>
                    <a:pt x="37" y="20"/>
                    <a:pt x="25" y="38"/>
                  </a:cubicBezTo>
                  <a:cubicBezTo>
                    <a:pt x="9" y="60"/>
                    <a:pt x="3" y="87"/>
                    <a:pt x="2" y="114"/>
                  </a:cubicBezTo>
                  <a:cubicBezTo>
                    <a:pt x="1" y="129"/>
                    <a:pt x="1" y="144"/>
                    <a:pt x="1" y="159"/>
                  </a:cubicBezTo>
                  <a:cubicBezTo>
                    <a:pt x="1" y="174"/>
                    <a:pt x="2" y="188"/>
                    <a:pt x="0" y="202"/>
                  </a:cubicBezTo>
                  <a:cubicBezTo>
                    <a:pt x="0" y="203"/>
                    <a:pt x="1" y="204"/>
                    <a:pt x="1" y="205"/>
                  </a:cubicBezTo>
                  <a:cubicBezTo>
                    <a:pt x="2" y="205"/>
                    <a:pt x="2" y="205"/>
                    <a:pt x="4" y="205"/>
                  </a:cubicBezTo>
                  <a:cubicBezTo>
                    <a:pt x="7" y="206"/>
                    <a:pt x="11" y="206"/>
                    <a:pt x="14" y="206"/>
                  </a:cubicBezTo>
                  <a:cubicBezTo>
                    <a:pt x="14" y="179"/>
                    <a:pt x="15" y="122"/>
                    <a:pt x="21" y="80"/>
                  </a:cubicBezTo>
                  <a:cubicBezTo>
                    <a:pt x="30" y="23"/>
                    <a:pt x="77" y="0"/>
                    <a:pt x="7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îṥliḓê"/>
            <p:cNvSpPr/>
            <p:nvPr/>
          </p:nvSpPr>
          <p:spPr bwMode="auto">
            <a:xfrm>
              <a:off x="6538284" y="1499645"/>
              <a:ext cx="613140" cy="1497278"/>
            </a:xfrm>
            <a:custGeom>
              <a:avLst/>
              <a:gdLst>
                <a:gd name="T0" fmla="*/ 35 w 87"/>
                <a:gd name="T1" fmla="*/ 213 h 213"/>
                <a:gd name="T2" fmla="*/ 54 w 87"/>
                <a:gd name="T3" fmla="*/ 213 h 213"/>
                <a:gd name="T4" fmla="*/ 54 w 87"/>
                <a:gd name="T5" fmla="*/ 189 h 213"/>
                <a:gd name="T6" fmla="*/ 54 w 87"/>
                <a:gd name="T7" fmla="*/ 162 h 213"/>
                <a:gd name="T8" fmla="*/ 55 w 87"/>
                <a:gd name="T9" fmla="*/ 125 h 213"/>
                <a:gd name="T10" fmla="*/ 55 w 87"/>
                <a:gd name="T11" fmla="*/ 120 h 213"/>
                <a:gd name="T12" fmla="*/ 55 w 87"/>
                <a:gd name="T13" fmla="*/ 106 h 213"/>
                <a:gd name="T14" fmla="*/ 50 w 87"/>
                <a:gd name="T15" fmla="*/ 52 h 213"/>
                <a:gd name="T16" fmla="*/ 45 w 87"/>
                <a:gd name="T17" fmla="*/ 28 h 213"/>
                <a:gd name="T18" fmla="*/ 40 w 87"/>
                <a:gd name="T19" fmla="*/ 16 h 213"/>
                <a:gd name="T20" fmla="*/ 40 w 87"/>
                <a:gd name="T21" fmla="*/ 16 h 213"/>
                <a:gd name="T22" fmla="*/ 25 w 87"/>
                <a:gd name="T23" fmla="*/ 8 h 213"/>
                <a:gd name="T24" fmla="*/ 0 w 87"/>
                <a:gd name="T25" fmla="*/ 0 h 213"/>
                <a:gd name="T26" fmla="*/ 35 w 87"/>
                <a:gd name="T27" fmla="*/ 213 h 213"/>
                <a:gd name="T28" fmla="*/ 50 w 87"/>
                <a:gd name="T29" fmla="*/ 24 h 213"/>
                <a:gd name="T30" fmla="*/ 50 w 87"/>
                <a:gd name="T31" fmla="*/ 24 h 213"/>
                <a:gd name="T32" fmla="*/ 54 w 87"/>
                <a:gd name="T33" fmla="*/ 40 h 213"/>
                <a:gd name="T34" fmla="*/ 58 w 87"/>
                <a:gd name="T35" fmla="*/ 37 h 213"/>
                <a:gd name="T36" fmla="*/ 60 w 87"/>
                <a:gd name="T37" fmla="*/ 38 h 213"/>
                <a:gd name="T38" fmla="*/ 58 w 87"/>
                <a:gd name="T39" fmla="*/ 32 h 213"/>
                <a:gd name="T40" fmla="*/ 50 w 87"/>
                <a:gd name="T41" fmla="*/ 24 h 213"/>
                <a:gd name="T42" fmla="*/ 83 w 87"/>
                <a:gd name="T43" fmla="*/ 213 h 213"/>
                <a:gd name="T44" fmla="*/ 83 w 87"/>
                <a:gd name="T45" fmla="*/ 213 h 213"/>
                <a:gd name="T46" fmla="*/ 86 w 87"/>
                <a:gd name="T47" fmla="*/ 210 h 213"/>
                <a:gd name="T48" fmla="*/ 87 w 87"/>
                <a:gd name="T49" fmla="*/ 209 h 213"/>
                <a:gd name="T50" fmla="*/ 87 w 87"/>
                <a:gd name="T51" fmla="*/ 196 h 213"/>
                <a:gd name="T52" fmla="*/ 87 w 87"/>
                <a:gd name="T53" fmla="*/ 171 h 213"/>
                <a:gd name="T54" fmla="*/ 85 w 87"/>
                <a:gd name="T55" fmla="*/ 130 h 213"/>
                <a:gd name="T56" fmla="*/ 74 w 87"/>
                <a:gd name="T57" fmla="*/ 130 h 213"/>
                <a:gd name="T58" fmla="*/ 65 w 87"/>
                <a:gd name="T59" fmla="*/ 129 h 213"/>
                <a:gd name="T60" fmla="*/ 62 w 87"/>
                <a:gd name="T61" fmla="*/ 129 h 213"/>
                <a:gd name="T62" fmla="*/ 62 w 87"/>
                <a:gd name="T63" fmla="*/ 159 h 213"/>
                <a:gd name="T64" fmla="*/ 62 w 87"/>
                <a:gd name="T65" fmla="*/ 187 h 213"/>
                <a:gd name="T66" fmla="*/ 62 w 87"/>
                <a:gd name="T67" fmla="*/ 201 h 213"/>
                <a:gd name="T68" fmla="*/ 61 w 87"/>
                <a:gd name="T69" fmla="*/ 213 h 213"/>
                <a:gd name="T70" fmla="*/ 83 w 87"/>
                <a:gd name="T71" fmla="*/ 213 h 213"/>
                <a:gd name="T72" fmla="*/ 68 w 87"/>
                <a:gd name="T73" fmla="*/ 50 h 213"/>
                <a:gd name="T74" fmla="*/ 68 w 87"/>
                <a:gd name="T75" fmla="*/ 50 h 213"/>
                <a:gd name="T76" fmla="*/ 63 w 87"/>
                <a:gd name="T77" fmla="*/ 42 h 213"/>
                <a:gd name="T78" fmla="*/ 58 w 87"/>
                <a:gd name="T79" fmla="*/ 46 h 213"/>
                <a:gd name="T80" fmla="*/ 55 w 87"/>
                <a:gd name="T81" fmla="*/ 44 h 213"/>
                <a:gd name="T82" fmla="*/ 56 w 87"/>
                <a:gd name="T83" fmla="*/ 48 h 213"/>
                <a:gd name="T84" fmla="*/ 62 w 87"/>
                <a:gd name="T85" fmla="*/ 103 h 213"/>
                <a:gd name="T86" fmla="*/ 62 w 87"/>
                <a:gd name="T87" fmla="*/ 116 h 213"/>
                <a:gd name="T88" fmla="*/ 72 w 87"/>
                <a:gd name="T89" fmla="*/ 115 h 213"/>
                <a:gd name="T90" fmla="*/ 83 w 87"/>
                <a:gd name="T91" fmla="*/ 115 h 213"/>
                <a:gd name="T92" fmla="*/ 78 w 87"/>
                <a:gd name="T93" fmla="*/ 69 h 213"/>
                <a:gd name="T94" fmla="*/ 68 w 87"/>
                <a:gd name="T95" fmla="*/ 5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7" h="213">
                  <a:moveTo>
                    <a:pt x="35" y="213"/>
                  </a:moveTo>
                  <a:cubicBezTo>
                    <a:pt x="41" y="213"/>
                    <a:pt x="48" y="213"/>
                    <a:pt x="54" y="213"/>
                  </a:cubicBezTo>
                  <a:cubicBezTo>
                    <a:pt x="53" y="205"/>
                    <a:pt x="54" y="197"/>
                    <a:pt x="54" y="189"/>
                  </a:cubicBezTo>
                  <a:cubicBezTo>
                    <a:pt x="54" y="180"/>
                    <a:pt x="54" y="171"/>
                    <a:pt x="54" y="162"/>
                  </a:cubicBezTo>
                  <a:cubicBezTo>
                    <a:pt x="54" y="149"/>
                    <a:pt x="54" y="137"/>
                    <a:pt x="55" y="125"/>
                  </a:cubicBezTo>
                  <a:cubicBezTo>
                    <a:pt x="53" y="124"/>
                    <a:pt x="53" y="121"/>
                    <a:pt x="55" y="120"/>
                  </a:cubicBezTo>
                  <a:cubicBezTo>
                    <a:pt x="55" y="115"/>
                    <a:pt x="55" y="111"/>
                    <a:pt x="55" y="106"/>
                  </a:cubicBezTo>
                  <a:cubicBezTo>
                    <a:pt x="55" y="88"/>
                    <a:pt x="53" y="70"/>
                    <a:pt x="50" y="52"/>
                  </a:cubicBezTo>
                  <a:cubicBezTo>
                    <a:pt x="49" y="44"/>
                    <a:pt x="48" y="36"/>
                    <a:pt x="45" y="28"/>
                  </a:cubicBezTo>
                  <a:cubicBezTo>
                    <a:pt x="44" y="24"/>
                    <a:pt x="42" y="20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35" y="13"/>
                    <a:pt x="30" y="10"/>
                    <a:pt x="25" y="8"/>
                  </a:cubicBezTo>
                  <a:cubicBezTo>
                    <a:pt x="17" y="4"/>
                    <a:pt x="9" y="2"/>
                    <a:pt x="0" y="0"/>
                  </a:cubicBezTo>
                  <a:cubicBezTo>
                    <a:pt x="0" y="0"/>
                    <a:pt x="68" y="37"/>
                    <a:pt x="35" y="213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2" y="29"/>
                    <a:pt x="53" y="35"/>
                    <a:pt x="54" y="40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9" y="37"/>
                    <a:pt x="60" y="37"/>
                    <a:pt x="60" y="38"/>
                  </a:cubicBezTo>
                  <a:cubicBezTo>
                    <a:pt x="60" y="36"/>
                    <a:pt x="59" y="34"/>
                    <a:pt x="58" y="32"/>
                  </a:cubicBezTo>
                  <a:cubicBezTo>
                    <a:pt x="55" y="29"/>
                    <a:pt x="53" y="26"/>
                    <a:pt x="50" y="24"/>
                  </a:cubicBezTo>
                  <a:close/>
                  <a:moveTo>
                    <a:pt x="83" y="213"/>
                  </a:moveTo>
                  <a:cubicBezTo>
                    <a:pt x="83" y="213"/>
                    <a:pt x="83" y="213"/>
                    <a:pt x="83" y="213"/>
                  </a:cubicBezTo>
                  <a:cubicBezTo>
                    <a:pt x="84" y="212"/>
                    <a:pt x="85" y="211"/>
                    <a:pt x="86" y="210"/>
                  </a:cubicBezTo>
                  <a:cubicBezTo>
                    <a:pt x="86" y="210"/>
                    <a:pt x="87" y="209"/>
                    <a:pt x="87" y="209"/>
                  </a:cubicBezTo>
                  <a:cubicBezTo>
                    <a:pt x="87" y="204"/>
                    <a:pt x="87" y="200"/>
                    <a:pt x="87" y="196"/>
                  </a:cubicBezTo>
                  <a:cubicBezTo>
                    <a:pt x="87" y="188"/>
                    <a:pt x="87" y="179"/>
                    <a:pt x="87" y="171"/>
                  </a:cubicBezTo>
                  <a:cubicBezTo>
                    <a:pt x="87" y="157"/>
                    <a:pt x="86" y="143"/>
                    <a:pt x="85" y="130"/>
                  </a:cubicBezTo>
                  <a:cubicBezTo>
                    <a:pt x="81" y="130"/>
                    <a:pt x="78" y="130"/>
                    <a:pt x="74" y="130"/>
                  </a:cubicBezTo>
                  <a:cubicBezTo>
                    <a:pt x="71" y="130"/>
                    <a:pt x="68" y="130"/>
                    <a:pt x="65" y="129"/>
                  </a:cubicBezTo>
                  <a:cubicBezTo>
                    <a:pt x="64" y="129"/>
                    <a:pt x="63" y="129"/>
                    <a:pt x="62" y="129"/>
                  </a:cubicBezTo>
                  <a:cubicBezTo>
                    <a:pt x="62" y="139"/>
                    <a:pt x="62" y="149"/>
                    <a:pt x="62" y="159"/>
                  </a:cubicBezTo>
                  <a:cubicBezTo>
                    <a:pt x="62" y="168"/>
                    <a:pt x="62" y="178"/>
                    <a:pt x="62" y="187"/>
                  </a:cubicBezTo>
                  <a:cubicBezTo>
                    <a:pt x="62" y="192"/>
                    <a:pt x="62" y="196"/>
                    <a:pt x="62" y="201"/>
                  </a:cubicBezTo>
                  <a:cubicBezTo>
                    <a:pt x="62" y="205"/>
                    <a:pt x="62" y="209"/>
                    <a:pt x="61" y="213"/>
                  </a:cubicBezTo>
                  <a:cubicBezTo>
                    <a:pt x="69" y="213"/>
                    <a:pt x="76" y="213"/>
                    <a:pt x="83" y="213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6" y="48"/>
                    <a:pt x="64" y="45"/>
                    <a:pt x="63" y="42"/>
                  </a:cubicBezTo>
                  <a:cubicBezTo>
                    <a:pt x="63" y="44"/>
                    <a:pt x="61" y="46"/>
                    <a:pt x="58" y="46"/>
                  </a:cubicBezTo>
                  <a:cubicBezTo>
                    <a:pt x="57" y="46"/>
                    <a:pt x="56" y="45"/>
                    <a:pt x="55" y="44"/>
                  </a:cubicBezTo>
                  <a:cubicBezTo>
                    <a:pt x="55" y="45"/>
                    <a:pt x="56" y="47"/>
                    <a:pt x="56" y="48"/>
                  </a:cubicBezTo>
                  <a:cubicBezTo>
                    <a:pt x="59" y="66"/>
                    <a:pt x="61" y="85"/>
                    <a:pt x="62" y="103"/>
                  </a:cubicBezTo>
                  <a:cubicBezTo>
                    <a:pt x="62" y="108"/>
                    <a:pt x="62" y="112"/>
                    <a:pt x="62" y="116"/>
                  </a:cubicBezTo>
                  <a:cubicBezTo>
                    <a:pt x="65" y="115"/>
                    <a:pt x="69" y="115"/>
                    <a:pt x="72" y="115"/>
                  </a:cubicBezTo>
                  <a:cubicBezTo>
                    <a:pt x="76" y="115"/>
                    <a:pt x="80" y="115"/>
                    <a:pt x="83" y="115"/>
                  </a:cubicBezTo>
                  <a:cubicBezTo>
                    <a:pt x="82" y="99"/>
                    <a:pt x="82" y="84"/>
                    <a:pt x="78" y="69"/>
                  </a:cubicBezTo>
                  <a:cubicBezTo>
                    <a:pt x="75" y="63"/>
                    <a:pt x="72" y="56"/>
                    <a:pt x="68" y="50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îŝļidé"/>
            <p:cNvSpPr/>
            <p:nvPr/>
          </p:nvSpPr>
          <p:spPr bwMode="auto">
            <a:xfrm>
              <a:off x="6067419" y="3525374"/>
              <a:ext cx="176150" cy="274389"/>
            </a:xfrm>
            <a:custGeom>
              <a:avLst/>
              <a:gdLst>
                <a:gd name="T0" fmla="*/ 23 w 25"/>
                <a:gd name="T1" fmla="*/ 37 h 39"/>
                <a:gd name="T2" fmla="*/ 23 w 25"/>
                <a:gd name="T3" fmla="*/ 37 h 39"/>
                <a:gd name="T4" fmla="*/ 24 w 25"/>
                <a:gd name="T5" fmla="*/ 23 h 39"/>
                <a:gd name="T6" fmla="*/ 24 w 25"/>
                <a:gd name="T7" fmla="*/ 10 h 39"/>
                <a:gd name="T8" fmla="*/ 25 w 25"/>
                <a:gd name="T9" fmla="*/ 2 h 39"/>
                <a:gd name="T10" fmla="*/ 11 w 25"/>
                <a:gd name="T11" fmla="*/ 1 h 39"/>
                <a:gd name="T12" fmla="*/ 4 w 25"/>
                <a:gd name="T13" fmla="*/ 1 h 39"/>
                <a:gd name="T14" fmla="*/ 2 w 25"/>
                <a:gd name="T15" fmla="*/ 7 h 39"/>
                <a:gd name="T16" fmla="*/ 1 w 25"/>
                <a:gd name="T17" fmla="*/ 20 h 39"/>
                <a:gd name="T18" fmla="*/ 1 w 25"/>
                <a:gd name="T19" fmla="*/ 32 h 39"/>
                <a:gd name="T20" fmla="*/ 1 w 25"/>
                <a:gd name="T21" fmla="*/ 36 h 39"/>
                <a:gd name="T22" fmla="*/ 3 w 25"/>
                <a:gd name="T23" fmla="*/ 36 h 39"/>
                <a:gd name="T24" fmla="*/ 12 w 25"/>
                <a:gd name="T25" fmla="*/ 37 h 39"/>
                <a:gd name="T26" fmla="*/ 23 w 25"/>
                <a:gd name="T27" fmla="*/ 39 h 39"/>
                <a:gd name="T28" fmla="*/ 23 w 25"/>
                <a:gd name="T29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39">
                  <a:moveTo>
                    <a:pt x="23" y="37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32"/>
                    <a:pt x="23" y="28"/>
                    <a:pt x="24" y="23"/>
                  </a:cubicBezTo>
                  <a:cubicBezTo>
                    <a:pt x="24" y="19"/>
                    <a:pt x="24" y="15"/>
                    <a:pt x="24" y="10"/>
                  </a:cubicBezTo>
                  <a:cubicBezTo>
                    <a:pt x="25" y="7"/>
                    <a:pt x="24" y="4"/>
                    <a:pt x="25" y="2"/>
                  </a:cubicBezTo>
                  <a:cubicBezTo>
                    <a:pt x="21" y="0"/>
                    <a:pt x="16" y="1"/>
                    <a:pt x="11" y="1"/>
                  </a:cubicBezTo>
                  <a:cubicBezTo>
                    <a:pt x="9" y="0"/>
                    <a:pt x="6" y="0"/>
                    <a:pt x="4" y="1"/>
                  </a:cubicBezTo>
                  <a:cubicBezTo>
                    <a:pt x="2" y="2"/>
                    <a:pt x="2" y="5"/>
                    <a:pt x="2" y="7"/>
                  </a:cubicBezTo>
                  <a:cubicBezTo>
                    <a:pt x="1" y="11"/>
                    <a:pt x="1" y="16"/>
                    <a:pt x="1" y="20"/>
                  </a:cubicBezTo>
                  <a:cubicBezTo>
                    <a:pt x="0" y="24"/>
                    <a:pt x="1" y="28"/>
                    <a:pt x="1" y="32"/>
                  </a:cubicBezTo>
                  <a:cubicBezTo>
                    <a:pt x="1" y="33"/>
                    <a:pt x="1" y="35"/>
                    <a:pt x="1" y="36"/>
                  </a:cubicBezTo>
                  <a:cubicBezTo>
                    <a:pt x="2" y="36"/>
                    <a:pt x="2" y="36"/>
                    <a:pt x="3" y="36"/>
                  </a:cubicBezTo>
                  <a:cubicBezTo>
                    <a:pt x="6" y="36"/>
                    <a:pt x="9" y="36"/>
                    <a:pt x="12" y="37"/>
                  </a:cubicBezTo>
                  <a:cubicBezTo>
                    <a:pt x="16" y="37"/>
                    <a:pt x="20" y="37"/>
                    <a:pt x="23" y="39"/>
                  </a:cubicBezTo>
                  <a:cubicBezTo>
                    <a:pt x="23" y="38"/>
                    <a:pt x="23" y="37"/>
                    <a:pt x="23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îṡḷîḋè"/>
            <p:cNvSpPr/>
            <p:nvPr/>
          </p:nvSpPr>
          <p:spPr bwMode="auto">
            <a:xfrm>
              <a:off x="6700884" y="3308574"/>
              <a:ext cx="64364" cy="287939"/>
            </a:xfrm>
            <a:custGeom>
              <a:avLst/>
              <a:gdLst>
                <a:gd name="T0" fmla="*/ 8 w 9"/>
                <a:gd name="T1" fmla="*/ 31 h 41"/>
                <a:gd name="T2" fmla="*/ 8 w 9"/>
                <a:gd name="T3" fmla="*/ 31 h 41"/>
                <a:gd name="T4" fmla="*/ 9 w 9"/>
                <a:gd name="T5" fmla="*/ 8 h 41"/>
                <a:gd name="T6" fmla="*/ 8 w 9"/>
                <a:gd name="T7" fmla="*/ 7 h 41"/>
                <a:gd name="T8" fmla="*/ 4 w 9"/>
                <a:gd name="T9" fmla="*/ 0 h 41"/>
                <a:gd name="T10" fmla="*/ 3 w 9"/>
                <a:gd name="T11" fmla="*/ 3 h 41"/>
                <a:gd name="T12" fmla="*/ 1 w 9"/>
                <a:gd name="T13" fmla="*/ 15 h 41"/>
                <a:gd name="T14" fmla="*/ 7 w 9"/>
                <a:gd name="T15" fmla="*/ 41 h 41"/>
                <a:gd name="T16" fmla="*/ 8 w 9"/>
                <a:gd name="T17" fmla="*/ 3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41">
                  <a:moveTo>
                    <a:pt x="8" y="31"/>
                  </a:moveTo>
                  <a:cubicBezTo>
                    <a:pt x="8" y="31"/>
                    <a:pt x="8" y="31"/>
                    <a:pt x="8" y="31"/>
                  </a:cubicBezTo>
                  <a:cubicBezTo>
                    <a:pt x="9" y="23"/>
                    <a:pt x="9" y="16"/>
                    <a:pt x="9" y="8"/>
                  </a:cubicBezTo>
                  <a:cubicBezTo>
                    <a:pt x="9" y="8"/>
                    <a:pt x="8" y="8"/>
                    <a:pt x="8" y="7"/>
                  </a:cubicBezTo>
                  <a:cubicBezTo>
                    <a:pt x="6" y="5"/>
                    <a:pt x="6" y="2"/>
                    <a:pt x="4" y="0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2" y="7"/>
                    <a:pt x="1" y="11"/>
                    <a:pt x="1" y="15"/>
                  </a:cubicBezTo>
                  <a:cubicBezTo>
                    <a:pt x="0" y="24"/>
                    <a:pt x="1" y="34"/>
                    <a:pt x="7" y="41"/>
                  </a:cubicBezTo>
                  <a:cubicBezTo>
                    <a:pt x="7" y="38"/>
                    <a:pt x="7" y="34"/>
                    <a:pt x="8" y="3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ïSḷïḑe"/>
            <p:cNvSpPr/>
            <p:nvPr/>
          </p:nvSpPr>
          <p:spPr bwMode="auto">
            <a:xfrm>
              <a:off x="5996283" y="3295024"/>
              <a:ext cx="37264" cy="189700"/>
            </a:xfrm>
            <a:custGeom>
              <a:avLst/>
              <a:gdLst>
                <a:gd name="T0" fmla="*/ 5 w 5"/>
                <a:gd name="T1" fmla="*/ 0 h 27"/>
                <a:gd name="T2" fmla="*/ 5 w 5"/>
                <a:gd name="T3" fmla="*/ 0 h 27"/>
                <a:gd name="T4" fmla="*/ 4 w 5"/>
                <a:gd name="T5" fmla="*/ 1 h 27"/>
                <a:gd name="T6" fmla="*/ 2 w 5"/>
                <a:gd name="T7" fmla="*/ 8 h 27"/>
                <a:gd name="T8" fmla="*/ 2 w 5"/>
                <a:gd name="T9" fmla="*/ 9 h 27"/>
                <a:gd name="T10" fmla="*/ 2 w 5"/>
                <a:gd name="T11" fmla="*/ 11 h 27"/>
                <a:gd name="T12" fmla="*/ 1 w 5"/>
                <a:gd name="T13" fmla="*/ 15 h 27"/>
                <a:gd name="T14" fmla="*/ 0 w 5"/>
                <a:gd name="T15" fmla="*/ 27 h 27"/>
                <a:gd name="T16" fmla="*/ 0 w 5"/>
                <a:gd name="T17" fmla="*/ 26 h 27"/>
                <a:gd name="T18" fmla="*/ 5 w 5"/>
                <a:gd name="T19" fmla="*/ 11 h 27"/>
                <a:gd name="T20" fmla="*/ 5 w 5"/>
                <a:gd name="T2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27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3"/>
                    <a:pt x="2" y="6"/>
                    <a:pt x="2" y="8"/>
                  </a:cubicBezTo>
                  <a:cubicBezTo>
                    <a:pt x="2" y="8"/>
                    <a:pt x="2" y="9"/>
                    <a:pt x="2" y="9"/>
                  </a:cubicBezTo>
                  <a:cubicBezTo>
                    <a:pt x="2" y="9"/>
                    <a:pt x="2" y="11"/>
                    <a:pt x="2" y="11"/>
                  </a:cubicBezTo>
                  <a:cubicBezTo>
                    <a:pt x="1" y="12"/>
                    <a:pt x="1" y="14"/>
                    <a:pt x="1" y="15"/>
                  </a:cubicBezTo>
                  <a:cubicBezTo>
                    <a:pt x="1" y="19"/>
                    <a:pt x="1" y="23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" y="22"/>
                    <a:pt x="4" y="16"/>
                    <a:pt x="5" y="11"/>
                  </a:cubicBezTo>
                  <a:cubicBezTo>
                    <a:pt x="5" y="7"/>
                    <a:pt x="5" y="4"/>
                    <a:pt x="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ïSľiḓè"/>
            <p:cNvSpPr/>
            <p:nvPr/>
          </p:nvSpPr>
          <p:spPr bwMode="auto">
            <a:xfrm>
              <a:off x="5054555" y="4003014"/>
              <a:ext cx="105014" cy="386176"/>
            </a:xfrm>
            <a:custGeom>
              <a:avLst/>
              <a:gdLst>
                <a:gd name="T0" fmla="*/ 13 w 15"/>
                <a:gd name="T1" fmla="*/ 54 h 55"/>
                <a:gd name="T2" fmla="*/ 13 w 15"/>
                <a:gd name="T3" fmla="*/ 54 h 55"/>
                <a:gd name="T4" fmla="*/ 14 w 15"/>
                <a:gd name="T5" fmla="*/ 51 h 55"/>
                <a:gd name="T6" fmla="*/ 14 w 15"/>
                <a:gd name="T7" fmla="*/ 38 h 55"/>
                <a:gd name="T8" fmla="*/ 10 w 15"/>
                <a:gd name="T9" fmla="*/ 19 h 55"/>
                <a:gd name="T10" fmla="*/ 9 w 15"/>
                <a:gd name="T11" fmla="*/ 13 h 55"/>
                <a:gd name="T12" fmla="*/ 3 w 15"/>
                <a:gd name="T13" fmla="*/ 0 h 55"/>
                <a:gd name="T14" fmla="*/ 2 w 15"/>
                <a:gd name="T15" fmla="*/ 1 h 55"/>
                <a:gd name="T16" fmla="*/ 0 w 15"/>
                <a:gd name="T17" fmla="*/ 7 h 55"/>
                <a:gd name="T18" fmla="*/ 5 w 15"/>
                <a:gd name="T19" fmla="*/ 28 h 55"/>
                <a:gd name="T20" fmla="*/ 11 w 15"/>
                <a:gd name="T21" fmla="*/ 52 h 55"/>
                <a:gd name="T22" fmla="*/ 11 w 15"/>
                <a:gd name="T23" fmla="*/ 55 h 55"/>
                <a:gd name="T24" fmla="*/ 13 w 15"/>
                <a:gd name="T2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55">
                  <a:moveTo>
                    <a:pt x="13" y="54"/>
                  </a:move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4" y="53"/>
                    <a:pt x="14" y="51"/>
                  </a:cubicBezTo>
                  <a:cubicBezTo>
                    <a:pt x="15" y="48"/>
                    <a:pt x="14" y="42"/>
                    <a:pt x="14" y="38"/>
                  </a:cubicBezTo>
                  <a:cubicBezTo>
                    <a:pt x="13" y="32"/>
                    <a:pt x="12" y="25"/>
                    <a:pt x="10" y="19"/>
                  </a:cubicBezTo>
                  <a:cubicBezTo>
                    <a:pt x="10" y="17"/>
                    <a:pt x="9" y="15"/>
                    <a:pt x="9" y="13"/>
                  </a:cubicBezTo>
                  <a:cubicBezTo>
                    <a:pt x="6" y="9"/>
                    <a:pt x="5" y="4"/>
                    <a:pt x="3" y="0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4"/>
                    <a:pt x="3" y="21"/>
                    <a:pt x="5" y="28"/>
                  </a:cubicBezTo>
                  <a:cubicBezTo>
                    <a:pt x="7" y="36"/>
                    <a:pt x="8" y="44"/>
                    <a:pt x="11" y="52"/>
                  </a:cubicBezTo>
                  <a:cubicBezTo>
                    <a:pt x="11" y="53"/>
                    <a:pt x="11" y="54"/>
                    <a:pt x="11" y="55"/>
                  </a:cubicBezTo>
                  <a:cubicBezTo>
                    <a:pt x="12" y="54"/>
                    <a:pt x="12" y="54"/>
                    <a:pt x="13" y="54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" name="íS1íḑê"/>
            <p:cNvSpPr/>
            <p:nvPr/>
          </p:nvSpPr>
          <p:spPr bwMode="auto">
            <a:xfrm>
              <a:off x="5105367" y="4236751"/>
              <a:ext cx="54200" cy="152439"/>
            </a:xfrm>
            <a:custGeom>
              <a:avLst/>
              <a:gdLst>
                <a:gd name="T0" fmla="*/ 6 w 8"/>
                <a:gd name="T1" fmla="*/ 21 h 22"/>
                <a:gd name="T2" fmla="*/ 6 w 8"/>
                <a:gd name="T3" fmla="*/ 21 h 22"/>
                <a:gd name="T4" fmla="*/ 7 w 8"/>
                <a:gd name="T5" fmla="*/ 18 h 22"/>
                <a:gd name="T6" fmla="*/ 7 w 8"/>
                <a:gd name="T7" fmla="*/ 5 h 22"/>
                <a:gd name="T8" fmla="*/ 6 w 8"/>
                <a:gd name="T9" fmla="*/ 0 h 22"/>
                <a:gd name="T10" fmla="*/ 0 w 8"/>
                <a:gd name="T11" fmla="*/ 2 h 22"/>
                <a:gd name="T12" fmla="*/ 4 w 8"/>
                <a:gd name="T13" fmla="*/ 19 h 22"/>
                <a:gd name="T14" fmla="*/ 4 w 8"/>
                <a:gd name="T15" fmla="*/ 22 h 22"/>
                <a:gd name="T16" fmla="*/ 6 w 8"/>
                <a:gd name="T17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22"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7" y="20"/>
                    <a:pt x="7" y="18"/>
                  </a:cubicBezTo>
                  <a:cubicBezTo>
                    <a:pt x="8" y="15"/>
                    <a:pt x="7" y="9"/>
                    <a:pt x="7" y="5"/>
                  </a:cubicBezTo>
                  <a:cubicBezTo>
                    <a:pt x="6" y="3"/>
                    <a:pt x="6" y="2"/>
                    <a:pt x="6" y="0"/>
                  </a:cubicBezTo>
                  <a:cubicBezTo>
                    <a:pt x="4" y="1"/>
                    <a:pt x="2" y="1"/>
                    <a:pt x="0" y="2"/>
                  </a:cubicBezTo>
                  <a:cubicBezTo>
                    <a:pt x="1" y="8"/>
                    <a:pt x="2" y="14"/>
                    <a:pt x="4" y="19"/>
                  </a:cubicBezTo>
                  <a:cubicBezTo>
                    <a:pt x="4" y="20"/>
                    <a:pt x="4" y="21"/>
                    <a:pt x="4" y="22"/>
                  </a:cubicBezTo>
                  <a:cubicBezTo>
                    <a:pt x="5" y="21"/>
                    <a:pt x="5" y="21"/>
                    <a:pt x="6" y="2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" name="iŝḻîďe"/>
            <p:cNvSpPr/>
            <p:nvPr/>
          </p:nvSpPr>
          <p:spPr bwMode="auto">
            <a:xfrm>
              <a:off x="6216470" y="5706929"/>
              <a:ext cx="254064" cy="169375"/>
            </a:xfrm>
            <a:custGeom>
              <a:avLst/>
              <a:gdLst>
                <a:gd name="T0" fmla="*/ 21 w 36"/>
                <a:gd name="T1" fmla="*/ 21 h 24"/>
                <a:gd name="T2" fmla="*/ 21 w 36"/>
                <a:gd name="T3" fmla="*/ 21 h 24"/>
                <a:gd name="T4" fmla="*/ 34 w 36"/>
                <a:gd name="T5" fmla="*/ 8 h 24"/>
                <a:gd name="T6" fmla="*/ 36 w 36"/>
                <a:gd name="T7" fmla="*/ 1 h 24"/>
                <a:gd name="T8" fmla="*/ 33 w 36"/>
                <a:gd name="T9" fmla="*/ 1 h 24"/>
                <a:gd name="T10" fmla="*/ 11 w 36"/>
                <a:gd name="T11" fmla="*/ 0 h 24"/>
                <a:gd name="T12" fmla="*/ 0 w 36"/>
                <a:gd name="T13" fmla="*/ 0 h 24"/>
                <a:gd name="T14" fmla="*/ 21 w 36"/>
                <a:gd name="T15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4">
                  <a:moveTo>
                    <a:pt x="21" y="21"/>
                  </a:moveTo>
                  <a:cubicBezTo>
                    <a:pt x="21" y="21"/>
                    <a:pt x="21" y="21"/>
                    <a:pt x="21" y="21"/>
                  </a:cubicBezTo>
                  <a:cubicBezTo>
                    <a:pt x="28" y="19"/>
                    <a:pt x="32" y="14"/>
                    <a:pt x="34" y="8"/>
                  </a:cubicBezTo>
                  <a:cubicBezTo>
                    <a:pt x="35" y="7"/>
                    <a:pt x="35" y="4"/>
                    <a:pt x="36" y="1"/>
                  </a:cubicBezTo>
                  <a:cubicBezTo>
                    <a:pt x="35" y="1"/>
                    <a:pt x="34" y="1"/>
                    <a:pt x="33" y="1"/>
                  </a:cubicBezTo>
                  <a:cubicBezTo>
                    <a:pt x="26" y="0"/>
                    <a:pt x="18" y="0"/>
                    <a:pt x="11" y="0"/>
                  </a:cubicBezTo>
                  <a:cubicBezTo>
                    <a:pt x="7" y="0"/>
                    <a:pt x="4" y="0"/>
                    <a:pt x="0" y="0"/>
                  </a:cubicBezTo>
                  <a:cubicBezTo>
                    <a:pt x="4" y="11"/>
                    <a:pt x="9" y="24"/>
                    <a:pt x="21" y="2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" name="ïŝ1îḓè"/>
            <p:cNvSpPr/>
            <p:nvPr/>
          </p:nvSpPr>
          <p:spPr bwMode="auto">
            <a:xfrm>
              <a:off x="6301158" y="5706929"/>
              <a:ext cx="169375" cy="152439"/>
            </a:xfrm>
            <a:custGeom>
              <a:avLst/>
              <a:gdLst>
                <a:gd name="T0" fmla="*/ 9 w 24"/>
                <a:gd name="T1" fmla="*/ 21 h 22"/>
                <a:gd name="T2" fmla="*/ 9 w 24"/>
                <a:gd name="T3" fmla="*/ 21 h 22"/>
                <a:gd name="T4" fmla="*/ 22 w 24"/>
                <a:gd name="T5" fmla="*/ 8 h 22"/>
                <a:gd name="T6" fmla="*/ 24 w 24"/>
                <a:gd name="T7" fmla="*/ 1 h 22"/>
                <a:gd name="T8" fmla="*/ 21 w 24"/>
                <a:gd name="T9" fmla="*/ 1 h 22"/>
                <a:gd name="T10" fmla="*/ 8 w 24"/>
                <a:gd name="T11" fmla="*/ 0 h 22"/>
                <a:gd name="T12" fmla="*/ 0 w 24"/>
                <a:gd name="T13" fmla="*/ 20 h 22"/>
                <a:gd name="T14" fmla="*/ 9 w 24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2">
                  <a:moveTo>
                    <a:pt x="9" y="21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16" y="19"/>
                    <a:pt x="20" y="14"/>
                    <a:pt x="22" y="8"/>
                  </a:cubicBezTo>
                  <a:cubicBezTo>
                    <a:pt x="23" y="7"/>
                    <a:pt x="23" y="4"/>
                    <a:pt x="24" y="1"/>
                  </a:cubicBezTo>
                  <a:cubicBezTo>
                    <a:pt x="23" y="1"/>
                    <a:pt x="22" y="1"/>
                    <a:pt x="21" y="1"/>
                  </a:cubicBezTo>
                  <a:cubicBezTo>
                    <a:pt x="17" y="0"/>
                    <a:pt x="12" y="0"/>
                    <a:pt x="8" y="0"/>
                  </a:cubicBezTo>
                  <a:cubicBezTo>
                    <a:pt x="5" y="7"/>
                    <a:pt x="2" y="14"/>
                    <a:pt x="0" y="20"/>
                  </a:cubicBezTo>
                  <a:cubicBezTo>
                    <a:pt x="3" y="21"/>
                    <a:pt x="6" y="22"/>
                    <a:pt x="9" y="2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" name="isḻíḓe"/>
            <p:cNvSpPr/>
            <p:nvPr/>
          </p:nvSpPr>
          <p:spPr bwMode="auto">
            <a:xfrm>
              <a:off x="7131097" y="4721165"/>
              <a:ext cx="392951" cy="233739"/>
            </a:xfrm>
            <a:custGeom>
              <a:avLst/>
              <a:gdLst>
                <a:gd name="T0" fmla="*/ 3 w 56"/>
                <a:gd name="T1" fmla="*/ 1 h 33"/>
                <a:gd name="T2" fmla="*/ 3 w 56"/>
                <a:gd name="T3" fmla="*/ 1 h 33"/>
                <a:gd name="T4" fmla="*/ 1 w 56"/>
                <a:gd name="T5" fmla="*/ 4 h 33"/>
                <a:gd name="T6" fmla="*/ 0 w 56"/>
                <a:gd name="T7" fmla="*/ 5 h 33"/>
                <a:gd name="T8" fmla="*/ 31 w 56"/>
                <a:gd name="T9" fmla="*/ 19 h 33"/>
                <a:gd name="T10" fmla="*/ 47 w 56"/>
                <a:gd name="T11" fmla="*/ 28 h 33"/>
                <a:gd name="T12" fmla="*/ 53 w 56"/>
                <a:gd name="T13" fmla="*/ 33 h 33"/>
                <a:gd name="T14" fmla="*/ 56 w 56"/>
                <a:gd name="T15" fmla="*/ 29 h 33"/>
                <a:gd name="T16" fmla="*/ 54 w 56"/>
                <a:gd name="T17" fmla="*/ 21 h 33"/>
                <a:gd name="T18" fmla="*/ 52 w 56"/>
                <a:gd name="T19" fmla="*/ 20 h 33"/>
                <a:gd name="T20" fmla="*/ 41 w 56"/>
                <a:gd name="T21" fmla="*/ 15 h 33"/>
                <a:gd name="T22" fmla="*/ 20 w 56"/>
                <a:gd name="T23" fmla="*/ 6 h 33"/>
                <a:gd name="T24" fmla="*/ 11 w 56"/>
                <a:gd name="T25" fmla="*/ 3 h 33"/>
                <a:gd name="T26" fmla="*/ 3 w 56"/>
                <a:gd name="T27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33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1" y="7"/>
                    <a:pt x="21" y="13"/>
                    <a:pt x="31" y="19"/>
                  </a:cubicBezTo>
                  <a:cubicBezTo>
                    <a:pt x="36" y="22"/>
                    <a:pt x="42" y="25"/>
                    <a:pt x="47" y="28"/>
                  </a:cubicBezTo>
                  <a:cubicBezTo>
                    <a:pt x="49" y="29"/>
                    <a:pt x="51" y="31"/>
                    <a:pt x="53" y="33"/>
                  </a:cubicBezTo>
                  <a:cubicBezTo>
                    <a:pt x="55" y="32"/>
                    <a:pt x="56" y="32"/>
                    <a:pt x="56" y="29"/>
                  </a:cubicBezTo>
                  <a:cubicBezTo>
                    <a:pt x="56" y="27"/>
                    <a:pt x="55" y="24"/>
                    <a:pt x="54" y="21"/>
                  </a:cubicBezTo>
                  <a:cubicBezTo>
                    <a:pt x="53" y="21"/>
                    <a:pt x="53" y="20"/>
                    <a:pt x="52" y="20"/>
                  </a:cubicBezTo>
                  <a:cubicBezTo>
                    <a:pt x="48" y="18"/>
                    <a:pt x="44" y="17"/>
                    <a:pt x="41" y="15"/>
                  </a:cubicBezTo>
                  <a:cubicBezTo>
                    <a:pt x="33" y="12"/>
                    <a:pt x="27" y="9"/>
                    <a:pt x="20" y="6"/>
                  </a:cubicBezTo>
                  <a:cubicBezTo>
                    <a:pt x="17" y="5"/>
                    <a:pt x="14" y="4"/>
                    <a:pt x="11" y="3"/>
                  </a:cubicBezTo>
                  <a:cubicBezTo>
                    <a:pt x="9" y="2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iṧḻiḍé"/>
            <p:cNvSpPr/>
            <p:nvPr/>
          </p:nvSpPr>
          <p:spPr bwMode="auto">
            <a:xfrm>
              <a:off x="7131097" y="4721165"/>
              <a:ext cx="155825" cy="77914"/>
            </a:xfrm>
            <a:custGeom>
              <a:avLst/>
              <a:gdLst>
                <a:gd name="T0" fmla="*/ 3 w 22"/>
                <a:gd name="T1" fmla="*/ 1 h 11"/>
                <a:gd name="T2" fmla="*/ 3 w 22"/>
                <a:gd name="T3" fmla="*/ 1 h 11"/>
                <a:gd name="T4" fmla="*/ 1 w 22"/>
                <a:gd name="T5" fmla="*/ 4 h 11"/>
                <a:gd name="T6" fmla="*/ 0 w 22"/>
                <a:gd name="T7" fmla="*/ 5 h 11"/>
                <a:gd name="T8" fmla="*/ 17 w 22"/>
                <a:gd name="T9" fmla="*/ 11 h 11"/>
                <a:gd name="T10" fmla="*/ 22 w 22"/>
                <a:gd name="T11" fmla="*/ 7 h 11"/>
                <a:gd name="T12" fmla="*/ 20 w 22"/>
                <a:gd name="T13" fmla="*/ 6 h 11"/>
                <a:gd name="T14" fmla="*/ 11 w 22"/>
                <a:gd name="T15" fmla="*/ 3 h 11"/>
                <a:gd name="T16" fmla="*/ 3 w 22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1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6" y="6"/>
                    <a:pt x="11" y="8"/>
                    <a:pt x="17" y="11"/>
                  </a:cubicBezTo>
                  <a:cubicBezTo>
                    <a:pt x="18" y="9"/>
                    <a:pt x="20" y="8"/>
                    <a:pt x="22" y="7"/>
                  </a:cubicBezTo>
                  <a:cubicBezTo>
                    <a:pt x="21" y="6"/>
                    <a:pt x="20" y="6"/>
                    <a:pt x="20" y="6"/>
                  </a:cubicBezTo>
                  <a:cubicBezTo>
                    <a:pt x="17" y="5"/>
                    <a:pt x="14" y="4"/>
                    <a:pt x="11" y="3"/>
                  </a:cubicBezTo>
                  <a:cubicBezTo>
                    <a:pt x="9" y="2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íṥḻiḓê"/>
            <p:cNvSpPr/>
            <p:nvPr/>
          </p:nvSpPr>
          <p:spPr bwMode="auto">
            <a:xfrm>
              <a:off x="5989508" y="4446776"/>
              <a:ext cx="724927" cy="77914"/>
            </a:xfrm>
            <a:custGeom>
              <a:avLst/>
              <a:gdLst>
                <a:gd name="T0" fmla="*/ 21 w 103"/>
                <a:gd name="T1" fmla="*/ 7 h 11"/>
                <a:gd name="T2" fmla="*/ 21 w 103"/>
                <a:gd name="T3" fmla="*/ 7 h 11"/>
                <a:gd name="T4" fmla="*/ 56 w 103"/>
                <a:gd name="T5" fmla="*/ 8 h 11"/>
                <a:gd name="T6" fmla="*/ 92 w 103"/>
                <a:gd name="T7" fmla="*/ 9 h 11"/>
                <a:gd name="T8" fmla="*/ 102 w 103"/>
                <a:gd name="T9" fmla="*/ 9 h 11"/>
                <a:gd name="T10" fmla="*/ 103 w 103"/>
                <a:gd name="T11" fmla="*/ 7 h 11"/>
                <a:gd name="T12" fmla="*/ 103 w 103"/>
                <a:gd name="T13" fmla="*/ 2 h 11"/>
                <a:gd name="T14" fmla="*/ 103 w 103"/>
                <a:gd name="T15" fmla="*/ 0 h 11"/>
                <a:gd name="T16" fmla="*/ 96 w 103"/>
                <a:gd name="T17" fmla="*/ 0 h 11"/>
                <a:gd name="T18" fmla="*/ 85 w 103"/>
                <a:gd name="T19" fmla="*/ 1 h 11"/>
                <a:gd name="T20" fmla="*/ 57 w 103"/>
                <a:gd name="T21" fmla="*/ 2 h 11"/>
                <a:gd name="T22" fmla="*/ 29 w 103"/>
                <a:gd name="T23" fmla="*/ 3 h 11"/>
                <a:gd name="T24" fmla="*/ 15 w 103"/>
                <a:gd name="T25" fmla="*/ 2 h 11"/>
                <a:gd name="T26" fmla="*/ 2 w 103"/>
                <a:gd name="T27" fmla="*/ 0 h 11"/>
                <a:gd name="T28" fmla="*/ 0 w 103"/>
                <a:gd name="T29" fmla="*/ 6 h 11"/>
                <a:gd name="T30" fmla="*/ 3 w 103"/>
                <a:gd name="T31" fmla="*/ 7 h 11"/>
                <a:gd name="T32" fmla="*/ 21 w 103"/>
                <a:gd name="T3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1">
                  <a:moveTo>
                    <a:pt x="21" y="7"/>
                  </a:moveTo>
                  <a:cubicBezTo>
                    <a:pt x="21" y="7"/>
                    <a:pt x="21" y="7"/>
                    <a:pt x="21" y="7"/>
                  </a:cubicBezTo>
                  <a:cubicBezTo>
                    <a:pt x="33" y="7"/>
                    <a:pt x="44" y="8"/>
                    <a:pt x="56" y="8"/>
                  </a:cubicBezTo>
                  <a:cubicBezTo>
                    <a:pt x="68" y="8"/>
                    <a:pt x="80" y="8"/>
                    <a:pt x="92" y="9"/>
                  </a:cubicBezTo>
                  <a:cubicBezTo>
                    <a:pt x="95" y="10"/>
                    <a:pt x="99" y="11"/>
                    <a:pt x="102" y="9"/>
                  </a:cubicBezTo>
                  <a:cubicBezTo>
                    <a:pt x="103" y="9"/>
                    <a:pt x="103" y="6"/>
                    <a:pt x="103" y="7"/>
                  </a:cubicBezTo>
                  <a:cubicBezTo>
                    <a:pt x="103" y="6"/>
                    <a:pt x="103" y="4"/>
                    <a:pt x="103" y="2"/>
                  </a:cubicBezTo>
                  <a:cubicBezTo>
                    <a:pt x="103" y="2"/>
                    <a:pt x="103" y="1"/>
                    <a:pt x="103" y="0"/>
                  </a:cubicBezTo>
                  <a:cubicBezTo>
                    <a:pt x="100" y="0"/>
                    <a:pt x="98" y="0"/>
                    <a:pt x="96" y="0"/>
                  </a:cubicBezTo>
                  <a:cubicBezTo>
                    <a:pt x="92" y="0"/>
                    <a:pt x="88" y="1"/>
                    <a:pt x="85" y="1"/>
                  </a:cubicBezTo>
                  <a:cubicBezTo>
                    <a:pt x="75" y="1"/>
                    <a:pt x="66" y="2"/>
                    <a:pt x="57" y="2"/>
                  </a:cubicBezTo>
                  <a:cubicBezTo>
                    <a:pt x="47" y="3"/>
                    <a:pt x="38" y="3"/>
                    <a:pt x="29" y="3"/>
                  </a:cubicBezTo>
                  <a:cubicBezTo>
                    <a:pt x="24" y="2"/>
                    <a:pt x="19" y="2"/>
                    <a:pt x="15" y="2"/>
                  </a:cubicBezTo>
                  <a:cubicBezTo>
                    <a:pt x="11" y="1"/>
                    <a:pt x="6" y="2"/>
                    <a:pt x="2" y="0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1" y="7"/>
                    <a:pt x="2" y="7"/>
                    <a:pt x="3" y="7"/>
                  </a:cubicBezTo>
                  <a:cubicBezTo>
                    <a:pt x="8" y="8"/>
                    <a:pt x="15" y="8"/>
                    <a:pt x="21" y="7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í$ḷïḍé"/>
            <p:cNvSpPr/>
            <p:nvPr/>
          </p:nvSpPr>
          <p:spPr bwMode="auto">
            <a:xfrm>
              <a:off x="7503723" y="2295710"/>
              <a:ext cx="169375" cy="118564"/>
            </a:xfrm>
            <a:custGeom>
              <a:avLst/>
              <a:gdLst>
                <a:gd name="T0" fmla="*/ 1 w 24"/>
                <a:gd name="T1" fmla="*/ 13 h 17"/>
                <a:gd name="T2" fmla="*/ 1 w 24"/>
                <a:gd name="T3" fmla="*/ 13 h 17"/>
                <a:gd name="T4" fmla="*/ 3 w 24"/>
                <a:gd name="T5" fmla="*/ 14 h 17"/>
                <a:gd name="T6" fmla="*/ 7 w 24"/>
                <a:gd name="T7" fmla="*/ 16 h 17"/>
                <a:gd name="T8" fmla="*/ 9 w 24"/>
                <a:gd name="T9" fmla="*/ 16 h 17"/>
                <a:gd name="T10" fmla="*/ 10 w 24"/>
                <a:gd name="T11" fmla="*/ 17 h 17"/>
                <a:gd name="T12" fmla="*/ 11 w 24"/>
                <a:gd name="T13" fmla="*/ 17 h 17"/>
                <a:gd name="T14" fmla="*/ 14 w 24"/>
                <a:gd name="T15" fmla="*/ 17 h 17"/>
                <a:gd name="T16" fmla="*/ 15 w 24"/>
                <a:gd name="T17" fmla="*/ 17 h 17"/>
                <a:gd name="T18" fmla="*/ 16 w 24"/>
                <a:gd name="T19" fmla="*/ 16 h 17"/>
                <a:gd name="T20" fmla="*/ 23 w 24"/>
                <a:gd name="T21" fmla="*/ 13 h 17"/>
                <a:gd name="T22" fmla="*/ 19 w 24"/>
                <a:gd name="T23" fmla="*/ 3 h 17"/>
                <a:gd name="T24" fmla="*/ 19 w 24"/>
                <a:gd name="T25" fmla="*/ 2 h 17"/>
                <a:gd name="T26" fmla="*/ 7 w 24"/>
                <a:gd name="T27" fmla="*/ 1 h 17"/>
                <a:gd name="T28" fmla="*/ 2 w 24"/>
                <a:gd name="T29" fmla="*/ 5 h 17"/>
                <a:gd name="T30" fmla="*/ 0 w 24"/>
                <a:gd name="T31" fmla="*/ 7 h 17"/>
                <a:gd name="T32" fmla="*/ 0 w 24"/>
                <a:gd name="T33" fmla="*/ 7 h 17"/>
                <a:gd name="T34" fmla="*/ 0 w 24"/>
                <a:gd name="T35" fmla="*/ 12 h 17"/>
                <a:gd name="T36" fmla="*/ 0 w 24"/>
                <a:gd name="T37" fmla="*/ 12 h 17"/>
                <a:gd name="T38" fmla="*/ 1 w 24"/>
                <a:gd name="T3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17">
                  <a:moveTo>
                    <a:pt x="1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12"/>
                    <a:pt x="2" y="14"/>
                    <a:pt x="3" y="14"/>
                  </a:cubicBezTo>
                  <a:cubicBezTo>
                    <a:pt x="5" y="15"/>
                    <a:pt x="4" y="15"/>
                    <a:pt x="7" y="16"/>
                  </a:cubicBezTo>
                  <a:cubicBezTo>
                    <a:pt x="8" y="16"/>
                    <a:pt x="9" y="16"/>
                    <a:pt x="9" y="16"/>
                  </a:cubicBezTo>
                  <a:cubicBezTo>
                    <a:pt x="10" y="16"/>
                    <a:pt x="10" y="17"/>
                    <a:pt x="10" y="17"/>
                  </a:cubicBezTo>
                  <a:cubicBezTo>
                    <a:pt x="10" y="17"/>
                    <a:pt x="11" y="17"/>
                    <a:pt x="11" y="17"/>
                  </a:cubicBezTo>
                  <a:cubicBezTo>
                    <a:pt x="12" y="17"/>
                    <a:pt x="13" y="17"/>
                    <a:pt x="14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6" y="16"/>
                    <a:pt x="16" y="16"/>
                  </a:cubicBezTo>
                  <a:cubicBezTo>
                    <a:pt x="19" y="16"/>
                    <a:pt x="22" y="15"/>
                    <a:pt x="23" y="13"/>
                  </a:cubicBezTo>
                  <a:cubicBezTo>
                    <a:pt x="24" y="9"/>
                    <a:pt x="21" y="6"/>
                    <a:pt x="19" y="3"/>
                  </a:cubicBezTo>
                  <a:cubicBezTo>
                    <a:pt x="19" y="3"/>
                    <a:pt x="19" y="3"/>
                    <a:pt x="19" y="2"/>
                  </a:cubicBezTo>
                  <a:cubicBezTo>
                    <a:pt x="15" y="2"/>
                    <a:pt x="11" y="0"/>
                    <a:pt x="7" y="1"/>
                  </a:cubicBezTo>
                  <a:cubicBezTo>
                    <a:pt x="5" y="2"/>
                    <a:pt x="3" y="3"/>
                    <a:pt x="2" y="5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0" y="10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î$1îḓê"/>
            <p:cNvSpPr/>
            <p:nvPr/>
          </p:nvSpPr>
          <p:spPr bwMode="auto">
            <a:xfrm>
              <a:off x="5406856" y="230248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i$lïďé"/>
            <p:cNvSpPr/>
            <p:nvPr/>
          </p:nvSpPr>
          <p:spPr bwMode="auto">
            <a:xfrm>
              <a:off x="5203606" y="2322810"/>
              <a:ext cx="111789" cy="91464"/>
            </a:xfrm>
            <a:custGeom>
              <a:avLst/>
              <a:gdLst>
                <a:gd name="T0" fmla="*/ 0 w 16"/>
                <a:gd name="T1" fmla="*/ 5 h 13"/>
                <a:gd name="T2" fmla="*/ 0 w 16"/>
                <a:gd name="T3" fmla="*/ 5 h 13"/>
                <a:gd name="T4" fmla="*/ 4 w 16"/>
                <a:gd name="T5" fmla="*/ 11 h 13"/>
                <a:gd name="T6" fmla="*/ 12 w 16"/>
                <a:gd name="T7" fmla="*/ 11 h 13"/>
                <a:gd name="T8" fmla="*/ 16 w 16"/>
                <a:gd name="T9" fmla="*/ 5 h 13"/>
                <a:gd name="T10" fmla="*/ 14 w 16"/>
                <a:gd name="T11" fmla="*/ 0 h 13"/>
                <a:gd name="T12" fmla="*/ 3 w 16"/>
                <a:gd name="T13" fmla="*/ 1 h 13"/>
                <a:gd name="T14" fmla="*/ 0 w 16"/>
                <a:gd name="T15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2" y="10"/>
                    <a:pt x="4" y="11"/>
                  </a:cubicBezTo>
                  <a:cubicBezTo>
                    <a:pt x="7" y="13"/>
                    <a:pt x="9" y="13"/>
                    <a:pt x="12" y="11"/>
                  </a:cubicBezTo>
                  <a:cubicBezTo>
                    <a:pt x="14" y="10"/>
                    <a:pt x="16" y="8"/>
                    <a:pt x="16" y="5"/>
                  </a:cubicBezTo>
                  <a:cubicBezTo>
                    <a:pt x="16" y="3"/>
                    <a:pt x="15" y="2"/>
                    <a:pt x="14" y="0"/>
                  </a:cubicBezTo>
                  <a:cubicBezTo>
                    <a:pt x="10" y="1"/>
                    <a:pt x="7" y="0"/>
                    <a:pt x="3" y="1"/>
                  </a:cubicBezTo>
                  <a:cubicBezTo>
                    <a:pt x="2" y="1"/>
                    <a:pt x="0" y="3"/>
                    <a:pt x="0" y="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îsľidê"/>
            <p:cNvSpPr/>
            <p:nvPr/>
          </p:nvSpPr>
          <p:spPr bwMode="auto">
            <a:xfrm>
              <a:off x="6216470" y="3264537"/>
              <a:ext cx="331976" cy="64364"/>
            </a:xfrm>
            <a:custGeom>
              <a:avLst/>
              <a:gdLst>
                <a:gd name="T0" fmla="*/ 27 w 47"/>
                <a:gd name="T1" fmla="*/ 0 h 9"/>
                <a:gd name="T2" fmla="*/ 27 w 47"/>
                <a:gd name="T3" fmla="*/ 0 h 9"/>
                <a:gd name="T4" fmla="*/ 0 w 47"/>
                <a:gd name="T5" fmla="*/ 0 h 9"/>
                <a:gd name="T6" fmla="*/ 2 w 47"/>
                <a:gd name="T7" fmla="*/ 2 h 9"/>
                <a:gd name="T8" fmla="*/ 19 w 47"/>
                <a:gd name="T9" fmla="*/ 8 h 9"/>
                <a:gd name="T10" fmla="*/ 42 w 47"/>
                <a:gd name="T11" fmla="*/ 3 h 9"/>
                <a:gd name="T12" fmla="*/ 47 w 47"/>
                <a:gd name="T13" fmla="*/ 1 h 9"/>
                <a:gd name="T14" fmla="*/ 27 w 47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9"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8" y="0"/>
                    <a:pt x="9" y="0"/>
                    <a:pt x="0" y="0"/>
                  </a:cubicBezTo>
                  <a:cubicBezTo>
                    <a:pt x="1" y="1"/>
                    <a:pt x="2" y="1"/>
                    <a:pt x="2" y="2"/>
                  </a:cubicBezTo>
                  <a:cubicBezTo>
                    <a:pt x="7" y="6"/>
                    <a:pt x="13" y="9"/>
                    <a:pt x="19" y="8"/>
                  </a:cubicBezTo>
                  <a:cubicBezTo>
                    <a:pt x="27" y="8"/>
                    <a:pt x="35" y="6"/>
                    <a:pt x="42" y="3"/>
                  </a:cubicBezTo>
                  <a:cubicBezTo>
                    <a:pt x="44" y="2"/>
                    <a:pt x="45" y="1"/>
                    <a:pt x="47" y="1"/>
                  </a:cubicBezTo>
                  <a:cubicBezTo>
                    <a:pt x="40" y="0"/>
                    <a:pt x="34" y="0"/>
                    <a:pt x="27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iSliḋè"/>
            <p:cNvSpPr/>
            <p:nvPr/>
          </p:nvSpPr>
          <p:spPr bwMode="auto">
            <a:xfrm>
              <a:off x="6470534" y="2295710"/>
              <a:ext cx="1202567" cy="2228980"/>
            </a:xfrm>
            <a:custGeom>
              <a:avLst/>
              <a:gdLst>
                <a:gd name="T0" fmla="*/ 6 w 171"/>
                <a:gd name="T1" fmla="*/ 307 h 317"/>
                <a:gd name="T2" fmla="*/ 0 w 171"/>
                <a:gd name="T3" fmla="*/ 314 h 317"/>
                <a:gd name="T4" fmla="*/ 24 w 171"/>
                <a:gd name="T5" fmla="*/ 315 h 317"/>
                <a:gd name="T6" fmla="*/ 34 w 171"/>
                <a:gd name="T7" fmla="*/ 315 h 317"/>
                <a:gd name="T8" fmla="*/ 35 w 171"/>
                <a:gd name="T9" fmla="*/ 313 h 317"/>
                <a:gd name="T10" fmla="*/ 35 w 171"/>
                <a:gd name="T11" fmla="*/ 308 h 317"/>
                <a:gd name="T12" fmla="*/ 35 w 171"/>
                <a:gd name="T13" fmla="*/ 306 h 317"/>
                <a:gd name="T14" fmla="*/ 28 w 171"/>
                <a:gd name="T15" fmla="*/ 306 h 317"/>
                <a:gd name="T16" fmla="*/ 17 w 171"/>
                <a:gd name="T17" fmla="*/ 307 h 317"/>
                <a:gd name="T18" fmla="*/ 6 w 171"/>
                <a:gd name="T19" fmla="*/ 307 h 317"/>
                <a:gd name="T20" fmla="*/ 148 w 171"/>
                <a:gd name="T21" fmla="*/ 13 h 317"/>
                <a:gd name="T22" fmla="*/ 148 w 171"/>
                <a:gd name="T23" fmla="*/ 13 h 317"/>
                <a:gd name="T24" fmla="*/ 150 w 171"/>
                <a:gd name="T25" fmla="*/ 14 h 317"/>
                <a:gd name="T26" fmla="*/ 154 w 171"/>
                <a:gd name="T27" fmla="*/ 16 h 317"/>
                <a:gd name="T28" fmla="*/ 156 w 171"/>
                <a:gd name="T29" fmla="*/ 16 h 317"/>
                <a:gd name="T30" fmla="*/ 157 w 171"/>
                <a:gd name="T31" fmla="*/ 17 h 317"/>
                <a:gd name="T32" fmla="*/ 158 w 171"/>
                <a:gd name="T33" fmla="*/ 17 h 317"/>
                <a:gd name="T34" fmla="*/ 161 w 171"/>
                <a:gd name="T35" fmla="*/ 17 h 317"/>
                <a:gd name="T36" fmla="*/ 162 w 171"/>
                <a:gd name="T37" fmla="*/ 17 h 317"/>
                <a:gd name="T38" fmla="*/ 163 w 171"/>
                <a:gd name="T39" fmla="*/ 16 h 317"/>
                <a:gd name="T40" fmla="*/ 170 w 171"/>
                <a:gd name="T41" fmla="*/ 13 h 317"/>
                <a:gd name="T42" fmla="*/ 166 w 171"/>
                <a:gd name="T43" fmla="*/ 3 h 317"/>
                <a:gd name="T44" fmla="*/ 166 w 171"/>
                <a:gd name="T45" fmla="*/ 2 h 317"/>
                <a:gd name="T46" fmla="*/ 154 w 171"/>
                <a:gd name="T47" fmla="*/ 1 h 317"/>
                <a:gd name="T48" fmla="*/ 149 w 171"/>
                <a:gd name="T49" fmla="*/ 5 h 317"/>
                <a:gd name="T50" fmla="*/ 147 w 171"/>
                <a:gd name="T51" fmla="*/ 7 h 317"/>
                <a:gd name="T52" fmla="*/ 147 w 171"/>
                <a:gd name="T53" fmla="*/ 7 h 317"/>
                <a:gd name="T54" fmla="*/ 147 w 171"/>
                <a:gd name="T55" fmla="*/ 12 h 317"/>
                <a:gd name="T56" fmla="*/ 147 w 171"/>
                <a:gd name="T57" fmla="*/ 12 h 317"/>
                <a:gd name="T58" fmla="*/ 148 w 171"/>
                <a:gd name="T59" fmla="*/ 13 h 317"/>
                <a:gd name="T60" fmla="*/ 41 w 171"/>
                <a:gd name="T61" fmla="*/ 175 h 317"/>
                <a:gd name="T62" fmla="*/ 41 w 171"/>
                <a:gd name="T63" fmla="*/ 175 h 317"/>
                <a:gd name="T64" fmla="*/ 42 w 171"/>
                <a:gd name="T65" fmla="*/ 152 h 317"/>
                <a:gd name="T66" fmla="*/ 41 w 171"/>
                <a:gd name="T67" fmla="*/ 151 h 317"/>
                <a:gd name="T68" fmla="*/ 37 w 171"/>
                <a:gd name="T69" fmla="*/ 144 h 317"/>
                <a:gd name="T70" fmla="*/ 36 w 171"/>
                <a:gd name="T71" fmla="*/ 147 h 317"/>
                <a:gd name="T72" fmla="*/ 34 w 171"/>
                <a:gd name="T73" fmla="*/ 159 h 317"/>
                <a:gd name="T74" fmla="*/ 40 w 171"/>
                <a:gd name="T75" fmla="*/ 185 h 317"/>
                <a:gd name="T76" fmla="*/ 41 w 171"/>
                <a:gd name="T77" fmla="*/ 1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1" h="317">
                  <a:moveTo>
                    <a:pt x="6" y="307"/>
                  </a:moveTo>
                  <a:cubicBezTo>
                    <a:pt x="5" y="310"/>
                    <a:pt x="3" y="312"/>
                    <a:pt x="0" y="314"/>
                  </a:cubicBezTo>
                  <a:cubicBezTo>
                    <a:pt x="8" y="314"/>
                    <a:pt x="16" y="315"/>
                    <a:pt x="24" y="315"/>
                  </a:cubicBezTo>
                  <a:cubicBezTo>
                    <a:pt x="27" y="316"/>
                    <a:pt x="31" y="317"/>
                    <a:pt x="34" y="315"/>
                  </a:cubicBezTo>
                  <a:cubicBezTo>
                    <a:pt x="35" y="315"/>
                    <a:pt x="35" y="312"/>
                    <a:pt x="35" y="313"/>
                  </a:cubicBezTo>
                  <a:cubicBezTo>
                    <a:pt x="35" y="312"/>
                    <a:pt x="35" y="310"/>
                    <a:pt x="35" y="308"/>
                  </a:cubicBezTo>
                  <a:cubicBezTo>
                    <a:pt x="35" y="308"/>
                    <a:pt x="35" y="307"/>
                    <a:pt x="35" y="306"/>
                  </a:cubicBezTo>
                  <a:cubicBezTo>
                    <a:pt x="32" y="306"/>
                    <a:pt x="30" y="306"/>
                    <a:pt x="28" y="306"/>
                  </a:cubicBezTo>
                  <a:cubicBezTo>
                    <a:pt x="24" y="306"/>
                    <a:pt x="20" y="307"/>
                    <a:pt x="17" y="307"/>
                  </a:cubicBezTo>
                  <a:cubicBezTo>
                    <a:pt x="13" y="307"/>
                    <a:pt x="10" y="307"/>
                    <a:pt x="6" y="307"/>
                  </a:cubicBezTo>
                  <a:close/>
                  <a:moveTo>
                    <a:pt x="148" y="13"/>
                  </a:moveTo>
                  <a:cubicBezTo>
                    <a:pt x="148" y="13"/>
                    <a:pt x="148" y="13"/>
                    <a:pt x="148" y="13"/>
                  </a:cubicBezTo>
                  <a:cubicBezTo>
                    <a:pt x="147" y="12"/>
                    <a:pt x="149" y="14"/>
                    <a:pt x="150" y="14"/>
                  </a:cubicBezTo>
                  <a:cubicBezTo>
                    <a:pt x="152" y="15"/>
                    <a:pt x="151" y="15"/>
                    <a:pt x="154" y="16"/>
                  </a:cubicBezTo>
                  <a:cubicBezTo>
                    <a:pt x="155" y="16"/>
                    <a:pt x="156" y="16"/>
                    <a:pt x="156" y="16"/>
                  </a:cubicBezTo>
                  <a:cubicBezTo>
                    <a:pt x="157" y="16"/>
                    <a:pt x="157" y="17"/>
                    <a:pt x="157" y="17"/>
                  </a:cubicBezTo>
                  <a:cubicBezTo>
                    <a:pt x="157" y="17"/>
                    <a:pt x="158" y="17"/>
                    <a:pt x="158" y="17"/>
                  </a:cubicBezTo>
                  <a:cubicBezTo>
                    <a:pt x="159" y="17"/>
                    <a:pt x="160" y="17"/>
                    <a:pt x="161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3" y="16"/>
                    <a:pt x="163" y="16"/>
                  </a:cubicBezTo>
                  <a:cubicBezTo>
                    <a:pt x="166" y="16"/>
                    <a:pt x="169" y="15"/>
                    <a:pt x="170" y="13"/>
                  </a:cubicBezTo>
                  <a:cubicBezTo>
                    <a:pt x="171" y="9"/>
                    <a:pt x="168" y="6"/>
                    <a:pt x="166" y="3"/>
                  </a:cubicBezTo>
                  <a:cubicBezTo>
                    <a:pt x="166" y="3"/>
                    <a:pt x="166" y="3"/>
                    <a:pt x="166" y="2"/>
                  </a:cubicBezTo>
                  <a:cubicBezTo>
                    <a:pt x="162" y="2"/>
                    <a:pt x="158" y="0"/>
                    <a:pt x="154" y="1"/>
                  </a:cubicBezTo>
                  <a:cubicBezTo>
                    <a:pt x="152" y="2"/>
                    <a:pt x="150" y="3"/>
                    <a:pt x="149" y="5"/>
                  </a:cubicBezTo>
                  <a:cubicBezTo>
                    <a:pt x="148" y="6"/>
                    <a:pt x="147" y="6"/>
                    <a:pt x="147" y="7"/>
                  </a:cubicBezTo>
                  <a:cubicBezTo>
                    <a:pt x="147" y="7"/>
                    <a:pt x="147" y="7"/>
                    <a:pt x="147" y="7"/>
                  </a:cubicBezTo>
                  <a:cubicBezTo>
                    <a:pt x="147" y="9"/>
                    <a:pt x="147" y="10"/>
                    <a:pt x="147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2"/>
                    <a:pt x="148" y="13"/>
                    <a:pt x="148" y="13"/>
                  </a:cubicBezTo>
                  <a:close/>
                  <a:moveTo>
                    <a:pt x="41" y="175"/>
                  </a:moveTo>
                  <a:cubicBezTo>
                    <a:pt x="41" y="175"/>
                    <a:pt x="41" y="175"/>
                    <a:pt x="41" y="175"/>
                  </a:cubicBezTo>
                  <a:cubicBezTo>
                    <a:pt x="42" y="167"/>
                    <a:pt x="42" y="160"/>
                    <a:pt x="42" y="152"/>
                  </a:cubicBezTo>
                  <a:cubicBezTo>
                    <a:pt x="42" y="152"/>
                    <a:pt x="41" y="152"/>
                    <a:pt x="41" y="151"/>
                  </a:cubicBezTo>
                  <a:cubicBezTo>
                    <a:pt x="39" y="149"/>
                    <a:pt x="39" y="146"/>
                    <a:pt x="37" y="144"/>
                  </a:cubicBezTo>
                  <a:cubicBezTo>
                    <a:pt x="37" y="145"/>
                    <a:pt x="36" y="146"/>
                    <a:pt x="36" y="147"/>
                  </a:cubicBezTo>
                  <a:cubicBezTo>
                    <a:pt x="35" y="151"/>
                    <a:pt x="34" y="155"/>
                    <a:pt x="34" y="159"/>
                  </a:cubicBezTo>
                  <a:cubicBezTo>
                    <a:pt x="33" y="168"/>
                    <a:pt x="34" y="178"/>
                    <a:pt x="40" y="185"/>
                  </a:cubicBezTo>
                  <a:cubicBezTo>
                    <a:pt x="40" y="182"/>
                    <a:pt x="40" y="178"/>
                    <a:pt x="41" y="175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iš1iḋé"/>
            <p:cNvSpPr/>
            <p:nvPr/>
          </p:nvSpPr>
          <p:spPr bwMode="auto">
            <a:xfrm>
              <a:off x="5996283" y="3257762"/>
              <a:ext cx="748640" cy="1168691"/>
            </a:xfrm>
            <a:custGeom>
              <a:avLst/>
              <a:gdLst>
                <a:gd name="T0" fmla="*/ 101 w 106"/>
                <a:gd name="T1" fmla="*/ 129 h 166"/>
                <a:gd name="T2" fmla="*/ 101 w 106"/>
                <a:gd name="T3" fmla="*/ 129 h 166"/>
                <a:gd name="T4" fmla="*/ 104 w 106"/>
                <a:gd name="T5" fmla="*/ 81 h 166"/>
                <a:gd name="T6" fmla="*/ 106 w 106"/>
                <a:gd name="T7" fmla="*/ 59 h 166"/>
                <a:gd name="T8" fmla="*/ 94 w 106"/>
                <a:gd name="T9" fmla="*/ 20 h 166"/>
                <a:gd name="T10" fmla="*/ 99 w 106"/>
                <a:gd name="T11" fmla="*/ 3 h 166"/>
                <a:gd name="T12" fmla="*/ 93 w 106"/>
                <a:gd name="T13" fmla="*/ 2 h 166"/>
                <a:gd name="T14" fmla="*/ 88 w 106"/>
                <a:gd name="T15" fmla="*/ 2 h 166"/>
                <a:gd name="T16" fmla="*/ 78 w 106"/>
                <a:gd name="T17" fmla="*/ 8 h 166"/>
                <a:gd name="T18" fmla="*/ 50 w 106"/>
                <a:gd name="T19" fmla="*/ 16 h 166"/>
                <a:gd name="T20" fmla="*/ 29 w 106"/>
                <a:gd name="T21" fmla="*/ 7 h 166"/>
                <a:gd name="T22" fmla="*/ 22 w 106"/>
                <a:gd name="T23" fmla="*/ 0 h 166"/>
                <a:gd name="T24" fmla="*/ 11 w 106"/>
                <a:gd name="T25" fmla="*/ 1 h 166"/>
                <a:gd name="T26" fmla="*/ 11 w 106"/>
                <a:gd name="T27" fmla="*/ 1 h 166"/>
                <a:gd name="T28" fmla="*/ 12 w 106"/>
                <a:gd name="T29" fmla="*/ 16 h 166"/>
                <a:gd name="T30" fmla="*/ 8 w 106"/>
                <a:gd name="T31" fmla="*/ 31 h 166"/>
                <a:gd name="T32" fmla="*/ 7 w 106"/>
                <a:gd name="T33" fmla="*/ 34 h 166"/>
                <a:gd name="T34" fmla="*/ 21 w 106"/>
                <a:gd name="T35" fmla="*/ 31 h 166"/>
                <a:gd name="T36" fmla="*/ 38 w 106"/>
                <a:gd name="T37" fmla="*/ 36 h 166"/>
                <a:gd name="T38" fmla="*/ 40 w 106"/>
                <a:gd name="T39" fmla="*/ 36 h 166"/>
                <a:gd name="T40" fmla="*/ 42 w 106"/>
                <a:gd name="T41" fmla="*/ 47 h 166"/>
                <a:gd name="T42" fmla="*/ 41 w 106"/>
                <a:gd name="T43" fmla="*/ 60 h 166"/>
                <a:gd name="T44" fmla="*/ 41 w 106"/>
                <a:gd name="T45" fmla="*/ 73 h 166"/>
                <a:gd name="T46" fmla="*/ 37 w 106"/>
                <a:gd name="T47" fmla="*/ 81 h 166"/>
                <a:gd name="T48" fmla="*/ 36 w 106"/>
                <a:gd name="T49" fmla="*/ 82 h 166"/>
                <a:gd name="T50" fmla="*/ 21 w 106"/>
                <a:gd name="T51" fmla="*/ 82 h 166"/>
                <a:gd name="T52" fmla="*/ 13 w 106"/>
                <a:gd name="T53" fmla="*/ 82 h 166"/>
                <a:gd name="T54" fmla="*/ 5 w 106"/>
                <a:gd name="T55" fmla="*/ 81 h 166"/>
                <a:gd name="T56" fmla="*/ 3 w 106"/>
                <a:gd name="T57" fmla="*/ 77 h 166"/>
                <a:gd name="T58" fmla="*/ 2 w 106"/>
                <a:gd name="T59" fmla="*/ 69 h 166"/>
                <a:gd name="T60" fmla="*/ 2 w 106"/>
                <a:gd name="T61" fmla="*/ 56 h 166"/>
                <a:gd name="T62" fmla="*/ 3 w 106"/>
                <a:gd name="T63" fmla="*/ 42 h 166"/>
                <a:gd name="T64" fmla="*/ 2 w 106"/>
                <a:gd name="T65" fmla="*/ 44 h 166"/>
                <a:gd name="T66" fmla="*/ 0 w 106"/>
                <a:gd name="T67" fmla="*/ 46 h 166"/>
                <a:gd name="T68" fmla="*/ 0 w 106"/>
                <a:gd name="T69" fmla="*/ 52 h 166"/>
                <a:gd name="T70" fmla="*/ 0 w 106"/>
                <a:gd name="T71" fmla="*/ 115 h 166"/>
                <a:gd name="T72" fmla="*/ 1 w 106"/>
                <a:gd name="T73" fmla="*/ 145 h 166"/>
                <a:gd name="T74" fmla="*/ 1 w 106"/>
                <a:gd name="T75" fmla="*/ 163 h 166"/>
                <a:gd name="T76" fmla="*/ 14 w 106"/>
                <a:gd name="T77" fmla="*/ 164 h 166"/>
                <a:gd name="T78" fmla="*/ 28 w 106"/>
                <a:gd name="T79" fmla="*/ 165 h 166"/>
                <a:gd name="T80" fmla="*/ 57 w 106"/>
                <a:gd name="T81" fmla="*/ 165 h 166"/>
                <a:gd name="T82" fmla="*/ 87 w 106"/>
                <a:gd name="T83" fmla="*/ 163 h 166"/>
                <a:gd name="T84" fmla="*/ 101 w 106"/>
                <a:gd name="T85" fmla="*/ 163 h 166"/>
                <a:gd name="T86" fmla="*/ 101 w 106"/>
                <a:gd name="T87" fmla="*/ 152 h 166"/>
                <a:gd name="T88" fmla="*/ 101 w 106"/>
                <a:gd name="T89" fmla="*/ 12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6" h="166">
                  <a:moveTo>
                    <a:pt x="101" y="129"/>
                  </a:moveTo>
                  <a:cubicBezTo>
                    <a:pt x="101" y="129"/>
                    <a:pt x="101" y="129"/>
                    <a:pt x="101" y="129"/>
                  </a:cubicBezTo>
                  <a:cubicBezTo>
                    <a:pt x="102" y="113"/>
                    <a:pt x="103" y="97"/>
                    <a:pt x="104" y="81"/>
                  </a:cubicBezTo>
                  <a:cubicBezTo>
                    <a:pt x="105" y="73"/>
                    <a:pt x="105" y="66"/>
                    <a:pt x="106" y="59"/>
                  </a:cubicBezTo>
                  <a:cubicBezTo>
                    <a:pt x="94" y="49"/>
                    <a:pt x="92" y="34"/>
                    <a:pt x="94" y="20"/>
                  </a:cubicBezTo>
                  <a:cubicBezTo>
                    <a:pt x="94" y="17"/>
                    <a:pt x="96" y="8"/>
                    <a:pt x="99" y="3"/>
                  </a:cubicBezTo>
                  <a:cubicBezTo>
                    <a:pt x="97" y="3"/>
                    <a:pt x="95" y="3"/>
                    <a:pt x="93" y="2"/>
                  </a:cubicBezTo>
                  <a:cubicBezTo>
                    <a:pt x="91" y="2"/>
                    <a:pt x="90" y="2"/>
                    <a:pt x="88" y="2"/>
                  </a:cubicBezTo>
                  <a:cubicBezTo>
                    <a:pt x="85" y="5"/>
                    <a:pt x="81" y="7"/>
                    <a:pt x="78" y="8"/>
                  </a:cubicBezTo>
                  <a:cubicBezTo>
                    <a:pt x="69" y="12"/>
                    <a:pt x="60" y="14"/>
                    <a:pt x="50" y="16"/>
                  </a:cubicBezTo>
                  <a:cubicBezTo>
                    <a:pt x="42" y="17"/>
                    <a:pt x="35" y="13"/>
                    <a:pt x="29" y="7"/>
                  </a:cubicBezTo>
                  <a:cubicBezTo>
                    <a:pt x="27" y="6"/>
                    <a:pt x="24" y="3"/>
                    <a:pt x="22" y="0"/>
                  </a:cubicBezTo>
                  <a:cubicBezTo>
                    <a:pt x="18" y="0"/>
                    <a:pt x="15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5"/>
                    <a:pt x="12" y="11"/>
                    <a:pt x="12" y="16"/>
                  </a:cubicBezTo>
                  <a:cubicBezTo>
                    <a:pt x="12" y="21"/>
                    <a:pt x="10" y="26"/>
                    <a:pt x="8" y="31"/>
                  </a:cubicBezTo>
                  <a:cubicBezTo>
                    <a:pt x="8" y="32"/>
                    <a:pt x="8" y="33"/>
                    <a:pt x="7" y="34"/>
                  </a:cubicBezTo>
                  <a:cubicBezTo>
                    <a:pt x="11" y="31"/>
                    <a:pt x="16" y="31"/>
                    <a:pt x="21" y="31"/>
                  </a:cubicBezTo>
                  <a:cubicBezTo>
                    <a:pt x="27" y="32"/>
                    <a:pt x="33" y="32"/>
                    <a:pt x="38" y="36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2" y="39"/>
                    <a:pt x="42" y="43"/>
                    <a:pt x="42" y="47"/>
                  </a:cubicBezTo>
                  <a:cubicBezTo>
                    <a:pt x="42" y="51"/>
                    <a:pt x="41" y="56"/>
                    <a:pt x="41" y="60"/>
                  </a:cubicBezTo>
                  <a:cubicBezTo>
                    <a:pt x="41" y="64"/>
                    <a:pt x="41" y="69"/>
                    <a:pt x="41" y="73"/>
                  </a:cubicBezTo>
                  <a:cubicBezTo>
                    <a:pt x="40" y="76"/>
                    <a:pt x="41" y="81"/>
                    <a:pt x="37" y="81"/>
                  </a:cubicBezTo>
                  <a:cubicBezTo>
                    <a:pt x="37" y="82"/>
                    <a:pt x="37" y="82"/>
                    <a:pt x="36" y="82"/>
                  </a:cubicBezTo>
                  <a:cubicBezTo>
                    <a:pt x="32" y="84"/>
                    <a:pt x="26" y="83"/>
                    <a:pt x="21" y="82"/>
                  </a:cubicBezTo>
                  <a:cubicBezTo>
                    <a:pt x="18" y="82"/>
                    <a:pt x="15" y="82"/>
                    <a:pt x="13" y="82"/>
                  </a:cubicBezTo>
                  <a:cubicBezTo>
                    <a:pt x="10" y="82"/>
                    <a:pt x="7" y="82"/>
                    <a:pt x="5" y="81"/>
                  </a:cubicBezTo>
                  <a:cubicBezTo>
                    <a:pt x="3" y="80"/>
                    <a:pt x="2" y="78"/>
                    <a:pt x="3" y="77"/>
                  </a:cubicBezTo>
                  <a:cubicBezTo>
                    <a:pt x="2" y="74"/>
                    <a:pt x="2" y="71"/>
                    <a:pt x="2" y="69"/>
                  </a:cubicBezTo>
                  <a:cubicBezTo>
                    <a:pt x="2" y="64"/>
                    <a:pt x="2" y="60"/>
                    <a:pt x="2" y="56"/>
                  </a:cubicBezTo>
                  <a:cubicBezTo>
                    <a:pt x="2" y="51"/>
                    <a:pt x="2" y="47"/>
                    <a:pt x="3" y="42"/>
                  </a:cubicBezTo>
                  <a:cubicBezTo>
                    <a:pt x="3" y="43"/>
                    <a:pt x="3" y="43"/>
                    <a:pt x="2" y="44"/>
                  </a:cubicBezTo>
                  <a:cubicBezTo>
                    <a:pt x="2" y="44"/>
                    <a:pt x="1" y="45"/>
                    <a:pt x="0" y="46"/>
                  </a:cubicBezTo>
                  <a:cubicBezTo>
                    <a:pt x="0" y="48"/>
                    <a:pt x="0" y="50"/>
                    <a:pt x="0" y="52"/>
                  </a:cubicBezTo>
                  <a:cubicBezTo>
                    <a:pt x="0" y="73"/>
                    <a:pt x="1" y="94"/>
                    <a:pt x="0" y="115"/>
                  </a:cubicBezTo>
                  <a:cubicBezTo>
                    <a:pt x="0" y="125"/>
                    <a:pt x="0" y="135"/>
                    <a:pt x="1" y="145"/>
                  </a:cubicBezTo>
                  <a:cubicBezTo>
                    <a:pt x="1" y="151"/>
                    <a:pt x="1" y="157"/>
                    <a:pt x="1" y="163"/>
                  </a:cubicBezTo>
                  <a:cubicBezTo>
                    <a:pt x="5" y="162"/>
                    <a:pt x="10" y="164"/>
                    <a:pt x="14" y="164"/>
                  </a:cubicBezTo>
                  <a:cubicBezTo>
                    <a:pt x="18" y="164"/>
                    <a:pt x="23" y="165"/>
                    <a:pt x="28" y="165"/>
                  </a:cubicBezTo>
                  <a:cubicBezTo>
                    <a:pt x="38" y="166"/>
                    <a:pt x="47" y="165"/>
                    <a:pt x="57" y="165"/>
                  </a:cubicBezTo>
                  <a:cubicBezTo>
                    <a:pt x="67" y="164"/>
                    <a:pt x="77" y="163"/>
                    <a:pt x="87" y="163"/>
                  </a:cubicBezTo>
                  <a:cubicBezTo>
                    <a:pt x="91" y="163"/>
                    <a:pt x="96" y="163"/>
                    <a:pt x="101" y="163"/>
                  </a:cubicBezTo>
                  <a:cubicBezTo>
                    <a:pt x="101" y="160"/>
                    <a:pt x="101" y="156"/>
                    <a:pt x="101" y="152"/>
                  </a:cubicBezTo>
                  <a:cubicBezTo>
                    <a:pt x="101" y="145"/>
                    <a:pt x="101" y="137"/>
                    <a:pt x="101" y="129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5" name="îṩḷíḓè"/>
            <p:cNvSpPr/>
            <p:nvPr/>
          </p:nvSpPr>
          <p:spPr bwMode="auto">
            <a:xfrm>
              <a:off x="6538284" y="3271312"/>
              <a:ext cx="206639" cy="1134816"/>
            </a:xfrm>
            <a:custGeom>
              <a:avLst/>
              <a:gdLst>
                <a:gd name="T0" fmla="*/ 24 w 29"/>
                <a:gd name="T1" fmla="*/ 127 h 161"/>
                <a:gd name="T2" fmla="*/ 24 w 29"/>
                <a:gd name="T3" fmla="*/ 127 h 161"/>
                <a:gd name="T4" fmla="*/ 27 w 29"/>
                <a:gd name="T5" fmla="*/ 79 h 161"/>
                <a:gd name="T6" fmla="*/ 29 w 29"/>
                <a:gd name="T7" fmla="*/ 57 h 161"/>
                <a:gd name="T8" fmla="*/ 17 w 29"/>
                <a:gd name="T9" fmla="*/ 18 h 161"/>
                <a:gd name="T10" fmla="*/ 22 w 29"/>
                <a:gd name="T11" fmla="*/ 1 h 161"/>
                <a:gd name="T12" fmla="*/ 16 w 29"/>
                <a:gd name="T13" fmla="*/ 0 h 161"/>
                <a:gd name="T14" fmla="*/ 11 w 29"/>
                <a:gd name="T15" fmla="*/ 0 h 161"/>
                <a:gd name="T16" fmla="*/ 8 w 29"/>
                <a:gd name="T17" fmla="*/ 73 h 161"/>
                <a:gd name="T18" fmla="*/ 0 w 29"/>
                <a:gd name="T19" fmla="*/ 161 h 161"/>
                <a:gd name="T20" fmla="*/ 10 w 29"/>
                <a:gd name="T21" fmla="*/ 161 h 161"/>
                <a:gd name="T22" fmla="*/ 24 w 29"/>
                <a:gd name="T23" fmla="*/ 161 h 161"/>
                <a:gd name="T24" fmla="*/ 24 w 29"/>
                <a:gd name="T25" fmla="*/ 150 h 161"/>
                <a:gd name="T26" fmla="*/ 24 w 29"/>
                <a:gd name="T27" fmla="*/ 12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161">
                  <a:moveTo>
                    <a:pt x="24" y="127"/>
                  </a:moveTo>
                  <a:cubicBezTo>
                    <a:pt x="24" y="127"/>
                    <a:pt x="24" y="127"/>
                    <a:pt x="24" y="127"/>
                  </a:cubicBezTo>
                  <a:cubicBezTo>
                    <a:pt x="25" y="111"/>
                    <a:pt x="26" y="95"/>
                    <a:pt x="27" y="79"/>
                  </a:cubicBezTo>
                  <a:cubicBezTo>
                    <a:pt x="28" y="71"/>
                    <a:pt x="28" y="64"/>
                    <a:pt x="29" y="57"/>
                  </a:cubicBezTo>
                  <a:cubicBezTo>
                    <a:pt x="17" y="47"/>
                    <a:pt x="15" y="32"/>
                    <a:pt x="17" y="18"/>
                  </a:cubicBezTo>
                  <a:cubicBezTo>
                    <a:pt x="17" y="15"/>
                    <a:pt x="19" y="6"/>
                    <a:pt x="22" y="1"/>
                  </a:cubicBezTo>
                  <a:cubicBezTo>
                    <a:pt x="20" y="1"/>
                    <a:pt x="18" y="1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1" y="0"/>
                    <a:pt x="6" y="13"/>
                    <a:pt x="8" y="73"/>
                  </a:cubicBezTo>
                  <a:cubicBezTo>
                    <a:pt x="9" y="112"/>
                    <a:pt x="8" y="143"/>
                    <a:pt x="0" y="161"/>
                  </a:cubicBezTo>
                  <a:cubicBezTo>
                    <a:pt x="3" y="161"/>
                    <a:pt x="6" y="161"/>
                    <a:pt x="10" y="161"/>
                  </a:cubicBezTo>
                  <a:cubicBezTo>
                    <a:pt x="14" y="161"/>
                    <a:pt x="19" y="161"/>
                    <a:pt x="24" y="161"/>
                  </a:cubicBezTo>
                  <a:cubicBezTo>
                    <a:pt x="24" y="158"/>
                    <a:pt x="24" y="154"/>
                    <a:pt x="24" y="150"/>
                  </a:cubicBezTo>
                  <a:cubicBezTo>
                    <a:pt x="24" y="143"/>
                    <a:pt x="24" y="135"/>
                    <a:pt x="24" y="127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6" name="iṣ1iďe"/>
            <p:cNvSpPr/>
            <p:nvPr/>
          </p:nvSpPr>
          <p:spPr bwMode="auto">
            <a:xfrm>
              <a:off x="6968496" y="1909534"/>
              <a:ext cx="121950" cy="1053516"/>
            </a:xfrm>
            <a:custGeom>
              <a:avLst/>
              <a:gdLst>
                <a:gd name="T0" fmla="*/ 13 w 17"/>
                <a:gd name="T1" fmla="*/ 144 h 150"/>
                <a:gd name="T2" fmla="*/ 13 w 17"/>
                <a:gd name="T3" fmla="*/ 150 h 150"/>
                <a:gd name="T4" fmla="*/ 13 w 17"/>
                <a:gd name="T5" fmla="*/ 144 h 150"/>
                <a:gd name="T6" fmla="*/ 4 w 17"/>
                <a:gd name="T7" fmla="*/ 6 h 150"/>
                <a:gd name="T8" fmla="*/ 4 w 17"/>
                <a:gd name="T9" fmla="*/ 0 h 150"/>
                <a:gd name="T10" fmla="*/ 4 w 17"/>
                <a:gd name="T11" fmla="*/ 6 h 150"/>
                <a:gd name="T12" fmla="*/ 11 w 17"/>
                <a:gd name="T13" fmla="*/ 26 h 150"/>
                <a:gd name="T14" fmla="*/ 7 w 17"/>
                <a:gd name="T15" fmla="*/ 26 h 150"/>
                <a:gd name="T16" fmla="*/ 6 w 17"/>
                <a:gd name="T17" fmla="*/ 25 h 150"/>
                <a:gd name="T18" fmla="*/ 6 w 17"/>
                <a:gd name="T19" fmla="*/ 22 h 150"/>
                <a:gd name="T20" fmla="*/ 9 w 17"/>
                <a:gd name="T21" fmla="*/ 21 h 150"/>
                <a:gd name="T22" fmla="*/ 11 w 17"/>
                <a:gd name="T23" fmla="*/ 22 h 150"/>
                <a:gd name="T24" fmla="*/ 11 w 17"/>
                <a:gd name="T25" fmla="*/ 25 h 150"/>
                <a:gd name="T26" fmla="*/ 11 w 17"/>
                <a:gd name="T27" fmla="*/ 26 h 150"/>
                <a:gd name="T28" fmla="*/ 8 w 17"/>
                <a:gd name="T29" fmla="*/ 39 h 150"/>
                <a:gd name="T30" fmla="*/ 11 w 17"/>
                <a:gd name="T31" fmla="*/ 42 h 150"/>
                <a:gd name="T32" fmla="*/ 11 w 17"/>
                <a:gd name="T33" fmla="*/ 44 h 150"/>
                <a:gd name="T34" fmla="*/ 8 w 17"/>
                <a:gd name="T35" fmla="*/ 46 h 150"/>
                <a:gd name="T36" fmla="*/ 6 w 17"/>
                <a:gd name="T37" fmla="*/ 44 h 150"/>
                <a:gd name="T38" fmla="*/ 6 w 17"/>
                <a:gd name="T39" fmla="*/ 42 h 150"/>
                <a:gd name="T40" fmla="*/ 8 w 17"/>
                <a:gd name="T41" fmla="*/ 39 h 150"/>
                <a:gd name="T42" fmla="*/ 9 w 17"/>
                <a:gd name="T43" fmla="*/ 75 h 150"/>
                <a:gd name="T44" fmla="*/ 12 w 17"/>
                <a:gd name="T45" fmla="*/ 78 h 150"/>
                <a:gd name="T46" fmla="*/ 9 w 17"/>
                <a:gd name="T47" fmla="*/ 81 h 150"/>
                <a:gd name="T48" fmla="*/ 7 w 17"/>
                <a:gd name="T49" fmla="*/ 78 h 150"/>
                <a:gd name="T50" fmla="*/ 9 w 17"/>
                <a:gd name="T51" fmla="*/ 75 h 150"/>
                <a:gd name="T52" fmla="*/ 10 w 17"/>
                <a:gd name="T53" fmla="*/ 92 h 150"/>
                <a:gd name="T54" fmla="*/ 12 w 17"/>
                <a:gd name="T55" fmla="*/ 93 h 150"/>
                <a:gd name="T56" fmla="*/ 13 w 17"/>
                <a:gd name="T57" fmla="*/ 96 h 150"/>
                <a:gd name="T58" fmla="*/ 13 w 17"/>
                <a:gd name="T59" fmla="*/ 97 h 150"/>
                <a:gd name="T60" fmla="*/ 10 w 17"/>
                <a:gd name="T61" fmla="*/ 99 h 150"/>
                <a:gd name="T62" fmla="*/ 7 w 17"/>
                <a:gd name="T63" fmla="*/ 97 h 150"/>
                <a:gd name="T64" fmla="*/ 7 w 17"/>
                <a:gd name="T65" fmla="*/ 96 h 150"/>
                <a:gd name="T66" fmla="*/ 8 w 17"/>
                <a:gd name="T67" fmla="*/ 94 h 150"/>
                <a:gd name="T68" fmla="*/ 10 w 17"/>
                <a:gd name="T69" fmla="*/ 92 h 150"/>
                <a:gd name="T70" fmla="*/ 11 w 17"/>
                <a:gd name="T71" fmla="*/ 119 h 150"/>
                <a:gd name="T72" fmla="*/ 8 w 17"/>
                <a:gd name="T73" fmla="*/ 115 h 150"/>
                <a:gd name="T74" fmla="*/ 11 w 17"/>
                <a:gd name="T75" fmla="*/ 112 h 150"/>
                <a:gd name="T76" fmla="*/ 14 w 17"/>
                <a:gd name="T77" fmla="*/ 115 h 150"/>
                <a:gd name="T78" fmla="*/ 11 w 17"/>
                <a:gd name="T79" fmla="*/ 119 h 150"/>
                <a:gd name="T80" fmla="*/ 8 w 17"/>
                <a:gd name="T81" fmla="*/ 129 h 150"/>
                <a:gd name="T82" fmla="*/ 10 w 17"/>
                <a:gd name="T83" fmla="*/ 129 h 150"/>
                <a:gd name="T84" fmla="*/ 10 w 17"/>
                <a:gd name="T85" fmla="*/ 129 h 150"/>
                <a:gd name="T86" fmla="*/ 11 w 17"/>
                <a:gd name="T87" fmla="*/ 129 h 150"/>
                <a:gd name="T88" fmla="*/ 13 w 17"/>
                <a:gd name="T89" fmla="*/ 129 h 150"/>
                <a:gd name="T90" fmla="*/ 13 w 17"/>
                <a:gd name="T91" fmla="*/ 131 h 150"/>
                <a:gd name="T92" fmla="*/ 13 w 17"/>
                <a:gd name="T93" fmla="*/ 133 h 150"/>
                <a:gd name="T94" fmla="*/ 11 w 17"/>
                <a:gd name="T95" fmla="*/ 134 h 150"/>
                <a:gd name="T96" fmla="*/ 10 w 17"/>
                <a:gd name="T97" fmla="*/ 134 h 150"/>
                <a:gd name="T98" fmla="*/ 10 w 17"/>
                <a:gd name="T99" fmla="*/ 134 h 150"/>
                <a:gd name="T100" fmla="*/ 8 w 17"/>
                <a:gd name="T101" fmla="*/ 133 h 150"/>
                <a:gd name="T102" fmla="*/ 8 w 17"/>
                <a:gd name="T103" fmla="*/ 133 h 150"/>
                <a:gd name="T104" fmla="*/ 7 w 17"/>
                <a:gd name="T105" fmla="*/ 131 h 150"/>
                <a:gd name="T106" fmla="*/ 8 w 17"/>
                <a:gd name="T107" fmla="*/ 129 h 150"/>
                <a:gd name="T108" fmla="*/ 8 w 17"/>
                <a:gd name="T109" fmla="*/ 12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" h="150">
                  <a:moveTo>
                    <a:pt x="13" y="144"/>
                  </a:moveTo>
                  <a:cubicBezTo>
                    <a:pt x="17" y="144"/>
                    <a:pt x="17" y="150"/>
                    <a:pt x="13" y="150"/>
                  </a:cubicBezTo>
                  <a:cubicBezTo>
                    <a:pt x="9" y="150"/>
                    <a:pt x="9" y="144"/>
                    <a:pt x="13" y="144"/>
                  </a:cubicBezTo>
                  <a:close/>
                  <a:moveTo>
                    <a:pt x="4" y="6"/>
                  </a:moveTo>
                  <a:cubicBezTo>
                    <a:pt x="0" y="6"/>
                    <a:pt x="0" y="0"/>
                    <a:pt x="4" y="0"/>
                  </a:cubicBezTo>
                  <a:cubicBezTo>
                    <a:pt x="8" y="0"/>
                    <a:pt x="8" y="6"/>
                    <a:pt x="4" y="6"/>
                  </a:cubicBezTo>
                  <a:close/>
                  <a:moveTo>
                    <a:pt x="11" y="26"/>
                  </a:moveTo>
                  <a:cubicBezTo>
                    <a:pt x="10" y="28"/>
                    <a:pt x="7" y="28"/>
                    <a:pt x="7" y="26"/>
                  </a:cubicBezTo>
                  <a:cubicBezTo>
                    <a:pt x="6" y="26"/>
                    <a:pt x="6" y="26"/>
                    <a:pt x="6" y="25"/>
                  </a:cubicBezTo>
                  <a:cubicBezTo>
                    <a:pt x="6" y="24"/>
                    <a:pt x="6" y="23"/>
                    <a:pt x="6" y="22"/>
                  </a:cubicBezTo>
                  <a:cubicBezTo>
                    <a:pt x="7" y="22"/>
                    <a:pt x="8" y="21"/>
                    <a:pt x="9" y="21"/>
                  </a:cubicBezTo>
                  <a:cubicBezTo>
                    <a:pt x="10" y="21"/>
                    <a:pt x="11" y="22"/>
                    <a:pt x="11" y="22"/>
                  </a:cubicBezTo>
                  <a:cubicBezTo>
                    <a:pt x="12" y="23"/>
                    <a:pt x="12" y="24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lose/>
                  <a:moveTo>
                    <a:pt x="8" y="39"/>
                  </a:moveTo>
                  <a:cubicBezTo>
                    <a:pt x="10" y="39"/>
                    <a:pt x="11" y="40"/>
                    <a:pt x="11" y="42"/>
                  </a:cubicBezTo>
                  <a:cubicBezTo>
                    <a:pt x="11" y="43"/>
                    <a:pt x="11" y="43"/>
                    <a:pt x="11" y="44"/>
                  </a:cubicBezTo>
                  <a:cubicBezTo>
                    <a:pt x="10" y="45"/>
                    <a:pt x="9" y="46"/>
                    <a:pt x="8" y="46"/>
                  </a:cubicBezTo>
                  <a:cubicBezTo>
                    <a:pt x="7" y="46"/>
                    <a:pt x="6" y="45"/>
                    <a:pt x="6" y="44"/>
                  </a:cubicBezTo>
                  <a:cubicBezTo>
                    <a:pt x="6" y="43"/>
                    <a:pt x="6" y="43"/>
                    <a:pt x="6" y="42"/>
                  </a:cubicBezTo>
                  <a:cubicBezTo>
                    <a:pt x="6" y="40"/>
                    <a:pt x="7" y="39"/>
                    <a:pt x="8" y="39"/>
                  </a:cubicBezTo>
                  <a:close/>
                  <a:moveTo>
                    <a:pt x="9" y="75"/>
                  </a:moveTo>
                  <a:cubicBezTo>
                    <a:pt x="11" y="75"/>
                    <a:pt x="12" y="76"/>
                    <a:pt x="12" y="78"/>
                  </a:cubicBezTo>
                  <a:cubicBezTo>
                    <a:pt x="12" y="79"/>
                    <a:pt x="11" y="81"/>
                    <a:pt x="9" y="81"/>
                  </a:cubicBezTo>
                  <a:cubicBezTo>
                    <a:pt x="8" y="81"/>
                    <a:pt x="7" y="79"/>
                    <a:pt x="7" y="78"/>
                  </a:cubicBezTo>
                  <a:cubicBezTo>
                    <a:pt x="7" y="76"/>
                    <a:pt x="8" y="75"/>
                    <a:pt x="9" y="75"/>
                  </a:cubicBezTo>
                  <a:close/>
                  <a:moveTo>
                    <a:pt x="10" y="92"/>
                  </a:moveTo>
                  <a:cubicBezTo>
                    <a:pt x="11" y="92"/>
                    <a:pt x="12" y="93"/>
                    <a:pt x="12" y="93"/>
                  </a:cubicBezTo>
                  <a:cubicBezTo>
                    <a:pt x="13" y="94"/>
                    <a:pt x="13" y="95"/>
                    <a:pt x="13" y="96"/>
                  </a:cubicBezTo>
                  <a:cubicBezTo>
                    <a:pt x="13" y="96"/>
                    <a:pt x="13" y="97"/>
                    <a:pt x="13" y="97"/>
                  </a:cubicBezTo>
                  <a:cubicBezTo>
                    <a:pt x="13" y="98"/>
                    <a:pt x="11" y="99"/>
                    <a:pt x="10" y="99"/>
                  </a:cubicBezTo>
                  <a:cubicBezTo>
                    <a:pt x="9" y="99"/>
                    <a:pt x="8" y="98"/>
                    <a:pt x="7" y="97"/>
                  </a:cubicBezTo>
                  <a:cubicBezTo>
                    <a:pt x="7" y="97"/>
                    <a:pt x="7" y="96"/>
                    <a:pt x="7" y="96"/>
                  </a:cubicBezTo>
                  <a:cubicBezTo>
                    <a:pt x="7" y="95"/>
                    <a:pt x="7" y="95"/>
                    <a:pt x="8" y="94"/>
                  </a:cubicBezTo>
                  <a:cubicBezTo>
                    <a:pt x="8" y="93"/>
                    <a:pt x="9" y="92"/>
                    <a:pt x="10" y="92"/>
                  </a:cubicBezTo>
                  <a:close/>
                  <a:moveTo>
                    <a:pt x="11" y="119"/>
                  </a:moveTo>
                  <a:cubicBezTo>
                    <a:pt x="9" y="119"/>
                    <a:pt x="8" y="117"/>
                    <a:pt x="8" y="115"/>
                  </a:cubicBezTo>
                  <a:cubicBezTo>
                    <a:pt x="8" y="114"/>
                    <a:pt x="9" y="112"/>
                    <a:pt x="11" y="112"/>
                  </a:cubicBezTo>
                  <a:cubicBezTo>
                    <a:pt x="13" y="112"/>
                    <a:pt x="14" y="114"/>
                    <a:pt x="14" y="115"/>
                  </a:cubicBezTo>
                  <a:cubicBezTo>
                    <a:pt x="14" y="117"/>
                    <a:pt x="13" y="119"/>
                    <a:pt x="11" y="119"/>
                  </a:cubicBezTo>
                  <a:close/>
                  <a:moveTo>
                    <a:pt x="8" y="129"/>
                  </a:moveTo>
                  <a:cubicBezTo>
                    <a:pt x="9" y="129"/>
                    <a:pt x="9" y="129"/>
                    <a:pt x="10" y="129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10" y="129"/>
                    <a:pt x="11" y="129"/>
                    <a:pt x="11" y="129"/>
                  </a:cubicBezTo>
                  <a:cubicBezTo>
                    <a:pt x="12" y="129"/>
                    <a:pt x="12" y="129"/>
                    <a:pt x="13" y="129"/>
                  </a:cubicBezTo>
                  <a:cubicBezTo>
                    <a:pt x="13" y="130"/>
                    <a:pt x="13" y="131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2" y="134"/>
                    <a:pt x="12" y="134"/>
                    <a:pt x="11" y="134"/>
                  </a:cubicBezTo>
                  <a:cubicBezTo>
                    <a:pt x="11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9" y="134"/>
                    <a:pt x="9" y="134"/>
                    <a:pt x="8" y="133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8" y="133"/>
                    <a:pt x="7" y="132"/>
                    <a:pt x="7" y="131"/>
                  </a:cubicBezTo>
                  <a:cubicBezTo>
                    <a:pt x="7" y="131"/>
                    <a:pt x="8" y="130"/>
                    <a:pt x="8" y="129"/>
                  </a:cubicBezTo>
                  <a:cubicBezTo>
                    <a:pt x="8" y="129"/>
                    <a:pt x="8" y="129"/>
                    <a:pt x="8" y="12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7" name="íṥļíḍé"/>
            <p:cNvSpPr/>
            <p:nvPr/>
          </p:nvSpPr>
          <p:spPr bwMode="auto">
            <a:xfrm>
              <a:off x="6019994" y="2349910"/>
              <a:ext cx="399726" cy="149050"/>
            </a:xfrm>
            <a:custGeom>
              <a:avLst/>
              <a:gdLst>
                <a:gd name="T0" fmla="*/ 26 w 57"/>
                <a:gd name="T1" fmla="*/ 20 h 21"/>
                <a:gd name="T2" fmla="*/ 10 w 57"/>
                <a:gd name="T3" fmla="*/ 17 h 21"/>
                <a:gd name="T4" fmla="*/ 3 w 57"/>
                <a:gd name="T5" fmla="*/ 3 h 21"/>
                <a:gd name="T6" fmla="*/ 9 w 57"/>
                <a:gd name="T7" fmla="*/ 2 h 21"/>
                <a:gd name="T8" fmla="*/ 16 w 57"/>
                <a:gd name="T9" fmla="*/ 8 h 21"/>
                <a:gd name="T10" fmla="*/ 26 w 57"/>
                <a:gd name="T11" fmla="*/ 10 h 21"/>
                <a:gd name="T12" fmla="*/ 52 w 57"/>
                <a:gd name="T13" fmla="*/ 2 h 21"/>
                <a:gd name="T14" fmla="*/ 56 w 57"/>
                <a:gd name="T15" fmla="*/ 4 h 21"/>
                <a:gd name="T16" fmla="*/ 26 w 57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21">
                  <a:moveTo>
                    <a:pt x="26" y="20"/>
                  </a:moveTo>
                  <a:cubicBezTo>
                    <a:pt x="20" y="21"/>
                    <a:pt x="15" y="19"/>
                    <a:pt x="10" y="17"/>
                  </a:cubicBezTo>
                  <a:cubicBezTo>
                    <a:pt x="5" y="15"/>
                    <a:pt x="0" y="9"/>
                    <a:pt x="3" y="3"/>
                  </a:cubicBezTo>
                  <a:cubicBezTo>
                    <a:pt x="4" y="1"/>
                    <a:pt x="7" y="1"/>
                    <a:pt x="9" y="2"/>
                  </a:cubicBezTo>
                  <a:cubicBezTo>
                    <a:pt x="12" y="3"/>
                    <a:pt x="13" y="6"/>
                    <a:pt x="16" y="8"/>
                  </a:cubicBezTo>
                  <a:cubicBezTo>
                    <a:pt x="19" y="9"/>
                    <a:pt x="23" y="9"/>
                    <a:pt x="26" y="10"/>
                  </a:cubicBezTo>
                  <a:cubicBezTo>
                    <a:pt x="35" y="10"/>
                    <a:pt x="47" y="9"/>
                    <a:pt x="52" y="2"/>
                  </a:cubicBezTo>
                  <a:cubicBezTo>
                    <a:pt x="54" y="0"/>
                    <a:pt x="57" y="2"/>
                    <a:pt x="56" y="4"/>
                  </a:cubicBezTo>
                  <a:cubicBezTo>
                    <a:pt x="50" y="15"/>
                    <a:pt x="38" y="20"/>
                    <a:pt x="26" y="2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8" name="îṡ1ïḓè"/>
            <p:cNvSpPr/>
            <p:nvPr/>
          </p:nvSpPr>
          <p:spPr bwMode="auto">
            <a:xfrm>
              <a:off x="5813357" y="2092460"/>
              <a:ext cx="226964" cy="196475"/>
            </a:xfrm>
            <a:custGeom>
              <a:avLst/>
              <a:gdLst>
                <a:gd name="T0" fmla="*/ 16 w 32"/>
                <a:gd name="T1" fmla="*/ 28 h 28"/>
                <a:gd name="T2" fmla="*/ 4 w 32"/>
                <a:gd name="T3" fmla="*/ 10 h 28"/>
                <a:gd name="T4" fmla="*/ 13 w 32"/>
                <a:gd name="T5" fmla="*/ 1 h 28"/>
                <a:gd name="T6" fmla="*/ 25 w 32"/>
                <a:gd name="T7" fmla="*/ 3 h 28"/>
                <a:gd name="T8" fmla="*/ 28 w 32"/>
                <a:gd name="T9" fmla="*/ 5 h 28"/>
                <a:gd name="T10" fmla="*/ 32 w 32"/>
                <a:gd name="T11" fmla="*/ 14 h 28"/>
                <a:gd name="T12" fmla="*/ 16 w 3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8">
                  <a:moveTo>
                    <a:pt x="16" y="28"/>
                  </a:moveTo>
                  <a:cubicBezTo>
                    <a:pt x="7" y="27"/>
                    <a:pt x="0" y="19"/>
                    <a:pt x="4" y="10"/>
                  </a:cubicBezTo>
                  <a:cubicBezTo>
                    <a:pt x="6" y="5"/>
                    <a:pt x="9" y="3"/>
                    <a:pt x="13" y="1"/>
                  </a:cubicBezTo>
                  <a:cubicBezTo>
                    <a:pt x="16" y="0"/>
                    <a:pt x="22" y="1"/>
                    <a:pt x="25" y="3"/>
                  </a:cubicBezTo>
                  <a:cubicBezTo>
                    <a:pt x="26" y="4"/>
                    <a:pt x="27" y="4"/>
                    <a:pt x="28" y="5"/>
                  </a:cubicBezTo>
                  <a:cubicBezTo>
                    <a:pt x="31" y="7"/>
                    <a:pt x="32" y="11"/>
                    <a:pt x="32" y="14"/>
                  </a:cubicBezTo>
                  <a:cubicBezTo>
                    <a:pt x="31" y="22"/>
                    <a:pt x="25" y="28"/>
                    <a:pt x="16" y="28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9" name="iśḻîḍê"/>
            <p:cNvSpPr/>
            <p:nvPr/>
          </p:nvSpPr>
          <p:spPr bwMode="auto">
            <a:xfrm>
              <a:off x="6433270" y="2099235"/>
              <a:ext cx="220189" cy="189700"/>
            </a:xfrm>
            <a:custGeom>
              <a:avLst/>
              <a:gdLst>
                <a:gd name="T0" fmla="*/ 6 w 31"/>
                <a:gd name="T1" fmla="*/ 7 h 27"/>
                <a:gd name="T2" fmla="*/ 19 w 31"/>
                <a:gd name="T3" fmla="*/ 1 h 27"/>
                <a:gd name="T4" fmla="*/ 24 w 31"/>
                <a:gd name="T5" fmla="*/ 5 h 27"/>
                <a:gd name="T6" fmla="*/ 25 w 31"/>
                <a:gd name="T7" fmla="*/ 5 h 27"/>
                <a:gd name="T8" fmla="*/ 30 w 31"/>
                <a:gd name="T9" fmla="*/ 18 h 27"/>
                <a:gd name="T10" fmla="*/ 16 w 31"/>
                <a:gd name="T11" fmla="*/ 27 h 27"/>
                <a:gd name="T12" fmla="*/ 6 w 3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6" y="7"/>
                  </a:moveTo>
                  <a:cubicBezTo>
                    <a:pt x="9" y="2"/>
                    <a:pt x="14" y="0"/>
                    <a:pt x="19" y="1"/>
                  </a:cubicBezTo>
                  <a:cubicBezTo>
                    <a:pt x="21" y="2"/>
                    <a:pt x="23" y="3"/>
                    <a:pt x="24" y="5"/>
                  </a:cubicBezTo>
                  <a:cubicBezTo>
                    <a:pt x="24" y="5"/>
                    <a:pt x="24" y="5"/>
                    <a:pt x="25" y="5"/>
                  </a:cubicBezTo>
                  <a:cubicBezTo>
                    <a:pt x="29" y="8"/>
                    <a:pt x="31" y="13"/>
                    <a:pt x="30" y="18"/>
                  </a:cubicBezTo>
                  <a:cubicBezTo>
                    <a:pt x="29" y="24"/>
                    <a:pt x="22" y="27"/>
                    <a:pt x="16" y="27"/>
                  </a:cubicBezTo>
                  <a:cubicBezTo>
                    <a:pt x="6" y="27"/>
                    <a:pt x="0" y="15"/>
                    <a:pt x="6" y="7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7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 rot="20262996">
            <a:off x="705640" y="3364315"/>
            <a:ext cx="5067710" cy="2391582"/>
            <a:chOff x="3558970" y="2488798"/>
            <a:chExt cx="5067710" cy="2391582"/>
          </a:xfrm>
        </p:grpSpPr>
        <p:sp>
          <p:nvSpPr>
            <p:cNvPr id="7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9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0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1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2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3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4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5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6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7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8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9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11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>
          <a:xfrm rot="20262996">
            <a:off x="3109570" y="525035"/>
            <a:ext cx="5067710" cy="2391582"/>
            <a:chOff x="3558970" y="2488798"/>
            <a:chExt cx="5067710" cy="2391582"/>
          </a:xfrm>
        </p:grpSpPr>
        <p:sp>
          <p:nvSpPr>
            <p:cNvPr id="11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9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0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1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2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3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4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5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6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7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8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9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150" name="683ae7dc-b5ab-4ff3-a861-ec68902b1d7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5"/>
            </p:custDataLst>
          </p:nvPr>
        </p:nvGrpSpPr>
        <p:grpSpPr>
          <a:xfrm rot="3693560">
            <a:off x="7972762" y="745211"/>
            <a:ext cx="4386826" cy="3241846"/>
            <a:chOff x="3899413" y="2063665"/>
            <a:chExt cx="4386826" cy="3241846"/>
          </a:xfrm>
        </p:grpSpPr>
        <p:sp>
          <p:nvSpPr>
            <p:cNvPr id="151" name="iṩľiďé"/>
            <p:cNvSpPr/>
            <p:nvPr/>
          </p:nvSpPr>
          <p:spPr bwMode="auto">
            <a:xfrm>
              <a:off x="3899413" y="3852269"/>
              <a:ext cx="4386826" cy="1453242"/>
            </a:xfrm>
            <a:custGeom>
              <a:avLst/>
              <a:gdLst>
                <a:gd name="T0" fmla="*/ 610 w 623"/>
                <a:gd name="T1" fmla="*/ 81 h 207"/>
                <a:gd name="T2" fmla="*/ 595 w 623"/>
                <a:gd name="T3" fmla="*/ 83 h 207"/>
                <a:gd name="T4" fmla="*/ 610 w 623"/>
                <a:gd name="T5" fmla="*/ 68 h 207"/>
                <a:gd name="T6" fmla="*/ 586 w 623"/>
                <a:gd name="T7" fmla="*/ 72 h 207"/>
                <a:gd name="T8" fmla="*/ 572 w 623"/>
                <a:gd name="T9" fmla="*/ 67 h 207"/>
                <a:gd name="T10" fmla="*/ 577 w 623"/>
                <a:gd name="T11" fmla="*/ 59 h 207"/>
                <a:gd name="T12" fmla="*/ 581 w 623"/>
                <a:gd name="T13" fmla="*/ 51 h 207"/>
                <a:gd name="T14" fmla="*/ 561 w 623"/>
                <a:gd name="T15" fmla="*/ 61 h 207"/>
                <a:gd name="T16" fmla="*/ 557 w 623"/>
                <a:gd name="T17" fmla="*/ 69 h 207"/>
                <a:gd name="T18" fmla="*/ 523 w 623"/>
                <a:gd name="T19" fmla="*/ 82 h 207"/>
                <a:gd name="T20" fmla="*/ 500 w 623"/>
                <a:gd name="T21" fmla="*/ 72 h 207"/>
                <a:gd name="T22" fmla="*/ 456 w 623"/>
                <a:gd name="T23" fmla="*/ 64 h 207"/>
                <a:gd name="T24" fmla="*/ 411 w 623"/>
                <a:gd name="T25" fmla="*/ 12 h 207"/>
                <a:gd name="T26" fmla="*/ 349 w 623"/>
                <a:gd name="T27" fmla="*/ 1 h 207"/>
                <a:gd name="T28" fmla="*/ 259 w 623"/>
                <a:gd name="T29" fmla="*/ 5 h 207"/>
                <a:gd name="T30" fmla="*/ 218 w 623"/>
                <a:gd name="T31" fmla="*/ 6 h 207"/>
                <a:gd name="T32" fmla="*/ 179 w 623"/>
                <a:gd name="T33" fmla="*/ 6 h 207"/>
                <a:gd name="T34" fmla="*/ 158 w 623"/>
                <a:gd name="T35" fmla="*/ 31 h 207"/>
                <a:gd name="T36" fmla="*/ 142 w 623"/>
                <a:gd name="T37" fmla="*/ 43 h 207"/>
                <a:gd name="T38" fmla="*/ 121 w 623"/>
                <a:gd name="T39" fmla="*/ 44 h 207"/>
                <a:gd name="T40" fmla="*/ 98 w 623"/>
                <a:gd name="T41" fmla="*/ 66 h 207"/>
                <a:gd name="T42" fmla="*/ 63 w 623"/>
                <a:gd name="T43" fmla="*/ 69 h 207"/>
                <a:gd name="T44" fmla="*/ 46 w 623"/>
                <a:gd name="T45" fmla="*/ 61 h 207"/>
                <a:gd name="T46" fmla="*/ 42 w 623"/>
                <a:gd name="T47" fmla="*/ 37 h 207"/>
                <a:gd name="T48" fmla="*/ 38 w 623"/>
                <a:gd name="T49" fmla="*/ 61 h 207"/>
                <a:gd name="T50" fmla="*/ 17 w 623"/>
                <a:gd name="T51" fmla="*/ 65 h 207"/>
                <a:gd name="T52" fmla="*/ 12 w 623"/>
                <a:gd name="T53" fmla="*/ 74 h 207"/>
                <a:gd name="T54" fmla="*/ 18 w 623"/>
                <a:gd name="T55" fmla="*/ 83 h 207"/>
                <a:gd name="T56" fmla="*/ 17 w 623"/>
                <a:gd name="T57" fmla="*/ 92 h 207"/>
                <a:gd name="T58" fmla="*/ 18 w 623"/>
                <a:gd name="T59" fmla="*/ 98 h 207"/>
                <a:gd name="T60" fmla="*/ 18 w 623"/>
                <a:gd name="T61" fmla="*/ 110 h 207"/>
                <a:gd name="T62" fmla="*/ 28 w 623"/>
                <a:gd name="T63" fmla="*/ 101 h 207"/>
                <a:gd name="T64" fmla="*/ 34 w 623"/>
                <a:gd name="T65" fmla="*/ 117 h 207"/>
                <a:gd name="T66" fmla="*/ 45 w 623"/>
                <a:gd name="T67" fmla="*/ 105 h 207"/>
                <a:gd name="T68" fmla="*/ 76 w 623"/>
                <a:gd name="T69" fmla="*/ 81 h 207"/>
                <a:gd name="T70" fmla="*/ 130 w 623"/>
                <a:gd name="T71" fmla="*/ 85 h 207"/>
                <a:gd name="T72" fmla="*/ 145 w 623"/>
                <a:gd name="T73" fmla="*/ 59 h 207"/>
                <a:gd name="T74" fmla="*/ 150 w 623"/>
                <a:gd name="T75" fmla="*/ 54 h 207"/>
                <a:gd name="T76" fmla="*/ 175 w 623"/>
                <a:gd name="T77" fmla="*/ 36 h 207"/>
                <a:gd name="T78" fmla="*/ 176 w 623"/>
                <a:gd name="T79" fmla="*/ 71 h 207"/>
                <a:gd name="T80" fmla="*/ 262 w 623"/>
                <a:gd name="T81" fmla="*/ 205 h 207"/>
                <a:gd name="T82" fmla="*/ 337 w 623"/>
                <a:gd name="T83" fmla="*/ 196 h 207"/>
                <a:gd name="T84" fmla="*/ 375 w 623"/>
                <a:gd name="T85" fmla="*/ 175 h 207"/>
                <a:gd name="T86" fmla="*/ 411 w 623"/>
                <a:gd name="T87" fmla="*/ 67 h 207"/>
                <a:gd name="T88" fmla="*/ 443 w 623"/>
                <a:gd name="T89" fmla="*/ 68 h 207"/>
                <a:gd name="T90" fmla="*/ 462 w 623"/>
                <a:gd name="T91" fmla="*/ 98 h 207"/>
                <a:gd name="T92" fmla="*/ 503 w 623"/>
                <a:gd name="T93" fmla="*/ 95 h 207"/>
                <a:gd name="T94" fmla="*/ 569 w 623"/>
                <a:gd name="T95" fmla="*/ 111 h 207"/>
                <a:gd name="T96" fmla="*/ 584 w 623"/>
                <a:gd name="T97" fmla="*/ 125 h 207"/>
                <a:gd name="T98" fmla="*/ 582 w 623"/>
                <a:gd name="T99" fmla="*/ 107 h 207"/>
                <a:gd name="T100" fmla="*/ 605 w 623"/>
                <a:gd name="T101" fmla="*/ 114 h 207"/>
                <a:gd name="T102" fmla="*/ 608 w 623"/>
                <a:gd name="T103" fmla="*/ 102 h 207"/>
                <a:gd name="T104" fmla="*/ 603 w 623"/>
                <a:gd name="T105" fmla="*/ 9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3" h="207">
                  <a:moveTo>
                    <a:pt x="614" y="81"/>
                  </a:moveTo>
                  <a:cubicBezTo>
                    <a:pt x="613" y="81"/>
                    <a:pt x="612" y="81"/>
                    <a:pt x="611" y="81"/>
                  </a:cubicBezTo>
                  <a:cubicBezTo>
                    <a:pt x="611" y="81"/>
                    <a:pt x="611" y="81"/>
                    <a:pt x="610" y="81"/>
                  </a:cubicBezTo>
                  <a:cubicBezTo>
                    <a:pt x="610" y="82"/>
                    <a:pt x="610" y="82"/>
                    <a:pt x="609" y="82"/>
                  </a:cubicBezTo>
                  <a:cubicBezTo>
                    <a:pt x="607" y="82"/>
                    <a:pt x="604" y="82"/>
                    <a:pt x="602" y="82"/>
                  </a:cubicBezTo>
                  <a:cubicBezTo>
                    <a:pt x="600" y="82"/>
                    <a:pt x="598" y="82"/>
                    <a:pt x="595" y="83"/>
                  </a:cubicBezTo>
                  <a:cubicBezTo>
                    <a:pt x="595" y="82"/>
                    <a:pt x="595" y="81"/>
                    <a:pt x="594" y="80"/>
                  </a:cubicBezTo>
                  <a:cubicBezTo>
                    <a:pt x="595" y="79"/>
                    <a:pt x="596" y="79"/>
                    <a:pt x="597" y="78"/>
                  </a:cubicBezTo>
                  <a:cubicBezTo>
                    <a:pt x="602" y="75"/>
                    <a:pt x="607" y="73"/>
                    <a:pt x="610" y="68"/>
                  </a:cubicBezTo>
                  <a:cubicBezTo>
                    <a:pt x="614" y="62"/>
                    <a:pt x="605" y="55"/>
                    <a:pt x="600" y="60"/>
                  </a:cubicBezTo>
                  <a:cubicBezTo>
                    <a:pt x="597" y="63"/>
                    <a:pt x="594" y="65"/>
                    <a:pt x="590" y="68"/>
                  </a:cubicBezTo>
                  <a:cubicBezTo>
                    <a:pt x="589" y="69"/>
                    <a:pt x="587" y="70"/>
                    <a:pt x="586" y="72"/>
                  </a:cubicBezTo>
                  <a:cubicBezTo>
                    <a:pt x="583" y="71"/>
                    <a:pt x="581" y="70"/>
                    <a:pt x="579" y="69"/>
                  </a:cubicBezTo>
                  <a:cubicBezTo>
                    <a:pt x="577" y="69"/>
                    <a:pt x="574" y="68"/>
                    <a:pt x="571" y="68"/>
                  </a:cubicBezTo>
                  <a:cubicBezTo>
                    <a:pt x="572" y="67"/>
                    <a:pt x="572" y="67"/>
                    <a:pt x="572" y="67"/>
                  </a:cubicBezTo>
                  <a:cubicBezTo>
                    <a:pt x="573" y="66"/>
                    <a:pt x="574" y="64"/>
                    <a:pt x="575" y="62"/>
                  </a:cubicBezTo>
                  <a:cubicBezTo>
                    <a:pt x="576" y="61"/>
                    <a:pt x="576" y="61"/>
                    <a:pt x="576" y="60"/>
                  </a:cubicBezTo>
                  <a:cubicBezTo>
                    <a:pt x="577" y="60"/>
                    <a:pt x="577" y="60"/>
                    <a:pt x="577" y="59"/>
                  </a:cubicBezTo>
                  <a:cubicBezTo>
                    <a:pt x="577" y="59"/>
                    <a:pt x="578" y="59"/>
                    <a:pt x="578" y="59"/>
                  </a:cubicBezTo>
                  <a:cubicBezTo>
                    <a:pt x="578" y="59"/>
                    <a:pt x="578" y="59"/>
                    <a:pt x="578" y="59"/>
                  </a:cubicBezTo>
                  <a:cubicBezTo>
                    <a:pt x="580" y="57"/>
                    <a:pt x="582" y="54"/>
                    <a:pt x="581" y="51"/>
                  </a:cubicBezTo>
                  <a:cubicBezTo>
                    <a:pt x="580" y="48"/>
                    <a:pt x="576" y="45"/>
                    <a:pt x="573" y="47"/>
                  </a:cubicBezTo>
                  <a:cubicBezTo>
                    <a:pt x="567" y="49"/>
                    <a:pt x="565" y="54"/>
                    <a:pt x="562" y="59"/>
                  </a:cubicBezTo>
                  <a:cubicBezTo>
                    <a:pt x="562" y="60"/>
                    <a:pt x="561" y="61"/>
                    <a:pt x="561" y="61"/>
                  </a:cubicBezTo>
                  <a:cubicBezTo>
                    <a:pt x="560" y="62"/>
                    <a:pt x="560" y="63"/>
                    <a:pt x="560" y="63"/>
                  </a:cubicBezTo>
                  <a:cubicBezTo>
                    <a:pt x="561" y="62"/>
                    <a:pt x="560" y="64"/>
                    <a:pt x="560" y="64"/>
                  </a:cubicBezTo>
                  <a:cubicBezTo>
                    <a:pt x="559" y="66"/>
                    <a:pt x="558" y="67"/>
                    <a:pt x="557" y="69"/>
                  </a:cubicBezTo>
                  <a:cubicBezTo>
                    <a:pt x="552" y="71"/>
                    <a:pt x="549" y="75"/>
                    <a:pt x="547" y="79"/>
                  </a:cubicBezTo>
                  <a:cubicBezTo>
                    <a:pt x="547" y="79"/>
                    <a:pt x="547" y="79"/>
                    <a:pt x="547" y="79"/>
                  </a:cubicBezTo>
                  <a:cubicBezTo>
                    <a:pt x="539" y="80"/>
                    <a:pt x="531" y="80"/>
                    <a:pt x="523" y="82"/>
                  </a:cubicBezTo>
                  <a:cubicBezTo>
                    <a:pt x="519" y="82"/>
                    <a:pt x="514" y="83"/>
                    <a:pt x="510" y="84"/>
                  </a:cubicBezTo>
                  <a:cubicBezTo>
                    <a:pt x="508" y="84"/>
                    <a:pt x="507" y="84"/>
                    <a:pt x="505" y="84"/>
                  </a:cubicBezTo>
                  <a:cubicBezTo>
                    <a:pt x="505" y="79"/>
                    <a:pt x="503" y="75"/>
                    <a:pt x="500" y="72"/>
                  </a:cubicBezTo>
                  <a:cubicBezTo>
                    <a:pt x="494" y="65"/>
                    <a:pt x="485" y="65"/>
                    <a:pt x="477" y="66"/>
                  </a:cubicBezTo>
                  <a:cubicBezTo>
                    <a:pt x="472" y="64"/>
                    <a:pt x="467" y="66"/>
                    <a:pt x="463" y="70"/>
                  </a:cubicBezTo>
                  <a:cubicBezTo>
                    <a:pt x="461" y="68"/>
                    <a:pt x="458" y="66"/>
                    <a:pt x="456" y="64"/>
                  </a:cubicBezTo>
                  <a:cubicBezTo>
                    <a:pt x="449" y="58"/>
                    <a:pt x="444" y="50"/>
                    <a:pt x="438" y="43"/>
                  </a:cubicBezTo>
                  <a:cubicBezTo>
                    <a:pt x="429" y="34"/>
                    <a:pt x="417" y="27"/>
                    <a:pt x="411" y="15"/>
                  </a:cubicBezTo>
                  <a:cubicBezTo>
                    <a:pt x="411" y="14"/>
                    <a:pt x="411" y="13"/>
                    <a:pt x="411" y="12"/>
                  </a:cubicBezTo>
                  <a:cubicBezTo>
                    <a:pt x="415" y="8"/>
                    <a:pt x="414" y="0"/>
                    <a:pt x="407" y="0"/>
                  </a:cubicBezTo>
                  <a:cubicBezTo>
                    <a:pt x="397" y="0"/>
                    <a:pt x="388" y="1"/>
                    <a:pt x="379" y="1"/>
                  </a:cubicBezTo>
                  <a:cubicBezTo>
                    <a:pt x="369" y="2"/>
                    <a:pt x="358" y="1"/>
                    <a:pt x="349" y="1"/>
                  </a:cubicBezTo>
                  <a:cubicBezTo>
                    <a:pt x="338" y="2"/>
                    <a:pt x="328" y="3"/>
                    <a:pt x="318" y="3"/>
                  </a:cubicBezTo>
                  <a:cubicBezTo>
                    <a:pt x="308" y="3"/>
                    <a:pt x="298" y="3"/>
                    <a:pt x="288" y="3"/>
                  </a:cubicBezTo>
                  <a:cubicBezTo>
                    <a:pt x="279" y="4"/>
                    <a:pt x="269" y="4"/>
                    <a:pt x="259" y="5"/>
                  </a:cubicBezTo>
                  <a:cubicBezTo>
                    <a:pt x="254" y="5"/>
                    <a:pt x="250" y="5"/>
                    <a:pt x="245" y="5"/>
                  </a:cubicBezTo>
                  <a:cubicBezTo>
                    <a:pt x="240" y="5"/>
                    <a:pt x="235" y="6"/>
                    <a:pt x="230" y="6"/>
                  </a:cubicBezTo>
                  <a:cubicBezTo>
                    <a:pt x="226" y="7"/>
                    <a:pt x="222" y="6"/>
                    <a:pt x="218" y="6"/>
                  </a:cubicBezTo>
                  <a:cubicBezTo>
                    <a:pt x="214" y="6"/>
                    <a:pt x="210" y="7"/>
                    <a:pt x="205" y="7"/>
                  </a:cubicBezTo>
                  <a:cubicBezTo>
                    <a:pt x="198" y="7"/>
                    <a:pt x="190" y="6"/>
                    <a:pt x="182" y="5"/>
                  </a:cubicBezTo>
                  <a:cubicBezTo>
                    <a:pt x="181" y="5"/>
                    <a:pt x="180" y="5"/>
                    <a:pt x="179" y="6"/>
                  </a:cubicBezTo>
                  <a:cubicBezTo>
                    <a:pt x="177" y="10"/>
                    <a:pt x="176" y="14"/>
                    <a:pt x="176" y="18"/>
                  </a:cubicBezTo>
                  <a:cubicBezTo>
                    <a:pt x="173" y="21"/>
                    <a:pt x="169" y="24"/>
                    <a:pt x="165" y="26"/>
                  </a:cubicBezTo>
                  <a:cubicBezTo>
                    <a:pt x="162" y="28"/>
                    <a:pt x="160" y="30"/>
                    <a:pt x="158" y="31"/>
                  </a:cubicBezTo>
                  <a:cubicBezTo>
                    <a:pt x="160" y="30"/>
                    <a:pt x="158" y="32"/>
                    <a:pt x="157" y="32"/>
                  </a:cubicBezTo>
                  <a:cubicBezTo>
                    <a:pt x="156" y="33"/>
                    <a:pt x="155" y="33"/>
                    <a:pt x="155" y="34"/>
                  </a:cubicBezTo>
                  <a:cubicBezTo>
                    <a:pt x="150" y="37"/>
                    <a:pt x="146" y="40"/>
                    <a:pt x="142" y="43"/>
                  </a:cubicBezTo>
                  <a:cubicBezTo>
                    <a:pt x="141" y="44"/>
                    <a:pt x="138" y="46"/>
                    <a:pt x="136" y="48"/>
                  </a:cubicBezTo>
                  <a:cubicBezTo>
                    <a:pt x="132" y="45"/>
                    <a:pt x="128" y="44"/>
                    <a:pt x="124" y="44"/>
                  </a:cubicBezTo>
                  <a:cubicBezTo>
                    <a:pt x="123" y="44"/>
                    <a:pt x="122" y="44"/>
                    <a:pt x="121" y="44"/>
                  </a:cubicBezTo>
                  <a:cubicBezTo>
                    <a:pt x="120" y="43"/>
                    <a:pt x="119" y="43"/>
                    <a:pt x="118" y="43"/>
                  </a:cubicBezTo>
                  <a:cubicBezTo>
                    <a:pt x="110" y="42"/>
                    <a:pt x="102" y="50"/>
                    <a:pt x="99" y="58"/>
                  </a:cubicBezTo>
                  <a:cubicBezTo>
                    <a:pt x="98" y="60"/>
                    <a:pt x="98" y="63"/>
                    <a:pt x="98" y="66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5" y="67"/>
                    <a:pt x="80" y="67"/>
                    <a:pt x="75" y="67"/>
                  </a:cubicBezTo>
                  <a:cubicBezTo>
                    <a:pt x="71" y="68"/>
                    <a:pt x="67" y="69"/>
                    <a:pt x="63" y="69"/>
                  </a:cubicBezTo>
                  <a:cubicBezTo>
                    <a:pt x="62" y="69"/>
                    <a:pt x="62" y="69"/>
                    <a:pt x="61" y="69"/>
                  </a:cubicBezTo>
                  <a:cubicBezTo>
                    <a:pt x="58" y="66"/>
                    <a:pt x="54" y="64"/>
                    <a:pt x="51" y="62"/>
                  </a:cubicBezTo>
                  <a:cubicBezTo>
                    <a:pt x="49" y="62"/>
                    <a:pt x="48" y="61"/>
                    <a:pt x="46" y="61"/>
                  </a:cubicBezTo>
                  <a:cubicBezTo>
                    <a:pt x="46" y="59"/>
                    <a:pt x="46" y="56"/>
                    <a:pt x="47" y="53"/>
                  </a:cubicBezTo>
                  <a:cubicBezTo>
                    <a:pt x="47" y="50"/>
                    <a:pt x="48" y="45"/>
                    <a:pt x="48" y="41"/>
                  </a:cubicBezTo>
                  <a:cubicBezTo>
                    <a:pt x="48" y="39"/>
                    <a:pt x="45" y="36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39" y="38"/>
                    <a:pt x="38" y="41"/>
                    <a:pt x="39" y="43"/>
                  </a:cubicBezTo>
                  <a:cubicBezTo>
                    <a:pt x="38" y="48"/>
                    <a:pt x="36" y="55"/>
                    <a:pt x="38" y="61"/>
                  </a:cubicBezTo>
                  <a:cubicBezTo>
                    <a:pt x="32" y="62"/>
                    <a:pt x="27" y="64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1" y="67"/>
                    <a:pt x="19" y="65"/>
                    <a:pt x="17" y="65"/>
                  </a:cubicBezTo>
                  <a:cubicBezTo>
                    <a:pt x="14" y="64"/>
                    <a:pt x="10" y="62"/>
                    <a:pt x="7" y="63"/>
                  </a:cubicBezTo>
                  <a:cubicBezTo>
                    <a:pt x="5" y="63"/>
                    <a:pt x="4" y="65"/>
                    <a:pt x="3" y="66"/>
                  </a:cubicBezTo>
                  <a:cubicBezTo>
                    <a:pt x="2" y="72"/>
                    <a:pt x="8" y="72"/>
                    <a:pt x="12" y="74"/>
                  </a:cubicBezTo>
                  <a:cubicBezTo>
                    <a:pt x="14" y="74"/>
                    <a:pt x="17" y="76"/>
                    <a:pt x="20" y="77"/>
                  </a:cubicBezTo>
                  <a:cubicBezTo>
                    <a:pt x="19" y="79"/>
                    <a:pt x="19" y="81"/>
                    <a:pt x="19" y="83"/>
                  </a:cubicBezTo>
                  <a:cubicBezTo>
                    <a:pt x="19" y="83"/>
                    <a:pt x="18" y="83"/>
                    <a:pt x="18" y="83"/>
                  </a:cubicBezTo>
                  <a:cubicBezTo>
                    <a:pt x="14" y="82"/>
                    <a:pt x="10" y="82"/>
                    <a:pt x="7" y="83"/>
                  </a:cubicBezTo>
                  <a:cubicBezTo>
                    <a:pt x="0" y="83"/>
                    <a:pt x="0" y="92"/>
                    <a:pt x="7" y="92"/>
                  </a:cubicBezTo>
                  <a:cubicBezTo>
                    <a:pt x="10" y="92"/>
                    <a:pt x="14" y="92"/>
                    <a:pt x="17" y="92"/>
                  </a:cubicBezTo>
                  <a:cubicBezTo>
                    <a:pt x="18" y="92"/>
                    <a:pt x="19" y="92"/>
                    <a:pt x="21" y="91"/>
                  </a:cubicBezTo>
                  <a:cubicBezTo>
                    <a:pt x="21" y="93"/>
                    <a:pt x="22" y="94"/>
                    <a:pt x="23" y="95"/>
                  </a:cubicBezTo>
                  <a:cubicBezTo>
                    <a:pt x="21" y="96"/>
                    <a:pt x="19" y="97"/>
                    <a:pt x="18" y="98"/>
                  </a:cubicBezTo>
                  <a:cubicBezTo>
                    <a:pt x="14" y="102"/>
                    <a:pt x="7" y="104"/>
                    <a:pt x="7" y="110"/>
                  </a:cubicBezTo>
                  <a:cubicBezTo>
                    <a:pt x="7" y="113"/>
                    <a:pt x="11" y="116"/>
                    <a:pt x="14" y="114"/>
                  </a:cubicBezTo>
                  <a:cubicBezTo>
                    <a:pt x="16" y="113"/>
                    <a:pt x="17" y="111"/>
                    <a:pt x="18" y="110"/>
                  </a:cubicBezTo>
                  <a:cubicBezTo>
                    <a:pt x="20" y="109"/>
                    <a:pt x="22" y="107"/>
                    <a:pt x="24" y="106"/>
                  </a:cubicBezTo>
                  <a:cubicBezTo>
                    <a:pt x="25" y="104"/>
                    <a:pt x="27" y="103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1" y="103"/>
                    <a:pt x="33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4" y="109"/>
                    <a:pt x="33" y="113"/>
                    <a:pt x="34" y="117"/>
                  </a:cubicBezTo>
                  <a:cubicBezTo>
                    <a:pt x="35" y="121"/>
                    <a:pt x="40" y="120"/>
                    <a:pt x="42" y="117"/>
                  </a:cubicBezTo>
                  <a:cubicBezTo>
                    <a:pt x="43" y="114"/>
                    <a:pt x="43" y="111"/>
                    <a:pt x="44" y="108"/>
                  </a:cubicBezTo>
                  <a:cubicBezTo>
                    <a:pt x="44" y="107"/>
                    <a:pt x="45" y="106"/>
                    <a:pt x="45" y="105"/>
                  </a:cubicBezTo>
                  <a:cubicBezTo>
                    <a:pt x="46" y="105"/>
                    <a:pt x="48" y="104"/>
                    <a:pt x="49" y="104"/>
                  </a:cubicBezTo>
                  <a:cubicBezTo>
                    <a:pt x="58" y="100"/>
                    <a:pt x="65" y="92"/>
                    <a:pt x="65" y="82"/>
                  </a:cubicBezTo>
                  <a:cubicBezTo>
                    <a:pt x="69" y="82"/>
                    <a:pt x="72" y="82"/>
                    <a:pt x="76" y="81"/>
                  </a:cubicBezTo>
                  <a:cubicBezTo>
                    <a:pt x="84" y="79"/>
                    <a:pt x="93" y="80"/>
                    <a:pt x="101" y="77"/>
                  </a:cubicBezTo>
                  <a:cubicBezTo>
                    <a:pt x="102" y="78"/>
                    <a:pt x="103" y="80"/>
                    <a:pt x="105" y="82"/>
                  </a:cubicBezTo>
                  <a:cubicBezTo>
                    <a:pt x="111" y="89"/>
                    <a:pt x="121" y="89"/>
                    <a:pt x="130" y="85"/>
                  </a:cubicBezTo>
                  <a:cubicBezTo>
                    <a:pt x="139" y="81"/>
                    <a:pt x="144" y="70"/>
                    <a:pt x="142" y="60"/>
                  </a:cubicBezTo>
                  <a:cubicBezTo>
                    <a:pt x="143" y="60"/>
                    <a:pt x="143" y="60"/>
                    <a:pt x="143" y="60"/>
                  </a:cubicBezTo>
                  <a:cubicBezTo>
                    <a:pt x="143" y="60"/>
                    <a:pt x="147" y="56"/>
                    <a:pt x="145" y="59"/>
                  </a:cubicBezTo>
                  <a:cubicBezTo>
                    <a:pt x="145" y="58"/>
                    <a:pt x="146" y="57"/>
                    <a:pt x="146" y="57"/>
                  </a:cubicBezTo>
                  <a:cubicBezTo>
                    <a:pt x="147" y="56"/>
                    <a:pt x="148" y="56"/>
                    <a:pt x="149" y="55"/>
                  </a:cubicBezTo>
                  <a:cubicBezTo>
                    <a:pt x="149" y="55"/>
                    <a:pt x="149" y="54"/>
                    <a:pt x="150" y="54"/>
                  </a:cubicBezTo>
                  <a:cubicBezTo>
                    <a:pt x="150" y="54"/>
                    <a:pt x="151" y="53"/>
                    <a:pt x="151" y="53"/>
                  </a:cubicBezTo>
                  <a:cubicBezTo>
                    <a:pt x="155" y="50"/>
                    <a:pt x="159" y="47"/>
                    <a:pt x="163" y="44"/>
                  </a:cubicBezTo>
                  <a:cubicBezTo>
                    <a:pt x="167" y="41"/>
                    <a:pt x="171" y="39"/>
                    <a:pt x="175" y="36"/>
                  </a:cubicBezTo>
                  <a:cubicBezTo>
                    <a:pt x="175" y="36"/>
                    <a:pt x="176" y="35"/>
                    <a:pt x="176" y="35"/>
                  </a:cubicBezTo>
                  <a:cubicBezTo>
                    <a:pt x="176" y="36"/>
                    <a:pt x="176" y="37"/>
                    <a:pt x="176" y="38"/>
                  </a:cubicBezTo>
                  <a:cubicBezTo>
                    <a:pt x="176" y="49"/>
                    <a:pt x="177" y="60"/>
                    <a:pt x="176" y="71"/>
                  </a:cubicBezTo>
                  <a:cubicBezTo>
                    <a:pt x="176" y="91"/>
                    <a:pt x="175" y="112"/>
                    <a:pt x="182" y="132"/>
                  </a:cubicBezTo>
                  <a:cubicBezTo>
                    <a:pt x="187" y="150"/>
                    <a:pt x="199" y="166"/>
                    <a:pt x="212" y="179"/>
                  </a:cubicBezTo>
                  <a:cubicBezTo>
                    <a:pt x="226" y="192"/>
                    <a:pt x="243" y="202"/>
                    <a:pt x="262" y="205"/>
                  </a:cubicBezTo>
                  <a:cubicBezTo>
                    <a:pt x="275" y="207"/>
                    <a:pt x="288" y="207"/>
                    <a:pt x="301" y="205"/>
                  </a:cubicBezTo>
                  <a:cubicBezTo>
                    <a:pt x="308" y="204"/>
                    <a:pt x="315" y="203"/>
                    <a:pt x="322" y="201"/>
                  </a:cubicBezTo>
                  <a:cubicBezTo>
                    <a:pt x="327" y="200"/>
                    <a:pt x="332" y="199"/>
                    <a:pt x="337" y="196"/>
                  </a:cubicBezTo>
                  <a:cubicBezTo>
                    <a:pt x="340" y="197"/>
                    <a:pt x="343" y="197"/>
                    <a:pt x="346" y="195"/>
                  </a:cubicBezTo>
                  <a:cubicBezTo>
                    <a:pt x="350" y="194"/>
                    <a:pt x="354" y="192"/>
                    <a:pt x="357" y="190"/>
                  </a:cubicBezTo>
                  <a:cubicBezTo>
                    <a:pt x="364" y="186"/>
                    <a:pt x="370" y="181"/>
                    <a:pt x="375" y="175"/>
                  </a:cubicBezTo>
                  <a:cubicBezTo>
                    <a:pt x="380" y="170"/>
                    <a:pt x="384" y="163"/>
                    <a:pt x="387" y="156"/>
                  </a:cubicBezTo>
                  <a:cubicBezTo>
                    <a:pt x="392" y="146"/>
                    <a:pt x="395" y="136"/>
                    <a:pt x="399" y="126"/>
                  </a:cubicBezTo>
                  <a:cubicBezTo>
                    <a:pt x="405" y="107"/>
                    <a:pt x="408" y="87"/>
                    <a:pt x="411" y="67"/>
                  </a:cubicBezTo>
                  <a:cubicBezTo>
                    <a:pt x="413" y="56"/>
                    <a:pt x="413" y="46"/>
                    <a:pt x="413" y="35"/>
                  </a:cubicBezTo>
                  <a:cubicBezTo>
                    <a:pt x="417" y="40"/>
                    <a:pt x="421" y="44"/>
                    <a:pt x="426" y="48"/>
                  </a:cubicBezTo>
                  <a:cubicBezTo>
                    <a:pt x="432" y="54"/>
                    <a:pt x="437" y="62"/>
                    <a:pt x="443" y="68"/>
                  </a:cubicBezTo>
                  <a:cubicBezTo>
                    <a:pt x="446" y="71"/>
                    <a:pt x="448" y="74"/>
                    <a:pt x="451" y="76"/>
                  </a:cubicBezTo>
                  <a:cubicBezTo>
                    <a:pt x="453" y="79"/>
                    <a:pt x="454" y="82"/>
                    <a:pt x="457" y="84"/>
                  </a:cubicBezTo>
                  <a:cubicBezTo>
                    <a:pt x="457" y="89"/>
                    <a:pt x="459" y="94"/>
                    <a:pt x="462" y="98"/>
                  </a:cubicBezTo>
                  <a:cubicBezTo>
                    <a:pt x="467" y="105"/>
                    <a:pt x="476" y="110"/>
                    <a:pt x="484" y="109"/>
                  </a:cubicBezTo>
                  <a:cubicBezTo>
                    <a:pt x="492" y="108"/>
                    <a:pt x="500" y="103"/>
                    <a:pt x="503" y="95"/>
                  </a:cubicBezTo>
                  <a:cubicBezTo>
                    <a:pt x="503" y="95"/>
                    <a:pt x="503" y="95"/>
                    <a:pt x="503" y="95"/>
                  </a:cubicBezTo>
                  <a:cubicBezTo>
                    <a:pt x="509" y="96"/>
                    <a:pt x="515" y="95"/>
                    <a:pt x="521" y="95"/>
                  </a:cubicBezTo>
                  <a:cubicBezTo>
                    <a:pt x="529" y="94"/>
                    <a:pt x="537" y="93"/>
                    <a:pt x="545" y="93"/>
                  </a:cubicBezTo>
                  <a:cubicBezTo>
                    <a:pt x="547" y="104"/>
                    <a:pt x="558" y="111"/>
                    <a:pt x="569" y="111"/>
                  </a:cubicBezTo>
                  <a:cubicBezTo>
                    <a:pt x="571" y="111"/>
                    <a:pt x="572" y="111"/>
                    <a:pt x="573" y="110"/>
                  </a:cubicBezTo>
                  <a:cubicBezTo>
                    <a:pt x="574" y="112"/>
                    <a:pt x="575" y="114"/>
                    <a:pt x="577" y="116"/>
                  </a:cubicBezTo>
                  <a:cubicBezTo>
                    <a:pt x="579" y="119"/>
                    <a:pt x="581" y="123"/>
                    <a:pt x="584" y="125"/>
                  </a:cubicBezTo>
                  <a:cubicBezTo>
                    <a:pt x="590" y="128"/>
                    <a:pt x="597" y="120"/>
                    <a:pt x="592" y="115"/>
                  </a:cubicBezTo>
                  <a:cubicBezTo>
                    <a:pt x="589" y="113"/>
                    <a:pt x="587" y="112"/>
                    <a:pt x="585" y="110"/>
                  </a:cubicBezTo>
                  <a:cubicBezTo>
                    <a:pt x="584" y="109"/>
                    <a:pt x="583" y="108"/>
                    <a:pt x="582" y="107"/>
                  </a:cubicBezTo>
                  <a:cubicBezTo>
                    <a:pt x="583" y="107"/>
                    <a:pt x="584" y="106"/>
                    <a:pt x="585" y="106"/>
                  </a:cubicBezTo>
                  <a:cubicBezTo>
                    <a:pt x="587" y="107"/>
                    <a:pt x="590" y="108"/>
                    <a:pt x="591" y="109"/>
                  </a:cubicBezTo>
                  <a:cubicBezTo>
                    <a:pt x="595" y="112"/>
                    <a:pt x="600" y="114"/>
                    <a:pt x="605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7" y="115"/>
                    <a:pt x="609" y="115"/>
                    <a:pt x="611" y="113"/>
                  </a:cubicBezTo>
                  <a:cubicBezTo>
                    <a:pt x="615" y="109"/>
                    <a:pt x="613" y="103"/>
                    <a:pt x="608" y="102"/>
                  </a:cubicBezTo>
                  <a:cubicBezTo>
                    <a:pt x="603" y="100"/>
                    <a:pt x="598" y="99"/>
                    <a:pt x="594" y="98"/>
                  </a:cubicBezTo>
                  <a:cubicBezTo>
                    <a:pt x="594" y="96"/>
                    <a:pt x="595" y="95"/>
                    <a:pt x="596" y="94"/>
                  </a:cubicBezTo>
                  <a:cubicBezTo>
                    <a:pt x="598" y="94"/>
                    <a:pt x="601" y="94"/>
                    <a:pt x="603" y="94"/>
                  </a:cubicBezTo>
                  <a:cubicBezTo>
                    <a:pt x="607" y="95"/>
                    <a:pt x="614" y="95"/>
                    <a:pt x="617" y="93"/>
                  </a:cubicBezTo>
                  <a:cubicBezTo>
                    <a:pt x="623" y="90"/>
                    <a:pt x="621" y="81"/>
                    <a:pt x="614" y="8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2" name="îṡľíde"/>
            <p:cNvSpPr/>
            <p:nvPr/>
          </p:nvSpPr>
          <p:spPr bwMode="auto">
            <a:xfrm>
              <a:off x="4786941" y="2063665"/>
              <a:ext cx="2300120" cy="1788604"/>
            </a:xfrm>
            <a:custGeom>
              <a:avLst/>
              <a:gdLst>
                <a:gd name="T0" fmla="*/ 8 w 327"/>
                <a:gd name="T1" fmla="*/ 222 h 254"/>
                <a:gd name="T2" fmla="*/ 12 w 327"/>
                <a:gd name="T3" fmla="*/ 224 h 254"/>
                <a:gd name="T4" fmla="*/ 36 w 327"/>
                <a:gd name="T5" fmla="*/ 206 h 254"/>
                <a:gd name="T6" fmla="*/ 49 w 327"/>
                <a:gd name="T7" fmla="*/ 205 h 254"/>
                <a:gd name="T8" fmla="*/ 49 w 327"/>
                <a:gd name="T9" fmla="*/ 227 h 254"/>
                <a:gd name="T10" fmla="*/ 57 w 327"/>
                <a:gd name="T11" fmla="*/ 249 h 254"/>
                <a:gd name="T12" fmla="*/ 80 w 327"/>
                <a:gd name="T13" fmla="*/ 252 h 254"/>
                <a:gd name="T14" fmla="*/ 135 w 327"/>
                <a:gd name="T15" fmla="*/ 254 h 254"/>
                <a:gd name="T16" fmla="*/ 221 w 327"/>
                <a:gd name="T17" fmla="*/ 252 h 254"/>
                <a:gd name="T18" fmla="*/ 262 w 327"/>
                <a:gd name="T19" fmla="*/ 250 h 254"/>
                <a:gd name="T20" fmla="*/ 277 w 327"/>
                <a:gd name="T21" fmla="*/ 248 h 254"/>
                <a:gd name="T22" fmla="*/ 285 w 327"/>
                <a:gd name="T23" fmla="*/ 245 h 254"/>
                <a:gd name="T24" fmla="*/ 285 w 327"/>
                <a:gd name="T25" fmla="*/ 241 h 254"/>
                <a:gd name="T26" fmla="*/ 284 w 327"/>
                <a:gd name="T27" fmla="*/ 200 h 254"/>
                <a:gd name="T28" fmla="*/ 290 w 327"/>
                <a:gd name="T29" fmla="*/ 199 h 254"/>
                <a:gd name="T30" fmla="*/ 308 w 327"/>
                <a:gd name="T31" fmla="*/ 216 h 254"/>
                <a:gd name="T32" fmla="*/ 325 w 327"/>
                <a:gd name="T33" fmla="*/ 198 h 254"/>
                <a:gd name="T34" fmla="*/ 327 w 327"/>
                <a:gd name="T35" fmla="*/ 164 h 254"/>
                <a:gd name="T36" fmla="*/ 313 w 327"/>
                <a:gd name="T37" fmla="*/ 142 h 254"/>
                <a:gd name="T38" fmla="*/ 300 w 327"/>
                <a:gd name="T39" fmla="*/ 143 h 254"/>
                <a:gd name="T40" fmla="*/ 292 w 327"/>
                <a:gd name="T41" fmla="*/ 157 h 254"/>
                <a:gd name="T42" fmla="*/ 277 w 327"/>
                <a:gd name="T43" fmla="*/ 157 h 254"/>
                <a:gd name="T44" fmla="*/ 267 w 327"/>
                <a:gd name="T45" fmla="*/ 148 h 254"/>
                <a:gd name="T46" fmla="*/ 236 w 327"/>
                <a:gd name="T47" fmla="*/ 113 h 254"/>
                <a:gd name="T48" fmla="*/ 197 w 327"/>
                <a:gd name="T49" fmla="*/ 96 h 254"/>
                <a:gd name="T50" fmla="*/ 169 w 327"/>
                <a:gd name="T51" fmla="*/ 92 h 254"/>
                <a:gd name="T52" fmla="*/ 164 w 327"/>
                <a:gd name="T53" fmla="*/ 63 h 254"/>
                <a:gd name="T54" fmla="*/ 125 w 327"/>
                <a:gd name="T55" fmla="*/ 17 h 254"/>
                <a:gd name="T56" fmla="*/ 94 w 327"/>
                <a:gd name="T57" fmla="*/ 6 h 254"/>
                <a:gd name="T58" fmla="*/ 105 w 327"/>
                <a:gd name="T59" fmla="*/ 45 h 254"/>
                <a:gd name="T60" fmla="*/ 133 w 327"/>
                <a:gd name="T61" fmla="*/ 32 h 254"/>
                <a:gd name="T62" fmla="*/ 154 w 327"/>
                <a:gd name="T63" fmla="*/ 64 h 254"/>
                <a:gd name="T64" fmla="*/ 159 w 327"/>
                <a:gd name="T65" fmla="*/ 90 h 254"/>
                <a:gd name="T66" fmla="*/ 140 w 327"/>
                <a:gd name="T67" fmla="*/ 94 h 254"/>
                <a:gd name="T68" fmla="*/ 60 w 327"/>
                <a:gd name="T69" fmla="*/ 152 h 254"/>
                <a:gd name="T70" fmla="*/ 55 w 327"/>
                <a:gd name="T71" fmla="*/ 162 h 254"/>
                <a:gd name="T72" fmla="*/ 22 w 327"/>
                <a:gd name="T73" fmla="*/ 141 h 254"/>
                <a:gd name="T74" fmla="*/ 5 w 327"/>
                <a:gd name="T75" fmla="*/ 150 h 254"/>
                <a:gd name="T76" fmla="*/ 2 w 327"/>
                <a:gd name="T77" fmla="*/ 159 h 254"/>
                <a:gd name="T78" fmla="*/ 0 w 327"/>
                <a:gd name="T79" fmla="*/ 19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54">
                  <a:moveTo>
                    <a:pt x="1" y="209"/>
                  </a:moveTo>
                  <a:cubicBezTo>
                    <a:pt x="1" y="215"/>
                    <a:pt x="2" y="220"/>
                    <a:pt x="8" y="222"/>
                  </a:cubicBezTo>
                  <a:cubicBezTo>
                    <a:pt x="8" y="222"/>
                    <a:pt x="9" y="222"/>
                    <a:pt x="9" y="222"/>
                  </a:cubicBezTo>
                  <a:cubicBezTo>
                    <a:pt x="10" y="223"/>
                    <a:pt x="11" y="224"/>
                    <a:pt x="12" y="224"/>
                  </a:cubicBezTo>
                  <a:cubicBezTo>
                    <a:pt x="17" y="225"/>
                    <a:pt x="22" y="225"/>
                    <a:pt x="27" y="221"/>
                  </a:cubicBezTo>
                  <a:cubicBezTo>
                    <a:pt x="33" y="218"/>
                    <a:pt x="35" y="212"/>
                    <a:pt x="36" y="206"/>
                  </a:cubicBezTo>
                  <a:cubicBezTo>
                    <a:pt x="39" y="206"/>
                    <a:pt x="41" y="205"/>
                    <a:pt x="44" y="205"/>
                  </a:cubicBezTo>
                  <a:cubicBezTo>
                    <a:pt x="45" y="205"/>
                    <a:pt x="47" y="205"/>
                    <a:pt x="49" y="205"/>
                  </a:cubicBezTo>
                  <a:cubicBezTo>
                    <a:pt x="49" y="207"/>
                    <a:pt x="48" y="208"/>
                    <a:pt x="48" y="210"/>
                  </a:cubicBezTo>
                  <a:cubicBezTo>
                    <a:pt x="48" y="216"/>
                    <a:pt x="48" y="221"/>
                    <a:pt x="49" y="227"/>
                  </a:cubicBezTo>
                  <a:cubicBezTo>
                    <a:pt x="49" y="233"/>
                    <a:pt x="49" y="240"/>
                    <a:pt x="50" y="246"/>
                  </a:cubicBezTo>
                  <a:cubicBezTo>
                    <a:pt x="51" y="250"/>
                    <a:pt x="55" y="250"/>
                    <a:pt x="57" y="249"/>
                  </a:cubicBezTo>
                  <a:cubicBezTo>
                    <a:pt x="60" y="250"/>
                    <a:pt x="63" y="250"/>
                    <a:pt x="66" y="251"/>
                  </a:cubicBezTo>
                  <a:cubicBezTo>
                    <a:pt x="70" y="251"/>
                    <a:pt x="75" y="252"/>
                    <a:pt x="80" y="252"/>
                  </a:cubicBezTo>
                  <a:cubicBezTo>
                    <a:pt x="89" y="253"/>
                    <a:pt x="98" y="253"/>
                    <a:pt x="107" y="253"/>
                  </a:cubicBezTo>
                  <a:cubicBezTo>
                    <a:pt x="117" y="254"/>
                    <a:pt x="126" y="254"/>
                    <a:pt x="135" y="254"/>
                  </a:cubicBezTo>
                  <a:cubicBezTo>
                    <a:pt x="145" y="254"/>
                    <a:pt x="155" y="254"/>
                    <a:pt x="164" y="253"/>
                  </a:cubicBezTo>
                  <a:cubicBezTo>
                    <a:pt x="183" y="253"/>
                    <a:pt x="202" y="253"/>
                    <a:pt x="221" y="252"/>
                  </a:cubicBezTo>
                  <a:cubicBezTo>
                    <a:pt x="230" y="251"/>
                    <a:pt x="239" y="251"/>
                    <a:pt x="248" y="250"/>
                  </a:cubicBezTo>
                  <a:cubicBezTo>
                    <a:pt x="253" y="250"/>
                    <a:pt x="258" y="250"/>
                    <a:pt x="262" y="250"/>
                  </a:cubicBezTo>
                  <a:cubicBezTo>
                    <a:pt x="267" y="249"/>
                    <a:pt x="271" y="249"/>
                    <a:pt x="275" y="247"/>
                  </a:cubicBezTo>
                  <a:cubicBezTo>
                    <a:pt x="276" y="248"/>
                    <a:pt x="277" y="248"/>
                    <a:pt x="277" y="248"/>
                  </a:cubicBezTo>
                  <a:cubicBezTo>
                    <a:pt x="277" y="248"/>
                    <a:pt x="278" y="248"/>
                    <a:pt x="278" y="248"/>
                  </a:cubicBezTo>
                  <a:cubicBezTo>
                    <a:pt x="281" y="249"/>
                    <a:pt x="283" y="248"/>
                    <a:pt x="285" y="245"/>
                  </a:cubicBezTo>
                  <a:cubicBezTo>
                    <a:pt x="285" y="244"/>
                    <a:pt x="285" y="244"/>
                    <a:pt x="285" y="244"/>
                  </a:cubicBezTo>
                  <a:cubicBezTo>
                    <a:pt x="285" y="243"/>
                    <a:pt x="285" y="242"/>
                    <a:pt x="285" y="241"/>
                  </a:cubicBezTo>
                  <a:cubicBezTo>
                    <a:pt x="286" y="234"/>
                    <a:pt x="286" y="227"/>
                    <a:pt x="286" y="220"/>
                  </a:cubicBezTo>
                  <a:cubicBezTo>
                    <a:pt x="286" y="213"/>
                    <a:pt x="285" y="207"/>
                    <a:pt x="284" y="200"/>
                  </a:cubicBezTo>
                  <a:cubicBezTo>
                    <a:pt x="285" y="200"/>
                    <a:pt x="286" y="199"/>
                    <a:pt x="287" y="199"/>
                  </a:cubicBezTo>
                  <a:cubicBezTo>
                    <a:pt x="288" y="199"/>
                    <a:pt x="289" y="199"/>
                    <a:pt x="290" y="199"/>
                  </a:cubicBezTo>
                  <a:cubicBezTo>
                    <a:pt x="291" y="202"/>
                    <a:pt x="291" y="206"/>
                    <a:pt x="293" y="210"/>
                  </a:cubicBezTo>
                  <a:cubicBezTo>
                    <a:pt x="295" y="215"/>
                    <a:pt x="302" y="219"/>
                    <a:pt x="308" y="216"/>
                  </a:cubicBezTo>
                  <a:cubicBezTo>
                    <a:pt x="309" y="216"/>
                    <a:pt x="309" y="216"/>
                    <a:pt x="310" y="217"/>
                  </a:cubicBezTo>
                  <a:cubicBezTo>
                    <a:pt x="321" y="219"/>
                    <a:pt x="325" y="207"/>
                    <a:pt x="325" y="198"/>
                  </a:cubicBezTo>
                  <a:cubicBezTo>
                    <a:pt x="325" y="193"/>
                    <a:pt x="325" y="187"/>
                    <a:pt x="325" y="181"/>
                  </a:cubicBezTo>
                  <a:cubicBezTo>
                    <a:pt x="325" y="176"/>
                    <a:pt x="326" y="170"/>
                    <a:pt x="327" y="164"/>
                  </a:cubicBezTo>
                  <a:cubicBezTo>
                    <a:pt x="327" y="158"/>
                    <a:pt x="326" y="153"/>
                    <a:pt x="323" y="148"/>
                  </a:cubicBezTo>
                  <a:cubicBezTo>
                    <a:pt x="321" y="145"/>
                    <a:pt x="317" y="143"/>
                    <a:pt x="313" y="142"/>
                  </a:cubicBezTo>
                  <a:cubicBezTo>
                    <a:pt x="309" y="141"/>
                    <a:pt x="305" y="141"/>
                    <a:pt x="301" y="142"/>
                  </a:cubicBezTo>
                  <a:cubicBezTo>
                    <a:pt x="301" y="142"/>
                    <a:pt x="300" y="143"/>
                    <a:pt x="300" y="143"/>
                  </a:cubicBezTo>
                  <a:cubicBezTo>
                    <a:pt x="298" y="142"/>
                    <a:pt x="296" y="143"/>
                    <a:pt x="295" y="144"/>
                  </a:cubicBezTo>
                  <a:cubicBezTo>
                    <a:pt x="293" y="148"/>
                    <a:pt x="292" y="153"/>
                    <a:pt x="292" y="157"/>
                  </a:cubicBezTo>
                  <a:cubicBezTo>
                    <a:pt x="289" y="157"/>
                    <a:pt x="287" y="157"/>
                    <a:pt x="284" y="157"/>
                  </a:cubicBezTo>
                  <a:cubicBezTo>
                    <a:pt x="282" y="157"/>
                    <a:pt x="280" y="157"/>
                    <a:pt x="277" y="157"/>
                  </a:cubicBezTo>
                  <a:cubicBezTo>
                    <a:pt x="276" y="157"/>
                    <a:pt x="274" y="157"/>
                    <a:pt x="272" y="157"/>
                  </a:cubicBezTo>
                  <a:cubicBezTo>
                    <a:pt x="270" y="154"/>
                    <a:pt x="269" y="151"/>
                    <a:pt x="267" y="148"/>
                  </a:cubicBezTo>
                  <a:cubicBezTo>
                    <a:pt x="263" y="142"/>
                    <a:pt x="258" y="136"/>
                    <a:pt x="252" y="130"/>
                  </a:cubicBezTo>
                  <a:cubicBezTo>
                    <a:pt x="247" y="124"/>
                    <a:pt x="242" y="118"/>
                    <a:pt x="236" y="113"/>
                  </a:cubicBezTo>
                  <a:cubicBezTo>
                    <a:pt x="231" y="109"/>
                    <a:pt x="224" y="105"/>
                    <a:pt x="218" y="102"/>
                  </a:cubicBezTo>
                  <a:cubicBezTo>
                    <a:pt x="212" y="99"/>
                    <a:pt x="204" y="96"/>
                    <a:pt x="197" y="96"/>
                  </a:cubicBezTo>
                  <a:cubicBezTo>
                    <a:pt x="193" y="94"/>
                    <a:pt x="188" y="93"/>
                    <a:pt x="184" y="93"/>
                  </a:cubicBezTo>
                  <a:cubicBezTo>
                    <a:pt x="179" y="92"/>
                    <a:pt x="174" y="92"/>
                    <a:pt x="169" y="92"/>
                  </a:cubicBezTo>
                  <a:cubicBezTo>
                    <a:pt x="169" y="89"/>
                    <a:pt x="169" y="87"/>
                    <a:pt x="169" y="85"/>
                  </a:cubicBezTo>
                  <a:cubicBezTo>
                    <a:pt x="168" y="77"/>
                    <a:pt x="166" y="70"/>
                    <a:pt x="164" y="63"/>
                  </a:cubicBezTo>
                  <a:cubicBezTo>
                    <a:pt x="162" y="53"/>
                    <a:pt x="158" y="42"/>
                    <a:pt x="152" y="33"/>
                  </a:cubicBezTo>
                  <a:cubicBezTo>
                    <a:pt x="146" y="26"/>
                    <a:pt x="135" y="17"/>
                    <a:pt x="125" y="17"/>
                  </a:cubicBezTo>
                  <a:cubicBezTo>
                    <a:pt x="123" y="11"/>
                    <a:pt x="119" y="5"/>
                    <a:pt x="113" y="3"/>
                  </a:cubicBezTo>
                  <a:cubicBezTo>
                    <a:pt x="107" y="0"/>
                    <a:pt x="98" y="0"/>
                    <a:pt x="94" y="6"/>
                  </a:cubicBezTo>
                  <a:cubicBezTo>
                    <a:pt x="87" y="10"/>
                    <a:pt x="81" y="17"/>
                    <a:pt x="80" y="26"/>
                  </a:cubicBezTo>
                  <a:cubicBezTo>
                    <a:pt x="79" y="40"/>
                    <a:pt x="93" y="48"/>
                    <a:pt x="105" y="45"/>
                  </a:cubicBezTo>
                  <a:cubicBezTo>
                    <a:pt x="113" y="43"/>
                    <a:pt x="121" y="36"/>
                    <a:pt x="124" y="28"/>
                  </a:cubicBezTo>
                  <a:cubicBezTo>
                    <a:pt x="127" y="30"/>
                    <a:pt x="130" y="31"/>
                    <a:pt x="133" y="32"/>
                  </a:cubicBezTo>
                  <a:cubicBezTo>
                    <a:pt x="137" y="34"/>
                    <a:pt x="140" y="37"/>
                    <a:pt x="143" y="41"/>
                  </a:cubicBezTo>
                  <a:cubicBezTo>
                    <a:pt x="148" y="47"/>
                    <a:pt x="151" y="56"/>
                    <a:pt x="154" y="64"/>
                  </a:cubicBezTo>
                  <a:cubicBezTo>
                    <a:pt x="155" y="70"/>
                    <a:pt x="157" y="75"/>
                    <a:pt x="158" y="81"/>
                  </a:cubicBezTo>
                  <a:cubicBezTo>
                    <a:pt x="159" y="84"/>
                    <a:pt x="159" y="87"/>
                    <a:pt x="159" y="90"/>
                  </a:cubicBezTo>
                  <a:cubicBezTo>
                    <a:pt x="159" y="91"/>
                    <a:pt x="159" y="91"/>
                    <a:pt x="160" y="92"/>
                  </a:cubicBezTo>
                  <a:cubicBezTo>
                    <a:pt x="153" y="92"/>
                    <a:pt x="146" y="93"/>
                    <a:pt x="140" y="94"/>
                  </a:cubicBezTo>
                  <a:cubicBezTo>
                    <a:pt x="123" y="97"/>
                    <a:pt x="108" y="104"/>
                    <a:pt x="94" y="113"/>
                  </a:cubicBezTo>
                  <a:cubicBezTo>
                    <a:pt x="79" y="123"/>
                    <a:pt x="68" y="136"/>
                    <a:pt x="60" y="152"/>
                  </a:cubicBezTo>
                  <a:cubicBezTo>
                    <a:pt x="59" y="155"/>
                    <a:pt x="58" y="159"/>
                    <a:pt x="57" y="162"/>
                  </a:cubicBezTo>
                  <a:cubicBezTo>
                    <a:pt x="56" y="162"/>
                    <a:pt x="55" y="162"/>
                    <a:pt x="55" y="162"/>
                  </a:cubicBezTo>
                  <a:cubicBezTo>
                    <a:pt x="50" y="161"/>
                    <a:pt x="45" y="162"/>
                    <a:pt x="40" y="163"/>
                  </a:cubicBezTo>
                  <a:cubicBezTo>
                    <a:pt x="40" y="152"/>
                    <a:pt x="33" y="142"/>
                    <a:pt x="22" y="141"/>
                  </a:cubicBezTo>
                  <a:cubicBezTo>
                    <a:pt x="18" y="140"/>
                    <a:pt x="13" y="140"/>
                    <a:pt x="9" y="143"/>
                  </a:cubicBezTo>
                  <a:cubicBezTo>
                    <a:pt x="7" y="145"/>
                    <a:pt x="5" y="147"/>
                    <a:pt x="5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3" y="153"/>
                    <a:pt x="2" y="156"/>
                    <a:pt x="2" y="159"/>
                  </a:cubicBezTo>
                  <a:cubicBezTo>
                    <a:pt x="2" y="162"/>
                    <a:pt x="1" y="166"/>
                    <a:pt x="1" y="170"/>
                  </a:cubicBezTo>
                  <a:cubicBezTo>
                    <a:pt x="0" y="177"/>
                    <a:pt x="0" y="184"/>
                    <a:pt x="0" y="191"/>
                  </a:cubicBezTo>
                  <a:cubicBezTo>
                    <a:pt x="0" y="197"/>
                    <a:pt x="1" y="203"/>
                    <a:pt x="1" y="20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3" name="íšľiḓe"/>
            <p:cNvSpPr/>
            <p:nvPr/>
          </p:nvSpPr>
          <p:spPr bwMode="auto">
            <a:xfrm>
              <a:off x="5210378" y="3950506"/>
              <a:ext cx="1510829" cy="1256766"/>
            </a:xfrm>
            <a:custGeom>
              <a:avLst/>
              <a:gdLst>
                <a:gd name="T0" fmla="*/ 213 w 215"/>
                <a:gd name="T1" fmla="*/ 44 h 179"/>
                <a:gd name="T2" fmla="*/ 213 w 215"/>
                <a:gd name="T3" fmla="*/ 44 h 179"/>
                <a:gd name="T4" fmla="*/ 208 w 215"/>
                <a:gd name="T5" fmla="*/ 73 h 179"/>
                <a:gd name="T6" fmla="*/ 202 w 215"/>
                <a:gd name="T7" fmla="*/ 103 h 179"/>
                <a:gd name="T8" fmla="*/ 192 w 215"/>
                <a:gd name="T9" fmla="*/ 130 h 179"/>
                <a:gd name="T10" fmla="*/ 180 w 215"/>
                <a:gd name="T11" fmla="*/ 150 h 179"/>
                <a:gd name="T12" fmla="*/ 165 w 215"/>
                <a:gd name="T13" fmla="*/ 164 h 179"/>
                <a:gd name="T14" fmla="*/ 156 w 215"/>
                <a:gd name="T15" fmla="*/ 169 h 179"/>
                <a:gd name="T16" fmla="*/ 153 w 215"/>
                <a:gd name="T17" fmla="*/ 171 h 179"/>
                <a:gd name="T18" fmla="*/ 138 w 215"/>
                <a:gd name="T19" fmla="*/ 172 h 179"/>
                <a:gd name="T20" fmla="*/ 122 w 215"/>
                <a:gd name="T21" fmla="*/ 176 h 179"/>
                <a:gd name="T22" fmla="*/ 92 w 215"/>
                <a:gd name="T23" fmla="*/ 179 h 179"/>
                <a:gd name="T24" fmla="*/ 42 w 215"/>
                <a:gd name="T25" fmla="*/ 162 h 179"/>
                <a:gd name="T26" fmla="*/ 9 w 215"/>
                <a:gd name="T27" fmla="*/ 119 h 179"/>
                <a:gd name="T28" fmla="*/ 2 w 215"/>
                <a:gd name="T29" fmla="*/ 59 h 179"/>
                <a:gd name="T30" fmla="*/ 2 w 215"/>
                <a:gd name="T31" fmla="*/ 25 h 179"/>
                <a:gd name="T32" fmla="*/ 1 w 215"/>
                <a:gd name="T33" fmla="*/ 9 h 179"/>
                <a:gd name="T34" fmla="*/ 1 w 215"/>
                <a:gd name="T35" fmla="*/ 3 h 179"/>
                <a:gd name="T36" fmla="*/ 0 w 215"/>
                <a:gd name="T37" fmla="*/ 2 h 179"/>
                <a:gd name="T38" fmla="*/ 0 w 215"/>
                <a:gd name="T39" fmla="*/ 1 h 179"/>
                <a:gd name="T40" fmla="*/ 16 w 215"/>
                <a:gd name="T41" fmla="*/ 4 h 179"/>
                <a:gd name="T42" fmla="*/ 40 w 215"/>
                <a:gd name="T43" fmla="*/ 5 h 179"/>
                <a:gd name="T44" fmla="*/ 54 w 215"/>
                <a:gd name="T45" fmla="*/ 4 h 179"/>
                <a:gd name="T46" fmla="*/ 69 w 215"/>
                <a:gd name="T47" fmla="*/ 4 h 179"/>
                <a:gd name="T48" fmla="*/ 100 w 215"/>
                <a:gd name="T49" fmla="*/ 2 h 179"/>
                <a:gd name="T50" fmla="*/ 160 w 215"/>
                <a:gd name="T51" fmla="*/ 1 h 179"/>
                <a:gd name="T52" fmla="*/ 190 w 215"/>
                <a:gd name="T53" fmla="*/ 1 h 179"/>
                <a:gd name="T54" fmla="*/ 214 w 215"/>
                <a:gd name="T55" fmla="*/ 0 h 179"/>
                <a:gd name="T56" fmla="*/ 214 w 215"/>
                <a:gd name="T57" fmla="*/ 14 h 179"/>
                <a:gd name="T58" fmla="*/ 213 w 215"/>
                <a:gd name="T59" fmla="*/ 44 h 179"/>
                <a:gd name="T60" fmla="*/ 195 w 215"/>
                <a:gd name="T61" fmla="*/ 15 h 179"/>
                <a:gd name="T62" fmla="*/ 170 w 215"/>
                <a:gd name="T63" fmla="*/ 14 h 179"/>
                <a:gd name="T64" fmla="*/ 144 w 215"/>
                <a:gd name="T65" fmla="*/ 14 h 179"/>
                <a:gd name="T66" fmla="*/ 93 w 215"/>
                <a:gd name="T67" fmla="*/ 14 h 179"/>
                <a:gd name="T68" fmla="*/ 68 w 215"/>
                <a:gd name="T69" fmla="*/ 14 h 179"/>
                <a:gd name="T70" fmla="*/ 43 w 215"/>
                <a:gd name="T71" fmla="*/ 14 h 179"/>
                <a:gd name="T72" fmla="*/ 24 w 215"/>
                <a:gd name="T73" fmla="*/ 17 h 179"/>
                <a:gd name="T74" fmla="*/ 20 w 215"/>
                <a:gd name="T75" fmla="*/ 30 h 179"/>
                <a:gd name="T76" fmla="*/ 20 w 215"/>
                <a:gd name="T77" fmla="*/ 30 h 179"/>
                <a:gd name="T78" fmla="*/ 19 w 215"/>
                <a:gd name="T79" fmla="*/ 40 h 179"/>
                <a:gd name="T80" fmla="*/ 20 w 215"/>
                <a:gd name="T81" fmla="*/ 58 h 179"/>
                <a:gd name="T82" fmla="*/ 20 w 215"/>
                <a:gd name="T83" fmla="*/ 76 h 179"/>
                <a:gd name="T84" fmla="*/ 20 w 215"/>
                <a:gd name="T85" fmla="*/ 89 h 179"/>
                <a:gd name="T86" fmla="*/ 20 w 215"/>
                <a:gd name="T87" fmla="*/ 93 h 179"/>
                <a:gd name="T88" fmla="*/ 39 w 215"/>
                <a:gd name="T89" fmla="*/ 97 h 179"/>
                <a:gd name="T90" fmla="*/ 60 w 215"/>
                <a:gd name="T91" fmla="*/ 97 h 179"/>
                <a:gd name="T92" fmla="*/ 106 w 215"/>
                <a:gd name="T93" fmla="*/ 97 h 179"/>
                <a:gd name="T94" fmla="*/ 129 w 215"/>
                <a:gd name="T95" fmla="*/ 96 h 179"/>
                <a:gd name="T96" fmla="*/ 153 w 215"/>
                <a:gd name="T97" fmla="*/ 96 h 179"/>
                <a:gd name="T98" fmla="*/ 177 w 215"/>
                <a:gd name="T99" fmla="*/ 95 h 179"/>
                <a:gd name="T100" fmla="*/ 197 w 215"/>
                <a:gd name="T101" fmla="*/ 90 h 179"/>
                <a:gd name="T102" fmla="*/ 198 w 215"/>
                <a:gd name="T103" fmla="*/ 88 h 179"/>
                <a:gd name="T104" fmla="*/ 200 w 215"/>
                <a:gd name="T105" fmla="*/ 82 h 179"/>
                <a:gd name="T106" fmla="*/ 200 w 215"/>
                <a:gd name="T107" fmla="*/ 72 h 179"/>
                <a:gd name="T108" fmla="*/ 200 w 215"/>
                <a:gd name="T109" fmla="*/ 62 h 179"/>
                <a:gd name="T110" fmla="*/ 200 w 215"/>
                <a:gd name="T111" fmla="*/ 52 h 179"/>
                <a:gd name="T112" fmla="*/ 201 w 215"/>
                <a:gd name="T113" fmla="*/ 33 h 179"/>
                <a:gd name="T114" fmla="*/ 198 w 215"/>
                <a:gd name="T115" fmla="*/ 15 h 179"/>
                <a:gd name="T116" fmla="*/ 195 w 215"/>
                <a:gd name="T117" fmla="*/ 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5" h="179">
                  <a:moveTo>
                    <a:pt x="213" y="44"/>
                  </a:moveTo>
                  <a:cubicBezTo>
                    <a:pt x="213" y="44"/>
                    <a:pt x="213" y="44"/>
                    <a:pt x="213" y="44"/>
                  </a:cubicBezTo>
                  <a:cubicBezTo>
                    <a:pt x="212" y="54"/>
                    <a:pt x="210" y="64"/>
                    <a:pt x="208" y="73"/>
                  </a:cubicBezTo>
                  <a:cubicBezTo>
                    <a:pt x="207" y="83"/>
                    <a:pt x="205" y="93"/>
                    <a:pt x="202" y="103"/>
                  </a:cubicBezTo>
                  <a:cubicBezTo>
                    <a:pt x="199" y="112"/>
                    <a:pt x="196" y="121"/>
                    <a:pt x="192" y="130"/>
                  </a:cubicBezTo>
                  <a:cubicBezTo>
                    <a:pt x="188" y="137"/>
                    <a:pt x="185" y="144"/>
                    <a:pt x="180" y="150"/>
                  </a:cubicBezTo>
                  <a:cubicBezTo>
                    <a:pt x="176" y="156"/>
                    <a:pt x="171" y="160"/>
                    <a:pt x="165" y="164"/>
                  </a:cubicBezTo>
                  <a:cubicBezTo>
                    <a:pt x="162" y="166"/>
                    <a:pt x="159" y="168"/>
                    <a:pt x="156" y="169"/>
                  </a:cubicBezTo>
                  <a:cubicBezTo>
                    <a:pt x="155" y="170"/>
                    <a:pt x="154" y="170"/>
                    <a:pt x="153" y="171"/>
                  </a:cubicBezTo>
                  <a:cubicBezTo>
                    <a:pt x="148" y="170"/>
                    <a:pt x="143" y="171"/>
                    <a:pt x="138" y="172"/>
                  </a:cubicBezTo>
                  <a:cubicBezTo>
                    <a:pt x="133" y="174"/>
                    <a:pt x="128" y="175"/>
                    <a:pt x="122" y="176"/>
                  </a:cubicBezTo>
                  <a:cubicBezTo>
                    <a:pt x="112" y="178"/>
                    <a:pt x="102" y="179"/>
                    <a:pt x="92" y="179"/>
                  </a:cubicBezTo>
                  <a:cubicBezTo>
                    <a:pt x="74" y="179"/>
                    <a:pt x="56" y="173"/>
                    <a:pt x="42" y="162"/>
                  </a:cubicBezTo>
                  <a:cubicBezTo>
                    <a:pt x="28" y="150"/>
                    <a:pt x="16" y="136"/>
                    <a:pt x="9" y="119"/>
                  </a:cubicBezTo>
                  <a:cubicBezTo>
                    <a:pt x="2" y="100"/>
                    <a:pt x="2" y="79"/>
                    <a:pt x="2" y="59"/>
                  </a:cubicBezTo>
                  <a:cubicBezTo>
                    <a:pt x="3" y="48"/>
                    <a:pt x="2" y="37"/>
                    <a:pt x="2" y="25"/>
                  </a:cubicBezTo>
                  <a:cubicBezTo>
                    <a:pt x="1" y="20"/>
                    <a:pt x="1" y="15"/>
                    <a:pt x="1" y="9"/>
                  </a:cubicBezTo>
                  <a:cubicBezTo>
                    <a:pt x="1" y="7"/>
                    <a:pt x="1" y="5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3"/>
                    <a:pt x="11" y="4"/>
                    <a:pt x="16" y="4"/>
                  </a:cubicBezTo>
                  <a:cubicBezTo>
                    <a:pt x="24" y="4"/>
                    <a:pt x="32" y="4"/>
                    <a:pt x="40" y="5"/>
                  </a:cubicBezTo>
                  <a:cubicBezTo>
                    <a:pt x="45" y="5"/>
                    <a:pt x="50" y="5"/>
                    <a:pt x="54" y="4"/>
                  </a:cubicBezTo>
                  <a:cubicBezTo>
                    <a:pt x="59" y="4"/>
                    <a:pt x="64" y="4"/>
                    <a:pt x="69" y="4"/>
                  </a:cubicBezTo>
                  <a:cubicBezTo>
                    <a:pt x="79" y="4"/>
                    <a:pt x="90" y="3"/>
                    <a:pt x="100" y="2"/>
                  </a:cubicBezTo>
                  <a:cubicBezTo>
                    <a:pt x="120" y="2"/>
                    <a:pt x="140" y="2"/>
                    <a:pt x="160" y="1"/>
                  </a:cubicBezTo>
                  <a:cubicBezTo>
                    <a:pt x="170" y="1"/>
                    <a:pt x="180" y="1"/>
                    <a:pt x="190" y="1"/>
                  </a:cubicBezTo>
                  <a:cubicBezTo>
                    <a:pt x="198" y="0"/>
                    <a:pt x="206" y="0"/>
                    <a:pt x="214" y="0"/>
                  </a:cubicBezTo>
                  <a:cubicBezTo>
                    <a:pt x="213" y="4"/>
                    <a:pt x="213" y="9"/>
                    <a:pt x="214" y="14"/>
                  </a:cubicBezTo>
                  <a:cubicBezTo>
                    <a:pt x="215" y="24"/>
                    <a:pt x="214" y="34"/>
                    <a:pt x="213" y="44"/>
                  </a:cubicBezTo>
                  <a:close/>
                  <a:moveTo>
                    <a:pt x="195" y="15"/>
                  </a:moveTo>
                  <a:cubicBezTo>
                    <a:pt x="187" y="15"/>
                    <a:pt x="178" y="14"/>
                    <a:pt x="170" y="14"/>
                  </a:cubicBezTo>
                  <a:cubicBezTo>
                    <a:pt x="161" y="13"/>
                    <a:pt x="153" y="13"/>
                    <a:pt x="144" y="14"/>
                  </a:cubicBezTo>
                  <a:cubicBezTo>
                    <a:pt x="127" y="14"/>
                    <a:pt x="110" y="14"/>
                    <a:pt x="93" y="14"/>
                  </a:cubicBezTo>
                  <a:cubicBezTo>
                    <a:pt x="85" y="15"/>
                    <a:pt x="76" y="14"/>
                    <a:pt x="68" y="14"/>
                  </a:cubicBezTo>
                  <a:cubicBezTo>
                    <a:pt x="60" y="14"/>
                    <a:pt x="51" y="14"/>
                    <a:pt x="43" y="14"/>
                  </a:cubicBezTo>
                  <a:cubicBezTo>
                    <a:pt x="37" y="14"/>
                    <a:pt x="30" y="14"/>
                    <a:pt x="24" y="17"/>
                  </a:cubicBezTo>
                  <a:cubicBezTo>
                    <a:pt x="20" y="20"/>
                    <a:pt x="18" y="25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3"/>
                    <a:pt x="19" y="36"/>
                    <a:pt x="19" y="40"/>
                  </a:cubicBezTo>
                  <a:cubicBezTo>
                    <a:pt x="19" y="46"/>
                    <a:pt x="19" y="52"/>
                    <a:pt x="20" y="58"/>
                  </a:cubicBezTo>
                  <a:cubicBezTo>
                    <a:pt x="20" y="64"/>
                    <a:pt x="20" y="70"/>
                    <a:pt x="20" y="76"/>
                  </a:cubicBezTo>
                  <a:cubicBezTo>
                    <a:pt x="20" y="80"/>
                    <a:pt x="19" y="85"/>
                    <a:pt x="20" y="89"/>
                  </a:cubicBezTo>
                  <a:cubicBezTo>
                    <a:pt x="19" y="90"/>
                    <a:pt x="19" y="92"/>
                    <a:pt x="20" y="93"/>
                  </a:cubicBezTo>
                  <a:cubicBezTo>
                    <a:pt x="25" y="97"/>
                    <a:pt x="33" y="97"/>
                    <a:pt x="39" y="97"/>
                  </a:cubicBezTo>
                  <a:cubicBezTo>
                    <a:pt x="46" y="96"/>
                    <a:pt x="52" y="97"/>
                    <a:pt x="60" y="97"/>
                  </a:cubicBezTo>
                  <a:cubicBezTo>
                    <a:pt x="75" y="98"/>
                    <a:pt x="90" y="98"/>
                    <a:pt x="106" y="97"/>
                  </a:cubicBezTo>
                  <a:cubicBezTo>
                    <a:pt x="114" y="97"/>
                    <a:pt x="121" y="97"/>
                    <a:pt x="129" y="96"/>
                  </a:cubicBezTo>
                  <a:cubicBezTo>
                    <a:pt x="137" y="96"/>
                    <a:pt x="145" y="96"/>
                    <a:pt x="153" y="96"/>
                  </a:cubicBezTo>
                  <a:cubicBezTo>
                    <a:pt x="161" y="97"/>
                    <a:pt x="169" y="96"/>
                    <a:pt x="177" y="95"/>
                  </a:cubicBezTo>
                  <a:cubicBezTo>
                    <a:pt x="184" y="94"/>
                    <a:pt x="192" y="95"/>
                    <a:pt x="197" y="90"/>
                  </a:cubicBezTo>
                  <a:cubicBezTo>
                    <a:pt x="198" y="90"/>
                    <a:pt x="198" y="89"/>
                    <a:pt x="198" y="88"/>
                  </a:cubicBezTo>
                  <a:cubicBezTo>
                    <a:pt x="200" y="87"/>
                    <a:pt x="200" y="84"/>
                    <a:pt x="200" y="82"/>
                  </a:cubicBezTo>
                  <a:cubicBezTo>
                    <a:pt x="200" y="79"/>
                    <a:pt x="200" y="75"/>
                    <a:pt x="200" y="72"/>
                  </a:cubicBezTo>
                  <a:cubicBezTo>
                    <a:pt x="201" y="68"/>
                    <a:pt x="200" y="65"/>
                    <a:pt x="200" y="62"/>
                  </a:cubicBezTo>
                  <a:cubicBezTo>
                    <a:pt x="200" y="58"/>
                    <a:pt x="200" y="55"/>
                    <a:pt x="200" y="52"/>
                  </a:cubicBezTo>
                  <a:cubicBezTo>
                    <a:pt x="201" y="45"/>
                    <a:pt x="201" y="39"/>
                    <a:pt x="201" y="33"/>
                  </a:cubicBezTo>
                  <a:cubicBezTo>
                    <a:pt x="202" y="27"/>
                    <a:pt x="202" y="20"/>
                    <a:pt x="198" y="15"/>
                  </a:cubicBezTo>
                  <a:cubicBezTo>
                    <a:pt x="198" y="15"/>
                    <a:pt x="196" y="14"/>
                    <a:pt x="195" y="15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4" name="iṡ1îďè"/>
            <p:cNvSpPr/>
            <p:nvPr/>
          </p:nvSpPr>
          <p:spPr bwMode="auto">
            <a:xfrm>
              <a:off x="5210378" y="3957281"/>
              <a:ext cx="491190" cy="1229666"/>
            </a:xfrm>
            <a:custGeom>
              <a:avLst/>
              <a:gdLst>
                <a:gd name="T0" fmla="*/ 70 w 70"/>
                <a:gd name="T1" fmla="*/ 175 h 175"/>
                <a:gd name="T2" fmla="*/ 42 w 70"/>
                <a:gd name="T3" fmla="*/ 161 h 175"/>
                <a:gd name="T4" fmla="*/ 9 w 70"/>
                <a:gd name="T5" fmla="*/ 118 h 175"/>
                <a:gd name="T6" fmla="*/ 2 w 70"/>
                <a:gd name="T7" fmla="*/ 58 h 175"/>
                <a:gd name="T8" fmla="*/ 2 w 70"/>
                <a:gd name="T9" fmla="*/ 24 h 175"/>
                <a:gd name="T10" fmla="*/ 1 w 70"/>
                <a:gd name="T11" fmla="*/ 8 h 175"/>
                <a:gd name="T12" fmla="*/ 1 w 70"/>
                <a:gd name="T13" fmla="*/ 2 h 175"/>
                <a:gd name="T14" fmla="*/ 0 w 70"/>
                <a:gd name="T15" fmla="*/ 1 h 175"/>
                <a:gd name="T16" fmla="*/ 0 w 70"/>
                <a:gd name="T17" fmla="*/ 0 h 175"/>
                <a:gd name="T18" fmla="*/ 7 w 70"/>
                <a:gd name="T19" fmla="*/ 2 h 175"/>
                <a:gd name="T20" fmla="*/ 70 w 70"/>
                <a:gd name="T21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175">
                  <a:moveTo>
                    <a:pt x="70" y="175"/>
                  </a:moveTo>
                  <a:cubicBezTo>
                    <a:pt x="60" y="173"/>
                    <a:pt x="50" y="168"/>
                    <a:pt x="42" y="161"/>
                  </a:cubicBezTo>
                  <a:cubicBezTo>
                    <a:pt x="28" y="149"/>
                    <a:pt x="16" y="135"/>
                    <a:pt x="9" y="118"/>
                  </a:cubicBezTo>
                  <a:cubicBezTo>
                    <a:pt x="2" y="99"/>
                    <a:pt x="2" y="78"/>
                    <a:pt x="2" y="58"/>
                  </a:cubicBezTo>
                  <a:cubicBezTo>
                    <a:pt x="3" y="47"/>
                    <a:pt x="2" y="36"/>
                    <a:pt x="2" y="24"/>
                  </a:cubicBezTo>
                  <a:cubicBezTo>
                    <a:pt x="1" y="19"/>
                    <a:pt x="1" y="14"/>
                    <a:pt x="1" y="8"/>
                  </a:cubicBezTo>
                  <a:cubicBezTo>
                    <a:pt x="1" y="6"/>
                    <a:pt x="1" y="4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5" y="2"/>
                    <a:pt x="7" y="2"/>
                  </a:cubicBezTo>
                  <a:cubicBezTo>
                    <a:pt x="5" y="41"/>
                    <a:pt x="5" y="152"/>
                    <a:pt x="7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5" name="îṧ1íḑè"/>
            <p:cNvSpPr/>
            <p:nvPr/>
          </p:nvSpPr>
          <p:spPr bwMode="auto">
            <a:xfrm>
              <a:off x="6067419" y="3950506"/>
              <a:ext cx="653790" cy="1236441"/>
            </a:xfrm>
            <a:custGeom>
              <a:avLst/>
              <a:gdLst>
                <a:gd name="T0" fmla="*/ 91 w 93"/>
                <a:gd name="T1" fmla="*/ 44 h 176"/>
                <a:gd name="T2" fmla="*/ 91 w 93"/>
                <a:gd name="T3" fmla="*/ 44 h 176"/>
                <a:gd name="T4" fmla="*/ 86 w 93"/>
                <a:gd name="T5" fmla="*/ 73 h 176"/>
                <a:gd name="T6" fmla="*/ 80 w 93"/>
                <a:gd name="T7" fmla="*/ 103 h 176"/>
                <a:gd name="T8" fmla="*/ 70 w 93"/>
                <a:gd name="T9" fmla="*/ 130 h 176"/>
                <a:gd name="T10" fmla="*/ 58 w 93"/>
                <a:gd name="T11" fmla="*/ 150 h 176"/>
                <a:gd name="T12" fmla="*/ 43 w 93"/>
                <a:gd name="T13" fmla="*/ 164 h 176"/>
                <a:gd name="T14" fmla="*/ 34 w 93"/>
                <a:gd name="T15" fmla="*/ 169 h 176"/>
                <a:gd name="T16" fmla="*/ 31 w 93"/>
                <a:gd name="T17" fmla="*/ 171 h 176"/>
                <a:gd name="T18" fmla="*/ 16 w 93"/>
                <a:gd name="T19" fmla="*/ 172 h 176"/>
                <a:gd name="T20" fmla="*/ 0 w 93"/>
                <a:gd name="T21" fmla="*/ 176 h 176"/>
                <a:gd name="T22" fmla="*/ 54 w 93"/>
                <a:gd name="T23" fmla="*/ 95 h 176"/>
                <a:gd name="T24" fmla="*/ 55 w 93"/>
                <a:gd name="T25" fmla="*/ 95 h 176"/>
                <a:gd name="T26" fmla="*/ 75 w 93"/>
                <a:gd name="T27" fmla="*/ 90 h 176"/>
                <a:gd name="T28" fmla="*/ 76 w 93"/>
                <a:gd name="T29" fmla="*/ 88 h 176"/>
                <a:gd name="T30" fmla="*/ 78 w 93"/>
                <a:gd name="T31" fmla="*/ 82 h 176"/>
                <a:gd name="T32" fmla="*/ 78 w 93"/>
                <a:gd name="T33" fmla="*/ 72 h 176"/>
                <a:gd name="T34" fmla="*/ 78 w 93"/>
                <a:gd name="T35" fmla="*/ 62 h 176"/>
                <a:gd name="T36" fmla="*/ 78 w 93"/>
                <a:gd name="T37" fmla="*/ 52 h 176"/>
                <a:gd name="T38" fmla="*/ 79 w 93"/>
                <a:gd name="T39" fmla="*/ 33 h 176"/>
                <a:gd name="T40" fmla="*/ 76 w 93"/>
                <a:gd name="T41" fmla="*/ 15 h 176"/>
                <a:gd name="T42" fmla="*/ 73 w 93"/>
                <a:gd name="T43" fmla="*/ 15 h 176"/>
                <a:gd name="T44" fmla="*/ 67 w 93"/>
                <a:gd name="T45" fmla="*/ 15 h 176"/>
                <a:gd name="T46" fmla="*/ 67 w 93"/>
                <a:gd name="T47" fmla="*/ 1 h 176"/>
                <a:gd name="T48" fmla="*/ 68 w 93"/>
                <a:gd name="T49" fmla="*/ 1 h 176"/>
                <a:gd name="T50" fmla="*/ 92 w 93"/>
                <a:gd name="T51" fmla="*/ 0 h 176"/>
                <a:gd name="T52" fmla="*/ 92 w 93"/>
                <a:gd name="T53" fmla="*/ 14 h 176"/>
                <a:gd name="T54" fmla="*/ 91 w 93"/>
                <a:gd name="T55" fmla="*/ 4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76">
                  <a:moveTo>
                    <a:pt x="91" y="44"/>
                  </a:moveTo>
                  <a:cubicBezTo>
                    <a:pt x="91" y="44"/>
                    <a:pt x="91" y="44"/>
                    <a:pt x="91" y="44"/>
                  </a:cubicBezTo>
                  <a:cubicBezTo>
                    <a:pt x="90" y="54"/>
                    <a:pt x="88" y="64"/>
                    <a:pt x="86" y="73"/>
                  </a:cubicBezTo>
                  <a:cubicBezTo>
                    <a:pt x="85" y="83"/>
                    <a:pt x="83" y="93"/>
                    <a:pt x="80" y="103"/>
                  </a:cubicBezTo>
                  <a:cubicBezTo>
                    <a:pt x="77" y="112"/>
                    <a:pt x="74" y="121"/>
                    <a:pt x="70" y="130"/>
                  </a:cubicBezTo>
                  <a:cubicBezTo>
                    <a:pt x="66" y="137"/>
                    <a:pt x="63" y="144"/>
                    <a:pt x="58" y="150"/>
                  </a:cubicBezTo>
                  <a:cubicBezTo>
                    <a:pt x="54" y="156"/>
                    <a:pt x="49" y="160"/>
                    <a:pt x="43" y="164"/>
                  </a:cubicBezTo>
                  <a:cubicBezTo>
                    <a:pt x="40" y="166"/>
                    <a:pt x="37" y="168"/>
                    <a:pt x="34" y="169"/>
                  </a:cubicBezTo>
                  <a:cubicBezTo>
                    <a:pt x="33" y="170"/>
                    <a:pt x="32" y="170"/>
                    <a:pt x="31" y="171"/>
                  </a:cubicBezTo>
                  <a:cubicBezTo>
                    <a:pt x="26" y="170"/>
                    <a:pt x="21" y="171"/>
                    <a:pt x="16" y="172"/>
                  </a:cubicBezTo>
                  <a:cubicBezTo>
                    <a:pt x="11" y="174"/>
                    <a:pt x="6" y="175"/>
                    <a:pt x="0" y="176"/>
                  </a:cubicBezTo>
                  <a:cubicBezTo>
                    <a:pt x="28" y="155"/>
                    <a:pt x="44" y="125"/>
                    <a:pt x="54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62" y="94"/>
                    <a:pt x="70" y="95"/>
                    <a:pt x="75" y="90"/>
                  </a:cubicBezTo>
                  <a:cubicBezTo>
                    <a:pt x="76" y="90"/>
                    <a:pt x="76" y="89"/>
                    <a:pt x="76" y="88"/>
                  </a:cubicBezTo>
                  <a:cubicBezTo>
                    <a:pt x="78" y="87"/>
                    <a:pt x="78" y="84"/>
                    <a:pt x="78" y="82"/>
                  </a:cubicBezTo>
                  <a:cubicBezTo>
                    <a:pt x="78" y="79"/>
                    <a:pt x="78" y="75"/>
                    <a:pt x="78" y="72"/>
                  </a:cubicBezTo>
                  <a:cubicBezTo>
                    <a:pt x="79" y="68"/>
                    <a:pt x="78" y="65"/>
                    <a:pt x="78" y="62"/>
                  </a:cubicBezTo>
                  <a:cubicBezTo>
                    <a:pt x="78" y="58"/>
                    <a:pt x="78" y="55"/>
                    <a:pt x="78" y="52"/>
                  </a:cubicBezTo>
                  <a:cubicBezTo>
                    <a:pt x="79" y="45"/>
                    <a:pt x="79" y="39"/>
                    <a:pt x="79" y="33"/>
                  </a:cubicBezTo>
                  <a:cubicBezTo>
                    <a:pt x="80" y="27"/>
                    <a:pt x="80" y="20"/>
                    <a:pt x="76" y="15"/>
                  </a:cubicBezTo>
                  <a:cubicBezTo>
                    <a:pt x="76" y="15"/>
                    <a:pt x="74" y="14"/>
                    <a:pt x="73" y="15"/>
                  </a:cubicBezTo>
                  <a:cubicBezTo>
                    <a:pt x="71" y="15"/>
                    <a:pt x="69" y="15"/>
                    <a:pt x="67" y="15"/>
                  </a:cubicBezTo>
                  <a:cubicBezTo>
                    <a:pt x="67" y="10"/>
                    <a:pt x="67" y="5"/>
                    <a:pt x="67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76" y="0"/>
                    <a:pt x="84" y="0"/>
                    <a:pt x="92" y="0"/>
                  </a:cubicBezTo>
                  <a:cubicBezTo>
                    <a:pt x="91" y="4"/>
                    <a:pt x="91" y="9"/>
                    <a:pt x="92" y="14"/>
                  </a:cubicBezTo>
                  <a:cubicBezTo>
                    <a:pt x="93" y="24"/>
                    <a:pt x="92" y="34"/>
                    <a:pt x="91" y="44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6" name="iṥlïḓè"/>
            <p:cNvSpPr/>
            <p:nvPr/>
          </p:nvSpPr>
          <p:spPr bwMode="auto">
            <a:xfrm>
              <a:off x="5210378" y="2781817"/>
              <a:ext cx="1490504" cy="992541"/>
            </a:xfrm>
            <a:custGeom>
              <a:avLst/>
              <a:gdLst>
                <a:gd name="T0" fmla="*/ 24 w 212"/>
                <a:gd name="T1" fmla="*/ 35 h 141"/>
                <a:gd name="T2" fmla="*/ 24 w 212"/>
                <a:gd name="T3" fmla="*/ 35 h 141"/>
                <a:gd name="T4" fmla="*/ 116 w 212"/>
                <a:gd name="T5" fmla="*/ 1 h 141"/>
                <a:gd name="T6" fmla="*/ 135 w 212"/>
                <a:gd name="T7" fmla="*/ 1 h 141"/>
                <a:gd name="T8" fmla="*/ 150 w 212"/>
                <a:gd name="T9" fmla="*/ 10 h 141"/>
                <a:gd name="T10" fmla="*/ 167 w 212"/>
                <a:gd name="T11" fmla="*/ 21 h 141"/>
                <a:gd name="T12" fmla="*/ 182 w 212"/>
                <a:gd name="T13" fmla="*/ 36 h 141"/>
                <a:gd name="T14" fmla="*/ 195 w 212"/>
                <a:gd name="T15" fmla="*/ 53 h 141"/>
                <a:gd name="T16" fmla="*/ 209 w 212"/>
                <a:gd name="T17" fmla="*/ 95 h 141"/>
                <a:gd name="T18" fmla="*/ 212 w 212"/>
                <a:gd name="T19" fmla="*/ 118 h 141"/>
                <a:gd name="T20" fmla="*/ 212 w 212"/>
                <a:gd name="T21" fmla="*/ 134 h 141"/>
                <a:gd name="T22" fmla="*/ 202 w 212"/>
                <a:gd name="T23" fmla="*/ 135 h 141"/>
                <a:gd name="T24" fmla="*/ 188 w 212"/>
                <a:gd name="T25" fmla="*/ 135 h 141"/>
                <a:gd name="T26" fmla="*/ 161 w 212"/>
                <a:gd name="T27" fmla="*/ 137 h 141"/>
                <a:gd name="T28" fmla="*/ 104 w 212"/>
                <a:gd name="T29" fmla="*/ 138 h 141"/>
                <a:gd name="T30" fmla="*/ 76 w 212"/>
                <a:gd name="T31" fmla="*/ 140 h 141"/>
                <a:gd name="T32" fmla="*/ 49 w 212"/>
                <a:gd name="T33" fmla="*/ 139 h 141"/>
                <a:gd name="T34" fmla="*/ 21 w 212"/>
                <a:gd name="T35" fmla="*/ 140 h 141"/>
                <a:gd name="T36" fmla="*/ 7 w 212"/>
                <a:gd name="T37" fmla="*/ 141 h 141"/>
                <a:gd name="T38" fmla="*/ 0 w 212"/>
                <a:gd name="T39" fmla="*/ 141 h 141"/>
                <a:gd name="T40" fmla="*/ 0 w 212"/>
                <a:gd name="T41" fmla="*/ 114 h 141"/>
                <a:gd name="T42" fmla="*/ 0 w 212"/>
                <a:gd name="T43" fmla="*/ 101 h 141"/>
                <a:gd name="T44" fmla="*/ 1 w 212"/>
                <a:gd name="T45" fmla="*/ 96 h 141"/>
                <a:gd name="T46" fmla="*/ 2 w 212"/>
                <a:gd name="T47" fmla="*/ 85 h 141"/>
                <a:gd name="T48" fmla="*/ 24 w 212"/>
                <a:gd name="T49" fmla="*/ 3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2" h="141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46" y="9"/>
                    <a:pt x="82" y="0"/>
                    <a:pt x="116" y="1"/>
                  </a:cubicBezTo>
                  <a:cubicBezTo>
                    <a:pt x="122" y="1"/>
                    <a:pt x="129" y="2"/>
                    <a:pt x="135" y="1"/>
                  </a:cubicBezTo>
                  <a:cubicBezTo>
                    <a:pt x="139" y="5"/>
                    <a:pt x="145" y="7"/>
                    <a:pt x="150" y="10"/>
                  </a:cubicBezTo>
                  <a:cubicBezTo>
                    <a:pt x="156" y="13"/>
                    <a:pt x="162" y="17"/>
                    <a:pt x="167" y="21"/>
                  </a:cubicBezTo>
                  <a:cubicBezTo>
                    <a:pt x="172" y="26"/>
                    <a:pt x="177" y="31"/>
                    <a:pt x="182" y="36"/>
                  </a:cubicBezTo>
                  <a:cubicBezTo>
                    <a:pt x="187" y="42"/>
                    <a:pt x="191" y="47"/>
                    <a:pt x="195" y="53"/>
                  </a:cubicBezTo>
                  <a:cubicBezTo>
                    <a:pt x="204" y="66"/>
                    <a:pt x="206" y="80"/>
                    <a:pt x="209" y="95"/>
                  </a:cubicBezTo>
                  <a:cubicBezTo>
                    <a:pt x="211" y="102"/>
                    <a:pt x="212" y="110"/>
                    <a:pt x="212" y="118"/>
                  </a:cubicBezTo>
                  <a:cubicBezTo>
                    <a:pt x="212" y="123"/>
                    <a:pt x="212" y="129"/>
                    <a:pt x="212" y="134"/>
                  </a:cubicBezTo>
                  <a:cubicBezTo>
                    <a:pt x="209" y="134"/>
                    <a:pt x="206" y="134"/>
                    <a:pt x="202" y="135"/>
                  </a:cubicBezTo>
                  <a:cubicBezTo>
                    <a:pt x="198" y="135"/>
                    <a:pt x="193" y="135"/>
                    <a:pt x="188" y="135"/>
                  </a:cubicBezTo>
                  <a:cubicBezTo>
                    <a:pt x="179" y="136"/>
                    <a:pt x="170" y="136"/>
                    <a:pt x="161" y="137"/>
                  </a:cubicBezTo>
                  <a:cubicBezTo>
                    <a:pt x="142" y="138"/>
                    <a:pt x="123" y="138"/>
                    <a:pt x="104" y="138"/>
                  </a:cubicBezTo>
                  <a:cubicBezTo>
                    <a:pt x="95" y="139"/>
                    <a:pt x="86" y="140"/>
                    <a:pt x="76" y="140"/>
                  </a:cubicBezTo>
                  <a:cubicBezTo>
                    <a:pt x="67" y="140"/>
                    <a:pt x="58" y="140"/>
                    <a:pt x="49" y="139"/>
                  </a:cubicBezTo>
                  <a:cubicBezTo>
                    <a:pt x="39" y="139"/>
                    <a:pt x="30" y="140"/>
                    <a:pt x="21" y="140"/>
                  </a:cubicBezTo>
                  <a:cubicBezTo>
                    <a:pt x="16" y="140"/>
                    <a:pt x="12" y="140"/>
                    <a:pt x="7" y="141"/>
                  </a:cubicBezTo>
                  <a:cubicBezTo>
                    <a:pt x="5" y="141"/>
                    <a:pt x="2" y="141"/>
                    <a:pt x="0" y="141"/>
                  </a:cubicBezTo>
                  <a:cubicBezTo>
                    <a:pt x="0" y="132"/>
                    <a:pt x="0" y="123"/>
                    <a:pt x="0" y="114"/>
                  </a:cubicBezTo>
                  <a:cubicBezTo>
                    <a:pt x="0" y="109"/>
                    <a:pt x="0" y="105"/>
                    <a:pt x="0" y="101"/>
                  </a:cubicBezTo>
                  <a:cubicBezTo>
                    <a:pt x="1" y="99"/>
                    <a:pt x="1" y="97"/>
                    <a:pt x="1" y="96"/>
                  </a:cubicBezTo>
                  <a:cubicBezTo>
                    <a:pt x="1" y="92"/>
                    <a:pt x="1" y="88"/>
                    <a:pt x="2" y="85"/>
                  </a:cubicBezTo>
                  <a:cubicBezTo>
                    <a:pt x="5" y="67"/>
                    <a:pt x="12" y="49"/>
                    <a:pt x="24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íṡľiḋê"/>
            <p:cNvSpPr/>
            <p:nvPr/>
          </p:nvSpPr>
          <p:spPr bwMode="auto">
            <a:xfrm>
              <a:off x="5969180" y="2788592"/>
              <a:ext cx="731702" cy="941727"/>
            </a:xfrm>
            <a:custGeom>
              <a:avLst/>
              <a:gdLst>
                <a:gd name="T0" fmla="*/ 0 w 104"/>
                <a:gd name="T1" fmla="*/ 0 h 134"/>
                <a:gd name="T2" fmla="*/ 8 w 104"/>
                <a:gd name="T3" fmla="*/ 0 h 134"/>
                <a:gd name="T4" fmla="*/ 27 w 104"/>
                <a:gd name="T5" fmla="*/ 0 h 134"/>
                <a:gd name="T6" fmla="*/ 42 w 104"/>
                <a:gd name="T7" fmla="*/ 9 h 134"/>
                <a:gd name="T8" fmla="*/ 59 w 104"/>
                <a:gd name="T9" fmla="*/ 20 h 134"/>
                <a:gd name="T10" fmla="*/ 74 w 104"/>
                <a:gd name="T11" fmla="*/ 35 h 134"/>
                <a:gd name="T12" fmla="*/ 87 w 104"/>
                <a:gd name="T13" fmla="*/ 52 h 134"/>
                <a:gd name="T14" fmla="*/ 101 w 104"/>
                <a:gd name="T15" fmla="*/ 94 h 134"/>
                <a:gd name="T16" fmla="*/ 104 w 104"/>
                <a:gd name="T17" fmla="*/ 117 h 134"/>
                <a:gd name="T18" fmla="*/ 104 w 104"/>
                <a:gd name="T19" fmla="*/ 133 h 134"/>
                <a:gd name="T20" fmla="*/ 94 w 104"/>
                <a:gd name="T21" fmla="*/ 134 h 134"/>
                <a:gd name="T22" fmla="*/ 81 w 104"/>
                <a:gd name="T23" fmla="*/ 134 h 134"/>
                <a:gd name="T24" fmla="*/ 0 w 104"/>
                <a:gd name="T2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34">
                  <a:moveTo>
                    <a:pt x="0" y="0"/>
                  </a:moveTo>
                  <a:cubicBezTo>
                    <a:pt x="3" y="0"/>
                    <a:pt x="5" y="0"/>
                    <a:pt x="8" y="0"/>
                  </a:cubicBezTo>
                  <a:cubicBezTo>
                    <a:pt x="14" y="0"/>
                    <a:pt x="21" y="1"/>
                    <a:pt x="27" y="0"/>
                  </a:cubicBezTo>
                  <a:cubicBezTo>
                    <a:pt x="31" y="4"/>
                    <a:pt x="37" y="6"/>
                    <a:pt x="42" y="9"/>
                  </a:cubicBezTo>
                  <a:cubicBezTo>
                    <a:pt x="48" y="12"/>
                    <a:pt x="54" y="16"/>
                    <a:pt x="59" y="20"/>
                  </a:cubicBezTo>
                  <a:cubicBezTo>
                    <a:pt x="64" y="25"/>
                    <a:pt x="69" y="30"/>
                    <a:pt x="74" y="35"/>
                  </a:cubicBezTo>
                  <a:cubicBezTo>
                    <a:pt x="79" y="41"/>
                    <a:pt x="83" y="46"/>
                    <a:pt x="87" y="52"/>
                  </a:cubicBezTo>
                  <a:cubicBezTo>
                    <a:pt x="96" y="65"/>
                    <a:pt x="98" y="79"/>
                    <a:pt x="101" y="94"/>
                  </a:cubicBezTo>
                  <a:cubicBezTo>
                    <a:pt x="103" y="101"/>
                    <a:pt x="104" y="109"/>
                    <a:pt x="104" y="117"/>
                  </a:cubicBezTo>
                  <a:cubicBezTo>
                    <a:pt x="104" y="122"/>
                    <a:pt x="104" y="128"/>
                    <a:pt x="104" y="133"/>
                  </a:cubicBezTo>
                  <a:cubicBezTo>
                    <a:pt x="101" y="133"/>
                    <a:pt x="98" y="133"/>
                    <a:pt x="94" y="134"/>
                  </a:cubicBezTo>
                  <a:cubicBezTo>
                    <a:pt x="90" y="134"/>
                    <a:pt x="86" y="134"/>
                    <a:pt x="81" y="134"/>
                  </a:cubicBezTo>
                  <a:cubicBezTo>
                    <a:pt x="88" y="2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8" name="îṧḻíḓé"/>
            <p:cNvSpPr/>
            <p:nvPr/>
          </p:nvSpPr>
          <p:spPr bwMode="auto">
            <a:xfrm>
              <a:off x="4786941" y="2063665"/>
              <a:ext cx="2300120" cy="1788604"/>
            </a:xfrm>
            <a:custGeom>
              <a:avLst/>
              <a:gdLst>
                <a:gd name="T0" fmla="*/ 12 w 327"/>
                <a:gd name="T1" fmla="*/ 224 h 254"/>
                <a:gd name="T2" fmla="*/ 49 w 327"/>
                <a:gd name="T3" fmla="*/ 205 h 254"/>
                <a:gd name="T4" fmla="*/ 57 w 327"/>
                <a:gd name="T5" fmla="*/ 249 h 254"/>
                <a:gd name="T6" fmla="*/ 135 w 327"/>
                <a:gd name="T7" fmla="*/ 254 h 254"/>
                <a:gd name="T8" fmla="*/ 262 w 327"/>
                <a:gd name="T9" fmla="*/ 250 h 254"/>
                <a:gd name="T10" fmla="*/ 285 w 327"/>
                <a:gd name="T11" fmla="*/ 245 h 254"/>
                <a:gd name="T12" fmla="*/ 284 w 327"/>
                <a:gd name="T13" fmla="*/ 200 h 254"/>
                <a:gd name="T14" fmla="*/ 308 w 327"/>
                <a:gd name="T15" fmla="*/ 216 h 254"/>
                <a:gd name="T16" fmla="*/ 327 w 327"/>
                <a:gd name="T17" fmla="*/ 164 h 254"/>
                <a:gd name="T18" fmla="*/ 300 w 327"/>
                <a:gd name="T19" fmla="*/ 143 h 254"/>
                <a:gd name="T20" fmla="*/ 277 w 327"/>
                <a:gd name="T21" fmla="*/ 157 h 254"/>
                <a:gd name="T22" fmla="*/ 236 w 327"/>
                <a:gd name="T23" fmla="*/ 113 h 254"/>
                <a:gd name="T24" fmla="*/ 169 w 327"/>
                <a:gd name="T25" fmla="*/ 92 h 254"/>
                <a:gd name="T26" fmla="*/ 125 w 327"/>
                <a:gd name="T27" fmla="*/ 17 h 254"/>
                <a:gd name="T28" fmla="*/ 105 w 327"/>
                <a:gd name="T29" fmla="*/ 45 h 254"/>
                <a:gd name="T30" fmla="*/ 154 w 327"/>
                <a:gd name="T31" fmla="*/ 64 h 254"/>
                <a:gd name="T32" fmla="*/ 140 w 327"/>
                <a:gd name="T33" fmla="*/ 94 h 254"/>
                <a:gd name="T34" fmla="*/ 55 w 327"/>
                <a:gd name="T35" fmla="*/ 162 h 254"/>
                <a:gd name="T36" fmla="*/ 5 w 327"/>
                <a:gd name="T37" fmla="*/ 150 h 254"/>
                <a:gd name="T38" fmla="*/ 0 w 327"/>
                <a:gd name="T39" fmla="*/ 191 h 254"/>
                <a:gd name="T40" fmla="*/ 91 w 327"/>
                <a:gd name="T41" fmla="*/ 25 h 254"/>
                <a:gd name="T42" fmla="*/ 103 w 327"/>
                <a:gd name="T43" fmla="*/ 34 h 254"/>
                <a:gd name="T44" fmla="*/ 305 w 327"/>
                <a:gd name="T45" fmla="*/ 204 h 254"/>
                <a:gd name="T46" fmla="*/ 312 w 327"/>
                <a:gd name="T47" fmla="*/ 155 h 254"/>
                <a:gd name="T48" fmla="*/ 305 w 327"/>
                <a:gd name="T49" fmla="*/ 152 h 254"/>
                <a:gd name="T50" fmla="*/ 312 w 327"/>
                <a:gd name="T51" fmla="*/ 155 h 254"/>
                <a:gd name="T52" fmla="*/ 312 w 327"/>
                <a:gd name="T53" fmla="*/ 196 h 254"/>
                <a:gd name="T54" fmla="*/ 310 w 327"/>
                <a:gd name="T55" fmla="*/ 205 h 254"/>
                <a:gd name="T56" fmla="*/ 304 w 327"/>
                <a:gd name="T57" fmla="*/ 200 h 254"/>
                <a:gd name="T58" fmla="*/ 304 w 327"/>
                <a:gd name="T59" fmla="*/ 170 h 254"/>
                <a:gd name="T60" fmla="*/ 283 w 327"/>
                <a:gd name="T61" fmla="*/ 168 h 254"/>
                <a:gd name="T62" fmla="*/ 290 w 327"/>
                <a:gd name="T63" fmla="*/ 188 h 254"/>
                <a:gd name="T64" fmla="*/ 283 w 327"/>
                <a:gd name="T65" fmla="*/ 168 h 254"/>
                <a:gd name="T66" fmla="*/ 195 w 327"/>
                <a:gd name="T67" fmla="*/ 103 h 254"/>
                <a:gd name="T68" fmla="*/ 255 w 327"/>
                <a:gd name="T69" fmla="*/ 155 h 254"/>
                <a:gd name="T70" fmla="*/ 262 w 327"/>
                <a:gd name="T71" fmla="*/ 237 h 254"/>
                <a:gd name="T72" fmla="*/ 136 w 327"/>
                <a:gd name="T73" fmla="*/ 242 h 254"/>
                <a:gd name="T74" fmla="*/ 60 w 327"/>
                <a:gd name="T75" fmla="*/ 243 h 254"/>
                <a:gd name="T76" fmla="*/ 62 w 327"/>
                <a:gd name="T77" fmla="*/ 187 h 254"/>
                <a:gd name="T78" fmla="*/ 50 w 327"/>
                <a:gd name="T79" fmla="*/ 193 h 254"/>
                <a:gd name="T80" fmla="*/ 40 w 327"/>
                <a:gd name="T81" fmla="*/ 172 h 254"/>
                <a:gd name="T82" fmla="*/ 18 w 327"/>
                <a:gd name="T83" fmla="*/ 152 h 254"/>
                <a:gd name="T84" fmla="*/ 24 w 327"/>
                <a:gd name="T85" fmla="*/ 155 h 254"/>
                <a:gd name="T86" fmla="*/ 25 w 327"/>
                <a:gd name="T87" fmla="*/ 183 h 254"/>
                <a:gd name="T88" fmla="*/ 20 w 327"/>
                <a:gd name="T89" fmla="*/ 210 h 254"/>
                <a:gd name="T90" fmla="*/ 14 w 327"/>
                <a:gd name="T91" fmla="*/ 211 h 254"/>
                <a:gd name="T92" fmla="*/ 13 w 327"/>
                <a:gd name="T93" fmla="*/ 168 h 254"/>
                <a:gd name="T94" fmla="*/ 17 w 327"/>
                <a:gd name="T95" fmla="*/ 152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7" h="254">
                  <a:moveTo>
                    <a:pt x="1" y="209"/>
                  </a:moveTo>
                  <a:cubicBezTo>
                    <a:pt x="1" y="215"/>
                    <a:pt x="2" y="220"/>
                    <a:pt x="8" y="222"/>
                  </a:cubicBezTo>
                  <a:cubicBezTo>
                    <a:pt x="8" y="222"/>
                    <a:pt x="9" y="222"/>
                    <a:pt x="9" y="222"/>
                  </a:cubicBezTo>
                  <a:cubicBezTo>
                    <a:pt x="10" y="223"/>
                    <a:pt x="11" y="224"/>
                    <a:pt x="12" y="224"/>
                  </a:cubicBezTo>
                  <a:cubicBezTo>
                    <a:pt x="17" y="225"/>
                    <a:pt x="22" y="225"/>
                    <a:pt x="27" y="221"/>
                  </a:cubicBezTo>
                  <a:cubicBezTo>
                    <a:pt x="33" y="218"/>
                    <a:pt x="35" y="212"/>
                    <a:pt x="36" y="206"/>
                  </a:cubicBezTo>
                  <a:cubicBezTo>
                    <a:pt x="39" y="206"/>
                    <a:pt x="41" y="205"/>
                    <a:pt x="44" y="205"/>
                  </a:cubicBezTo>
                  <a:cubicBezTo>
                    <a:pt x="45" y="205"/>
                    <a:pt x="47" y="205"/>
                    <a:pt x="49" y="205"/>
                  </a:cubicBezTo>
                  <a:cubicBezTo>
                    <a:pt x="49" y="207"/>
                    <a:pt x="48" y="208"/>
                    <a:pt x="48" y="210"/>
                  </a:cubicBezTo>
                  <a:cubicBezTo>
                    <a:pt x="48" y="216"/>
                    <a:pt x="48" y="221"/>
                    <a:pt x="49" y="227"/>
                  </a:cubicBezTo>
                  <a:cubicBezTo>
                    <a:pt x="49" y="233"/>
                    <a:pt x="49" y="240"/>
                    <a:pt x="50" y="246"/>
                  </a:cubicBezTo>
                  <a:cubicBezTo>
                    <a:pt x="51" y="250"/>
                    <a:pt x="55" y="250"/>
                    <a:pt x="57" y="249"/>
                  </a:cubicBezTo>
                  <a:cubicBezTo>
                    <a:pt x="60" y="250"/>
                    <a:pt x="63" y="250"/>
                    <a:pt x="66" y="251"/>
                  </a:cubicBezTo>
                  <a:cubicBezTo>
                    <a:pt x="70" y="251"/>
                    <a:pt x="75" y="252"/>
                    <a:pt x="80" y="252"/>
                  </a:cubicBezTo>
                  <a:cubicBezTo>
                    <a:pt x="89" y="253"/>
                    <a:pt x="98" y="253"/>
                    <a:pt x="107" y="253"/>
                  </a:cubicBezTo>
                  <a:cubicBezTo>
                    <a:pt x="117" y="254"/>
                    <a:pt x="126" y="254"/>
                    <a:pt x="135" y="254"/>
                  </a:cubicBezTo>
                  <a:cubicBezTo>
                    <a:pt x="145" y="254"/>
                    <a:pt x="155" y="254"/>
                    <a:pt x="164" y="253"/>
                  </a:cubicBezTo>
                  <a:cubicBezTo>
                    <a:pt x="183" y="253"/>
                    <a:pt x="202" y="253"/>
                    <a:pt x="221" y="252"/>
                  </a:cubicBezTo>
                  <a:cubicBezTo>
                    <a:pt x="230" y="251"/>
                    <a:pt x="239" y="251"/>
                    <a:pt x="248" y="250"/>
                  </a:cubicBezTo>
                  <a:cubicBezTo>
                    <a:pt x="253" y="250"/>
                    <a:pt x="258" y="250"/>
                    <a:pt x="262" y="250"/>
                  </a:cubicBezTo>
                  <a:cubicBezTo>
                    <a:pt x="267" y="249"/>
                    <a:pt x="271" y="249"/>
                    <a:pt x="275" y="247"/>
                  </a:cubicBezTo>
                  <a:cubicBezTo>
                    <a:pt x="276" y="248"/>
                    <a:pt x="277" y="248"/>
                    <a:pt x="277" y="248"/>
                  </a:cubicBezTo>
                  <a:cubicBezTo>
                    <a:pt x="277" y="248"/>
                    <a:pt x="278" y="248"/>
                    <a:pt x="278" y="248"/>
                  </a:cubicBezTo>
                  <a:cubicBezTo>
                    <a:pt x="281" y="249"/>
                    <a:pt x="283" y="248"/>
                    <a:pt x="285" y="245"/>
                  </a:cubicBezTo>
                  <a:cubicBezTo>
                    <a:pt x="285" y="244"/>
                    <a:pt x="285" y="244"/>
                    <a:pt x="285" y="244"/>
                  </a:cubicBezTo>
                  <a:cubicBezTo>
                    <a:pt x="285" y="243"/>
                    <a:pt x="285" y="242"/>
                    <a:pt x="285" y="241"/>
                  </a:cubicBezTo>
                  <a:cubicBezTo>
                    <a:pt x="286" y="234"/>
                    <a:pt x="286" y="227"/>
                    <a:pt x="286" y="220"/>
                  </a:cubicBezTo>
                  <a:cubicBezTo>
                    <a:pt x="286" y="213"/>
                    <a:pt x="285" y="207"/>
                    <a:pt x="284" y="200"/>
                  </a:cubicBezTo>
                  <a:cubicBezTo>
                    <a:pt x="285" y="200"/>
                    <a:pt x="286" y="199"/>
                    <a:pt x="287" y="199"/>
                  </a:cubicBezTo>
                  <a:cubicBezTo>
                    <a:pt x="288" y="199"/>
                    <a:pt x="289" y="199"/>
                    <a:pt x="290" y="199"/>
                  </a:cubicBezTo>
                  <a:cubicBezTo>
                    <a:pt x="291" y="202"/>
                    <a:pt x="291" y="206"/>
                    <a:pt x="293" y="210"/>
                  </a:cubicBezTo>
                  <a:cubicBezTo>
                    <a:pt x="295" y="215"/>
                    <a:pt x="302" y="219"/>
                    <a:pt x="308" y="216"/>
                  </a:cubicBezTo>
                  <a:cubicBezTo>
                    <a:pt x="309" y="216"/>
                    <a:pt x="309" y="216"/>
                    <a:pt x="310" y="217"/>
                  </a:cubicBezTo>
                  <a:cubicBezTo>
                    <a:pt x="321" y="219"/>
                    <a:pt x="325" y="207"/>
                    <a:pt x="325" y="198"/>
                  </a:cubicBezTo>
                  <a:cubicBezTo>
                    <a:pt x="325" y="193"/>
                    <a:pt x="325" y="187"/>
                    <a:pt x="325" y="181"/>
                  </a:cubicBezTo>
                  <a:cubicBezTo>
                    <a:pt x="325" y="176"/>
                    <a:pt x="326" y="170"/>
                    <a:pt x="327" y="164"/>
                  </a:cubicBezTo>
                  <a:cubicBezTo>
                    <a:pt x="327" y="158"/>
                    <a:pt x="326" y="153"/>
                    <a:pt x="323" y="148"/>
                  </a:cubicBezTo>
                  <a:cubicBezTo>
                    <a:pt x="321" y="145"/>
                    <a:pt x="317" y="143"/>
                    <a:pt x="313" y="142"/>
                  </a:cubicBezTo>
                  <a:cubicBezTo>
                    <a:pt x="309" y="141"/>
                    <a:pt x="305" y="141"/>
                    <a:pt x="301" y="142"/>
                  </a:cubicBezTo>
                  <a:cubicBezTo>
                    <a:pt x="301" y="142"/>
                    <a:pt x="300" y="143"/>
                    <a:pt x="300" y="143"/>
                  </a:cubicBezTo>
                  <a:cubicBezTo>
                    <a:pt x="298" y="142"/>
                    <a:pt x="296" y="143"/>
                    <a:pt x="295" y="144"/>
                  </a:cubicBezTo>
                  <a:cubicBezTo>
                    <a:pt x="293" y="148"/>
                    <a:pt x="292" y="153"/>
                    <a:pt x="292" y="157"/>
                  </a:cubicBezTo>
                  <a:cubicBezTo>
                    <a:pt x="289" y="157"/>
                    <a:pt x="287" y="157"/>
                    <a:pt x="284" y="157"/>
                  </a:cubicBezTo>
                  <a:cubicBezTo>
                    <a:pt x="282" y="157"/>
                    <a:pt x="280" y="157"/>
                    <a:pt x="277" y="157"/>
                  </a:cubicBezTo>
                  <a:cubicBezTo>
                    <a:pt x="276" y="157"/>
                    <a:pt x="274" y="157"/>
                    <a:pt x="272" y="157"/>
                  </a:cubicBezTo>
                  <a:cubicBezTo>
                    <a:pt x="270" y="154"/>
                    <a:pt x="269" y="151"/>
                    <a:pt x="267" y="148"/>
                  </a:cubicBezTo>
                  <a:cubicBezTo>
                    <a:pt x="263" y="142"/>
                    <a:pt x="258" y="136"/>
                    <a:pt x="252" y="130"/>
                  </a:cubicBezTo>
                  <a:cubicBezTo>
                    <a:pt x="247" y="124"/>
                    <a:pt x="242" y="118"/>
                    <a:pt x="236" y="113"/>
                  </a:cubicBezTo>
                  <a:cubicBezTo>
                    <a:pt x="231" y="109"/>
                    <a:pt x="224" y="105"/>
                    <a:pt x="218" y="102"/>
                  </a:cubicBezTo>
                  <a:cubicBezTo>
                    <a:pt x="212" y="99"/>
                    <a:pt x="204" y="96"/>
                    <a:pt x="197" y="96"/>
                  </a:cubicBezTo>
                  <a:cubicBezTo>
                    <a:pt x="193" y="94"/>
                    <a:pt x="188" y="93"/>
                    <a:pt x="184" y="93"/>
                  </a:cubicBezTo>
                  <a:cubicBezTo>
                    <a:pt x="179" y="92"/>
                    <a:pt x="174" y="92"/>
                    <a:pt x="169" y="92"/>
                  </a:cubicBezTo>
                  <a:cubicBezTo>
                    <a:pt x="169" y="89"/>
                    <a:pt x="169" y="87"/>
                    <a:pt x="169" y="85"/>
                  </a:cubicBezTo>
                  <a:cubicBezTo>
                    <a:pt x="168" y="77"/>
                    <a:pt x="166" y="70"/>
                    <a:pt x="164" y="63"/>
                  </a:cubicBezTo>
                  <a:cubicBezTo>
                    <a:pt x="162" y="53"/>
                    <a:pt x="158" y="42"/>
                    <a:pt x="152" y="33"/>
                  </a:cubicBezTo>
                  <a:cubicBezTo>
                    <a:pt x="146" y="26"/>
                    <a:pt x="135" y="17"/>
                    <a:pt x="125" y="17"/>
                  </a:cubicBezTo>
                  <a:cubicBezTo>
                    <a:pt x="123" y="11"/>
                    <a:pt x="119" y="5"/>
                    <a:pt x="113" y="3"/>
                  </a:cubicBezTo>
                  <a:cubicBezTo>
                    <a:pt x="107" y="0"/>
                    <a:pt x="98" y="0"/>
                    <a:pt x="94" y="6"/>
                  </a:cubicBezTo>
                  <a:cubicBezTo>
                    <a:pt x="87" y="10"/>
                    <a:pt x="81" y="17"/>
                    <a:pt x="80" y="26"/>
                  </a:cubicBezTo>
                  <a:cubicBezTo>
                    <a:pt x="79" y="40"/>
                    <a:pt x="93" y="48"/>
                    <a:pt x="105" y="45"/>
                  </a:cubicBezTo>
                  <a:cubicBezTo>
                    <a:pt x="113" y="43"/>
                    <a:pt x="121" y="36"/>
                    <a:pt x="124" y="28"/>
                  </a:cubicBezTo>
                  <a:cubicBezTo>
                    <a:pt x="127" y="30"/>
                    <a:pt x="130" y="31"/>
                    <a:pt x="133" y="32"/>
                  </a:cubicBezTo>
                  <a:cubicBezTo>
                    <a:pt x="137" y="34"/>
                    <a:pt x="140" y="37"/>
                    <a:pt x="143" y="41"/>
                  </a:cubicBezTo>
                  <a:cubicBezTo>
                    <a:pt x="148" y="47"/>
                    <a:pt x="151" y="56"/>
                    <a:pt x="154" y="64"/>
                  </a:cubicBezTo>
                  <a:cubicBezTo>
                    <a:pt x="155" y="70"/>
                    <a:pt x="157" y="75"/>
                    <a:pt x="158" y="81"/>
                  </a:cubicBezTo>
                  <a:cubicBezTo>
                    <a:pt x="159" y="84"/>
                    <a:pt x="159" y="87"/>
                    <a:pt x="159" y="90"/>
                  </a:cubicBezTo>
                  <a:cubicBezTo>
                    <a:pt x="159" y="91"/>
                    <a:pt x="159" y="91"/>
                    <a:pt x="160" y="92"/>
                  </a:cubicBezTo>
                  <a:cubicBezTo>
                    <a:pt x="153" y="92"/>
                    <a:pt x="146" y="93"/>
                    <a:pt x="140" y="94"/>
                  </a:cubicBezTo>
                  <a:cubicBezTo>
                    <a:pt x="123" y="97"/>
                    <a:pt x="108" y="104"/>
                    <a:pt x="94" y="113"/>
                  </a:cubicBezTo>
                  <a:cubicBezTo>
                    <a:pt x="79" y="123"/>
                    <a:pt x="68" y="136"/>
                    <a:pt x="60" y="152"/>
                  </a:cubicBezTo>
                  <a:cubicBezTo>
                    <a:pt x="59" y="155"/>
                    <a:pt x="58" y="159"/>
                    <a:pt x="57" y="162"/>
                  </a:cubicBezTo>
                  <a:cubicBezTo>
                    <a:pt x="56" y="162"/>
                    <a:pt x="55" y="162"/>
                    <a:pt x="55" y="162"/>
                  </a:cubicBezTo>
                  <a:cubicBezTo>
                    <a:pt x="50" y="161"/>
                    <a:pt x="45" y="162"/>
                    <a:pt x="40" y="163"/>
                  </a:cubicBezTo>
                  <a:cubicBezTo>
                    <a:pt x="40" y="152"/>
                    <a:pt x="33" y="142"/>
                    <a:pt x="22" y="141"/>
                  </a:cubicBezTo>
                  <a:cubicBezTo>
                    <a:pt x="18" y="140"/>
                    <a:pt x="13" y="140"/>
                    <a:pt x="9" y="143"/>
                  </a:cubicBezTo>
                  <a:cubicBezTo>
                    <a:pt x="7" y="145"/>
                    <a:pt x="5" y="147"/>
                    <a:pt x="5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3" y="153"/>
                    <a:pt x="2" y="156"/>
                    <a:pt x="2" y="159"/>
                  </a:cubicBezTo>
                  <a:cubicBezTo>
                    <a:pt x="2" y="162"/>
                    <a:pt x="1" y="166"/>
                    <a:pt x="1" y="170"/>
                  </a:cubicBezTo>
                  <a:cubicBezTo>
                    <a:pt x="0" y="177"/>
                    <a:pt x="0" y="184"/>
                    <a:pt x="0" y="191"/>
                  </a:cubicBezTo>
                  <a:cubicBezTo>
                    <a:pt x="0" y="197"/>
                    <a:pt x="1" y="203"/>
                    <a:pt x="1" y="209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3" y="34"/>
                  </a:cubicBezTo>
                  <a:cubicBezTo>
                    <a:pt x="97" y="36"/>
                    <a:pt x="90" y="32"/>
                    <a:pt x="91" y="25"/>
                  </a:cubicBezTo>
                  <a:cubicBezTo>
                    <a:pt x="91" y="21"/>
                    <a:pt x="93" y="16"/>
                    <a:pt x="97" y="13"/>
                  </a:cubicBezTo>
                  <a:cubicBezTo>
                    <a:pt x="100" y="14"/>
                    <a:pt x="104" y="13"/>
                    <a:pt x="107" y="14"/>
                  </a:cubicBezTo>
                  <a:cubicBezTo>
                    <a:pt x="110" y="15"/>
                    <a:pt x="113" y="18"/>
                    <a:pt x="113" y="20"/>
                  </a:cubicBezTo>
                  <a:cubicBezTo>
                    <a:pt x="114" y="26"/>
                    <a:pt x="108" y="32"/>
                    <a:pt x="103" y="34"/>
                  </a:cubicBezTo>
                  <a:close/>
                  <a:moveTo>
                    <a:pt x="305" y="204"/>
                  </a:moveTo>
                  <a:cubicBezTo>
                    <a:pt x="305" y="204"/>
                    <a:pt x="305" y="204"/>
                    <a:pt x="305" y="204"/>
                  </a:cubicBezTo>
                  <a:cubicBezTo>
                    <a:pt x="305" y="204"/>
                    <a:pt x="305" y="204"/>
                    <a:pt x="305" y="204"/>
                  </a:cubicBezTo>
                  <a:cubicBezTo>
                    <a:pt x="305" y="204"/>
                    <a:pt x="305" y="204"/>
                    <a:pt x="305" y="204"/>
                  </a:cubicBezTo>
                  <a:close/>
                  <a:moveTo>
                    <a:pt x="312" y="155"/>
                  </a:move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lose/>
                  <a:moveTo>
                    <a:pt x="304" y="152"/>
                  </a:moveTo>
                  <a:cubicBezTo>
                    <a:pt x="304" y="152"/>
                    <a:pt x="304" y="152"/>
                    <a:pt x="304" y="152"/>
                  </a:cubicBezTo>
                  <a:cubicBezTo>
                    <a:pt x="305" y="152"/>
                    <a:pt x="305" y="152"/>
                    <a:pt x="305" y="152"/>
                  </a:cubicBezTo>
                  <a:cubicBezTo>
                    <a:pt x="305" y="152"/>
                    <a:pt x="305" y="152"/>
                    <a:pt x="305" y="152"/>
                  </a:cubicBezTo>
                  <a:cubicBezTo>
                    <a:pt x="308" y="153"/>
                    <a:pt x="309" y="153"/>
                    <a:pt x="311" y="154"/>
                  </a:cubicBezTo>
                  <a:cubicBezTo>
                    <a:pt x="312" y="154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3" y="156"/>
                    <a:pt x="313" y="158"/>
                    <a:pt x="313" y="159"/>
                  </a:cubicBezTo>
                  <a:cubicBezTo>
                    <a:pt x="314" y="162"/>
                    <a:pt x="313" y="166"/>
                    <a:pt x="313" y="169"/>
                  </a:cubicBezTo>
                  <a:cubicBezTo>
                    <a:pt x="311" y="178"/>
                    <a:pt x="312" y="187"/>
                    <a:pt x="312" y="196"/>
                  </a:cubicBezTo>
                  <a:cubicBezTo>
                    <a:pt x="312" y="199"/>
                    <a:pt x="311" y="201"/>
                    <a:pt x="311" y="203"/>
                  </a:cubicBezTo>
                  <a:cubicBezTo>
                    <a:pt x="311" y="203"/>
                    <a:pt x="311" y="204"/>
                    <a:pt x="311" y="204"/>
                  </a:cubicBezTo>
                  <a:cubicBezTo>
                    <a:pt x="311" y="203"/>
                    <a:pt x="310" y="205"/>
                    <a:pt x="311" y="204"/>
                  </a:cubicBezTo>
                  <a:cubicBezTo>
                    <a:pt x="310" y="205"/>
                    <a:pt x="310" y="205"/>
                    <a:pt x="310" y="205"/>
                  </a:cubicBezTo>
                  <a:cubicBezTo>
                    <a:pt x="309" y="204"/>
                    <a:pt x="307" y="203"/>
                    <a:pt x="305" y="203"/>
                  </a:cubicBezTo>
                  <a:cubicBezTo>
                    <a:pt x="305" y="203"/>
                    <a:pt x="305" y="203"/>
                    <a:pt x="305" y="203"/>
                  </a:cubicBezTo>
                  <a:cubicBezTo>
                    <a:pt x="304" y="202"/>
                    <a:pt x="304" y="201"/>
                    <a:pt x="304" y="201"/>
                  </a:cubicBezTo>
                  <a:cubicBezTo>
                    <a:pt x="304" y="200"/>
                    <a:pt x="304" y="200"/>
                    <a:pt x="304" y="200"/>
                  </a:cubicBezTo>
                  <a:cubicBezTo>
                    <a:pt x="304" y="200"/>
                    <a:pt x="304" y="199"/>
                    <a:pt x="304" y="199"/>
                  </a:cubicBezTo>
                  <a:cubicBezTo>
                    <a:pt x="304" y="198"/>
                    <a:pt x="304" y="196"/>
                    <a:pt x="304" y="195"/>
                  </a:cubicBezTo>
                  <a:cubicBezTo>
                    <a:pt x="303" y="193"/>
                    <a:pt x="304" y="191"/>
                    <a:pt x="304" y="189"/>
                  </a:cubicBezTo>
                  <a:cubicBezTo>
                    <a:pt x="304" y="183"/>
                    <a:pt x="304" y="177"/>
                    <a:pt x="304" y="170"/>
                  </a:cubicBezTo>
                  <a:cubicBezTo>
                    <a:pt x="304" y="166"/>
                    <a:pt x="304" y="161"/>
                    <a:pt x="304" y="157"/>
                  </a:cubicBezTo>
                  <a:cubicBezTo>
                    <a:pt x="304" y="155"/>
                    <a:pt x="304" y="154"/>
                    <a:pt x="304" y="152"/>
                  </a:cubicBezTo>
                  <a:cubicBezTo>
                    <a:pt x="304" y="152"/>
                    <a:pt x="304" y="152"/>
                    <a:pt x="304" y="152"/>
                  </a:cubicBezTo>
                  <a:close/>
                  <a:moveTo>
                    <a:pt x="283" y="168"/>
                  </a:moveTo>
                  <a:cubicBezTo>
                    <a:pt x="283" y="168"/>
                    <a:pt x="283" y="168"/>
                    <a:pt x="283" y="168"/>
                  </a:cubicBezTo>
                  <a:cubicBezTo>
                    <a:pt x="286" y="168"/>
                    <a:pt x="289" y="168"/>
                    <a:pt x="292" y="168"/>
                  </a:cubicBezTo>
                  <a:cubicBezTo>
                    <a:pt x="291" y="170"/>
                    <a:pt x="291" y="172"/>
                    <a:pt x="291" y="174"/>
                  </a:cubicBezTo>
                  <a:cubicBezTo>
                    <a:pt x="291" y="179"/>
                    <a:pt x="291" y="183"/>
                    <a:pt x="290" y="188"/>
                  </a:cubicBezTo>
                  <a:cubicBezTo>
                    <a:pt x="289" y="188"/>
                    <a:pt x="287" y="188"/>
                    <a:pt x="285" y="188"/>
                  </a:cubicBezTo>
                  <a:cubicBezTo>
                    <a:pt x="284" y="188"/>
                    <a:pt x="283" y="188"/>
                    <a:pt x="281" y="188"/>
                  </a:cubicBezTo>
                  <a:cubicBezTo>
                    <a:pt x="280" y="181"/>
                    <a:pt x="278" y="174"/>
                    <a:pt x="276" y="167"/>
                  </a:cubicBezTo>
                  <a:cubicBezTo>
                    <a:pt x="278" y="167"/>
                    <a:pt x="281" y="168"/>
                    <a:pt x="283" y="168"/>
                  </a:cubicBezTo>
                  <a:close/>
                  <a:moveTo>
                    <a:pt x="84" y="137"/>
                  </a:moveTo>
                  <a:cubicBezTo>
                    <a:pt x="84" y="137"/>
                    <a:pt x="84" y="137"/>
                    <a:pt x="84" y="137"/>
                  </a:cubicBezTo>
                  <a:cubicBezTo>
                    <a:pt x="106" y="111"/>
                    <a:pt x="142" y="102"/>
                    <a:pt x="176" y="103"/>
                  </a:cubicBezTo>
                  <a:cubicBezTo>
                    <a:pt x="182" y="103"/>
                    <a:pt x="189" y="104"/>
                    <a:pt x="195" y="103"/>
                  </a:cubicBezTo>
                  <a:cubicBezTo>
                    <a:pt x="199" y="107"/>
                    <a:pt x="205" y="109"/>
                    <a:pt x="210" y="112"/>
                  </a:cubicBezTo>
                  <a:cubicBezTo>
                    <a:pt x="216" y="115"/>
                    <a:pt x="222" y="119"/>
                    <a:pt x="227" y="123"/>
                  </a:cubicBezTo>
                  <a:cubicBezTo>
                    <a:pt x="232" y="128"/>
                    <a:pt x="237" y="133"/>
                    <a:pt x="242" y="138"/>
                  </a:cubicBezTo>
                  <a:cubicBezTo>
                    <a:pt x="247" y="144"/>
                    <a:pt x="251" y="149"/>
                    <a:pt x="255" y="155"/>
                  </a:cubicBezTo>
                  <a:cubicBezTo>
                    <a:pt x="264" y="168"/>
                    <a:pt x="266" y="182"/>
                    <a:pt x="269" y="197"/>
                  </a:cubicBezTo>
                  <a:cubicBezTo>
                    <a:pt x="271" y="204"/>
                    <a:pt x="272" y="212"/>
                    <a:pt x="272" y="220"/>
                  </a:cubicBezTo>
                  <a:cubicBezTo>
                    <a:pt x="272" y="225"/>
                    <a:pt x="272" y="231"/>
                    <a:pt x="272" y="236"/>
                  </a:cubicBezTo>
                  <a:cubicBezTo>
                    <a:pt x="269" y="236"/>
                    <a:pt x="266" y="236"/>
                    <a:pt x="262" y="237"/>
                  </a:cubicBezTo>
                  <a:cubicBezTo>
                    <a:pt x="258" y="237"/>
                    <a:pt x="253" y="237"/>
                    <a:pt x="248" y="237"/>
                  </a:cubicBezTo>
                  <a:cubicBezTo>
                    <a:pt x="239" y="238"/>
                    <a:pt x="230" y="238"/>
                    <a:pt x="221" y="239"/>
                  </a:cubicBezTo>
                  <a:cubicBezTo>
                    <a:pt x="202" y="240"/>
                    <a:pt x="183" y="240"/>
                    <a:pt x="164" y="240"/>
                  </a:cubicBezTo>
                  <a:cubicBezTo>
                    <a:pt x="155" y="241"/>
                    <a:pt x="146" y="242"/>
                    <a:pt x="136" y="242"/>
                  </a:cubicBezTo>
                  <a:cubicBezTo>
                    <a:pt x="127" y="242"/>
                    <a:pt x="118" y="242"/>
                    <a:pt x="109" y="241"/>
                  </a:cubicBezTo>
                  <a:cubicBezTo>
                    <a:pt x="99" y="241"/>
                    <a:pt x="90" y="242"/>
                    <a:pt x="81" y="242"/>
                  </a:cubicBezTo>
                  <a:cubicBezTo>
                    <a:pt x="76" y="242"/>
                    <a:pt x="72" y="242"/>
                    <a:pt x="67" y="243"/>
                  </a:cubicBezTo>
                  <a:cubicBezTo>
                    <a:pt x="65" y="243"/>
                    <a:pt x="62" y="243"/>
                    <a:pt x="60" y="243"/>
                  </a:cubicBezTo>
                  <a:cubicBezTo>
                    <a:pt x="60" y="234"/>
                    <a:pt x="60" y="225"/>
                    <a:pt x="60" y="216"/>
                  </a:cubicBezTo>
                  <a:cubicBezTo>
                    <a:pt x="60" y="211"/>
                    <a:pt x="60" y="207"/>
                    <a:pt x="60" y="203"/>
                  </a:cubicBezTo>
                  <a:cubicBezTo>
                    <a:pt x="61" y="201"/>
                    <a:pt x="61" y="199"/>
                    <a:pt x="61" y="198"/>
                  </a:cubicBezTo>
                  <a:cubicBezTo>
                    <a:pt x="61" y="194"/>
                    <a:pt x="61" y="190"/>
                    <a:pt x="62" y="187"/>
                  </a:cubicBezTo>
                  <a:cubicBezTo>
                    <a:pt x="65" y="169"/>
                    <a:pt x="72" y="151"/>
                    <a:pt x="84" y="137"/>
                  </a:cubicBezTo>
                  <a:close/>
                  <a:moveTo>
                    <a:pt x="53" y="173"/>
                  </a:moveTo>
                  <a:cubicBezTo>
                    <a:pt x="53" y="173"/>
                    <a:pt x="53" y="173"/>
                    <a:pt x="53" y="173"/>
                  </a:cubicBezTo>
                  <a:cubicBezTo>
                    <a:pt x="51" y="180"/>
                    <a:pt x="50" y="186"/>
                    <a:pt x="50" y="193"/>
                  </a:cubicBezTo>
                  <a:cubicBezTo>
                    <a:pt x="47" y="193"/>
                    <a:pt x="45" y="193"/>
                    <a:pt x="43" y="194"/>
                  </a:cubicBezTo>
                  <a:cubicBezTo>
                    <a:pt x="42" y="194"/>
                    <a:pt x="40" y="194"/>
                    <a:pt x="37" y="195"/>
                  </a:cubicBezTo>
                  <a:cubicBezTo>
                    <a:pt x="38" y="191"/>
                    <a:pt x="38" y="187"/>
                    <a:pt x="38" y="183"/>
                  </a:cubicBezTo>
                  <a:cubicBezTo>
                    <a:pt x="39" y="179"/>
                    <a:pt x="39" y="176"/>
                    <a:pt x="40" y="172"/>
                  </a:cubicBezTo>
                  <a:cubicBezTo>
                    <a:pt x="44" y="173"/>
                    <a:pt x="49" y="173"/>
                    <a:pt x="53" y="173"/>
                  </a:cubicBezTo>
                  <a:close/>
                  <a:moveTo>
                    <a:pt x="17" y="152"/>
                  </a:moveTo>
                  <a:cubicBezTo>
                    <a:pt x="17" y="152"/>
                    <a:pt x="17" y="152"/>
                    <a:pt x="17" y="152"/>
                  </a:cubicBezTo>
                  <a:cubicBezTo>
                    <a:pt x="17" y="152"/>
                    <a:pt x="18" y="152"/>
                    <a:pt x="18" y="152"/>
                  </a:cubicBezTo>
                  <a:cubicBezTo>
                    <a:pt x="18" y="152"/>
                    <a:pt x="18" y="152"/>
                    <a:pt x="18" y="153"/>
                  </a:cubicBezTo>
                  <a:cubicBezTo>
                    <a:pt x="19" y="153"/>
                    <a:pt x="20" y="153"/>
                    <a:pt x="21" y="153"/>
                  </a:cubicBezTo>
                  <a:cubicBezTo>
                    <a:pt x="22" y="154"/>
                    <a:pt x="22" y="154"/>
                    <a:pt x="24" y="155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4" y="155"/>
                    <a:pt x="25" y="156"/>
                    <a:pt x="25" y="156"/>
                  </a:cubicBezTo>
                  <a:cubicBezTo>
                    <a:pt x="27" y="159"/>
                    <a:pt x="27" y="165"/>
                    <a:pt x="27" y="168"/>
                  </a:cubicBezTo>
                  <a:cubicBezTo>
                    <a:pt x="26" y="173"/>
                    <a:pt x="25" y="178"/>
                    <a:pt x="25" y="183"/>
                  </a:cubicBezTo>
                  <a:cubicBezTo>
                    <a:pt x="24" y="188"/>
                    <a:pt x="24" y="194"/>
                    <a:pt x="23" y="200"/>
                  </a:cubicBezTo>
                  <a:cubicBezTo>
                    <a:pt x="23" y="202"/>
                    <a:pt x="23" y="204"/>
                    <a:pt x="22" y="207"/>
                  </a:cubicBezTo>
                  <a:cubicBezTo>
                    <a:pt x="22" y="208"/>
                    <a:pt x="21" y="209"/>
                    <a:pt x="20" y="210"/>
                  </a:cubicBezTo>
                  <a:cubicBezTo>
                    <a:pt x="20" y="210"/>
                    <a:pt x="20" y="210"/>
                    <a:pt x="20" y="210"/>
                  </a:cubicBezTo>
                  <a:cubicBezTo>
                    <a:pt x="20" y="210"/>
                    <a:pt x="20" y="210"/>
                    <a:pt x="19" y="210"/>
                  </a:cubicBezTo>
                  <a:cubicBezTo>
                    <a:pt x="19" y="211"/>
                    <a:pt x="19" y="211"/>
                    <a:pt x="17" y="211"/>
                  </a:cubicBezTo>
                  <a:cubicBezTo>
                    <a:pt x="16" y="211"/>
                    <a:pt x="15" y="212"/>
                    <a:pt x="14" y="212"/>
                  </a:cubicBezTo>
                  <a:cubicBezTo>
                    <a:pt x="14" y="212"/>
                    <a:pt x="14" y="211"/>
                    <a:pt x="14" y="211"/>
                  </a:cubicBezTo>
                  <a:cubicBezTo>
                    <a:pt x="14" y="211"/>
                    <a:pt x="14" y="210"/>
                    <a:pt x="13" y="209"/>
                  </a:cubicBezTo>
                  <a:cubicBezTo>
                    <a:pt x="13" y="207"/>
                    <a:pt x="13" y="205"/>
                    <a:pt x="13" y="202"/>
                  </a:cubicBezTo>
                  <a:cubicBezTo>
                    <a:pt x="13" y="197"/>
                    <a:pt x="12" y="191"/>
                    <a:pt x="12" y="186"/>
                  </a:cubicBezTo>
                  <a:cubicBezTo>
                    <a:pt x="12" y="180"/>
                    <a:pt x="13" y="174"/>
                    <a:pt x="13" y="168"/>
                  </a:cubicBezTo>
                  <a:cubicBezTo>
                    <a:pt x="12" y="164"/>
                    <a:pt x="13" y="159"/>
                    <a:pt x="12" y="154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3" y="153"/>
                    <a:pt x="13" y="153"/>
                    <a:pt x="14" y="153"/>
                  </a:cubicBezTo>
                  <a:cubicBezTo>
                    <a:pt x="15" y="152"/>
                    <a:pt x="16" y="152"/>
                    <a:pt x="17" y="15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9" name="îṧḻïḓê"/>
            <p:cNvSpPr/>
            <p:nvPr/>
          </p:nvSpPr>
          <p:spPr bwMode="auto">
            <a:xfrm>
              <a:off x="5420404" y="3401730"/>
              <a:ext cx="1063678" cy="335364"/>
            </a:xfrm>
            <a:custGeom>
              <a:avLst/>
              <a:gdLst>
                <a:gd name="T0" fmla="*/ 1 w 151"/>
                <a:gd name="T1" fmla="*/ 42 h 48"/>
                <a:gd name="T2" fmla="*/ 10 w 151"/>
                <a:gd name="T3" fmla="*/ 46 h 48"/>
                <a:gd name="T4" fmla="*/ 38 w 151"/>
                <a:gd name="T5" fmla="*/ 46 h 48"/>
                <a:gd name="T6" fmla="*/ 76 w 151"/>
                <a:gd name="T7" fmla="*/ 48 h 48"/>
                <a:gd name="T8" fmla="*/ 113 w 151"/>
                <a:gd name="T9" fmla="*/ 46 h 48"/>
                <a:gd name="T10" fmla="*/ 149 w 151"/>
                <a:gd name="T11" fmla="*/ 43 h 48"/>
                <a:gd name="T12" fmla="*/ 151 w 151"/>
                <a:gd name="T13" fmla="*/ 33 h 48"/>
                <a:gd name="T14" fmla="*/ 150 w 151"/>
                <a:gd name="T15" fmla="*/ 13 h 48"/>
                <a:gd name="T16" fmla="*/ 148 w 151"/>
                <a:gd name="T17" fmla="*/ 4 h 48"/>
                <a:gd name="T18" fmla="*/ 117 w 151"/>
                <a:gd name="T19" fmla="*/ 1 h 48"/>
                <a:gd name="T20" fmla="*/ 78 w 151"/>
                <a:gd name="T21" fmla="*/ 2 h 48"/>
                <a:gd name="T22" fmla="*/ 21 w 151"/>
                <a:gd name="T23" fmla="*/ 2 h 48"/>
                <a:gd name="T24" fmla="*/ 3 w 151"/>
                <a:gd name="T25" fmla="*/ 4 h 48"/>
                <a:gd name="T26" fmla="*/ 1 w 151"/>
                <a:gd name="T27" fmla="*/ 7 h 48"/>
                <a:gd name="T28" fmla="*/ 0 w 151"/>
                <a:gd name="T29" fmla="*/ 28 h 48"/>
                <a:gd name="T30" fmla="*/ 1 w 151"/>
                <a:gd name="T31" fmla="*/ 42 h 48"/>
                <a:gd name="T32" fmla="*/ 102 w 151"/>
                <a:gd name="T33" fmla="*/ 37 h 48"/>
                <a:gd name="T34" fmla="*/ 101 w 151"/>
                <a:gd name="T35" fmla="*/ 25 h 48"/>
                <a:gd name="T36" fmla="*/ 110 w 151"/>
                <a:gd name="T37" fmla="*/ 8 h 48"/>
                <a:gd name="T38" fmla="*/ 111 w 151"/>
                <a:gd name="T39" fmla="*/ 37 h 48"/>
                <a:gd name="T40" fmla="*/ 142 w 151"/>
                <a:gd name="T41" fmla="*/ 9 h 48"/>
                <a:gd name="T42" fmla="*/ 142 w 151"/>
                <a:gd name="T43" fmla="*/ 15 h 48"/>
                <a:gd name="T44" fmla="*/ 144 w 151"/>
                <a:gd name="T45" fmla="*/ 32 h 48"/>
                <a:gd name="T46" fmla="*/ 130 w 151"/>
                <a:gd name="T47" fmla="*/ 38 h 48"/>
                <a:gd name="T48" fmla="*/ 129 w 151"/>
                <a:gd name="T49" fmla="*/ 36 h 48"/>
                <a:gd name="T50" fmla="*/ 129 w 151"/>
                <a:gd name="T51" fmla="*/ 9 h 48"/>
                <a:gd name="T52" fmla="*/ 125 w 151"/>
                <a:gd name="T53" fmla="*/ 9 h 48"/>
                <a:gd name="T54" fmla="*/ 124 w 151"/>
                <a:gd name="T55" fmla="*/ 27 h 48"/>
                <a:gd name="T56" fmla="*/ 124 w 151"/>
                <a:gd name="T57" fmla="*/ 38 h 48"/>
                <a:gd name="T58" fmla="*/ 116 w 151"/>
                <a:gd name="T59" fmla="*/ 23 h 48"/>
                <a:gd name="T60" fmla="*/ 125 w 151"/>
                <a:gd name="T61" fmla="*/ 9 h 48"/>
                <a:gd name="T62" fmla="*/ 96 w 151"/>
                <a:gd name="T63" fmla="*/ 8 h 48"/>
                <a:gd name="T64" fmla="*/ 96 w 151"/>
                <a:gd name="T65" fmla="*/ 38 h 48"/>
                <a:gd name="T66" fmla="*/ 81 w 151"/>
                <a:gd name="T67" fmla="*/ 39 h 48"/>
                <a:gd name="T68" fmla="*/ 81 w 151"/>
                <a:gd name="T69" fmla="*/ 26 h 48"/>
                <a:gd name="T70" fmla="*/ 82 w 151"/>
                <a:gd name="T71" fmla="*/ 9 h 48"/>
                <a:gd name="T72" fmla="*/ 96 w 151"/>
                <a:gd name="T73" fmla="*/ 8 h 48"/>
                <a:gd name="T74" fmla="*/ 72 w 151"/>
                <a:gd name="T75" fmla="*/ 10 h 48"/>
                <a:gd name="T76" fmla="*/ 77 w 151"/>
                <a:gd name="T77" fmla="*/ 14 h 48"/>
                <a:gd name="T78" fmla="*/ 76 w 151"/>
                <a:gd name="T79" fmla="*/ 36 h 48"/>
                <a:gd name="T80" fmla="*/ 75 w 151"/>
                <a:gd name="T81" fmla="*/ 39 h 48"/>
                <a:gd name="T82" fmla="*/ 63 w 151"/>
                <a:gd name="T83" fmla="*/ 32 h 48"/>
                <a:gd name="T84" fmla="*/ 61 w 151"/>
                <a:gd name="T85" fmla="*/ 9 h 48"/>
                <a:gd name="T86" fmla="*/ 57 w 151"/>
                <a:gd name="T87" fmla="*/ 9 h 48"/>
                <a:gd name="T88" fmla="*/ 57 w 151"/>
                <a:gd name="T89" fmla="*/ 22 h 48"/>
                <a:gd name="T90" fmla="*/ 58 w 151"/>
                <a:gd name="T91" fmla="*/ 37 h 48"/>
                <a:gd name="T92" fmla="*/ 40 w 151"/>
                <a:gd name="T93" fmla="*/ 37 h 48"/>
                <a:gd name="T94" fmla="*/ 41 w 151"/>
                <a:gd name="T95" fmla="*/ 31 h 48"/>
                <a:gd name="T96" fmla="*/ 41 w 151"/>
                <a:gd name="T97" fmla="*/ 8 h 48"/>
                <a:gd name="T98" fmla="*/ 37 w 151"/>
                <a:gd name="T99" fmla="*/ 8 h 48"/>
                <a:gd name="T100" fmla="*/ 37 w 151"/>
                <a:gd name="T101" fmla="*/ 21 h 48"/>
                <a:gd name="T102" fmla="*/ 37 w 151"/>
                <a:gd name="T103" fmla="*/ 37 h 48"/>
                <a:gd name="T104" fmla="*/ 25 w 151"/>
                <a:gd name="T105" fmla="*/ 38 h 48"/>
                <a:gd name="T106" fmla="*/ 24 w 151"/>
                <a:gd name="T107" fmla="*/ 27 h 48"/>
                <a:gd name="T108" fmla="*/ 34 w 151"/>
                <a:gd name="T109" fmla="*/ 8 h 48"/>
                <a:gd name="T110" fmla="*/ 15 w 151"/>
                <a:gd name="T111" fmla="*/ 9 h 48"/>
                <a:gd name="T112" fmla="*/ 18 w 151"/>
                <a:gd name="T113" fmla="*/ 9 h 48"/>
                <a:gd name="T114" fmla="*/ 20 w 151"/>
                <a:gd name="T115" fmla="*/ 37 h 48"/>
                <a:gd name="T116" fmla="*/ 11 w 151"/>
                <a:gd name="T117" fmla="*/ 38 h 48"/>
                <a:gd name="T118" fmla="*/ 7 w 151"/>
                <a:gd name="T119" fmla="*/ 37 h 48"/>
                <a:gd name="T120" fmla="*/ 7 w 151"/>
                <a:gd name="T121" fmla="*/ 18 h 48"/>
                <a:gd name="T122" fmla="*/ 6 w 151"/>
                <a:gd name="T123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48"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2" y="44"/>
                    <a:pt x="2" y="44"/>
                  </a:cubicBezTo>
                  <a:cubicBezTo>
                    <a:pt x="5" y="46"/>
                    <a:pt x="7" y="46"/>
                    <a:pt x="10" y="46"/>
                  </a:cubicBezTo>
                  <a:cubicBezTo>
                    <a:pt x="13" y="46"/>
                    <a:pt x="16" y="45"/>
                    <a:pt x="19" y="46"/>
                  </a:cubicBezTo>
                  <a:cubicBezTo>
                    <a:pt x="25" y="46"/>
                    <a:pt x="32" y="46"/>
                    <a:pt x="38" y="46"/>
                  </a:cubicBezTo>
                  <a:cubicBezTo>
                    <a:pt x="44" y="46"/>
                    <a:pt x="51" y="46"/>
                    <a:pt x="57" y="46"/>
                  </a:cubicBezTo>
                  <a:cubicBezTo>
                    <a:pt x="63" y="46"/>
                    <a:pt x="70" y="47"/>
                    <a:pt x="76" y="48"/>
                  </a:cubicBezTo>
                  <a:cubicBezTo>
                    <a:pt x="82" y="48"/>
                    <a:pt x="88" y="48"/>
                    <a:pt x="94" y="47"/>
                  </a:cubicBezTo>
                  <a:cubicBezTo>
                    <a:pt x="100" y="46"/>
                    <a:pt x="106" y="46"/>
                    <a:pt x="113" y="46"/>
                  </a:cubicBezTo>
                  <a:cubicBezTo>
                    <a:pt x="119" y="47"/>
                    <a:pt x="125" y="47"/>
                    <a:pt x="131" y="46"/>
                  </a:cubicBezTo>
                  <a:cubicBezTo>
                    <a:pt x="137" y="46"/>
                    <a:pt x="143" y="46"/>
                    <a:pt x="149" y="43"/>
                  </a:cubicBezTo>
                  <a:cubicBezTo>
                    <a:pt x="150" y="42"/>
                    <a:pt x="150" y="41"/>
                    <a:pt x="150" y="39"/>
                  </a:cubicBezTo>
                  <a:cubicBezTo>
                    <a:pt x="150" y="37"/>
                    <a:pt x="151" y="35"/>
                    <a:pt x="151" y="33"/>
                  </a:cubicBezTo>
                  <a:cubicBezTo>
                    <a:pt x="151" y="30"/>
                    <a:pt x="151" y="27"/>
                    <a:pt x="151" y="23"/>
                  </a:cubicBezTo>
                  <a:cubicBezTo>
                    <a:pt x="150" y="20"/>
                    <a:pt x="150" y="17"/>
                    <a:pt x="150" y="13"/>
                  </a:cubicBezTo>
                  <a:cubicBezTo>
                    <a:pt x="150" y="11"/>
                    <a:pt x="151" y="9"/>
                    <a:pt x="150" y="6"/>
                  </a:cubicBezTo>
                  <a:cubicBezTo>
                    <a:pt x="150" y="5"/>
                    <a:pt x="149" y="4"/>
                    <a:pt x="148" y="4"/>
                  </a:cubicBezTo>
                  <a:cubicBezTo>
                    <a:pt x="145" y="0"/>
                    <a:pt x="140" y="1"/>
                    <a:pt x="136" y="1"/>
                  </a:cubicBezTo>
                  <a:cubicBezTo>
                    <a:pt x="130" y="1"/>
                    <a:pt x="123" y="1"/>
                    <a:pt x="117" y="1"/>
                  </a:cubicBezTo>
                  <a:cubicBezTo>
                    <a:pt x="110" y="0"/>
                    <a:pt x="104" y="0"/>
                    <a:pt x="97" y="0"/>
                  </a:cubicBezTo>
                  <a:cubicBezTo>
                    <a:pt x="91" y="0"/>
                    <a:pt x="85" y="1"/>
                    <a:pt x="78" y="2"/>
                  </a:cubicBezTo>
                  <a:cubicBezTo>
                    <a:pt x="66" y="3"/>
                    <a:pt x="53" y="2"/>
                    <a:pt x="41" y="1"/>
                  </a:cubicBezTo>
                  <a:cubicBezTo>
                    <a:pt x="34" y="1"/>
                    <a:pt x="28" y="2"/>
                    <a:pt x="21" y="2"/>
                  </a:cubicBezTo>
                  <a:cubicBezTo>
                    <a:pt x="18" y="2"/>
                    <a:pt x="14" y="3"/>
                    <a:pt x="11" y="3"/>
                  </a:cubicBezTo>
                  <a:cubicBezTo>
                    <a:pt x="8" y="4"/>
                    <a:pt x="6" y="3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10"/>
                    <a:pt x="1" y="13"/>
                    <a:pt x="0" y="17"/>
                  </a:cubicBezTo>
                  <a:cubicBezTo>
                    <a:pt x="0" y="20"/>
                    <a:pt x="0" y="24"/>
                    <a:pt x="0" y="28"/>
                  </a:cubicBezTo>
                  <a:cubicBezTo>
                    <a:pt x="0" y="31"/>
                    <a:pt x="0" y="35"/>
                    <a:pt x="0" y="38"/>
                  </a:cubicBezTo>
                  <a:cubicBezTo>
                    <a:pt x="0" y="40"/>
                    <a:pt x="0" y="41"/>
                    <a:pt x="1" y="42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1" y="36"/>
                    <a:pt x="101" y="34"/>
                    <a:pt x="101" y="33"/>
                  </a:cubicBezTo>
                  <a:cubicBezTo>
                    <a:pt x="101" y="30"/>
                    <a:pt x="101" y="27"/>
                    <a:pt x="101" y="25"/>
                  </a:cubicBezTo>
                  <a:cubicBezTo>
                    <a:pt x="101" y="19"/>
                    <a:pt x="100" y="14"/>
                    <a:pt x="99" y="8"/>
                  </a:cubicBezTo>
                  <a:cubicBezTo>
                    <a:pt x="103" y="8"/>
                    <a:pt x="106" y="8"/>
                    <a:pt x="110" y="8"/>
                  </a:cubicBezTo>
                  <a:cubicBezTo>
                    <a:pt x="111" y="14"/>
                    <a:pt x="111" y="19"/>
                    <a:pt x="111" y="25"/>
                  </a:cubicBezTo>
                  <a:cubicBezTo>
                    <a:pt x="111" y="29"/>
                    <a:pt x="110" y="33"/>
                    <a:pt x="111" y="37"/>
                  </a:cubicBezTo>
                  <a:cubicBezTo>
                    <a:pt x="108" y="37"/>
                    <a:pt x="105" y="37"/>
                    <a:pt x="102" y="37"/>
                  </a:cubicBezTo>
                  <a:close/>
                  <a:moveTo>
                    <a:pt x="142" y="9"/>
                  </a:moveTo>
                  <a:cubicBezTo>
                    <a:pt x="142" y="9"/>
                    <a:pt x="142" y="9"/>
                    <a:pt x="142" y="9"/>
                  </a:cubicBezTo>
                  <a:cubicBezTo>
                    <a:pt x="143" y="11"/>
                    <a:pt x="142" y="13"/>
                    <a:pt x="142" y="15"/>
                  </a:cubicBezTo>
                  <a:cubicBezTo>
                    <a:pt x="142" y="18"/>
                    <a:pt x="142" y="20"/>
                    <a:pt x="143" y="23"/>
                  </a:cubicBezTo>
                  <a:cubicBezTo>
                    <a:pt x="143" y="26"/>
                    <a:pt x="143" y="29"/>
                    <a:pt x="144" y="32"/>
                  </a:cubicBezTo>
                  <a:cubicBezTo>
                    <a:pt x="144" y="33"/>
                    <a:pt x="144" y="36"/>
                    <a:pt x="145" y="38"/>
                  </a:cubicBezTo>
                  <a:cubicBezTo>
                    <a:pt x="140" y="37"/>
                    <a:pt x="135" y="38"/>
                    <a:pt x="130" y="38"/>
                  </a:cubicBezTo>
                  <a:cubicBezTo>
                    <a:pt x="130" y="38"/>
                    <a:pt x="129" y="38"/>
                    <a:pt x="129" y="38"/>
                  </a:cubicBezTo>
                  <a:cubicBezTo>
                    <a:pt x="129" y="37"/>
                    <a:pt x="129" y="37"/>
                    <a:pt x="129" y="36"/>
                  </a:cubicBezTo>
                  <a:cubicBezTo>
                    <a:pt x="129" y="33"/>
                    <a:pt x="129" y="30"/>
                    <a:pt x="129" y="27"/>
                  </a:cubicBezTo>
                  <a:cubicBezTo>
                    <a:pt x="129" y="21"/>
                    <a:pt x="129" y="15"/>
                    <a:pt x="129" y="9"/>
                  </a:cubicBezTo>
                  <a:cubicBezTo>
                    <a:pt x="134" y="9"/>
                    <a:pt x="138" y="9"/>
                    <a:pt x="142" y="9"/>
                  </a:cubicBezTo>
                  <a:close/>
                  <a:moveTo>
                    <a:pt x="125" y="9"/>
                  </a:moveTo>
                  <a:cubicBezTo>
                    <a:pt x="125" y="9"/>
                    <a:pt x="125" y="9"/>
                    <a:pt x="125" y="9"/>
                  </a:cubicBezTo>
                  <a:cubicBezTo>
                    <a:pt x="125" y="15"/>
                    <a:pt x="124" y="21"/>
                    <a:pt x="124" y="27"/>
                  </a:cubicBezTo>
                  <a:cubicBezTo>
                    <a:pt x="124" y="30"/>
                    <a:pt x="124" y="33"/>
                    <a:pt x="124" y="36"/>
                  </a:cubicBezTo>
                  <a:cubicBezTo>
                    <a:pt x="124" y="37"/>
                    <a:pt x="124" y="37"/>
                    <a:pt x="124" y="38"/>
                  </a:cubicBezTo>
                  <a:cubicBezTo>
                    <a:pt x="121" y="38"/>
                    <a:pt x="118" y="38"/>
                    <a:pt x="116" y="37"/>
                  </a:cubicBezTo>
                  <a:cubicBezTo>
                    <a:pt x="116" y="32"/>
                    <a:pt x="116" y="28"/>
                    <a:pt x="116" y="23"/>
                  </a:cubicBezTo>
                  <a:cubicBezTo>
                    <a:pt x="116" y="18"/>
                    <a:pt x="116" y="13"/>
                    <a:pt x="113" y="9"/>
                  </a:cubicBezTo>
                  <a:cubicBezTo>
                    <a:pt x="117" y="9"/>
                    <a:pt x="121" y="9"/>
                    <a:pt x="125" y="9"/>
                  </a:cubicBezTo>
                  <a:close/>
                  <a:moveTo>
                    <a:pt x="96" y="8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6" y="14"/>
                    <a:pt x="96" y="20"/>
                    <a:pt x="96" y="26"/>
                  </a:cubicBezTo>
                  <a:cubicBezTo>
                    <a:pt x="96" y="29"/>
                    <a:pt x="95" y="34"/>
                    <a:pt x="96" y="38"/>
                  </a:cubicBezTo>
                  <a:cubicBezTo>
                    <a:pt x="95" y="38"/>
                    <a:pt x="95" y="38"/>
                    <a:pt x="94" y="38"/>
                  </a:cubicBezTo>
                  <a:cubicBezTo>
                    <a:pt x="89" y="39"/>
                    <a:pt x="85" y="39"/>
                    <a:pt x="81" y="39"/>
                  </a:cubicBezTo>
                  <a:cubicBezTo>
                    <a:pt x="81" y="38"/>
                    <a:pt x="81" y="38"/>
                    <a:pt x="81" y="37"/>
                  </a:cubicBezTo>
                  <a:cubicBezTo>
                    <a:pt x="81" y="33"/>
                    <a:pt x="81" y="30"/>
                    <a:pt x="81" y="26"/>
                  </a:cubicBezTo>
                  <a:cubicBezTo>
                    <a:pt x="81" y="23"/>
                    <a:pt x="81" y="19"/>
                    <a:pt x="82" y="15"/>
                  </a:cubicBezTo>
                  <a:cubicBezTo>
                    <a:pt x="82" y="13"/>
                    <a:pt x="82" y="11"/>
                    <a:pt x="82" y="9"/>
                  </a:cubicBezTo>
                  <a:cubicBezTo>
                    <a:pt x="85" y="9"/>
                    <a:pt x="88" y="8"/>
                    <a:pt x="91" y="8"/>
                  </a:cubicBezTo>
                  <a:cubicBezTo>
                    <a:pt x="92" y="8"/>
                    <a:pt x="94" y="8"/>
                    <a:pt x="96" y="8"/>
                  </a:cubicBezTo>
                  <a:close/>
                  <a:moveTo>
                    <a:pt x="72" y="10"/>
                  </a:moveTo>
                  <a:cubicBezTo>
                    <a:pt x="72" y="10"/>
                    <a:pt x="72" y="10"/>
                    <a:pt x="72" y="10"/>
                  </a:cubicBezTo>
                  <a:cubicBezTo>
                    <a:pt x="74" y="10"/>
                    <a:pt x="75" y="10"/>
                    <a:pt x="77" y="10"/>
                  </a:cubicBezTo>
                  <a:cubicBezTo>
                    <a:pt x="77" y="11"/>
                    <a:pt x="77" y="13"/>
                    <a:pt x="77" y="14"/>
                  </a:cubicBezTo>
                  <a:cubicBezTo>
                    <a:pt x="77" y="18"/>
                    <a:pt x="77" y="21"/>
                    <a:pt x="76" y="25"/>
                  </a:cubicBezTo>
                  <a:cubicBezTo>
                    <a:pt x="76" y="28"/>
                    <a:pt x="76" y="32"/>
                    <a:pt x="76" y="36"/>
                  </a:cubicBezTo>
                  <a:cubicBezTo>
                    <a:pt x="76" y="37"/>
                    <a:pt x="76" y="38"/>
                    <a:pt x="76" y="39"/>
                  </a:cubicBezTo>
                  <a:cubicBezTo>
                    <a:pt x="76" y="39"/>
                    <a:pt x="75" y="39"/>
                    <a:pt x="75" y="39"/>
                  </a:cubicBezTo>
                  <a:cubicBezTo>
                    <a:pt x="71" y="38"/>
                    <a:pt x="67" y="38"/>
                    <a:pt x="63" y="38"/>
                  </a:cubicBezTo>
                  <a:cubicBezTo>
                    <a:pt x="63" y="36"/>
                    <a:pt x="63" y="34"/>
                    <a:pt x="63" y="32"/>
                  </a:cubicBezTo>
                  <a:cubicBezTo>
                    <a:pt x="62" y="28"/>
                    <a:pt x="62" y="24"/>
                    <a:pt x="62" y="20"/>
                  </a:cubicBezTo>
                  <a:cubicBezTo>
                    <a:pt x="62" y="16"/>
                    <a:pt x="62" y="13"/>
                    <a:pt x="61" y="9"/>
                  </a:cubicBezTo>
                  <a:cubicBezTo>
                    <a:pt x="65" y="10"/>
                    <a:pt x="68" y="10"/>
                    <a:pt x="72" y="10"/>
                  </a:cubicBezTo>
                  <a:close/>
                  <a:moveTo>
                    <a:pt x="57" y="9"/>
                  </a:moveTo>
                  <a:cubicBezTo>
                    <a:pt x="57" y="9"/>
                    <a:pt x="57" y="9"/>
                    <a:pt x="57" y="9"/>
                  </a:cubicBezTo>
                  <a:cubicBezTo>
                    <a:pt x="58" y="13"/>
                    <a:pt x="57" y="18"/>
                    <a:pt x="57" y="22"/>
                  </a:cubicBezTo>
                  <a:cubicBezTo>
                    <a:pt x="57" y="26"/>
                    <a:pt x="57" y="29"/>
                    <a:pt x="57" y="33"/>
                  </a:cubicBezTo>
                  <a:cubicBezTo>
                    <a:pt x="58" y="34"/>
                    <a:pt x="58" y="36"/>
                    <a:pt x="58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1" y="37"/>
                    <a:pt x="45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1" y="35"/>
                    <a:pt x="41" y="33"/>
                    <a:pt x="41" y="31"/>
                  </a:cubicBezTo>
                  <a:cubicBezTo>
                    <a:pt x="41" y="28"/>
                    <a:pt x="41" y="25"/>
                    <a:pt x="41" y="22"/>
                  </a:cubicBezTo>
                  <a:cubicBezTo>
                    <a:pt x="41" y="17"/>
                    <a:pt x="41" y="13"/>
                    <a:pt x="41" y="8"/>
                  </a:cubicBezTo>
                  <a:cubicBezTo>
                    <a:pt x="46" y="8"/>
                    <a:pt x="51" y="9"/>
                    <a:pt x="57" y="9"/>
                  </a:cubicBezTo>
                  <a:close/>
                  <a:moveTo>
                    <a:pt x="37" y="8"/>
                  </a:moveTo>
                  <a:cubicBezTo>
                    <a:pt x="37" y="8"/>
                    <a:pt x="37" y="8"/>
                    <a:pt x="37" y="8"/>
                  </a:cubicBezTo>
                  <a:cubicBezTo>
                    <a:pt x="36" y="12"/>
                    <a:pt x="37" y="16"/>
                    <a:pt x="37" y="21"/>
                  </a:cubicBezTo>
                  <a:cubicBezTo>
                    <a:pt x="36" y="24"/>
                    <a:pt x="37" y="27"/>
                    <a:pt x="37" y="30"/>
                  </a:cubicBezTo>
                  <a:cubicBezTo>
                    <a:pt x="37" y="32"/>
                    <a:pt x="36" y="35"/>
                    <a:pt x="37" y="37"/>
                  </a:cubicBezTo>
                  <a:cubicBezTo>
                    <a:pt x="38" y="37"/>
                    <a:pt x="38" y="37"/>
                    <a:pt x="38" y="38"/>
                  </a:cubicBezTo>
                  <a:cubicBezTo>
                    <a:pt x="33" y="38"/>
                    <a:pt x="29" y="38"/>
                    <a:pt x="25" y="38"/>
                  </a:cubicBezTo>
                  <a:cubicBezTo>
                    <a:pt x="24" y="37"/>
                    <a:pt x="24" y="36"/>
                    <a:pt x="24" y="35"/>
                  </a:cubicBezTo>
                  <a:cubicBezTo>
                    <a:pt x="24" y="32"/>
                    <a:pt x="24" y="30"/>
                    <a:pt x="24" y="27"/>
                  </a:cubicBezTo>
                  <a:cubicBezTo>
                    <a:pt x="23" y="21"/>
                    <a:pt x="22" y="15"/>
                    <a:pt x="22" y="9"/>
                  </a:cubicBezTo>
                  <a:cubicBezTo>
                    <a:pt x="26" y="8"/>
                    <a:pt x="30" y="8"/>
                    <a:pt x="34" y="8"/>
                  </a:cubicBezTo>
                  <a:cubicBezTo>
                    <a:pt x="35" y="8"/>
                    <a:pt x="36" y="8"/>
                    <a:pt x="37" y="8"/>
                  </a:cubicBezTo>
                  <a:close/>
                  <a:moveTo>
                    <a:pt x="15" y="9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7" y="9"/>
                    <a:pt x="18" y="9"/>
                  </a:cubicBezTo>
                  <a:cubicBezTo>
                    <a:pt x="18" y="15"/>
                    <a:pt x="19" y="21"/>
                    <a:pt x="19" y="27"/>
                  </a:cubicBezTo>
                  <a:cubicBezTo>
                    <a:pt x="19" y="30"/>
                    <a:pt x="19" y="33"/>
                    <a:pt x="20" y="37"/>
                  </a:cubicBezTo>
                  <a:cubicBezTo>
                    <a:pt x="20" y="37"/>
                    <a:pt x="20" y="37"/>
                    <a:pt x="20" y="38"/>
                  </a:cubicBezTo>
                  <a:cubicBezTo>
                    <a:pt x="17" y="38"/>
                    <a:pt x="14" y="38"/>
                    <a:pt x="11" y="38"/>
                  </a:cubicBezTo>
                  <a:cubicBezTo>
                    <a:pt x="10" y="38"/>
                    <a:pt x="9" y="39"/>
                    <a:pt x="7" y="39"/>
                  </a:cubicBezTo>
                  <a:cubicBezTo>
                    <a:pt x="8" y="38"/>
                    <a:pt x="8" y="38"/>
                    <a:pt x="7" y="37"/>
                  </a:cubicBezTo>
                  <a:cubicBezTo>
                    <a:pt x="7" y="34"/>
                    <a:pt x="8" y="31"/>
                    <a:pt x="7" y="28"/>
                  </a:cubicBezTo>
                  <a:cubicBezTo>
                    <a:pt x="7" y="25"/>
                    <a:pt x="7" y="21"/>
                    <a:pt x="7" y="18"/>
                  </a:cubicBezTo>
                  <a:cubicBezTo>
                    <a:pt x="6" y="15"/>
                    <a:pt x="6" y="12"/>
                    <a:pt x="5" y="8"/>
                  </a:cubicBezTo>
                  <a:cubicBezTo>
                    <a:pt x="5" y="8"/>
                    <a:pt x="5" y="8"/>
                    <a:pt x="6" y="9"/>
                  </a:cubicBezTo>
                  <a:cubicBezTo>
                    <a:pt x="9" y="9"/>
                    <a:pt x="12" y="9"/>
                    <a:pt x="15" y="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0" name="iṥľiḍe"/>
            <p:cNvSpPr/>
            <p:nvPr/>
          </p:nvSpPr>
          <p:spPr bwMode="auto">
            <a:xfrm>
              <a:off x="5518643" y="3120567"/>
              <a:ext cx="233739" cy="250676"/>
            </a:xfrm>
            <a:custGeom>
              <a:avLst/>
              <a:gdLst>
                <a:gd name="T0" fmla="*/ 30 w 33"/>
                <a:gd name="T1" fmla="*/ 11 h 36"/>
                <a:gd name="T2" fmla="*/ 17 w 33"/>
                <a:gd name="T3" fmla="*/ 1 h 36"/>
                <a:gd name="T4" fmla="*/ 11 w 33"/>
                <a:gd name="T5" fmla="*/ 2 h 36"/>
                <a:gd name="T6" fmla="*/ 2 w 33"/>
                <a:gd name="T7" fmla="*/ 8 h 36"/>
                <a:gd name="T8" fmla="*/ 3 w 33"/>
                <a:gd name="T9" fmla="*/ 23 h 36"/>
                <a:gd name="T10" fmla="*/ 30 w 33"/>
                <a:gd name="T1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6">
                  <a:moveTo>
                    <a:pt x="30" y="11"/>
                  </a:moveTo>
                  <a:cubicBezTo>
                    <a:pt x="29" y="5"/>
                    <a:pt x="23" y="0"/>
                    <a:pt x="17" y="1"/>
                  </a:cubicBezTo>
                  <a:cubicBezTo>
                    <a:pt x="15" y="1"/>
                    <a:pt x="12" y="1"/>
                    <a:pt x="11" y="2"/>
                  </a:cubicBezTo>
                  <a:cubicBezTo>
                    <a:pt x="7" y="3"/>
                    <a:pt x="4" y="5"/>
                    <a:pt x="2" y="8"/>
                  </a:cubicBezTo>
                  <a:cubicBezTo>
                    <a:pt x="0" y="12"/>
                    <a:pt x="0" y="18"/>
                    <a:pt x="3" y="23"/>
                  </a:cubicBezTo>
                  <a:cubicBezTo>
                    <a:pt x="11" y="36"/>
                    <a:pt x="33" y="26"/>
                    <a:pt x="30" y="1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1" name="îśḷiḍé"/>
            <p:cNvSpPr/>
            <p:nvPr/>
          </p:nvSpPr>
          <p:spPr bwMode="auto">
            <a:xfrm>
              <a:off x="6138556" y="3120567"/>
              <a:ext cx="240514" cy="210025"/>
            </a:xfrm>
            <a:custGeom>
              <a:avLst/>
              <a:gdLst>
                <a:gd name="T0" fmla="*/ 19 w 34"/>
                <a:gd name="T1" fmla="*/ 28 h 30"/>
                <a:gd name="T2" fmla="*/ 31 w 34"/>
                <a:gd name="T3" fmla="*/ 10 h 30"/>
                <a:gd name="T4" fmla="*/ 14 w 34"/>
                <a:gd name="T5" fmla="*/ 0 h 30"/>
                <a:gd name="T6" fmla="*/ 7 w 34"/>
                <a:gd name="T7" fmla="*/ 3 h 30"/>
                <a:gd name="T8" fmla="*/ 4 w 34"/>
                <a:gd name="T9" fmla="*/ 5 h 30"/>
                <a:gd name="T10" fmla="*/ 0 w 34"/>
                <a:gd name="T11" fmla="*/ 15 h 30"/>
                <a:gd name="T12" fmla="*/ 19 w 34"/>
                <a:gd name="T1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">
                  <a:moveTo>
                    <a:pt x="19" y="28"/>
                  </a:moveTo>
                  <a:cubicBezTo>
                    <a:pt x="27" y="27"/>
                    <a:pt x="34" y="18"/>
                    <a:pt x="31" y="10"/>
                  </a:cubicBezTo>
                  <a:cubicBezTo>
                    <a:pt x="29" y="3"/>
                    <a:pt x="20" y="0"/>
                    <a:pt x="14" y="0"/>
                  </a:cubicBezTo>
                  <a:cubicBezTo>
                    <a:pt x="11" y="0"/>
                    <a:pt x="8" y="1"/>
                    <a:pt x="7" y="3"/>
                  </a:cubicBezTo>
                  <a:cubicBezTo>
                    <a:pt x="6" y="3"/>
                    <a:pt x="5" y="4"/>
                    <a:pt x="4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4"/>
                    <a:pt x="11" y="30"/>
                    <a:pt x="19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2" name="ïṥliḑè"/>
            <p:cNvSpPr/>
            <p:nvPr/>
          </p:nvSpPr>
          <p:spPr bwMode="auto">
            <a:xfrm>
              <a:off x="5335717" y="4041970"/>
              <a:ext cx="1294029" cy="596201"/>
            </a:xfrm>
            <a:custGeom>
              <a:avLst/>
              <a:gdLst>
                <a:gd name="T0" fmla="*/ 177 w 184"/>
                <a:gd name="T1" fmla="*/ 2 h 85"/>
                <a:gd name="T2" fmla="*/ 152 w 184"/>
                <a:gd name="T3" fmla="*/ 1 h 85"/>
                <a:gd name="T4" fmla="*/ 126 w 184"/>
                <a:gd name="T5" fmla="*/ 1 h 85"/>
                <a:gd name="T6" fmla="*/ 75 w 184"/>
                <a:gd name="T7" fmla="*/ 1 h 85"/>
                <a:gd name="T8" fmla="*/ 50 w 184"/>
                <a:gd name="T9" fmla="*/ 1 h 85"/>
                <a:gd name="T10" fmla="*/ 25 w 184"/>
                <a:gd name="T11" fmla="*/ 1 h 85"/>
                <a:gd name="T12" fmla="*/ 6 w 184"/>
                <a:gd name="T13" fmla="*/ 4 h 85"/>
                <a:gd name="T14" fmla="*/ 2 w 184"/>
                <a:gd name="T15" fmla="*/ 17 h 85"/>
                <a:gd name="T16" fmla="*/ 2 w 184"/>
                <a:gd name="T17" fmla="*/ 17 h 85"/>
                <a:gd name="T18" fmla="*/ 1 w 184"/>
                <a:gd name="T19" fmla="*/ 27 h 85"/>
                <a:gd name="T20" fmla="*/ 2 w 184"/>
                <a:gd name="T21" fmla="*/ 45 h 85"/>
                <a:gd name="T22" fmla="*/ 2 w 184"/>
                <a:gd name="T23" fmla="*/ 63 h 85"/>
                <a:gd name="T24" fmla="*/ 2 w 184"/>
                <a:gd name="T25" fmla="*/ 76 h 85"/>
                <a:gd name="T26" fmla="*/ 2 w 184"/>
                <a:gd name="T27" fmla="*/ 80 h 85"/>
                <a:gd name="T28" fmla="*/ 21 w 184"/>
                <a:gd name="T29" fmla="*/ 84 h 85"/>
                <a:gd name="T30" fmla="*/ 42 w 184"/>
                <a:gd name="T31" fmla="*/ 84 h 85"/>
                <a:gd name="T32" fmla="*/ 88 w 184"/>
                <a:gd name="T33" fmla="*/ 84 h 85"/>
                <a:gd name="T34" fmla="*/ 111 w 184"/>
                <a:gd name="T35" fmla="*/ 83 h 85"/>
                <a:gd name="T36" fmla="*/ 135 w 184"/>
                <a:gd name="T37" fmla="*/ 83 h 85"/>
                <a:gd name="T38" fmla="*/ 159 w 184"/>
                <a:gd name="T39" fmla="*/ 82 h 85"/>
                <a:gd name="T40" fmla="*/ 179 w 184"/>
                <a:gd name="T41" fmla="*/ 77 h 85"/>
                <a:gd name="T42" fmla="*/ 180 w 184"/>
                <a:gd name="T43" fmla="*/ 75 h 85"/>
                <a:gd name="T44" fmla="*/ 182 w 184"/>
                <a:gd name="T45" fmla="*/ 69 h 85"/>
                <a:gd name="T46" fmla="*/ 182 w 184"/>
                <a:gd name="T47" fmla="*/ 59 h 85"/>
                <a:gd name="T48" fmla="*/ 182 w 184"/>
                <a:gd name="T49" fmla="*/ 49 h 85"/>
                <a:gd name="T50" fmla="*/ 182 w 184"/>
                <a:gd name="T51" fmla="*/ 39 h 85"/>
                <a:gd name="T52" fmla="*/ 183 w 184"/>
                <a:gd name="T53" fmla="*/ 20 h 85"/>
                <a:gd name="T54" fmla="*/ 180 w 184"/>
                <a:gd name="T55" fmla="*/ 2 h 85"/>
                <a:gd name="T56" fmla="*/ 177 w 184"/>
                <a:gd name="T57" fmla="*/ 2 h 85"/>
                <a:gd name="T58" fmla="*/ 155 w 184"/>
                <a:gd name="T59" fmla="*/ 73 h 85"/>
                <a:gd name="T60" fmla="*/ 155 w 184"/>
                <a:gd name="T61" fmla="*/ 73 h 85"/>
                <a:gd name="T62" fmla="*/ 132 w 184"/>
                <a:gd name="T63" fmla="*/ 75 h 85"/>
                <a:gd name="T64" fmla="*/ 110 w 184"/>
                <a:gd name="T65" fmla="*/ 75 h 85"/>
                <a:gd name="T66" fmla="*/ 88 w 184"/>
                <a:gd name="T67" fmla="*/ 76 h 85"/>
                <a:gd name="T68" fmla="*/ 44 w 184"/>
                <a:gd name="T69" fmla="*/ 76 h 85"/>
                <a:gd name="T70" fmla="*/ 24 w 184"/>
                <a:gd name="T71" fmla="*/ 75 h 85"/>
                <a:gd name="T72" fmla="*/ 14 w 184"/>
                <a:gd name="T73" fmla="*/ 76 h 85"/>
                <a:gd name="T74" fmla="*/ 9 w 184"/>
                <a:gd name="T75" fmla="*/ 76 h 85"/>
                <a:gd name="T76" fmla="*/ 10 w 184"/>
                <a:gd name="T77" fmla="*/ 63 h 85"/>
                <a:gd name="T78" fmla="*/ 8 w 184"/>
                <a:gd name="T79" fmla="*/ 45 h 85"/>
                <a:gd name="T80" fmla="*/ 7 w 184"/>
                <a:gd name="T81" fmla="*/ 27 h 85"/>
                <a:gd name="T82" fmla="*/ 6 w 184"/>
                <a:gd name="T83" fmla="*/ 20 h 85"/>
                <a:gd name="T84" fmla="*/ 7 w 184"/>
                <a:gd name="T85" fmla="*/ 19 h 85"/>
                <a:gd name="T86" fmla="*/ 9 w 184"/>
                <a:gd name="T87" fmla="*/ 12 h 85"/>
                <a:gd name="T88" fmla="*/ 9 w 184"/>
                <a:gd name="T89" fmla="*/ 11 h 85"/>
                <a:gd name="T90" fmla="*/ 10 w 184"/>
                <a:gd name="T91" fmla="*/ 11 h 85"/>
                <a:gd name="T92" fmla="*/ 10 w 184"/>
                <a:gd name="T93" fmla="*/ 11 h 85"/>
                <a:gd name="T94" fmla="*/ 14 w 184"/>
                <a:gd name="T95" fmla="*/ 10 h 85"/>
                <a:gd name="T96" fmla="*/ 36 w 184"/>
                <a:gd name="T97" fmla="*/ 10 h 85"/>
                <a:gd name="T98" fmla="*/ 83 w 184"/>
                <a:gd name="T99" fmla="*/ 10 h 85"/>
                <a:gd name="T100" fmla="*/ 130 w 184"/>
                <a:gd name="T101" fmla="*/ 9 h 85"/>
                <a:gd name="T102" fmla="*/ 174 w 184"/>
                <a:gd name="T103" fmla="*/ 7 h 85"/>
                <a:gd name="T104" fmla="*/ 175 w 184"/>
                <a:gd name="T105" fmla="*/ 7 h 85"/>
                <a:gd name="T106" fmla="*/ 176 w 184"/>
                <a:gd name="T107" fmla="*/ 13 h 85"/>
                <a:gd name="T108" fmla="*/ 175 w 184"/>
                <a:gd name="T109" fmla="*/ 22 h 85"/>
                <a:gd name="T110" fmla="*/ 174 w 184"/>
                <a:gd name="T111" fmla="*/ 41 h 85"/>
                <a:gd name="T112" fmla="*/ 174 w 184"/>
                <a:gd name="T113" fmla="*/ 62 h 85"/>
                <a:gd name="T114" fmla="*/ 173 w 184"/>
                <a:gd name="T115" fmla="*/ 72 h 85"/>
                <a:gd name="T116" fmla="*/ 155 w 184"/>
                <a:gd name="T117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4" h="85">
                  <a:moveTo>
                    <a:pt x="177" y="2"/>
                  </a:moveTo>
                  <a:cubicBezTo>
                    <a:pt x="169" y="2"/>
                    <a:pt x="160" y="1"/>
                    <a:pt x="152" y="1"/>
                  </a:cubicBezTo>
                  <a:cubicBezTo>
                    <a:pt x="143" y="0"/>
                    <a:pt x="135" y="0"/>
                    <a:pt x="126" y="1"/>
                  </a:cubicBezTo>
                  <a:cubicBezTo>
                    <a:pt x="109" y="1"/>
                    <a:pt x="92" y="1"/>
                    <a:pt x="75" y="1"/>
                  </a:cubicBezTo>
                  <a:cubicBezTo>
                    <a:pt x="67" y="2"/>
                    <a:pt x="58" y="1"/>
                    <a:pt x="50" y="1"/>
                  </a:cubicBezTo>
                  <a:cubicBezTo>
                    <a:pt x="42" y="1"/>
                    <a:pt x="33" y="1"/>
                    <a:pt x="25" y="1"/>
                  </a:cubicBezTo>
                  <a:cubicBezTo>
                    <a:pt x="19" y="1"/>
                    <a:pt x="12" y="1"/>
                    <a:pt x="6" y="4"/>
                  </a:cubicBezTo>
                  <a:cubicBezTo>
                    <a:pt x="2" y="7"/>
                    <a:pt x="0" y="12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20"/>
                    <a:pt x="1" y="23"/>
                    <a:pt x="1" y="27"/>
                  </a:cubicBezTo>
                  <a:cubicBezTo>
                    <a:pt x="1" y="33"/>
                    <a:pt x="1" y="39"/>
                    <a:pt x="2" y="45"/>
                  </a:cubicBezTo>
                  <a:cubicBezTo>
                    <a:pt x="2" y="51"/>
                    <a:pt x="2" y="57"/>
                    <a:pt x="2" y="63"/>
                  </a:cubicBezTo>
                  <a:cubicBezTo>
                    <a:pt x="2" y="67"/>
                    <a:pt x="1" y="72"/>
                    <a:pt x="2" y="76"/>
                  </a:cubicBezTo>
                  <a:cubicBezTo>
                    <a:pt x="1" y="77"/>
                    <a:pt x="1" y="79"/>
                    <a:pt x="2" y="80"/>
                  </a:cubicBezTo>
                  <a:cubicBezTo>
                    <a:pt x="7" y="84"/>
                    <a:pt x="15" y="84"/>
                    <a:pt x="21" y="84"/>
                  </a:cubicBezTo>
                  <a:cubicBezTo>
                    <a:pt x="28" y="83"/>
                    <a:pt x="34" y="84"/>
                    <a:pt x="42" y="84"/>
                  </a:cubicBezTo>
                  <a:cubicBezTo>
                    <a:pt x="57" y="85"/>
                    <a:pt x="72" y="85"/>
                    <a:pt x="88" y="84"/>
                  </a:cubicBezTo>
                  <a:cubicBezTo>
                    <a:pt x="96" y="84"/>
                    <a:pt x="103" y="84"/>
                    <a:pt x="111" y="83"/>
                  </a:cubicBezTo>
                  <a:cubicBezTo>
                    <a:pt x="119" y="83"/>
                    <a:pt x="127" y="83"/>
                    <a:pt x="135" y="83"/>
                  </a:cubicBezTo>
                  <a:cubicBezTo>
                    <a:pt x="143" y="84"/>
                    <a:pt x="151" y="83"/>
                    <a:pt x="159" y="82"/>
                  </a:cubicBezTo>
                  <a:cubicBezTo>
                    <a:pt x="165" y="81"/>
                    <a:pt x="174" y="82"/>
                    <a:pt x="179" y="77"/>
                  </a:cubicBezTo>
                  <a:cubicBezTo>
                    <a:pt x="180" y="77"/>
                    <a:pt x="180" y="76"/>
                    <a:pt x="180" y="75"/>
                  </a:cubicBezTo>
                  <a:cubicBezTo>
                    <a:pt x="182" y="74"/>
                    <a:pt x="182" y="71"/>
                    <a:pt x="182" y="69"/>
                  </a:cubicBezTo>
                  <a:cubicBezTo>
                    <a:pt x="182" y="66"/>
                    <a:pt x="182" y="62"/>
                    <a:pt x="182" y="59"/>
                  </a:cubicBezTo>
                  <a:cubicBezTo>
                    <a:pt x="183" y="55"/>
                    <a:pt x="182" y="52"/>
                    <a:pt x="182" y="49"/>
                  </a:cubicBezTo>
                  <a:cubicBezTo>
                    <a:pt x="182" y="45"/>
                    <a:pt x="182" y="42"/>
                    <a:pt x="182" y="39"/>
                  </a:cubicBezTo>
                  <a:cubicBezTo>
                    <a:pt x="183" y="32"/>
                    <a:pt x="183" y="26"/>
                    <a:pt x="183" y="20"/>
                  </a:cubicBezTo>
                  <a:cubicBezTo>
                    <a:pt x="184" y="14"/>
                    <a:pt x="184" y="7"/>
                    <a:pt x="180" y="2"/>
                  </a:cubicBezTo>
                  <a:cubicBezTo>
                    <a:pt x="180" y="2"/>
                    <a:pt x="178" y="1"/>
                    <a:pt x="177" y="2"/>
                  </a:cubicBezTo>
                  <a:close/>
                  <a:moveTo>
                    <a:pt x="155" y="73"/>
                  </a:moveTo>
                  <a:cubicBezTo>
                    <a:pt x="155" y="73"/>
                    <a:pt x="155" y="73"/>
                    <a:pt x="155" y="73"/>
                  </a:cubicBezTo>
                  <a:cubicBezTo>
                    <a:pt x="147" y="74"/>
                    <a:pt x="140" y="75"/>
                    <a:pt x="132" y="75"/>
                  </a:cubicBezTo>
                  <a:cubicBezTo>
                    <a:pt x="125" y="75"/>
                    <a:pt x="117" y="74"/>
                    <a:pt x="110" y="75"/>
                  </a:cubicBezTo>
                  <a:cubicBezTo>
                    <a:pt x="103" y="75"/>
                    <a:pt x="95" y="76"/>
                    <a:pt x="88" y="76"/>
                  </a:cubicBezTo>
                  <a:cubicBezTo>
                    <a:pt x="73" y="76"/>
                    <a:pt x="59" y="76"/>
                    <a:pt x="44" y="76"/>
                  </a:cubicBezTo>
                  <a:cubicBezTo>
                    <a:pt x="37" y="76"/>
                    <a:pt x="31" y="75"/>
                    <a:pt x="24" y="75"/>
                  </a:cubicBezTo>
                  <a:cubicBezTo>
                    <a:pt x="21" y="75"/>
                    <a:pt x="17" y="76"/>
                    <a:pt x="14" y="76"/>
                  </a:cubicBezTo>
                  <a:cubicBezTo>
                    <a:pt x="12" y="76"/>
                    <a:pt x="10" y="76"/>
                    <a:pt x="9" y="76"/>
                  </a:cubicBezTo>
                  <a:cubicBezTo>
                    <a:pt x="10" y="72"/>
                    <a:pt x="10" y="67"/>
                    <a:pt x="10" y="63"/>
                  </a:cubicBezTo>
                  <a:cubicBezTo>
                    <a:pt x="10" y="57"/>
                    <a:pt x="9" y="51"/>
                    <a:pt x="8" y="45"/>
                  </a:cubicBezTo>
                  <a:cubicBezTo>
                    <a:pt x="8" y="39"/>
                    <a:pt x="7" y="33"/>
                    <a:pt x="7" y="27"/>
                  </a:cubicBezTo>
                  <a:cubicBezTo>
                    <a:pt x="6" y="24"/>
                    <a:pt x="6" y="22"/>
                    <a:pt x="6" y="20"/>
                  </a:cubicBezTo>
                  <a:cubicBezTo>
                    <a:pt x="6" y="20"/>
                    <a:pt x="7" y="20"/>
                    <a:pt x="7" y="19"/>
                  </a:cubicBezTo>
                  <a:cubicBezTo>
                    <a:pt x="7" y="17"/>
                    <a:pt x="7" y="14"/>
                    <a:pt x="9" y="12"/>
                  </a:cubicBezTo>
                  <a:cubicBezTo>
                    <a:pt x="9" y="12"/>
                    <a:pt x="9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0"/>
                    <a:pt x="13" y="10"/>
                    <a:pt x="14" y="10"/>
                  </a:cubicBezTo>
                  <a:cubicBezTo>
                    <a:pt x="22" y="9"/>
                    <a:pt x="29" y="9"/>
                    <a:pt x="36" y="10"/>
                  </a:cubicBezTo>
                  <a:cubicBezTo>
                    <a:pt x="52" y="11"/>
                    <a:pt x="68" y="10"/>
                    <a:pt x="83" y="10"/>
                  </a:cubicBezTo>
                  <a:cubicBezTo>
                    <a:pt x="99" y="10"/>
                    <a:pt x="115" y="10"/>
                    <a:pt x="130" y="9"/>
                  </a:cubicBezTo>
                  <a:cubicBezTo>
                    <a:pt x="145" y="8"/>
                    <a:pt x="160" y="7"/>
                    <a:pt x="174" y="7"/>
                  </a:cubicBezTo>
                  <a:cubicBezTo>
                    <a:pt x="175" y="7"/>
                    <a:pt x="175" y="7"/>
                    <a:pt x="175" y="7"/>
                  </a:cubicBezTo>
                  <a:cubicBezTo>
                    <a:pt x="175" y="9"/>
                    <a:pt x="176" y="11"/>
                    <a:pt x="176" y="13"/>
                  </a:cubicBezTo>
                  <a:cubicBezTo>
                    <a:pt x="176" y="16"/>
                    <a:pt x="175" y="19"/>
                    <a:pt x="175" y="22"/>
                  </a:cubicBezTo>
                  <a:cubicBezTo>
                    <a:pt x="174" y="28"/>
                    <a:pt x="174" y="35"/>
                    <a:pt x="174" y="41"/>
                  </a:cubicBezTo>
                  <a:cubicBezTo>
                    <a:pt x="174" y="48"/>
                    <a:pt x="174" y="55"/>
                    <a:pt x="174" y="62"/>
                  </a:cubicBezTo>
                  <a:cubicBezTo>
                    <a:pt x="173" y="65"/>
                    <a:pt x="173" y="68"/>
                    <a:pt x="173" y="72"/>
                  </a:cubicBezTo>
                  <a:cubicBezTo>
                    <a:pt x="167" y="73"/>
                    <a:pt x="161" y="73"/>
                    <a:pt x="155" y="7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3" name="ïs1iďe"/>
            <p:cNvSpPr/>
            <p:nvPr/>
          </p:nvSpPr>
          <p:spPr bwMode="auto">
            <a:xfrm>
              <a:off x="5362817" y="4651721"/>
              <a:ext cx="64364" cy="162600"/>
            </a:xfrm>
            <a:custGeom>
              <a:avLst/>
              <a:gdLst>
                <a:gd name="T0" fmla="*/ 7 w 9"/>
                <a:gd name="T1" fmla="*/ 2 h 23"/>
                <a:gd name="T2" fmla="*/ 3 w 9"/>
                <a:gd name="T3" fmla="*/ 1 h 23"/>
                <a:gd name="T4" fmla="*/ 1 w 9"/>
                <a:gd name="T5" fmla="*/ 9 h 23"/>
                <a:gd name="T6" fmla="*/ 1 w 9"/>
                <a:gd name="T7" fmla="*/ 19 h 23"/>
                <a:gd name="T8" fmla="*/ 8 w 9"/>
                <a:gd name="T9" fmla="*/ 19 h 23"/>
                <a:gd name="T10" fmla="*/ 8 w 9"/>
                <a:gd name="T11" fmla="*/ 10 h 23"/>
                <a:gd name="T12" fmla="*/ 7 w 9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3">
                  <a:moveTo>
                    <a:pt x="7" y="2"/>
                  </a:moveTo>
                  <a:cubicBezTo>
                    <a:pt x="7" y="0"/>
                    <a:pt x="4" y="0"/>
                    <a:pt x="3" y="1"/>
                  </a:cubicBezTo>
                  <a:cubicBezTo>
                    <a:pt x="1" y="4"/>
                    <a:pt x="1" y="6"/>
                    <a:pt x="1" y="9"/>
                  </a:cubicBezTo>
                  <a:cubicBezTo>
                    <a:pt x="0" y="13"/>
                    <a:pt x="0" y="16"/>
                    <a:pt x="1" y="19"/>
                  </a:cubicBezTo>
                  <a:cubicBezTo>
                    <a:pt x="1" y="23"/>
                    <a:pt x="7" y="23"/>
                    <a:pt x="8" y="19"/>
                  </a:cubicBezTo>
                  <a:cubicBezTo>
                    <a:pt x="9" y="16"/>
                    <a:pt x="8" y="13"/>
                    <a:pt x="8" y="10"/>
                  </a:cubicBezTo>
                  <a:cubicBezTo>
                    <a:pt x="8" y="7"/>
                    <a:pt x="7" y="5"/>
                    <a:pt x="7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4" name="íṡ1îḓê"/>
            <p:cNvSpPr/>
            <p:nvPr/>
          </p:nvSpPr>
          <p:spPr bwMode="auto">
            <a:xfrm>
              <a:off x="5467829" y="4644946"/>
              <a:ext cx="64364" cy="169375"/>
            </a:xfrm>
            <a:custGeom>
              <a:avLst/>
              <a:gdLst>
                <a:gd name="T0" fmla="*/ 2 w 9"/>
                <a:gd name="T1" fmla="*/ 3 h 24"/>
                <a:gd name="T2" fmla="*/ 1 w 9"/>
                <a:gd name="T3" fmla="*/ 20 h 24"/>
                <a:gd name="T4" fmla="*/ 4 w 9"/>
                <a:gd name="T5" fmla="*/ 24 h 24"/>
                <a:gd name="T6" fmla="*/ 6 w 9"/>
                <a:gd name="T7" fmla="*/ 24 h 24"/>
                <a:gd name="T8" fmla="*/ 9 w 9"/>
                <a:gd name="T9" fmla="*/ 20 h 24"/>
                <a:gd name="T10" fmla="*/ 7 w 9"/>
                <a:gd name="T11" fmla="*/ 3 h 24"/>
                <a:gd name="T12" fmla="*/ 2 w 9"/>
                <a:gd name="T1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4">
                  <a:moveTo>
                    <a:pt x="2" y="3"/>
                  </a:moveTo>
                  <a:cubicBezTo>
                    <a:pt x="0" y="8"/>
                    <a:pt x="1" y="14"/>
                    <a:pt x="1" y="20"/>
                  </a:cubicBezTo>
                  <a:cubicBezTo>
                    <a:pt x="1" y="21"/>
                    <a:pt x="2" y="23"/>
                    <a:pt x="4" y="24"/>
                  </a:cubicBezTo>
                  <a:cubicBezTo>
                    <a:pt x="5" y="24"/>
                    <a:pt x="5" y="24"/>
                    <a:pt x="6" y="24"/>
                  </a:cubicBezTo>
                  <a:cubicBezTo>
                    <a:pt x="8" y="23"/>
                    <a:pt x="9" y="21"/>
                    <a:pt x="9" y="20"/>
                  </a:cubicBezTo>
                  <a:cubicBezTo>
                    <a:pt x="9" y="14"/>
                    <a:pt x="9" y="8"/>
                    <a:pt x="7" y="3"/>
                  </a:cubicBezTo>
                  <a:cubicBezTo>
                    <a:pt x="6" y="0"/>
                    <a:pt x="3" y="0"/>
                    <a:pt x="2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5" name="íśḷíḓe"/>
            <p:cNvSpPr/>
            <p:nvPr/>
          </p:nvSpPr>
          <p:spPr bwMode="auto">
            <a:xfrm>
              <a:off x="5596554" y="4644946"/>
              <a:ext cx="64364" cy="176150"/>
            </a:xfrm>
            <a:custGeom>
              <a:avLst/>
              <a:gdLst>
                <a:gd name="T0" fmla="*/ 6 w 9"/>
                <a:gd name="T1" fmla="*/ 3 h 25"/>
                <a:gd name="T2" fmla="*/ 2 w 9"/>
                <a:gd name="T3" fmla="*/ 3 h 25"/>
                <a:gd name="T4" fmla="*/ 1 w 9"/>
                <a:gd name="T5" fmla="*/ 13 h 25"/>
                <a:gd name="T6" fmla="*/ 3 w 9"/>
                <a:gd name="T7" fmla="*/ 23 h 25"/>
                <a:gd name="T8" fmla="*/ 9 w 9"/>
                <a:gd name="T9" fmla="*/ 21 h 25"/>
                <a:gd name="T10" fmla="*/ 9 w 9"/>
                <a:gd name="T11" fmla="*/ 13 h 25"/>
                <a:gd name="T12" fmla="*/ 6 w 9"/>
                <a:gd name="T13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5">
                  <a:moveTo>
                    <a:pt x="6" y="3"/>
                  </a:moveTo>
                  <a:cubicBezTo>
                    <a:pt x="6" y="0"/>
                    <a:pt x="2" y="0"/>
                    <a:pt x="2" y="3"/>
                  </a:cubicBezTo>
                  <a:cubicBezTo>
                    <a:pt x="1" y="6"/>
                    <a:pt x="1" y="9"/>
                    <a:pt x="1" y="13"/>
                  </a:cubicBezTo>
                  <a:cubicBezTo>
                    <a:pt x="0" y="16"/>
                    <a:pt x="0" y="20"/>
                    <a:pt x="3" y="23"/>
                  </a:cubicBezTo>
                  <a:cubicBezTo>
                    <a:pt x="5" y="25"/>
                    <a:pt x="8" y="24"/>
                    <a:pt x="9" y="21"/>
                  </a:cubicBezTo>
                  <a:cubicBezTo>
                    <a:pt x="9" y="18"/>
                    <a:pt x="9" y="15"/>
                    <a:pt x="9" y="13"/>
                  </a:cubicBezTo>
                  <a:cubicBezTo>
                    <a:pt x="9" y="9"/>
                    <a:pt x="7" y="6"/>
                    <a:pt x="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6" name="ïśḻíḍê"/>
            <p:cNvSpPr/>
            <p:nvPr/>
          </p:nvSpPr>
          <p:spPr bwMode="auto">
            <a:xfrm>
              <a:off x="6453595" y="4651721"/>
              <a:ext cx="115175" cy="84689"/>
            </a:xfrm>
            <a:custGeom>
              <a:avLst/>
              <a:gdLst>
                <a:gd name="T0" fmla="*/ 8 w 16"/>
                <a:gd name="T1" fmla="*/ 0 h 12"/>
                <a:gd name="T2" fmla="*/ 8 w 16"/>
                <a:gd name="T3" fmla="*/ 12 h 12"/>
                <a:gd name="T4" fmla="*/ 8 w 1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cubicBezTo>
                    <a:pt x="0" y="0"/>
                    <a:pt x="0" y="12"/>
                    <a:pt x="8" y="12"/>
                  </a:cubicBezTo>
                  <a:cubicBezTo>
                    <a:pt x="16" y="12"/>
                    <a:pt x="16" y="0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7" name="iŝľíḑè"/>
            <p:cNvSpPr/>
            <p:nvPr/>
          </p:nvSpPr>
          <p:spPr bwMode="auto">
            <a:xfrm>
              <a:off x="6341806" y="4651721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8" name="íṣ1íďé"/>
            <p:cNvSpPr/>
            <p:nvPr/>
          </p:nvSpPr>
          <p:spPr bwMode="auto">
            <a:xfrm>
              <a:off x="6185981" y="4651721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9" name="ïşḷíḓe"/>
            <p:cNvSpPr/>
            <p:nvPr/>
          </p:nvSpPr>
          <p:spPr bwMode="auto">
            <a:xfrm>
              <a:off x="3899413" y="3852269"/>
              <a:ext cx="4386826" cy="1453242"/>
            </a:xfrm>
            <a:custGeom>
              <a:avLst/>
              <a:gdLst>
                <a:gd name="T0" fmla="*/ 609 w 623"/>
                <a:gd name="T1" fmla="*/ 82 h 207"/>
                <a:gd name="T2" fmla="*/ 597 w 623"/>
                <a:gd name="T3" fmla="*/ 78 h 207"/>
                <a:gd name="T4" fmla="*/ 586 w 623"/>
                <a:gd name="T5" fmla="*/ 72 h 207"/>
                <a:gd name="T6" fmla="*/ 575 w 623"/>
                <a:gd name="T7" fmla="*/ 62 h 207"/>
                <a:gd name="T8" fmla="*/ 578 w 623"/>
                <a:gd name="T9" fmla="*/ 59 h 207"/>
                <a:gd name="T10" fmla="*/ 561 w 623"/>
                <a:gd name="T11" fmla="*/ 61 h 207"/>
                <a:gd name="T12" fmla="*/ 547 w 623"/>
                <a:gd name="T13" fmla="*/ 79 h 207"/>
                <a:gd name="T14" fmla="*/ 505 w 623"/>
                <a:gd name="T15" fmla="*/ 84 h 207"/>
                <a:gd name="T16" fmla="*/ 456 w 623"/>
                <a:gd name="T17" fmla="*/ 64 h 207"/>
                <a:gd name="T18" fmla="*/ 407 w 623"/>
                <a:gd name="T19" fmla="*/ 0 h 207"/>
                <a:gd name="T20" fmla="*/ 288 w 623"/>
                <a:gd name="T21" fmla="*/ 3 h 207"/>
                <a:gd name="T22" fmla="*/ 218 w 623"/>
                <a:gd name="T23" fmla="*/ 6 h 207"/>
                <a:gd name="T24" fmla="*/ 176 w 623"/>
                <a:gd name="T25" fmla="*/ 18 h 207"/>
                <a:gd name="T26" fmla="*/ 155 w 623"/>
                <a:gd name="T27" fmla="*/ 34 h 207"/>
                <a:gd name="T28" fmla="*/ 121 w 623"/>
                <a:gd name="T29" fmla="*/ 44 h 207"/>
                <a:gd name="T30" fmla="*/ 91 w 623"/>
                <a:gd name="T31" fmla="*/ 66 h 207"/>
                <a:gd name="T32" fmla="*/ 51 w 623"/>
                <a:gd name="T33" fmla="*/ 62 h 207"/>
                <a:gd name="T34" fmla="*/ 42 w 623"/>
                <a:gd name="T35" fmla="*/ 37 h 207"/>
                <a:gd name="T36" fmla="*/ 24 w 623"/>
                <a:gd name="T37" fmla="*/ 68 h 207"/>
                <a:gd name="T38" fmla="*/ 3 w 623"/>
                <a:gd name="T39" fmla="*/ 66 h 207"/>
                <a:gd name="T40" fmla="*/ 18 w 623"/>
                <a:gd name="T41" fmla="*/ 83 h 207"/>
                <a:gd name="T42" fmla="*/ 21 w 623"/>
                <a:gd name="T43" fmla="*/ 91 h 207"/>
                <a:gd name="T44" fmla="*/ 14 w 623"/>
                <a:gd name="T45" fmla="*/ 114 h 207"/>
                <a:gd name="T46" fmla="*/ 28 w 623"/>
                <a:gd name="T47" fmla="*/ 101 h 207"/>
                <a:gd name="T48" fmla="*/ 42 w 623"/>
                <a:gd name="T49" fmla="*/ 117 h 207"/>
                <a:gd name="T50" fmla="*/ 65 w 623"/>
                <a:gd name="T51" fmla="*/ 82 h 207"/>
                <a:gd name="T52" fmla="*/ 130 w 623"/>
                <a:gd name="T53" fmla="*/ 85 h 207"/>
                <a:gd name="T54" fmla="*/ 146 w 623"/>
                <a:gd name="T55" fmla="*/ 57 h 207"/>
                <a:gd name="T56" fmla="*/ 163 w 623"/>
                <a:gd name="T57" fmla="*/ 44 h 207"/>
                <a:gd name="T58" fmla="*/ 176 w 623"/>
                <a:gd name="T59" fmla="*/ 71 h 207"/>
                <a:gd name="T60" fmla="*/ 301 w 623"/>
                <a:gd name="T61" fmla="*/ 205 h 207"/>
                <a:gd name="T62" fmla="*/ 357 w 623"/>
                <a:gd name="T63" fmla="*/ 190 h 207"/>
                <a:gd name="T64" fmla="*/ 411 w 623"/>
                <a:gd name="T65" fmla="*/ 67 h 207"/>
                <a:gd name="T66" fmla="*/ 451 w 623"/>
                <a:gd name="T67" fmla="*/ 76 h 207"/>
                <a:gd name="T68" fmla="*/ 503 w 623"/>
                <a:gd name="T69" fmla="*/ 95 h 207"/>
                <a:gd name="T70" fmla="*/ 569 w 623"/>
                <a:gd name="T71" fmla="*/ 111 h 207"/>
                <a:gd name="T72" fmla="*/ 592 w 623"/>
                <a:gd name="T73" fmla="*/ 115 h 207"/>
                <a:gd name="T74" fmla="*/ 591 w 623"/>
                <a:gd name="T75" fmla="*/ 109 h 207"/>
                <a:gd name="T76" fmla="*/ 608 w 623"/>
                <a:gd name="T77" fmla="*/ 102 h 207"/>
                <a:gd name="T78" fmla="*/ 617 w 623"/>
                <a:gd name="T79" fmla="*/ 93 h 207"/>
                <a:gd name="T80" fmla="*/ 49 w 623"/>
                <a:gd name="T81" fmla="*/ 88 h 207"/>
                <a:gd name="T82" fmla="*/ 33 w 623"/>
                <a:gd name="T83" fmla="*/ 74 h 207"/>
                <a:gd name="T84" fmla="*/ 128 w 623"/>
                <a:gd name="T85" fmla="*/ 68 h 207"/>
                <a:gd name="T86" fmla="*/ 120 w 623"/>
                <a:gd name="T87" fmla="*/ 55 h 207"/>
                <a:gd name="T88" fmla="*/ 399 w 623"/>
                <a:gd name="T89" fmla="*/ 58 h 207"/>
                <a:gd name="T90" fmla="*/ 378 w 623"/>
                <a:gd name="T91" fmla="*/ 144 h 207"/>
                <a:gd name="T92" fmla="*/ 339 w 623"/>
                <a:gd name="T93" fmla="*/ 185 h 207"/>
                <a:gd name="T94" fmla="*/ 228 w 623"/>
                <a:gd name="T95" fmla="*/ 176 h 207"/>
                <a:gd name="T96" fmla="*/ 187 w 623"/>
                <a:gd name="T97" fmla="*/ 23 h 207"/>
                <a:gd name="T98" fmla="*/ 202 w 623"/>
                <a:gd name="T99" fmla="*/ 18 h 207"/>
                <a:gd name="T100" fmla="*/ 286 w 623"/>
                <a:gd name="T101" fmla="*/ 16 h 207"/>
                <a:gd name="T102" fmla="*/ 400 w 623"/>
                <a:gd name="T103" fmla="*/ 28 h 207"/>
                <a:gd name="T104" fmla="*/ 475 w 623"/>
                <a:gd name="T105" fmla="*/ 93 h 207"/>
                <a:gd name="T106" fmla="*/ 492 w 623"/>
                <a:gd name="T107" fmla="*/ 86 h 207"/>
                <a:gd name="T108" fmla="*/ 570 w 623"/>
                <a:gd name="T109" fmla="*/ 97 h 207"/>
                <a:gd name="T110" fmla="*/ 561 w 623"/>
                <a:gd name="T111" fmla="*/ 95 h 207"/>
                <a:gd name="T112" fmla="*/ 579 w 623"/>
                <a:gd name="T113" fmla="*/ 84 h 207"/>
                <a:gd name="T114" fmla="*/ 583 w 623"/>
                <a:gd name="T115" fmla="*/ 88 h 207"/>
                <a:gd name="T116" fmla="*/ 582 w 623"/>
                <a:gd name="T117" fmla="*/ 90 h 207"/>
                <a:gd name="T118" fmla="*/ 579 w 623"/>
                <a:gd name="T119" fmla="*/ 94 h 207"/>
                <a:gd name="T120" fmla="*/ 571 w 623"/>
                <a:gd name="T121" fmla="*/ 9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23" h="207">
                  <a:moveTo>
                    <a:pt x="614" y="81"/>
                  </a:moveTo>
                  <a:cubicBezTo>
                    <a:pt x="613" y="81"/>
                    <a:pt x="612" y="81"/>
                    <a:pt x="611" y="81"/>
                  </a:cubicBezTo>
                  <a:cubicBezTo>
                    <a:pt x="611" y="81"/>
                    <a:pt x="611" y="81"/>
                    <a:pt x="610" y="81"/>
                  </a:cubicBezTo>
                  <a:cubicBezTo>
                    <a:pt x="610" y="82"/>
                    <a:pt x="610" y="82"/>
                    <a:pt x="609" y="82"/>
                  </a:cubicBezTo>
                  <a:cubicBezTo>
                    <a:pt x="607" y="82"/>
                    <a:pt x="604" y="82"/>
                    <a:pt x="602" y="82"/>
                  </a:cubicBezTo>
                  <a:cubicBezTo>
                    <a:pt x="600" y="82"/>
                    <a:pt x="598" y="82"/>
                    <a:pt x="595" y="83"/>
                  </a:cubicBezTo>
                  <a:cubicBezTo>
                    <a:pt x="595" y="82"/>
                    <a:pt x="595" y="81"/>
                    <a:pt x="594" y="80"/>
                  </a:cubicBezTo>
                  <a:cubicBezTo>
                    <a:pt x="595" y="79"/>
                    <a:pt x="596" y="79"/>
                    <a:pt x="597" y="78"/>
                  </a:cubicBezTo>
                  <a:cubicBezTo>
                    <a:pt x="602" y="75"/>
                    <a:pt x="607" y="73"/>
                    <a:pt x="610" y="68"/>
                  </a:cubicBezTo>
                  <a:cubicBezTo>
                    <a:pt x="614" y="62"/>
                    <a:pt x="605" y="55"/>
                    <a:pt x="600" y="60"/>
                  </a:cubicBezTo>
                  <a:cubicBezTo>
                    <a:pt x="597" y="63"/>
                    <a:pt x="594" y="65"/>
                    <a:pt x="590" y="68"/>
                  </a:cubicBezTo>
                  <a:cubicBezTo>
                    <a:pt x="589" y="69"/>
                    <a:pt x="587" y="70"/>
                    <a:pt x="586" y="72"/>
                  </a:cubicBezTo>
                  <a:cubicBezTo>
                    <a:pt x="583" y="71"/>
                    <a:pt x="581" y="70"/>
                    <a:pt x="579" y="69"/>
                  </a:cubicBezTo>
                  <a:cubicBezTo>
                    <a:pt x="577" y="69"/>
                    <a:pt x="574" y="68"/>
                    <a:pt x="571" y="68"/>
                  </a:cubicBezTo>
                  <a:cubicBezTo>
                    <a:pt x="572" y="67"/>
                    <a:pt x="572" y="67"/>
                    <a:pt x="572" y="67"/>
                  </a:cubicBezTo>
                  <a:cubicBezTo>
                    <a:pt x="573" y="66"/>
                    <a:pt x="574" y="64"/>
                    <a:pt x="575" y="62"/>
                  </a:cubicBezTo>
                  <a:cubicBezTo>
                    <a:pt x="576" y="61"/>
                    <a:pt x="576" y="61"/>
                    <a:pt x="576" y="60"/>
                  </a:cubicBezTo>
                  <a:cubicBezTo>
                    <a:pt x="577" y="60"/>
                    <a:pt x="577" y="60"/>
                    <a:pt x="577" y="59"/>
                  </a:cubicBezTo>
                  <a:cubicBezTo>
                    <a:pt x="577" y="59"/>
                    <a:pt x="578" y="59"/>
                    <a:pt x="578" y="59"/>
                  </a:cubicBezTo>
                  <a:cubicBezTo>
                    <a:pt x="578" y="59"/>
                    <a:pt x="578" y="59"/>
                    <a:pt x="578" y="59"/>
                  </a:cubicBezTo>
                  <a:cubicBezTo>
                    <a:pt x="580" y="57"/>
                    <a:pt x="582" y="54"/>
                    <a:pt x="581" y="51"/>
                  </a:cubicBezTo>
                  <a:cubicBezTo>
                    <a:pt x="580" y="48"/>
                    <a:pt x="576" y="45"/>
                    <a:pt x="573" y="47"/>
                  </a:cubicBezTo>
                  <a:cubicBezTo>
                    <a:pt x="567" y="49"/>
                    <a:pt x="565" y="54"/>
                    <a:pt x="562" y="59"/>
                  </a:cubicBezTo>
                  <a:cubicBezTo>
                    <a:pt x="562" y="60"/>
                    <a:pt x="561" y="61"/>
                    <a:pt x="561" y="61"/>
                  </a:cubicBezTo>
                  <a:cubicBezTo>
                    <a:pt x="560" y="62"/>
                    <a:pt x="560" y="63"/>
                    <a:pt x="560" y="63"/>
                  </a:cubicBezTo>
                  <a:cubicBezTo>
                    <a:pt x="561" y="62"/>
                    <a:pt x="560" y="64"/>
                    <a:pt x="560" y="64"/>
                  </a:cubicBezTo>
                  <a:cubicBezTo>
                    <a:pt x="559" y="66"/>
                    <a:pt x="558" y="67"/>
                    <a:pt x="557" y="69"/>
                  </a:cubicBezTo>
                  <a:cubicBezTo>
                    <a:pt x="552" y="71"/>
                    <a:pt x="549" y="75"/>
                    <a:pt x="547" y="79"/>
                  </a:cubicBezTo>
                  <a:cubicBezTo>
                    <a:pt x="547" y="79"/>
                    <a:pt x="547" y="79"/>
                    <a:pt x="547" y="79"/>
                  </a:cubicBezTo>
                  <a:cubicBezTo>
                    <a:pt x="539" y="80"/>
                    <a:pt x="531" y="80"/>
                    <a:pt x="523" y="82"/>
                  </a:cubicBezTo>
                  <a:cubicBezTo>
                    <a:pt x="519" y="82"/>
                    <a:pt x="514" y="83"/>
                    <a:pt x="510" y="84"/>
                  </a:cubicBezTo>
                  <a:cubicBezTo>
                    <a:pt x="508" y="84"/>
                    <a:pt x="507" y="84"/>
                    <a:pt x="505" y="84"/>
                  </a:cubicBezTo>
                  <a:cubicBezTo>
                    <a:pt x="505" y="79"/>
                    <a:pt x="503" y="75"/>
                    <a:pt x="500" y="72"/>
                  </a:cubicBezTo>
                  <a:cubicBezTo>
                    <a:pt x="494" y="65"/>
                    <a:pt x="485" y="65"/>
                    <a:pt x="477" y="66"/>
                  </a:cubicBezTo>
                  <a:cubicBezTo>
                    <a:pt x="472" y="64"/>
                    <a:pt x="467" y="66"/>
                    <a:pt x="463" y="70"/>
                  </a:cubicBezTo>
                  <a:cubicBezTo>
                    <a:pt x="461" y="68"/>
                    <a:pt x="458" y="66"/>
                    <a:pt x="456" y="64"/>
                  </a:cubicBezTo>
                  <a:cubicBezTo>
                    <a:pt x="449" y="58"/>
                    <a:pt x="444" y="50"/>
                    <a:pt x="438" y="43"/>
                  </a:cubicBezTo>
                  <a:cubicBezTo>
                    <a:pt x="429" y="34"/>
                    <a:pt x="417" y="27"/>
                    <a:pt x="411" y="15"/>
                  </a:cubicBezTo>
                  <a:cubicBezTo>
                    <a:pt x="411" y="14"/>
                    <a:pt x="411" y="13"/>
                    <a:pt x="411" y="12"/>
                  </a:cubicBezTo>
                  <a:cubicBezTo>
                    <a:pt x="415" y="8"/>
                    <a:pt x="414" y="0"/>
                    <a:pt x="407" y="0"/>
                  </a:cubicBezTo>
                  <a:cubicBezTo>
                    <a:pt x="397" y="0"/>
                    <a:pt x="388" y="1"/>
                    <a:pt x="379" y="1"/>
                  </a:cubicBezTo>
                  <a:cubicBezTo>
                    <a:pt x="369" y="2"/>
                    <a:pt x="358" y="1"/>
                    <a:pt x="349" y="1"/>
                  </a:cubicBezTo>
                  <a:cubicBezTo>
                    <a:pt x="338" y="2"/>
                    <a:pt x="328" y="3"/>
                    <a:pt x="318" y="3"/>
                  </a:cubicBezTo>
                  <a:cubicBezTo>
                    <a:pt x="308" y="3"/>
                    <a:pt x="298" y="3"/>
                    <a:pt x="288" y="3"/>
                  </a:cubicBezTo>
                  <a:cubicBezTo>
                    <a:pt x="279" y="4"/>
                    <a:pt x="269" y="4"/>
                    <a:pt x="259" y="5"/>
                  </a:cubicBezTo>
                  <a:cubicBezTo>
                    <a:pt x="254" y="5"/>
                    <a:pt x="250" y="5"/>
                    <a:pt x="245" y="5"/>
                  </a:cubicBezTo>
                  <a:cubicBezTo>
                    <a:pt x="240" y="5"/>
                    <a:pt x="235" y="6"/>
                    <a:pt x="230" y="6"/>
                  </a:cubicBezTo>
                  <a:cubicBezTo>
                    <a:pt x="226" y="7"/>
                    <a:pt x="222" y="6"/>
                    <a:pt x="218" y="6"/>
                  </a:cubicBezTo>
                  <a:cubicBezTo>
                    <a:pt x="214" y="6"/>
                    <a:pt x="210" y="7"/>
                    <a:pt x="205" y="7"/>
                  </a:cubicBezTo>
                  <a:cubicBezTo>
                    <a:pt x="198" y="7"/>
                    <a:pt x="190" y="6"/>
                    <a:pt x="182" y="5"/>
                  </a:cubicBezTo>
                  <a:cubicBezTo>
                    <a:pt x="181" y="5"/>
                    <a:pt x="180" y="5"/>
                    <a:pt x="179" y="6"/>
                  </a:cubicBezTo>
                  <a:cubicBezTo>
                    <a:pt x="177" y="10"/>
                    <a:pt x="176" y="14"/>
                    <a:pt x="176" y="18"/>
                  </a:cubicBezTo>
                  <a:cubicBezTo>
                    <a:pt x="173" y="21"/>
                    <a:pt x="169" y="24"/>
                    <a:pt x="165" y="26"/>
                  </a:cubicBezTo>
                  <a:cubicBezTo>
                    <a:pt x="162" y="28"/>
                    <a:pt x="160" y="30"/>
                    <a:pt x="158" y="31"/>
                  </a:cubicBezTo>
                  <a:cubicBezTo>
                    <a:pt x="160" y="30"/>
                    <a:pt x="158" y="32"/>
                    <a:pt x="157" y="32"/>
                  </a:cubicBezTo>
                  <a:cubicBezTo>
                    <a:pt x="156" y="33"/>
                    <a:pt x="155" y="33"/>
                    <a:pt x="155" y="34"/>
                  </a:cubicBezTo>
                  <a:cubicBezTo>
                    <a:pt x="150" y="37"/>
                    <a:pt x="146" y="40"/>
                    <a:pt x="142" y="43"/>
                  </a:cubicBezTo>
                  <a:cubicBezTo>
                    <a:pt x="141" y="44"/>
                    <a:pt x="138" y="46"/>
                    <a:pt x="136" y="48"/>
                  </a:cubicBezTo>
                  <a:cubicBezTo>
                    <a:pt x="132" y="45"/>
                    <a:pt x="128" y="44"/>
                    <a:pt x="124" y="44"/>
                  </a:cubicBezTo>
                  <a:cubicBezTo>
                    <a:pt x="123" y="44"/>
                    <a:pt x="122" y="44"/>
                    <a:pt x="121" y="44"/>
                  </a:cubicBezTo>
                  <a:cubicBezTo>
                    <a:pt x="120" y="43"/>
                    <a:pt x="119" y="43"/>
                    <a:pt x="118" y="43"/>
                  </a:cubicBezTo>
                  <a:cubicBezTo>
                    <a:pt x="110" y="42"/>
                    <a:pt x="102" y="50"/>
                    <a:pt x="99" y="58"/>
                  </a:cubicBezTo>
                  <a:cubicBezTo>
                    <a:pt x="98" y="60"/>
                    <a:pt x="98" y="63"/>
                    <a:pt x="98" y="66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5" y="67"/>
                    <a:pt x="80" y="67"/>
                    <a:pt x="75" y="67"/>
                  </a:cubicBezTo>
                  <a:cubicBezTo>
                    <a:pt x="71" y="68"/>
                    <a:pt x="67" y="69"/>
                    <a:pt x="63" y="69"/>
                  </a:cubicBezTo>
                  <a:cubicBezTo>
                    <a:pt x="62" y="69"/>
                    <a:pt x="62" y="69"/>
                    <a:pt x="61" y="69"/>
                  </a:cubicBezTo>
                  <a:cubicBezTo>
                    <a:pt x="58" y="66"/>
                    <a:pt x="54" y="64"/>
                    <a:pt x="51" y="62"/>
                  </a:cubicBezTo>
                  <a:cubicBezTo>
                    <a:pt x="49" y="62"/>
                    <a:pt x="48" y="61"/>
                    <a:pt x="46" y="61"/>
                  </a:cubicBezTo>
                  <a:cubicBezTo>
                    <a:pt x="46" y="59"/>
                    <a:pt x="46" y="56"/>
                    <a:pt x="47" y="53"/>
                  </a:cubicBezTo>
                  <a:cubicBezTo>
                    <a:pt x="47" y="50"/>
                    <a:pt x="48" y="45"/>
                    <a:pt x="48" y="41"/>
                  </a:cubicBezTo>
                  <a:cubicBezTo>
                    <a:pt x="48" y="39"/>
                    <a:pt x="45" y="36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39" y="38"/>
                    <a:pt x="38" y="41"/>
                    <a:pt x="39" y="43"/>
                  </a:cubicBezTo>
                  <a:cubicBezTo>
                    <a:pt x="38" y="48"/>
                    <a:pt x="36" y="55"/>
                    <a:pt x="38" y="61"/>
                  </a:cubicBezTo>
                  <a:cubicBezTo>
                    <a:pt x="32" y="62"/>
                    <a:pt x="27" y="64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1" y="67"/>
                    <a:pt x="19" y="65"/>
                    <a:pt x="17" y="65"/>
                  </a:cubicBezTo>
                  <a:cubicBezTo>
                    <a:pt x="14" y="64"/>
                    <a:pt x="10" y="62"/>
                    <a:pt x="7" y="63"/>
                  </a:cubicBezTo>
                  <a:cubicBezTo>
                    <a:pt x="5" y="63"/>
                    <a:pt x="4" y="65"/>
                    <a:pt x="3" y="66"/>
                  </a:cubicBezTo>
                  <a:cubicBezTo>
                    <a:pt x="2" y="72"/>
                    <a:pt x="8" y="72"/>
                    <a:pt x="12" y="74"/>
                  </a:cubicBezTo>
                  <a:cubicBezTo>
                    <a:pt x="14" y="74"/>
                    <a:pt x="17" y="76"/>
                    <a:pt x="20" y="77"/>
                  </a:cubicBezTo>
                  <a:cubicBezTo>
                    <a:pt x="19" y="79"/>
                    <a:pt x="19" y="81"/>
                    <a:pt x="19" y="83"/>
                  </a:cubicBezTo>
                  <a:cubicBezTo>
                    <a:pt x="19" y="83"/>
                    <a:pt x="18" y="83"/>
                    <a:pt x="18" y="83"/>
                  </a:cubicBezTo>
                  <a:cubicBezTo>
                    <a:pt x="14" y="82"/>
                    <a:pt x="10" y="82"/>
                    <a:pt x="7" y="83"/>
                  </a:cubicBezTo>
                  <a:cubicBezTo>
                    <a:pt x="0" y="83"/>
                    <a:pt x="0" y="92"/>
                    <a:pt x="7" y="92"/>
                  </a:cubicBezTo>
                  <a:cubicBezTo>
                    <a:pt x="10" y="92"/>
                    <a:pt x="14" y="92"/>
                    <a:pt x="17" y="92"/>
                  </a:cubicBezTo>
                  <a:cubicBezTo>
                    <a:pt x="18" y="92"/>
                    <a:pt x="19" y="92"/>
                    <a:pt x="21" y="91"/>
                  </a:cubicBezTo>
                  <a:cubicBezTo>
                    <a:pt x="21" y="93"/>
                    <a:pt x="22" y="94"/>
                    <a:pt x="23" y="95"/>
                  </a:cubicBezTo>
                  <a:cubicBezTo>
                    <a:pt x="21" y="96"/>
                    <a:pt x="19" y="97"/>
                    <a:pt x="18" y="98"/>
                  </a:cubicBezTo>
                  <a:cubicBezTo>
                    <a:pt x="14" y="102"/>
                    <a:pt x="7" y="104"/>
                    <a:pt x="7" y="110"/>
                  </a:cubicBezTo>
                  <a:cubicBezTo>
                    <a:pt x="7" y="113"/>
                    <a:pt x="11" y="116"/>
                    <a:pt x="14" y="114"/>
                  </a:cubicBezTo>
                  <a:cubicBezTo>
                    <a:pt x="16" y="113"/>
                    <a:pt x="17" y="111"/>
                    <a:pt x="18" y="110"/>
                  </a:cubicBezTo>
                  <a:cubicBezTo>
                    <a:pt x="20" y="109"/>
                    <a:pt x="22" y="107"/>
                    <a:pt x="24" y="106"/>
                  </a:cubicBezTo>
                  <a:cubicBezTo>
                    <a:pt x="25" y="104"/>
                    <a:pt x="27" y="103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1" y="103"/>
                    <a:pt x="33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4" y="109"/>
                    <a:pt x="33" y="113"/>
                    <a:pt x="34" y="117"/>
                  </a:cubicBezTo>
                  <a:cubicBezTo>
                    <a:pt x="35" y="121"/>
                    <a:pt x="40" y="120"/>
                    <a:pt x="42" y="117"/>
                  </a:cubicBezTo>
                  <a:cubicBezTo>
                    <a:pt x="43" y="114"/>
                    <a:pt x="43" y="111"/>
                    <a:pt x="44" y="108"/>
                  </a:cubicBezTo>
                  <a:cubicBezTo>
                    <a:pt x="44" y="107"/>
                    <a:pt x="45" y="106"/>
                    <a:pt x="45" y="105"/>
                  </a:cubicBezTo>
                  <a:cubicBezTo>
                    <a:pt x="46" y="105"/>
                    <a:pt x="48" y="104"/>
                    <a:pt x="49" y="104"/>
                  </a:cubicBezTo>
                  <a:cubicBezTo>
                    <a:pt x="58" y="100"/>
                    <a:pt x="65" y="92"/>
                    <a:pt x="65" y="82"/>
                  </a:cubicBezTo>
                  <a:cubicBezTo>
                    <a:pt x="69" y="82"/>
                    <a:pt x="72" y="82"/>
                    <a:pt x="76" y="81"/>
                  </a:cubicBezTo>
                  <a:cubicBezTo>
                    <a:pt x="84" y="79"/>
                    <a:pt x="93" y="80"/>
                    <a:pt x="101" y="77"/>
                  </a:cubicBezTo>
                  <a:cubicBezTo>
                    <a:pt x="102" y="78"/>
                    <a:pt x="103" y="80"/>
                    <a:pt x="105" y="82"/>
                  </a:cubicBezTo>
                  <a:cubicBezTo>
                    <a:pt x="111" y="89"/>
                    <a:pt x="121" y="89"/>
                    <a:pt x="130" y="85"/>
                  </a:cubicBezTo>
                  <a:cubicBezTo>
                    <a:pt x="139" y="81"/>
                    <a:pt x="144" y="70"/>
                    <a:pt x="142" y="60"/>
                  </a:cubicBezTo>
                  <a:cubicBezTo>
                    <a:pt x="143" y="60"/>
                    <a:pt x="143" y="60"/>
                    <a:pt x="143" y="60"/>
                  </a:cubicBezTo>
                  <a:cubicBezTo>
                    <a:pt x="143" y="60"/>
                    <a:pt x="147" y="56"/>
                    <a:pt x="145" y="59"/>
                  </a:cubicBezTo>
                  <a:cubicBezTo>
                    <a:pt x="145" y="58"/>
                    <a:pt x="146" y="57"/>
                    <a:pt x="146" y="57"/>
                  </a:cubicBezTo>
                  <a:cubicBezTo>
                    <a:pt x="147" y="56"/>
                    <a:pt x="148" y="56"/>
                    <a:pt x="149" y="55"/>
                  </a:cubicBezTo>
                  <a:cubicBezTo>
                    <a:pt x="149" y="55"/>
                    <a:pt x="149" y="54"/>
                    <a:pt x="150" y="54"/>
                  </a:cubicBezTo>
                  <a:cubicBezTo>
                    <a:pt x="150" y="54"/>
                    <a:pt x="151" y="53"/>
                    <a:pt x="151" y="53"/>
                  </a:cubicBezTo>
                  <a:cubicBezTo>
                    <a:pt x="155" y="50"/>
                    <a:pt x="159" y="47"/>
                    <a:pt x="163" y="44"/>
                  </a:cubicBezTo>
                  <a:cubicBezTo>
                    <a:pt x="167" y="41"/>
                    <a:pt x="171" y="39"/>
                    <a:pt x="175" y="36"/>
                  </a:cubicBezTo>
                  <a:cubicBezTo>
                    <a:pt x="175" y="36"/>
                    <a:pt x="176" y="35"/>
                    <a:pt x="176" y="35"/>
                  </a:cubicBezTo>
                  <a:cubicBezTo>
                    <a:pt x="176" y="36"/>
                    <a:pt x="176" y="37"/>
                    <a:pt x="176" y="38"/>
                  </a:cubicBezTo>
                  <a:cubicBezTo>
                    <a:pt x="176" y="49"/>
                    <a:pt x="177" y="60"/>
                    <a:pt x="176" y="71"/>
                  </a:cubicBezTo>
                  <a:cubicBezTo>
                    <a:pt x="176" y="91"/>
                    <a:pt x="175" y="112"/>
                    <a:pt x="182" y="132"/>
                  </a:cubicBezTo>
                  <a:cubicBezTo>
                    <a:pt x="187" y="150"/>
                    <a:pt x="199" y="166"/>
                    <a:pt x="212" y="179"/>
                  </a:cubicBezTo>
                  <a:cubicBezTo>
                    <a:pt x="226" y="192"/>
                    <a:pt x="243" y="202"/>
                    <a:pt x="262" y="205"/>
                  </a:cubicBezTo>
                  <a:cubicBezTo>
                    <a:pt x="275" y="207"/>
                    <a:pt x="288" y="207"/>
                    <a:pt x="301" y="205"/>
                  </a:cubicBezTo>
                  <a:cubicBezTo>
                    <a:pt x="308" y="204"/>
                    <a:pt x="315" y="203"/>
                    <a:pt x="322" y="201"/>
                  </a:cubicBezTo>
                  <a:cubicBezTo>
                    <a:pt x="327" y="200"/>
                    <a:pt x="332" y="199"/>
                    <a:pt x="337" y="196"/>
                  </a:cubicBezTo>
                  <a:cubicBezTo>
                    <a:pt x="340" y="197"/>
                    <a:pt x="343" y="197"/>
                    <a:pt x="346" y="195"/>
                  </a:cubicBezTo>
                  <a:cubicBezTo>
                    <a:pt x="350" y="194"/>
                    <a:pt x="354" y="192"/>
                    <a:pt x="357" y="190"/>
                  </a:cubicBezTo>
                  <a:cubicBezTo>
                    <a:pt x="364" y="186"/>
                    <a:pt x="370" y="181"/>
                    <a:pt x="375" y="175"/>
                  </a:cubicBezTo>
                  <a:cubicBezTo>
                    <a:pt x="380" y="170"/>
                    <a:pt x="384" y="163"/>
                    <a:pt x="387" y="156"/>
                  </a:cubicBezTo>
                  <a:cubicBezTo>
                    <a:pt x="392" y="146"/>
                    <a:pt x="395" y="136"/>
                    <a:pt x="399" y="126"/>
                  </a:cubicBezTo>
                  <a:cubicBezTo>
                    <a:pt x="405" y="107"/>
                    <a:pt x="408" y="87"/>
                    <a:pt x="411" y="67"/>
                  </a:cubicBezTo>
                  <a:cubicBezTo>
                    <a:pt x="413" y="56"/>
                    <a:pt x="413" y="46"/>
                    <a:pt x="413" y="35"/>
                  </a:cubicBezTo>
                  <a:cubicBezTo>
                    <a:pt x="417" y="40"/>
                    <a:pt x="421" y="44"/>
                    <a:pt x="426" y="48"/>
                  </a:cubicBezTo>
                  <a:cubicBezTo>
                    <a:pt x="432" y="54"/>
                    <a:pt x="437" y="62"/>
                    <a:pt x="443" y="68"/>
                  </a:cubicBezTo>
                  <a:cubicBezTo>
                    <a:pt x="446" y="71"/>
                    <a:pt x="448" y="74"/>
                    <a:pt x="451" y="76"/>
                  </a:cubicBezTo>
                  <a:cubicBezTo>
                    <a:pt x="453" y="79"/>
                    <a:pt x="454" y="82"/>
                    <a:pt x="457" y="84"/>
                  </a:cubicBezTo>
                  <a:cubicBezTo>
                    <a:pt x="457" y="89"/>
                    <a:pt x="459" y="94"/>
                    <a:pt x="462" y="98"/>
                  </a:cubicBezTo>
                  <a:cubicBezTo>
                    <a:pt x="467" y="105"/>
                    <a:pt x="476" y="110"/>
                    <a:pt x="484" y="109"/>
                  </a:cubicBezTo>
                  <a:cubicBezTo>
                    <a:pt x="492" y="108"/>
                    <a:pt x="500" y="103"/>
                    <a:pt x="503" y="95"/>
                  </a:cubicBezTo>
                  <a:cubicBezTo>
                    <a:pt x="503" y="95"/>
                    <a:pt x="503" y="95"/>
                    <a:pt x="503" y="95"/>
                  </a:cubicBezTo>
                  <a:cubicBezTo>
                    <a:pt x="509" y="96"/>
                    <a:pt x="515" y="95"/>
                    <a:pt x="521" y="95"/>
                  </a:cubicBezTo>
                  <a:cubicBezTo>
                    <a:pt x="529" y="94"/>
                    <a:pt x="537" y="93"/>
                    <a:pt x="545" y="93"/>
                  </a:cubicBezTo>
                  <a:cubicBezTo>
                    <a:pt x="547" y="104"/>
                    <a:pt x="558" y="111"/>
                    <a:pt x="569" y="111"/>
                  </a:cubicBezTo>
                  <a:cubicBezTo>
                    <a:pt x="571" y="111"/>
                    <a:pt x="572" y="111"/>
                    <a:pt x="573" y="110"/>
                  </a:cubicBezTo>
                  <a:cubicBezTo>
                    <a:pt x="574" y="112"/>
                    <a:pt x="575" y="114"/>
                    <a:pt x="577" y="116"/>
                  </a:cubicBezTo>
                  <a:cubicBezTo>
                    <a:pt x="579" y="119"/>
                    <a:pt x="581" y="123"/>
                    <a:pt x="584" y="125"/>
                  </a:cubicBezTo>
                  <a:cubicBezTo>
                    <a:pt x="590" y="128"/>
                    <a:pt x="597" y="120"/>
                    <a:pt x="592" y="115"/>
                  </a:cubicBezTo>
                  <a:cubicBezTo>
                    <a:pt x="589" y="113"/>
                    <a:pt x="587" y="112"/>
                    <a:pt x="585" y="110"/>
                  </a:cubicBezTo>
                  <a:cubicBezTo>
                    <a:pt x="584" y="109"/>
                    <a:pt x="583" y="108"/>
                    <a:pt x="582" y="107"/>
                  </a:cubicBezTo>
                  <a:cubicBezTo>
                    <a:pt x="583" y="107"/>
                    <a:pt x="584" y="106"/>
                    <a:pt x="585" y="106"/>
                  </a:cubicBezTo>
                  <a:cubicBezTo>
                    <a:pt x="587" y="107"/>
                    <a:pt x="590" y="108"/>
                    <a:pt x="591" y="109"/>
                  </a:cubicBezTo>
                  <a:cubicBezTo>
                    <a:pt x="595" y="112"/>
                    <a:pt x="600" y="114"/>
                    <a:pt x="605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7" y="115"/>
                    <a:pt x="609" y="115"/>
                    <a:pt x="611" y="113"/>
                  </a:cubicBezTo>
                  <a:cubicBezTo>
                    <a:pt x="615" y="109"/>
                    <a:pt x="613" y="103"/>
                    <a:pt x="608" y="102"/>
                  </a:cubicBezTo>
                  <a:cubicBezTo>
                    <a:pt x="603" y="100"/>
                    <a:pt x="598" y="99"/>
                    <a:pt x="594" y="98"/>
                  </a:cubicBezTo>
                  <a:cubicBezTo>
                    <a:pt x="594" y="96"/>
                    <a:pt x="595" y="95"/>
                    <a:pt x="596" y="94"/>
                  </a:cubicBezTo>
                  <a:cubicBezTo>
                    <a:pt x="598" y="94"/>
                    <a:pt x="601" y="94"/>
                    <a:pt x="603" y="94"/>
                  </a:cubicBezTo>
                  <a:cubicBezTo>
                    <a:pt x="607" y="95"/>
                    <a:pt x="614" y="95"/>
                    <a:pt x="617" y="93"/>
                  </a:cubicBezTo>
                  <a:cubicBezTo>
                    <a:pt x="623" y="90"/>
                    <a:pt x="621" y="81"/>
                    <a:pt x="614" y="81"/>
                  </a:cubicBezTo>
                  <a:close/>
                  <a:moveTo>
                    <a:pt x="51" y="85"/>
                  </a:moveTo>
                  <a:cubicBezTo>
                    <a:pt x="51" y="85"/>
                    <a:pt x="51" y="85"/>
                    <a:pt x="51" y="85"/>
                  </a:cubicBezTo>
                  <a:cubicBezTo>
                    <a:pt x="50" y="87"/>
                    <a:pt x="50" y="87"/>
                    <a:pt x="49" y="88"/>
                  </a:cubicBezTo>
                  <a:cubicBezTo>
                    <a:pt x="48" y="89"/>
                    <a:pt x="47" y="90"/>
                    <a:pt x="45" y="91"/>
                  </a:cubicBezTo>
                  <a:cubicBezTo>
                    <a:pt x="44" y="91"/>
                    <a:pt x="41" y="92"/>
                    <a:pt x="39" y="91"/>
                  </a:cubicBezTo>
                  <a:cubicBezTo>
                    <a:pt x="36" y="91"/>
                    <a:pt x="34" y="88"/>
                    <a:pt x="32" y="85"/>
                  </a:cubicBezTo>
                  <a:cubicBezTo>
                    <a:pt x="30" y="81"/>
                    <a:pt x="31" y="77"/>
                    <a:pt x="33" y="74"/>
                  </a:cubicBezTo>
                  <a:cubicBezTo>
                    <a:pt x="36" y="75"/>
                    <a:pt x="41" y="74"/>
                    <a:pt x="44" y="75"/>
                  </a:cubicBezTo>
                  <a:cubicBezTo>
                    <a:pt x="48" y="75"/>
                    <a:pt x="51" y="78"/>
                    <a:pt x="52" y="80"/>
                  </a:cubicBezTo>
                  <a:cubicBezTo>
                    <a:pt x="52" y="82"/>
                    <a:pt x="52" y="83"/>
                    <a:pt x="51" y="85"/>
                  </a:cubicBezTo>
                  <a:close/>
                  <a:moveTo>
                    <a:pt x="128" y="68"/>
                  </a:moveTo>
                  <a:cubicBezTo>
                    <a:pt x="128" y="68"/>
                    <a:pt x="128" y="68"/>
                    <a:pt x="128" y="68"/>
                  </a:cubicBezTo>
                  <a:cubicBezTo>
                    <a:pt x="126" y="74"/>
                    <a:pt x="120" y="76"/>
                    <a:pt x="115" y="73"/>
                  </a:cubicBezTo>
                  <a:cubicBezTo>
                    <a:pt x="110" y="70"/>
                    <a:pt x="111" y="62"/>
                    <a:pt x="114" y="59"/>
                  </a:cubicBezTo>
                  <a:cubicBezTo>
                    <a:pt x="116" y="57"/>
                    <a:pt x="118" y="56"/>
                    <a:pt x="120" y="55"/>
                  </a:cubicBezTo>
                  <a:cubicBezTo>
                    <a:pt x="122" y="55"/>
                    <a:pt x="124" y="56"/>
                    <a:pt x="125" y="56"/>
                  </a:cubicBezTo>
                  <a:cubicBezTo>
                    <a:pt x="126" y="57"/>
                    <a:pt x="128" y="58"/>
                    <a:pt x="129" y="60"/>
                  </a:cubicBezTo>
                  <a:cubicBezTo>
                    <a:pt x="130" y="61"/>
                    <a:pt x="129" y="65"/>
                    <a:pt x="128" y="68"/>
                  </a:cubicBezTo>
                  <a:close/>
                  <a:moveTo>
                    <a:pt x="399" y="58"/>
                  </a:moveTo>
                  <a:cubicBezTo>
                    <a:pt x="399" y="58"/>
                    <a:pt x="399" y="58"/>
                    <a:pt x="399" y="58"/>
                  </a:cubicBezTo>
                  <a:cubicBezTo>
                    <a:pt x="398" y="68"/>
                    <a:pt x="396" y="78"/>
                    <a:pt x="394" y="87"/>
                  </a:cubicBezTo>
                  <a:cubicBezTo>
                    <a:pt x="393" y="97"/>
                    <a:pt x="391" y="107"/>
                    <a:pt x="388" y="117"/>
                  </a:cubicBezTo>
                  <a:cubicBezTo>
                    <a:pt x="385" y="126"/>
                    <a:pt x="382" y="135"/>
                    <a:pt x="378" y="144"/>
                  </a:cubicBezTo>
                  <a:cubicBezTo>
                    <a:pt x="374" y="151"/>
                    <a:pt x="371" y="158"/>
                    <a:pt x="366" y="164"/>
                  </a:cubicBezTo>
                  <a:cubicBezTo>
                    <a:pt x="362" y="170"/>
                    <a:pt x="357" y="174"/>
                    <a:pt x="351" y="178"/>
                  </a:cubicBezTo>
                  <a:cubicBezTo>
                    <a:pt x="348" y="180"/>
                    <a:pt x="345" y="182"/>
                    <a:pt x="342" y="183"/>
                  </a:cubicBezTo>
                  <a:cubicBezTo>
                    <a:pt x="341" y="184"/>
                    <a:pt x="340" y="184"/>
                    <a:pt x="339" y="185"/>
                  </a:cubicBezTo>
                  <a:cubicBezTo>
                    <a:pt x="334" y="184"/>
                    <a:pt x="329" y="185"/>
                    <a:pt x="324" y="186"/>
                  </a:cubicBezTo>
                  <a:cubicBezTo>
                    <a:pt x="319" y="188"/>
                    <a:pt x="314" y="189"/>
                    <a:pt x="308" y="190"/>
                  </a:cubicBezTo>
                  <a:cubicBezTo>
                    <a:pt x="298" y="192"/>
                    <a:pt x="288" y="193"/>
                    <a:pt x="278" y="193"/>
                  </a:cubicBezTo>
                  <a:cubicBezTo>
                    <a:pt x="260" y="193"/>
                    <a:pt x="242" y="187"/>
                    <a:pt x="228" y="176"/>
                  </a:cubicBezTo>
                  <a:cubicBezTo>
                    <a:pt x="214" y="164"/>
                    <a:pt x="202" y="150"/>
                    <a:pt x="195" y="133"/>
                  </a:cubicBezTo>
                  <a:cubicBezTo>
                    <a:pt x="188" y="114"/>
                    <a:pt x="188" y="93"/>
                    <a:pt x="188" y="73"/>
                  </a:cubicBezTo>
                  <a:cubicBezTo>
                    <a:pt x="189" y="62"/>
                    <a:pt x="188" y="51"/>
                    <a:pt x="188" y="39"/>
                  </a:cubicBezTo>
                  <a:cubicBezTo>
                    <a:pt x="187" y="34"/>
                    <a:pt x="187" y="29"/>
                    <a:pt x="187" y="23"/>
                  </a:cubicBezTo>
                  <a:cubicBezTo>
                    <a:pt x="187" y="21"/>
                    <a:pt x="187" y="19"/>
                    <a:pt x="187" y="17"/>
                  </a:cubicBezTo>
                  <a:cubicBezTo>
                    <a:pt x="187" y="17"/>
                    <a:pt x="186" y="16"/>
                    <a:pt x="186" y="16"/>
                  </a:cubicBezTo>
                  <a:cubicBezTo>
                    <a:pt x="186" y="15"/>
                    <a:pt x="186" y="15"/>
                    <a:pt x="186" y="15"/>
                  </a:cubicBezTo>
                  <a:cubicBezTo>
                    <a:pt x="191" y="17"/>
                    <a:pt x="197" y="18"/>
                    <a:pt x="202" y="18"/>
                  </a:cubicBezTo>
                  <a:cubicBezTo>
                    <a:pt x="210" y="18"/>
                    <a:pt x="218" y="18"/>
                    <a:pt x="226" y="19"/>
                  </a:cubicBezTo>
                  <a:cubicBezTo>
                    <a:pt x="231" y="19"/>
                    <a:pt x="236" y="19"/>
                    <a:pt x="240" y="18"/>
                  </a:cubicBezTo>
                  <a:cubicBezTo>
                    <a:pt x="245" y="18"/>
                    <a:pt x="250" y="18"/>
                    <a:pt x="255" y="18"/>
                  </a:cubicBezTo>
                  <a:cubicBezTo>
                    <a:pt x="265" y="18"/>
                    <a:pt x="276" y="17"/>
                    <a:pt x="286" y="16"/>
                  </a:cubicBezTo>
                  <a:cubicBezTo>
                    <a:pt x="306" y="16"/>
                    <a:pt x="326" y="16"/>
                    <a:pt x="346" y="15"/>
                  </a:cubicBezTo>
                  <a:cubicBezTo>
                    <a:pt x="356" y="15"/>
                    <a:pt x="366" y="15"/>
                    <a:pt x="376" y="15"/>
                  </a:cubicBezTo>
                  <a:cubicBezTo>
                    <a:pt x="384" y="14"/>
                    <a:pt x="392" y="14"/>
                    <a:pt x="400" y="14"/>
                  </a:cubicBezTo>
                  <a:cubicBezTo>
                    <a:pt x="399" y="18"/>
                    <a:pt x="399" y="23"/>
                    <a:pt x="400" y="28"/>
                  </a:cubicBezTo>
                  <a:cubicBezTo>
                    <a:pt x="401" y="38"/>
                    <a:pt x="400" y="48"/>
                    <a:pt x="399" y="58"/>
                  </a:cubicBezTo>
                  <a:close/>
                  <a:moveTo>
                    <a:pt x="486" y="95"/>
                  </a:moveTo>
                  <a:cubicBezTo>
                    <a:pt x="486" y="95"/>
                    <a:pt x="486" y="95"/>
                    <a:pt x="486" y="95"/>
                  </a:cubicBezTo>
                  <a:cubicBezTo>
                    <a:pt x="483" y="97"/>
                    <a:pt x="478" y="95"/>
                    <a:pt x="475" y="93"/>
                  </a:cubicBezTo>
                  <a:cubicBezTo>
                    <a:pt x="472" y="91"/>
                    <a:pt x="469" y="87"/>
                    <a:pt x="470" y="83"/>
                  </a:cubicBezTo>
                  <a:cubicBezTo>
                    <a:pt x="470" y="81"/>
                    <a:pt x="471" y="80"/>
                    <a:pt x="471" y="79"/>
                  </a:cubicBezTo>
                  <a:cubicBezTo>
                    <a:pt x="474" y="80"/>
                    <a:pt x="478" y="79"/>
                    <a:pt x="480" y="79"/>
                  </a:cubicBezTo>
                  <a:cubicBezTo>
                    <a:pt x="486" y="78"/>
                    <a:pt x="491" y="80"/>
                    <a:pt x="492" y="86"/>
                  </a:cubicBezTo>
                  <a:cubicBezTo>
                    <a:pt x="492" y="89"/>
                    <a:pt x="489" y="93"/>
                    <a:pt x="486" y="95"/>
                  </a:cubicBezTo>
                  <a:close/>
                  <a:moveTo>
                    <a:pt x="570" y="97"/>
                  </a:moveTo>
                  <a:cubicBezTo>
                    <a:pt x="570" y="97"/>
                    <a:pt x="570" y="97"/>
                    <a:pt x="570" y="97"/>
                  </a:cubicBezTo>
                  <a:cubicBezTo>
                    <a:pt x="570" y="97"/>
                    <a:pt x="570" y="97"/>
                    <a:pt x="570" y="97"/>
                  </a:cubicBezTo>
                  <a:cubicBezTo>
                    <a:pt x="569" y="97"/>
                    <a:pt x="568" y="97"/>
                    <a:pt x="567" y="97"/>
                  </a:cubicBezTo>
                  <a:cubicBezTo>
                    <a:pt x="567" y="97"/>
                    <a:pt x="566" y="97"/>
                    <a:pt x="566" y="97"/>
                  </a:cubicBezTo>
                  <a:cubicBezTo>
                    <a:pt x="565" y="97"/>
                    <a:pt x="564" y="97"/>
                    <a:pt x="563" y="96"/>
                  </a:cubicBezTo>
                  <a:cubicBezTo>
                    <a:pt x="563" y="96"/>
                    <a:pt x="561" y="95"/>
                    <a:pt x="561" y="95"/>
                  </a:cubicBezTo>
                  <a:cubicBezTo>
                    <a:pt x="559" y="94"/>
                    <a:pt x="559" y="94"/>
                    <a:pt x="559" y="92"/>
                  </a:cubicBezTo>
                  <a:cubicBezTo>
                    <a:pt x="558" y="88"/>
                    <a:pt x="558" y="84"/>
                    <a:pt x="561" y="81"/>
                  </a:cubicBezTo>
                  <a:cubicBezTo>
                    <a:pt x="562" y="80"/>
                    <a:pt x="563" y="80"/>
                    <a:pt x="564" y="79"/>
                  </a:cubicBezTo>
                  <a:cubicBezTo>
                    <a:pt x="569" y="82"/>
                    <a:pt x="574" y="81"/>
                    <a:pt x="579" y="84"/>
                  </a:cubicBezTo>
                  <a:cubicBezTo>
                    <a:pt x="581" y="84"/>
                    <a:pt x="581" y="85"/>
                    <a:pt x="582" y="87"/>
                  </a:cubicBezTo>
                  <a:cubicBezTo>
                    <a:pt x="582" y="87"/>
                    <a:pt x="583" y="87"/>
                    <a:pt x="583" y="87"/>
                  </a:cubicBezTo>
                  <a:cubicBezTo>
                    <a:pt x="583" y="87"/>
                    <a:pt x="583" y="87"/>
                    <a:pt x="583" y="88"/>
                  </a:cubicBezTo>
                  <a:cubicBezTo>
                    <a:pt x="583" y="88"/>
                    <a:pt x="583" y="88"/>
                    <a:pt x="583" y="88"/>
                  </a:cubicBezTo>
                  <a:cubicBezTo>
                    <a:pt x="583" y="88"/>
                    <a:pt x="583" y="88"/>
                    <a:pt x="583" y="88"/>
                  </a:cubicBezTo>
                  <a:cubicBezTo>
                    <a:pt x="583" y="88"/>
                    <a:pt x="583" y="89"/>
                    <a:pt x="583" y="90"/>
                  </a:cubicBezTo>
                  <a:cubicBezTo>
                    <a:pt x="583" y="90"/>
                    <a:pt x="583" y="90"/>
                    <a:pt x="583" y="90"/>
                  </a:cubicBezTo>
                  <a:cubicBezTo>
                    <a:pt x="582" y="90"/>
                    <a:pt x="582" y="90"/>
                    <a:pt x="582" y="90"/>
                  </a:cubicBezTo>
                  <a:cubicBezTo>
                    <a:pt x="582" y="91"/>
                    <a:pt x="582" y="91"/>
                    <a:pt x="582" y="91"/>
                  </a:cubicBezTo>
                  <a:cubicBezTo>
                    <a:pt x="582" y="91"/>
                    <a:pt x="582" y="91"/>
                    <a:pt x="582" y="91"/>
                  </a:cubicBezTo>
                  <a:cubicBezTo>
                    <a:pt x="581" y="92"/>
                    <a:pt x="580" y="92"/>
                    <a:pt x="580" y="93"/>
                  </a:cubicBezTo>
                  <a:cubicBezTo>
                    <a:pt x="580" y="93"/>
                    <a:pt x="579" y="94"/>
                    <a:pt x="579" y="94"/>
                  </a:cubicBezTo>
                  <a:cubicBezTo>
                    <a:pt x="578" y="95"/>
                    <a:pt x="577" y="95"/>
                    <a:pt x="576" y="95"/>
                  </a:cubicBezTo>
                  <a:cubicBezTo>
                    <a:pt x="576" y="96"/>
                    <a:pt x="576" y="96"/>
                    <a:pt x="575" y="96"/>
                  </a:cubicBezTo>
                  <a:cubicBezTo>
                    <a:pt x="575" y="96"/>
                    <a:pt x="575" y="96"/>
                    <a:pt x="574" y="96"/>
                  </a:cubicBezTo>
                  <a:cubicBezTo>
                    <a:pt x="573" y="96"/>
                    <a:pt x="572" y="97"/>
                    <a:pt x="571" y="97"/>
                  </a:cubicBezTo>
                  <a:cubicBezTo>
                    <a:pt x="571" y="97"/>
                    <a:pt x="571" y="97"/>
                    <a:pt x="570" y="9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0" name="i$ļïḑe"/>
            <p:cNvSpPr/>
            <p:nvPr/>
          </p:nvSpPr>
          <p:spPr bwMode="auto">
            <a:xfrm>
              <a:off x="6185981" y="4651721"/>
              <a:ext cx="91464" cy="91464"/>
            </a:xfrm>
            <a:prstGeom prst="ellipse">
              <a:avLst/>
            </a:pr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1" name="ïṩḻidè"/>
            <p:cNvSpPr/>
            <p:nvPr/>
          </p:nvSpPr>
          <p:spPr bwMode="auto">
            <a:xfrm>
              <a:off x="6341806" y="4651721"/>
              <a:ext cx="91464" cy="91464"/>
            </a:xfrm>
            <a:prstGeom prst="ellipse">
              <a:avLst/>
            </a:pr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2" name="îṩḷide"/>
            <p:cNvSpPr/>
            <p:nvPr/>
          </p:nvSpPr>
          <p:spPr bwMode="auto">
            <a:xfrm>
              <a:off x="6453595" y="4651721"/>
              <a:ext cx="115175" cy="84689"/>
            </a:xfrm>
            <a:custGeom>
              <a:avLst/>
              <a:gdLst>
                <a:gd name="T0" fmla="*/ 8 w 16"/>
                <a:gd name="T1" fmla="*/ 0 h 12"/>
                <a:gd name="T2" fmla="*/ 8 w 16"/>
                <a:gd name="T3" fmla="*/ 12 h 12"/>
                <a:gd name="T4" fmla="*/ 8 w 1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cubicBezTo>
                    <a:pt x="0" y="0"/>
                    <a:pt x="0" y="12"/>
                    <a:pt x="8" y="12"/>
                  </a:cubicBezTo>
                  <a:cubicBezTo>
                    <a:pt x="16" y="12"/>
                    <a:pt x="16" y="0"/>
                    <a:pt x="8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3" name="ïšḷïḋe"/>
            <p:cNvSpPr/>
            <p:nvPr/>
          </p:nvSpPr>
          <p:spPr bwMode="auto">
            <a:xfrm>
              <a:off x="5376367" y="4089395"/>
              <a:ext cx="1199178" cy="484415"/>
            </a:xfrm>
            <a:custGeom>
              <a:avLst/>
              <a:gdLst>
                <a:gd name="T0" fmla="*/ 149 w 170"/>
                <a:gd name="T1" fmla="*/ 66 h 69"/>
                <a:gd name="T2" fmla="*/ 149 w 170"/>
                <a:gd name="T3" fmla="*/ 66 h 69"/>
                <a:gd name="T4" fmla="*/ 126 w 170"/>
                <a:gd name="T5" fmla="*/ 68 h 69"/>
                <a:gd name="T6" fmla="*/ 104 w 170"/>
                <a:gd name="T7" fmla="*/ 68 h 69"/>
                <a:gd name="T8" fmla="*/ 82 w 170"/>
                <a:gd name="T9" fmla="*/ 69 h 69"/>
                <a:gd name="T10" fmla="*/ 38 w 170"/>
                <a:gd name="T11" fmla="*/ 69 h 69"/>
                <a:gd name="T12" fmla="*/ 18 w 170"/>
                <a:gd name="T13" fmla="*/ 68 h 69"/>
                <a:gd name="T14" fmla="*/ 8 w 170"/>
                <a:gd name="T15" fmla="*/ 69 h 69"/>
                <a:gd name="T16" fmla="*/ 3 w 170"/>
                <a:gd name="T17" fmla="*/ 69 h 69"/>
                <a:gd name="T18" fmla="*/ 4 w 170"/>
                <a:gd name="T19" fmla="*/ 56 h 69"/>
                <a:gd name="T20" fmla="*/ 2 w 170"/>
                <a:gd name="T21" fmla="*/ 38 h 69"/>
                <a:gd name="T22" fmla="*/ 1 w 170"/>
                <a:gd name="T23" fmla="*/ 20 h 69"/>
                <a:gd name="T24" fmla="*/ 0 w 170"/>
                <a:gd name="T25" fmla="*/ 13 h 69"/>
                <a:gd name="T26" fmla="*/ 1 w 170"/>
                <a:gd name="T27" fmla="*/ 12 h 69"/>
                <a:gd name="T28" fmla="*/ 3 w 170"/>
                <a:gd name="T29" fmla="*/ 5 h 69"/>
                <a:gd name="T30" fmla="*/ 3 w 170"/>
                <a:gd name="T31" fmla="*/ 4 h 69"/>
                <a:gd name="T32" fmla="*/ 4 w 170"/>
                <a:gd name="T33" fmla="*/ 4 h 69"/>
                <a:gd name="T34" fmla="*/ 4 w 170"/>
                <a:gd name="T35" fmla="*/ 4 h 69"/>
                <a:gd name="T36" fmla="*/ 8 w 170"/>
                <a:gd name="T37" fmla="*/ 3 h 69"/>
                <a:gd name="T38" fmla="*/ 30 w 170"/>
                <a:gd name="T39" fmla="*/ 3 h 69"/>
                <a:gd name="T40" fmla="*/ 77 w 170"/>
                <a:gd name="T41" fmla="*/ 3 h 69"/>
                <a:gd name="T42" fmla="*/ 124 w 170"/>
                <a:gd name="T43" fmla="*/ 2 h 69"/>
                <a:gd name="T44" fmla="*/ 168 w 170"/>
                <a:gd name="T45" fmla="*/ 0 h 69"/>
                <a:gd name="T46" fmla="*/ 169 w 170"/>
                <a:gd name="T47" fmla="*/ 0 h 69"/>
                <a:gd name="T48" fmla="*/ 170 w 170"/>
                <a:gd name="T49" fmla="*/ 6 h 69"/>
                <a:gd name="T50" fmla="*/ 169 w 170"/>
                <a:gd name="T51" fmla="*/ 15 h 69"/>
                <a:gd name="T52" fmla="*/ 168 w 170"/>
                <a:gd name="T53" fmla="*/ 34 h 69"/>
                <a:gd name="T54" fmla="*/ 168 w 170"/>
                <a:gd name="T55" fmla="*/ 55 h 69"/>
                <a:gd name="T56" fmla="*/ 167 w 170"/>
                <a:gd name="T57" fmla="*/ 65 h 69"/>
                <a:gd name="T58" fmla="*/ 149 w 170"/>
                <a:gd name="T59" fmla="*/ 6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0" h="69">
                  <a:moveTo>
                    <a:pt x="149" y="66"/>
                  </a:moveTo>
                  <a:cubicBezTo>
                    <a:pt x="149" y="66"/>
                    <a:pt x="149" y="66"/>
                    <a:pt x="149" y="66"/>
                  </a:cubicBezTo>
                  <a:cubicBezTo>
                    <a:pt x="141" y="67"/>
                    <a:pt x="134" y="68"/>
                    <a:pt x="126" y="68"/>
                  </a:cubicBezTo>
                  <a:cubicBezTo>
                    <a:pt x="119" y="68"/>
                    <a:pt x="111" y="67"/>
                    <a:pt x="104" y="68"/>
                  </a:cubicBezTo>
                  <a:cubicBezTo>
                    <a:pt x="97" y="68"/>
                    <a:pt x="89" y="69"/>
                    <a:pt x="82" y="69"/>
                  </a:cubicBezTo>
                  <a:cubicBezTo>
                    <a:pt x="67" y="69"/>
                    <a:pt x="53" y="69"/>
                    <a:pt x="38" y="69"/>
                  </a:cubicBezTo>
                  <a:cubicBezTo>
                    <a:pt x="31" y="69"/>
                    <a:pt x="25" y="68"/>
                    <a:pt x="18" y="68"/>
                  </a:cubicBezTo>
                  <a:cubicBezTo>
                    <a:pt x="15" y="68"/>
                    <a:pt x="11" y="69"/>
                    <a:pt x="8" y="69"/>
                  </a:cubicBezTo>
                  <a:cubicBezTo>
                    <a:pt x="6" y="69"/>
                    <a:pt x="4" y="69"/>
                    <a:pt x="3" y="69"/>
                  </a:cubicBezTo>
                  <a:cubicBezTo>
                    <a:pt x="4" y="65"/>
                    <a:pt x="4" y="60"/>
                    <a:pt x="4" y="56"/>
                  </a:cubicBezTo>
                  <a:cubicBezTo>
                    <a:pt x="4" y="50"/>
                    <a:pt x="3" y="44"/>
                    <a:pt x="2" y="38"/>
                  </a:cubicBezTo>
                  <a:cubicBezTo>
                    <a:pt x="2" y="32"/>
                    <a:pt x="1" y="26"/>
                    <a:pt x="1" y="20"/>
                  </a:cubicBezTo>
                  <a:cubicBezTo>
                    <a:pt x="0" y="17"/>
                    <a:pt x="0" y="15"/>
                    <a:pt x="0" y="13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1" y="10"/>
                    <a:pt x="1" y="7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7" y="3"/>
                    <a:pt x="8" y="3"/>
                  </a:cubicBezTo>
                  <a:cubicBezTo>
                    <a:pt x="16" y="2"/>
                    <a:pt x="23" y="2"/>
                    <a:pt x="30" y="3"/>
                  </a:cubicBezTo>
                  <a:cubicBezTo>
                    <a:pt x="46" y="4"/>
                    <a:pt x="62" y="3"/>
                    <a:pt x="77" y="3"/>
                  </a:cubicBezTo>
                  <a:cubicBezTo>
                    <a:pt x="93" y="3"/>
                    <a:pt x="109" y="3"/>
                    <a:pt x="124" y="2"/>
                  </a:cubicBezTo>
                  <a:cubicBezTo>
                    <a:pt x="139" y="1"/>
                    <a:pt x="154" y="0"/>
                    <a:pt x="168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2"/>
                    <a:pt x="170" y="4"/>
                    <a:pt x="170" y="6"/>
                  </a:cubicBezTo>
                  <a:cubicBezTo>
                    <a:pt x="170" y="9"/>
                    <a:pt x="169" y="12"/>
                    <a:pt x="169" y="15"/>
                  </a:cubicBezTo>
                  <a:cubicBezTo>
                    <a:pt x="168" y="21"/>
                    <a:pt x="168" y="28"/>
                    <a:pt x="168" y="34"/>
                  </a:cubicBezTo>
                  <a:cubicBezTo>
                    <a:pt x="168" y="41"/>
                    <a:pt x="168" y="48"/>
                    <a:pt x="168" y="55"/>
                  </a:cubicBezTo>
                  <a:cubicBezTo>
                    <a:pt x="167" y="58"/>
                    <a:pt x="167" y="61"/>
                    <a:pt x="167" y="65"/>
                  </a:cubicBezTo>
                  <a:cubicBezTo>
                    <a:pt x="161" y="66"/>
                    <a:pt x="155" y="66"/>
                    <a:pt x="149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4" name="ïşliḍê"/>
            <p:cNvSpPr/>
            <p:nvPr/>
          </p:nvSpPr>
          <p:spPr bwMode="auto">
            <a:xfrm>
              <a:off x="6463757" y="4089395"/>
              <a:ext cx="111789" cy="464090"/>
            </a:xfrm>
            <a:custGeom>
              <a:avLst/>
              <a:gdLst>
                <a:gd name="T0" fmla="*/ 11 w 16"/>
                <a:gd name="T1" fmla="*/ 0 h 66"/>
                <a:gd name="T2" fmla="*/ 14 w 16"/>
                <a:gd name="T3" fmla="*/ 0 h 66"/>
                <a:gd name="T4" fmla="*/ 15 w 16"/>
                <a:gd name="T5" fmla="*/ 0 h 66"/>
                <a:gd name="T6" fmla="*/ 16 w 16"/>
                <a:gd name="T7" fmla="*/ 6 h 66"/>
                <a:gd name="T8" fmla="*/ 15 w 16"/>
                <a:gd name="T9" fmla="*/ 15 h 66"/>
                <a:gd name="T10" fmla="*/ 14 w 16"/>
                <a:gd name="T11" fmla="*/ 34 h 66"/>
                <a:gd name="T12" fmla="*/ 14 w 16"/>
                <a:gd name="T13" fmla="*/ 55 h 66"/>
                <a:gd name="T14" fmla="*/ 13 w 16"/>
                <a:gd name="T15" fmla="*/ 65 h 66"/>
                <a:gd name="T16" fmla="*/ 0 w 16"/>
                <a:gd name="T17" fmla="*/ 66 h 66"/>
                <a:gd name="T18" fmla="*/ 11 w 1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66">
                  <a:moveTo>
                    <a:pt x="11" y="0"/>
                  </a:move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2"/>
                    <a:pt x="16" y="4"/>
                    <a:pt x="16" y="6"/>
                  </a:cubicBezTo>
                  <a:cubicBezTo>
                    <a:pt x="16" y="9"/>
                    <a:pt x="15" y="12"/>
                    <a:pt x="15" y="15"/>
                  </a:cubicBezTo>
                  <a:cubicBezTo>
                    <a:pt x="14" y="21"/>
                    <a:pt x="14" y="28"/>
                    <a:pt x="14" y="34"/>
                  </a:cubicBezTo>
                  <a:cubicBezTo>
                    <a:pt x="14" y="41"/>
                    <a:pt x="14" y="48"/>
                    <a:pt x="14" y="55"/>
                  </a:cubicBezTo>
                  <a:cubicBezTo>
                    <a:pt x="13" y="58"/>
                    <a:pt x="13" y="61"/>
                    <a:pt x="13" y="65"/>
                  </a:cubicBezTo>
                  <a:cubicBezTo>
                    <a:pt x="9" y="65"/>
                    <a:pt x="5" y="66"/>
                    <a:pt x="0" y="66"/>
                  </a:cubicBezTo>
                  <a:cubicBezTo>
                    <a:pt x="7" y="42"/>
                    <a:pt x="10" y="18"/>
                    <a:pt x="11" y="0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5" name="íṣļïḍe"/>
            <p:cNvSpPr/>
            <p:nvPr/>
          </p:nvSpPr>
          <p:spPr bwMode="auto">
            <a:xfrm>
              <a:off x="6138556" y="3120567"/>
              <a:ext cx="240514" cy="210025"/>
            </a:xfrm>
            <a:custGeom>
              <a:avLst/>
              <a:gdLst>
                <a:gd name="T0" fmla="*/ 19 w 34"/>
                <a:gd name="T1" fmla="*/ 28 h 30"/>
                <a:gd name="T2" fmla="*/ 31 w 34"/>
                <a:gd name="T3" fmla="*/ 10 h 30"/>
                <a:gd name="T4" fmla="*/ 14 w 34"/>
                <a:gd name="T5" fmla="*/ 0 h 30"/>
                <a:gd name="T6" fmla="*/ 7 w 34"/>
                <a:gd name="T7" fmla="*/ 3 h 30"/>
                <a:gd name="T8" fmla="*/ 4 w 34"/>
                <a:gd name="T9" fmla="*/ 5 h 30"/>
                <a:gd name="T10" fmla="*/ 0 w 34"/>
                <a:gd name="T11" fmla="*/ 15 h 30"/>
                <a:gd name="T12" fmla="*/ 19 w 34"/>
                <a:gd name="T1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">
                  <a:moveTo>
                    <a:pt x="19" y="28"/>
                  </a:moveTo>
                  <a:cubicBezTo>
                    <a:pt x="27" y="27"/>
                    <a:pt x="34" y="18"/>
                    <a:pt x="31" y="10"/>
                  </a:cubicBezTo>
                  <a:cubicBezTo>
                    <a:pt x="29" y="3"/>
                    <a:pt x="20" y="0"/>
                    <a:pt x="14" y="0"/>
                  </a:cubicBezTo>
                  <a:cubicBezTo>
                    <a:pt x="11" y="0"/>
                    <a:pt x="8" y="1"/>
                    <a:pt x="7" y="3"/>
                  </a:cubicBezTo>
                  <a:cubicBezTo>
                    <a:pt x="6" y="3"/>
                    <a:pt x="5" y="4"/>
                    <a:pt x="4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4"/>
                    <a:pt x="11" y="30"/>
                    <a:pt x="19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6" name="íś1iḑe"/>
            <p:cNvSpPr/>
            <p:nvPr/>
          </p:nvSpPr>
          <p:spPr bwMode="auto">
            <a:xfrm>
              <a:off x="5518643" y="3120567"/>
              <a:ext cx="233739" cy="250676"/>
            </a:xfrm>
            <a:custGeom>
              <a:avLst/>
              <a:gdLst>
                <a:gd name="T0" fmla="*/ 30 w 33"/>
                <a:gd name="T1" fmla="*/ 11 h 36"/>
                <a:gd name="T2" fmla="*/ 17 w 33"/>
                <a:gd name="T3" fmla="*/ 1 h 36"/>
                <a:gd name="T4" fmla="*/ 11 w 33"/>
                <a:gd name="T5" fmla="*/ 2 h 36"/>
                <a:gd name="T6" fmla="*/ 2 w 33"/>
                <a:gd name="T7" fmla="*/ 8 h 36"/>
                <a:gd name="T8" fmla="*/ 3 w 33"/>
                <a:gd name="T9" fmla="*/ 23 h 36"/>
                <a:gd name="T10" fmla="*/ 30 w 33"/>
                <a:gd name="T1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6">
                  <a:moveTo>
                    <a:pt x="30" y="11"/>
                  </a:moveTo>
                  <a:cubicBezTo>
                    <a:pt x="29" y="5"/>
                    <a:pt x="23" y="0"/>
                    <a:pt x="17" y="1"/>
                  </a:cubicBezTo>
                  <a:cubicBezTo>
                    <a:pt x="15" y="1"/>
                    <a:pt x="12" y="1"/>
                    <a:pt x="11" y="2"/>
                  </a:cubicBezTo>
                  <a:cubicBezTo>
                    <a:pt x="7" y="3"/>
                    <a:pt x="4" y="5"/>
                    <a:pt x="2" y="8"/>
                  </a:cubicBezTo>
                  <a:cubicBezTo>
                    <a:pt x="0" y="12"/>
                    <a:pt x="0" y="18"/>
                    <a:pt x="3" y="23"/>
                  </a:cubicBezTo>
                  <a:cubicBezTo>
                    <a:pt x="11" y="36"/>
                    <a:pt x="33" y="26"/>
                    <a:pt x="30" y="1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7" name="íśľïďé"/>
            <p:cNvSpPr/>
            <p:nvPr/>
          </p:nvSpPr>
          <p:spPr bwMode="auto">
            <a:xfrm>
              <a:off x="5420404" y="3401730"/>
              <a:ext cx="1063678" cy="335364"/>
            </a:xfrm>
            <a:custGeom>
              <a:avLst/>
              <a:gdLst>
                <a:gd name="T0" fmla="*/ 1 w 151"/>
                <a:gd name="T1" fmla="*/ 42 h 48"/>
                <a:gd name="T2" fmla="*/ 1 w 151"/>
                <a:gd name="T3" fmla="*/ 42 h 48"/>
                <a:gd name="T4" fmla="*/ 2 w 151"/>
                <a:gd name="T5" fmla="*/ 44 h 48"/>
                <a:gd name="T6" fmla="*/ 10 w 151"/>
                <a:gd name="T7" fmla="*/ 46 h 48"/>
                <a:gd name="T8" fmla="*/ 19 w 151"/>
                <a:gd name="T9" fmla="*/ 46 h 48"/>
                <a:gd name="T10" fmla="*/ 38 w 151"/>
                <a:gd name="T11" fmla="*/ 46 h 48"/>
                <a:gd name="T12" fmla="*/ 57 w 151"/>
                <a:gd name="T13" fmla="*/ 46 h 48"/>
                <a:gd name="T14" fmla="*/ 76 w 151"/>
                <a:gd name="T15" fmla="*/ 48 h 48"/>
                <a:gd name="T16" fmla="*/ 94 w 151"/>
                <a:gd name="T17" fmla="*/ 47 h 48"/>
                <a:gd name="T18" fmla="*/ 113 w 151"/>
                <a:gd name="T19" fmla="*/ 46 h 48"/>
                <a:gd name="T20" fmla="*/ 131 w 151"/>
                <a:gd name="T21" fmla="*/ 46 h 48"/>
                <a:gd name="T22" fmla="*/ 149 w 151"/>
                <a:gd name="T23" fmla="*/ 43 h 48"/>
                <a:gd name="T24" fmla="*/ 150 w 151"/>
                <a:gd name="T25" fmla="*/ 39 h 48"/>
                <a:gd name="T26" fmla="*/ 151 w 151"/>
                <a:gd name="T27" fmla="*/ 33 h 48"/>
                <a:gd name="T28" fmla="*/ 151 w 151"/>
                <a:gd name="T29" fmla="*/ 23 h 48"/>
                <a:gd name="T30" fmla="*/ 150 w 151"/>
                <a:gd name="T31" fmla="*/ 13 h 48"/>
                <a:gd name="T32" fmla="*/ 150 w 151"/>
                <a:gd name="T33" fmla="*/ 6 h 48"/>
                <a:gd name="T34" fmla="*/ 148 w 151"/>
                <a:gd name="T35" fmla="*/ 4 h 48"/>
                <a:gd name="T36" fmla="*/ 136 w 151"/>
                <a:gd name="T37" fmla="*/ 1 h 48"/>
                <a:gd name="T38" fmla="*/ 117 w 151"/>
                <a:gd name="T39" fmla="*/ 1 h 48"/>
                <a:gd name="T40" fmla="*/ 97 w 151"/>
                <a:gd name="T41" fmla="*/ 0 h 48"/>
                <a:gd name="T42" fmla="*/ 78 w 151"/>
                <a:gd name="T43" fmla="*/ 2 h 48"/>
                <a:gd name="T44" fmla="*/ 41 w 151"/>
                <a:gd name="T45" fmla="*/ 1 h 48"/>
                <a:gd name="T46" fmla="*/ 21 w 151"/>
                <a:gd name="T47" fmla="*/ 2 h 48"/>
                <a:gd name="T48" fmla="*/ 11 w 151"/>
                <a:gd name="T49" fmla="*/ 3 h 48"/>
                <a:gd name="T50" fmla="*/ 3 w 151"/>
                <a:gd name="T51" fmla="*/ 4 h 48"/>
                <a:gd name="T52" fmla="*/ 2 w 151"/>
                <a:gd name="T53" fmla="*/ 5 h 48"/>
                <a:gd name="T54" fmla="*/ 1 w 151"/>
                <a:gd name="T55" fmla="*/ 7 h 48"/>
                <a:gd name="T56" fmla="*/ 0 w 151"/>
                <a:gd name="T57" fmla="*/ 17 h 48"/>
                <a:gd name="T58" fmla="*/ 0 w 151"/>
                <a:gd name="T59" fmla="*/ 28 h 48"/>
                <a:gd name="T60" fmla="*/ 0 w 151"/>
                <a:gd name="T61" fmla="*/ 38 h 48"/>
                <a:gd name="T62" fmla="*/ 1 w 151"/>
                <a:gd name="T63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48"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2" y="44"/>
                    <a:pt x="2" y="44"/>
                  </a:cubicBezTo>
                  <a:cubicBezTo>
                    <a:pt x="5" y="46"/>
                    <a:pt x="7" y="46"/>
                    <a:pt x="10" y="46"/>
                  </a:cubicBezTo>
                  <a:cubicBezTo>
                    <a:pt x="13" y="46"/>
                    <a:pt x="16" y="45"/>
                    <a:pt x="19" y="46"/>
                  </a:cubicBezTo>
                  <a:cubicBezTo>
                    <a:pt x="25" y="46"/>
                    <a:pt x="32" y="46"/>
                    <a:pt x="38" y="46"/>
                  </a:cubicBezTo>
                  <a:cubicBezTo>
                    <a:pt x="44" y="46"/>
                    <a:pt x="51" y="46"/>
                    <a:pt x="57" y="46"/>
                  </a:cubicBezTo>
                  <a:cubicBezTo>
                    <a:pt x="63" y="46"/>
                    <a:pt x="70" y="47"/>
                    <a:pt x="76" y="48"/>
                  </a:cubicBezTo>
                  <a:cubicBezTo>
                    <a:pt x="82" y="48"/>
                    <a:pt x="88" y="48"/>
                    <a:pt x="94" y="47"/>
                  </a:cubicBezTo>
                  <a:cubicBezTo>
                    <a:pt x="100" y="46"/>
                    <a:pt x="106" y="46"/>
                    <a:pt x="113" y="46"/>
                  </a:cubicBezTo>
                  <a:cubicBezTo>
                    <a:pt x="119" y="47"/>
                    <a:pt x="125" y="47"/>
                    <a:pt x="131" y="46"/>
                  </a:cubicBezTo>
                  <a:cubicBezTo>
                    <a:pt x="137" y="46"/>
                    <a:pt x="143" y="46"/>
                    <a:pt x="149" y="43"/>
                  </a:cubicBezTo>
                  <a:cubicBezTo>
                    <a:pt x="150" y="42"/>
                    <a:pt x="150" y="41"/>
                    <a:pt x="150" y="39"/>
                  </a:cubicBezTo>
                  <a:cubicBezTo>
                    <a:pt x="150" y="37"/>
                    <a:pt x="151" y="35"/>
                    <a:pt x="151" y="33"/>
                  </a:cubicBezTo>
                  <a:cubicBezTo>
                    <a:pt x="151" y="30"/>
                    <a:pt x="151" y="27"/>
                    <a:pt x="151" y="23"/>
                  </a:cubicBezTo>
                  <a:cubicBezTo>
                    <a:pt x="150" y="20"/>
                    <a:pt x="150" y="17"/>
                    <a:pt x="150" y="13"/>
                  </a:cubicBezTo>
                  <a:cubicBezTo>
                    <a:pt x="150" y="11"/>
                    <a:pt x="151" y="9"/>
                    <a:pt x="150" y="6"/>
                  </a:cubicBezTo>
                  <a:cubicBezTo>
                    <a:pt x="150" y="5"/>
                    <a:pt x="149" y="4"/>
                    <a:pt x="148" y="4"/>
                  </a:cubicBezTo>
                  <a:cubicBezTo>
                    <a:pt x="145" y="0"/>
                    <a:pt x="140" y="1"/>
                    <a:pt x="136" y="1"/>
                  </a:cubicBezTo>
                  <a:cubicBezTo>
                    <a:pt x="130" y="1"/>
                    <a:pt x="123" y="1"/>
                    <a:pt x="117" y="1"/>
                  </a:cubicBezTo>
                  <a:cubicBezTo>
                    <a:pt x="110" y="0"/>
                    <a:pt x="104" y="0"/>
                    <a:pt x="97" y="0"/>
                  </a:cubicBezTo>
                  <a:cubicBezTo>
                    <a:pt x="91" y="0"/>
                    <a:pt x="85" y="1"/>
                    <a:pt x="78" y="2"/>
                  </a:cubicBezTo>
                  <a:cubicBezTo>
                    <a:pt x="66" y="3"/>
                    <a:pt x="53" y="2"/>
                    <a:pt x="41" y="1"/>
                  </a:cubicBezTo>
                  <a:cubicBezTo>
                    <a:pt x="34" y="1"/>
                    <a:pt x="28" y="2"/>
                    <a:pt x="21" y="2"/>
                  </a:cubicBezTo>
                  <a:cubicBezTo>
                    <a:pt x="18" y="2"/>
                    <a:pt x="14" y="3"/>
                    <a:pt x="11" y="3"/>
                  </a:cubicBezTo>
                  <a:cubicBezTo>
                    <a:pt x="8" y="4"/>
                    <a:pt x="6" y="3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10"/>
                    <a:pt x="1" y="13"/>
                    <a:pt x="0" y="17"/>
                  </a:cubicBezTo>
                  <a:cubicBezTo>
                    <a:pt x="0" y="20"/>
                    <a:pt x="0" y="24"/>
                    <a:pt x="0" y="28"/>
                  </a:cubicBezTo>
                  <a:cubicBezTo>
                    <a:pt x="0" y="31"/>
                    <a:pt x="0" y="35"/>
                    <a:pt x="0" y="38"/>
                  </a:cubicBezTo>
                  <a:cubicBezTo>
                    <a:pt x="0" y="40"/>
                    <a:pt x="0" y="41"/>
                    <a:pt x="1" y="4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8" name="ïšḻíḑê"/>
            <p:cNvSpPr/>
            <p:nvPr/>
          </p:nvSpPr>
          <p:spPr bwMode="auto">
            <a:xfrm>
              <a:off x="4675152" y="2155127"/>
              <a:ext cx="2689683" cy="2378030"/>
            </a:xfrm>
            <a:custGeom>
              <a:avLst/>
              <a:gdLst>
                <a:gd name="T0" fmla="*/ 69 w 382"/>
                <a:gd name="T1" fmla="*/ 160 h 338"/>
                <a:gd name="T2" fmla="*/ 69 w 382"/>
                <a:gd name="T3" fmla="*/ 160 h 338"/>
                <a:gd name="T4" fmla="*/ 66 w 382"/>
                <a:gd name="T5" fmla="*/ 180 h 338"/>
                <a:gd name="T6" fmla="*/ 59 w 382"/>
                <a:gd name="T7" fmla="*/ 181 h 338"/>
                <a:gd name="T8" fmla="*/ 53 w 382"/>
                <a:gd name="T9" fmla="*/ 182 h 338"/>
                <a:gd name="T10" fmla="*/ 54 w 382"/>
                <a:gd name="T11" fmla="*/ 170 h 338"/>
                <a:gd name="T12" fmla="*/ 56 w 382"/>
                <a:gd name="T13" fmla="*/ 159 h 338"/>
                <a:gd name="T14" fmla="*/ 69 w 382"/>
                <a:gd name="T15" fmla="*/ 160 h 338"/>
                <a:gd name="T16" fmla="*/ 119 w 382"/>
                <a:gd name="T17" fmla="*/ 21 h 338"/>
                <a:gd name="T18" fmla="*/ 119 w 382"/>
                <a:gd name="T19" fmla="*/ 21 h 338"/>
                <a:gd name="T20" fmla="*/ 107 w 382"/>
                <a:gd name="T21" fmla="*/ 12 h 338"/>
                <a:gd name="T22" fmla="*/ 113 w 382"/>
                <a:gd name="T23" fmla="*/ 0 h 338"/>
                <a:gd name="T24" fmla="*/ 123 w 382"/>
                <a:gd name="T25" fmla="*/ 1 h 338"/>
                <a:gd name="T26" fmla="*/ 129 w 382"/>
                <a:gd name="T27" fmla="*/ 7 h 338"/>
                <a:gd name="T28" fmla="*/ 119 w 382"/>
                <a:gd name="T29" fmla="*/ 21 h 338"/>
                <a:gd name="T30" fmla="*/ 18 w 382"/>
                <a:gd name="T31" fmla="*/ 309 h 338"/>
                <a:gd name="T32" fmla="*/ 18 w 382"/>
                <a:gd name="T33" fmla="*/ 309 h 338"/>
                <a:gd name="T34" fmla="*/ 5 w 382"/>
                <a:gd name="T35" fmla="*/ 314 h 338"/>
                <a:gd name="T36" fmla="*/ 4 w 382"/>
                <a:gd name="T37" fmla="*/ 300 h 338"/>
                <a:gd name="T38" fmla="*/ 10 w 382"/>
                <a:gd name="T39" fmla="*/ 296 h 338"/>
                <a:gd name="T40" fmla="*/ 15 w 382"/>
                <a:gd name="T41" fmla="*/ 297 h 338"/>
                <a:gd name="T42" fmla="*/ 19 w 382"/>
                <a:gd name="T43" fmla="*/ 301 h 338"/>
                <a:gd name="T44" fmla="*/ 18 w 382"/>
                <a:gd name="T45" fmla="*/ 309 h 338"/>
                <a:gd name="T46" fmla="*/ 376 w 382"/>
                <a:gd name="T47" fmla="*/ 336 h 338"/>
                <a:gd name="T48" fmla="*/ 376 w 382"/>
                <a:gd name="T49" fmla="*/ 336 h 338"/>
                <a:gd name="T50" fmla="*/ 365 w 382"/>
                <a:gd name="T51" fmla="*/ 334 h 338"/>
                <a:gd name="T52" fmla="*/ 360 w 382"/>
                <a:gd name="T53" fmla="*/ 324 h 338"/>
                <a:gd name="T54" fmla="*/ 361 w 382"/>
                <a:gd name="T55" fmla="*/ 320 h 338"/>
                <a:gd name="T56" fmla="*/ 370 w 382"/>
                <a:gd name="T57" fmla="*/ 320 h 338"/>
                <a:gd name="T58" fmla="*/ 382 w 382"/>
                <a:gd name="T59" fmla="*/ 327 h 338"/>
                <a:gd name="T60" fmla="*/ 376 w 382"/>
                <a:gd name="T61" fmla="*/ 336 h 338"/>
                <a:gd name="T62" fmla="*/ 299 w 382"/>
                <a:gd name="T63" fmla="*/ 155 h 338"/>
                <a:gd name="T64" fmla="*/ 299 w 382"/>
                <a:gd name="T65" fmla="*/ 155 h 338"/>
                <a:gd name="T66" fmla="*/ 308 w 382"/>
                <a:gd name="T67" fmla="*/ 155 h 338"/>
                <a:gd name="T68" fmla="*/ 307 w 382"/>
                <a:gd name="T69" fmla="*/ 161 h 338"/>
                <a:gd name="T70" fmla="*/ 306 w 382"/>
                <a:gd name="T71" fmla="*/ 175 h 338"/>
                <a:gd name="T72" fmla="*/ 301 w 382"/>
                <a:gd name="T73" fmla="*/ 175 h 338"/>
                <a:gd name="T74" fmla="*/ 297 w 382"/>
                <a:gd name="T75" fmla="*/ 175 h 338"/>
                <a:gd name="T76" fmla="*/ 292 w 382"/>
                <a:gd name="T77" fmla="*/ 154 h 338"/>
                <a:gd name="T78" fmla="*/ 299 w 382"/>
                <a:gd name="T79" fmla="*/ 15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2" h="338">
                  <a:moveTo>
                    <a:pt x="69" y="160"/>
                  </a:moveTo>
                  <a:cubicBezTo>
                    <a:pt x="69" y="160"/>
                    <a:pt x="69" y="160"/>
                    <a:pt x="69" y="160"/>
                  </a:cubicBezTo>
                  <a:cubicBezTo>
                    <a:pt x="67" y="167"/>
                    <a:pt x="66" y="173"/>
                    <a:pt x="66" y="180"/>
                  </a:cubicBezTo>
                  <a:cubicBezTo>
                    <a:pt x="63" y="180"/>
                    <a:pt x="61" y="180"/>
                    <a:pt x="59" y="181"/>
                  </a:cubicBezTo>
                  <a:cubicBezTo>
                    <a:pt x="58" y="181"/>
                    <a:pt x="56" y="181"/>
                    <a:pt x="53" y="182"/>
                  </a:cubicBezTo>
                  <a:cubicBezTo>
                    <a:pt x="54" y="178"/>
                    <a:pt x="54" y="174"/>
                    <a:pt x="54" y="170"/>
                  </a:cubicBezTo>
                  <a:cubicBezTo>
                    <a:pt x="55" y="166"/>
                    <a:pt x="55" y="163"/>
                    <a:pt x="56" y="159"/>
                  </a:cubicBezTo>
                  <a:cubicBezTo>
                    <a:pt x="60" y="160"/>
                    <a:pt x="65" y="160"/>
                    <a:pt x="69" y="160"/>
                  </a:cubicBezTo>
                  <a:close/>
                  <a:moveTo>
                    <a:pt x="119" y="21"/>
                  </a:moveTo>
                  <a:cubicBezTo>
                    <a:pt x="119" y="21"/>
                    <a:pt x="119" y="21"/>
                    <a:pt x="119" y="21"/>
                  </a:cubicBezTo>
                  <a:cubicBezTo>
                    <a:pt x="113" y="23"/>
                    <a:pt x="106" y="19"/>
                    <a:pt x="107" y="12"/>
                  </a:cubicBezTo>
                  <a:cubicBezTo>
                    <a:pt x="107" y="8"/>
                    <a:pt x="109" y="3"/>
                    <a:pt x="113" y="0"/>
                  </a:cubicBezTo>
                  <a:cubicBezTo>
                    <a:pt x="116" y="1"/>
                    <a:pt x="120" y="0"/>
                    <a:pt x="123" y="1"/>
                  </a:cubicBezTo>
                  <a:cubicBezTo>
                    <a:pt x="126" y="2"/>
                    <a:pt x="129" y="5"/>
                    <a:pt x="129" y="7"/>
                  </a:cubicBezTo>
                  <a:cubicBezTo>
                    <a:pt x="130" y="13"/>
                    <a:pt x="124" y="19"/>
                    <a:pt x="119" y="21"/>
                  </a:cubicBezTo>
                  <a:close/>
                  <a:moveTo>
                    <a:pt x="18" y="309"/>
                  </a:moveTo>
                  <a:cubicBezTo>
                    <a:pt x="18" y="309"/>
                    <a:pt x="18" y="309"/>
                    <a:pt x="18" y="309"/>
                  </a:cubicBezTo>
                  <a:cubicBezTo>
                    <a:pt x="16" y="315"/>
                    <a:pt x="10" y="317"/>
                    <a:pt x="5" y="314"/>
                  </a:cubicBezTo>
                  <a:cubicBezTo>
                    <a:pt x="0" y="311"/>
                    <a:pt x="1" y="303"/>
                    <a:pt x="4" y="300"/>
                  </a:cubicBezTo>
                  <a:cubicBezTo>
                    <a:pt x="6" y="298"/>
                    <a:pt x="8" y="297"/>
                    <a:pt x="10" y="296"/>
                  </a:cubicBezTo>
                  <a:cubicBezTo>
                    <a:pt x="12" y="296"/>
                    <a:pt x="14" y="297"/>
                    <a:pt x="15" y="297"/>
                  </a:cubicBezTo>
                  <a:cubicBezTo>
                    <a:pt x="16" y="298"/>
                    <a:pt x="18" y="299"/>
                    <a:pt x="19" y="301"/>
                  </a:cubicBezTo>
                  <a:cubicBezTo>
                    <a:pt x="20" y="302"/>
                    <a:pt x="19" y="306"/>
                    <a:pt x="18" y="309"/>
                  </a:cubicBezTo>
                  <a:close/>
                  <a:moveTo>
                    <a:pt x="376" y="336"/>
                  </a:moveTo>
                  <a:cubicBezTo>
                    <a:pt x="376" y="336"/>
                    <a:pt x="376" y="336"/>
                    <a:pt x="376" y="336"/>
                  </a:cubicBezTo>
                  <a:cubicBezTo>
                    <a:pt x="373" y="338"/>
                    <a:pt x="368" y="336"/>
                    <a:pt x="365" y="334"/>
                  </a:cubicBezTo>
                  <a:cubicBezTo>
                    <a:pt x="362" y="332"/>
                    <a:pt x="359" y="328"/>
                    <a:pt x="360" y="324"/>
                  </a:cubicBezTo>
                  <a:cubicBezTo>
                    <a:pt x="360" y="322"/>
                    <a:pt x="361" y="321"/>
                    <a:pt x="361" y="320"/>
                  </a:cubicBezTo>
                  <a:cubicBezTo>
                    <a:pt x="364" y="321"/>
                    <a:pt x="368" y="320"/>
                    <a:pt x="370" y="320"/>
                  </a:cubicBezTo>
                  <a:cubicBezTo>
                    <a:pt x="376" y="319"/>
                    <a:pt x="381" y="321"/>
                    <a:pt x="382" y="327"/>
                  </a:cubicBezTo>
                  <a:cubicBezTo>
                    <a:pt x="382" y="330"/>
                    <a:pt x="379" y="334"/>
                    <a:pt x="376" y="336"/>
                  </a:cubicBezTo>
                  <a:close/>
                  <a:moveTo>
                    <a:pt x="299" y="155"/>
                  </a:moveTo>
                  <a:cubicBezTo>
                    <a:pt x="299" y="155"/>
                    <a:pt x="299" y="155"/>
                    <a:pt x="299" y="155"/>
                  </a:cubicBezTo>
                  <a:cubicBezTo>
                    <a:pt x="302" y="155"/>
                    <a:pt x="305" y="155"/>
                    <a:pt x="308" y="155"/>
                  </a:cubicBezTo>
                  <a:cubicBezTo>
                    <a:pt x="307" y="157"/>
                    <a:pt x="307" y="159"/>
                    <a:pt x="307" y="161"/>
                  </a:cubicBezTo>
                  <a:cubicBezTo>
                    <a:pt x="307" y="166"/>
                    <a:pt x="307" y="170"/>
                    <a:pt x="306" y="175"/>
                  </a:cubicBezTo>
                  <a:cubicBezTo>
                    <a:pt x="305" y="175"/>
                    <a:pt x="303" y="175"/>
                    <a:pt x="301" y="175"/>
                  </a:cubicBezTo>
                  <a:cubicBezTo>
                    <a:pt x="300" y="175"/>
                    <a:pt x="299" y="175"/>
                    <a:pt x="297" y="175"/>
                  </a:cubicBezTo>
                  <a:cubicBezTo>
                    <a:pt x="296" y="168"/>
                    <a:pt x="294" y="161"/>
                    <a:pt x="292" y="154"/>
                  </a:cubicBezTo>
                  <a:cubicBezTo>
                    <a:pt x="294" y="154"/>
                    <a:pt x="297" y="155"/>
                    <a:pt x="299" y="15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9" name="íś1ídé"/>
            <p:cNvSpPr/>
            <p:nvPr/>
          </p:nvSpPr>
          <p:spPr bwMode="auto">
            <a:xfrm>
              <a:off x="4109439" y="3134117"/>
              <a:ext cx="3895636" cy="1399042"/>
            </a:xfrm>
            <a:custGeom>
              <a:avLst/>
              <a:gdLst>
                <a:gd name="T0" fmla="*/ 400 w 553"/>
                <a:gd name="T1" fmla="*/ 0 h 199"/>
                <a:gd name="T2" fmla="*/ 401 w 553"/>
                <a:gd name="T3" fmla="*/ 0 h 199"/>
                <a:gd name="T4" fmla="*/ 408 w 553"/>
                <a:gd name="T5" fmla="*/ 3 h 199"/>
                <a:gd name="T6" fmla="*/ 408 w 553"/>
                <a:gd name="T7" fmla="*/ 3 h 199"/>
                <a:gd name="T8" fmla="*/ 409 w 553"/>
                <a:gd name="T9" fmla="*/ 17 h 199"/>
                <a:gd name="T10" fmla="*/ 407 w 553"/>
                <a:gd name="T11" fmla="*/ 51 h 199"/>
                <a:gd name="T12" fmla="*/ 407 w 553"/>
                <a:gd name="T13" fmla="*/ 52 h 199"/>
                <a:gd name="T14" fmla="*/ 401 w 553"/>
                <a:gd name="T15" fmla="*/ 51 h 199"/>
                <a:gd name="T16" fmla="*/ 400 w 553"/>
                <a:gd name="T17" fmla="*/ 49 h 199"/>
                <a:gd name="T18" fmla="*/ 400 w 553"/>
                <a:gd name="T19" fmla="*/ 47 h 199"/>
                <a:gd name="T20" fmla="*/ 400 w 553"/>
                <a:gd name="T21" fmla="*/ 37 h 199"/>
                <a:gd name="T22" fmla="*/ 400 w 553"/>
                <a:gd name="T23" fmla="*/ 5 h 199"/>
                <a:gd name="T24" fmla="*/ 400 w 553"/>
                <a:gd name="T25" fmla="*/ 0 h 199"/>
                <a:gd name="T26" fmla="*/ 540 w 553"/>
                <a:gd name="T27" fmla="*/ 199 h 199"/>
                <a:gd name="T28" fmla="*/ 537 w 553"/>
                <a:gd name="T29" fmla="*/ 199 h 199"/>
                <a:gd name="T30" fmla="*/ 533 w 553"/>
                <a:gd name="T31" fmla="*/ 198 h 199"/>
                <a:gd name="T32" fmla="*/ 529 w 553"/>
                <a:gd name="T33" fmla="*/ 194 h 199"/>
                <a:gd name="T34" fmla="*/ 534 w 553"/>
                <a:gd name="T35" fmla="*/ 181 h 199"/>
                <a:gd name="T36" fmla="*/ 552 w 553"/>
                <a:gd name="T37" fmla="*/ 189 h 199"/>
                <a:gd name="T38" fmla="*/ 553 w 553"/>
                <a:gd name="T39" fmla="*/ 190 h 199"/>
                <a:gd name="T40" fmla="*/ 553 w 553"/>
                <a:gd name="T41" fmla="*/ 190 h 199"/>
                <a:gd name="T42" fmla="*/ 553 w 553"/>
                <a:gd name="T43" fmla="*/ 192 h 199"/>
                <a:gd name="T44" fmla="*/ 552 w 553"/>
                <a:gd name="T45" fmla="*/ 193 h 199"/>
                <a:gd name="T46" fmla="*/ 550 w 553"/>
                <a:gd name="T47" fmla="*/ 195 h 199"/>
                <a:gd name="T48" fmla="*/ 546 w 553"/>
                <a:gd name="T49" fmla="*/ 197 h 199"/>
                <a:gd name="T50" fmla="*/ 544 w 553"/>
                <a:gd name="T51" fmla="*/ 198 h 199"/>
                <a:gd name="T52" fmla="*/ 540 w 553"/>
                <a:gd name="T53" fmla="*/ 199 h 199"/>
                <a:gd name="T54" fmla="*/ 21 w 553"/>
                <a:gd name="T55" fmla="*/ 187 h 199"/>
                <a:gd name="T56" fmla="*/ 15 w 553"/>
                <a:gd name="T57" fmla="*/ 193 h 199"/>
                <a:gd name="T58" fmla="*/ 2 w 553"/>
                <a:gd name="T59" fmla="*/ 187 h 199"/>
                <a:gd name="T60" fmla="*/ 14 w 553"/>
                <a:gd name="T61" fmla="*/ 177 h 199"/>
                <a:gd name="T62" fmla="*/ 21 w 553"/>
                <a:gd name="T63" fmla="*/ 187 h 199"/>
                <a:gd name="T64" fmla="*/ 113 w 553"/>
                <a:gd name="T65" fmla="*/ 0 h 199"/>
                <a:gd name="T66" fmla="*/ 114 w 553"/>
                <a:gd name="T67" fmla="*/ 1 h 199"/>
                <a:gd name="T68" fmla="*/ 120 w 553"/>
                <a:gd name="T69" fmla="*/ 3 h 199"/>
                <a:gd name="T70" fmla="*/ 120 w 553"/>
                <a:gd name="T71" fmla="*/ 3 h 199"/>
                <a:gd name="T72" fmla="*/ 123 w 553"/>
                <a:gd name="T73" fmla="*/ 16 h 199"/>
                <a:gd name="T74" fmla="*/ 119 w 553"/>
                <a:gd name="T75" fmla="*/ 48 h 199"/>
                <a:gd name="T76" fmla="*/ 116 w 553"/>
                <a:gd name="T77" fmla="*/ 58 h 199"/>
                <a:gd name="T78" fmla="*/ 115 w 553"/>
                <a:gd name="T79" fmla="*/ 58 h 199"/>
                <a:gd name="T80" fmla="*/ 110 w 553"/>
                <a:gd name="T81" fmla="*/ 60 h 199"/>
                <a:gd name="T82" fmla="*/ 109 w 553"/>
                <a:gd name="T83" fmla="*/ 57 h 199"/>
                <a:gd name="T84" fmla="*/ 108 w 553"/>
                <a:gd name="T85" fmla="*/ 34 h 199"/>
                <a:gd name="T86" fmla="*/ 108 w 553"/>
                <a:gd name="T87" fmla="*/ 2 h 199"/>
                <a:gd name="T88" fmla="*/ 110 w 553"/>
                <a:gd name="T89" fmla="*/ 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3" h="199">
                  <a:moveTo>
                    <a:pt x="400" y="0"/>
                  </a:moveTo>
                  <a:cubicBezTo>
                    <a:pt x="400" y="0"/>
                    <a:pt x="400" y="0"/>
                    <a:pt x="400" y="0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404" y="1"/>
                    <a:pt x="405" y="1"/>
                    <a:pt x="407" y="2"/>
                  </a:cubicBezTo>
                  <a:cubicBezTo>
                    <a:pt x="408" y="2"/>
                    <a:pt x="408" y="3"/>
                    <a:pt x="408" y="3"/>
                  </a:cubicBezTo>
                  <a:cubicBezTo>
                    <a:pt x="408" y="3"/>
                    <a:pt x="408" y="3"/>
                    <a:pt x="408" y="3"/>
                  </a:cubicBezTo>
                  <a:cubicBezTo>
                    <a:pt x="408" y="3"/>
                    <a:pt x="408" y="3"/>
                    <a:pt x="408" y="3"/>
                  </a:cubicBezTo>
                  <a:cubicBezTo>
                    <a:pt x="409" y="4"/>
                    <a:pt x="409" y="6"/>
                    <a:pt x="409" y="7"/>
                  </a:cubicBezTo>
                  <a:cubicBezTo>
                    <a:pt x="410" y="10"/>
                    <a:pt x="409" y="14"/>
                    <a:pt x="409" y="17"/>
                  </a:cubicBezTo>
                  <a:cubicBezTo>
                    <a:pt x="407" y="26"/>
                    <a:pt x="408" y="35"/>
                    <a:pt x="408" y="44"/>
                  </a:cubicBezTo>
                  <a:cubicBezTo>
                    <a:pt x="408" y="47"/>
                    <a:pt x="407" y="49"/>
                    <a:pt x="407" y="51"/>
                  </a:cubicBezTo>
                  <a:cubicBezTo>
                    <a:pt x="407" y="51"/>
                    <a:pt x="407" y="52"/>
                    <a:pt x="407" y="52"/>
                  </a:cubicBezTo>
                  <a:cubicBezTo>
                    <a:pt x="407" y="51"/>
                    <a:pt x="406" y="53"/>
                    <a:pt x="407" y="52"/>
                  </a:cubicBezTo>
                  <a:cubicBezTo>
                    <a:pt x="406" y="53"/>
                    <a:pt x="406" y="53"/>
                    <a:pt x="406" y="53"/>
                  </a:cubicBezTo>
                  <a:cubicBezTo>
                    <a:pt x="405" y="52"/>
                    <a:pt x="403" y="51"/>
                    <a:pt x="401" y="51"/>
                  </a:cubicBezTo>
                  <a:cubicBezTo>
                    <a:pt x="401" y="51"/>
                    <a:pt x="401" y="51"/>
                    <a:pt x="401" y="51"/>
                  </a:cubicBezTo>
                  <a:cubicBezTo>
                    <a:pt x="400" y="50"/>
                    <a:pt x="400" y="49"/>
                    <a:pt x="400" y="49"/>
                  </a:cubicBezTo>
                  <a:cubicBezTo>
                    <a:pt x="400" y="48"/>
                    <a:pt x="400" y="48"/>
                    <a:pt x="400" y="48"/>
                  </a:cubicBezTo>
                  <a:cubicBezTo>
                    <a:pt x="400" y="48"/>
                    <a:pt x="400" y="47"/>
                    <a:pt x="400" y="47"/>
                  </a:cubicBezTo>
                  <a:cubicBezTo>
                    <a:pt x="400" y="46"/>
                    <a:pt x="400" y="44"/>
                    <a:pt x="400" y="43"/>
                  </a:cubicBezTo>
                  <a:cubicBezTo>
                    <a:pt x="399" y="41"/>
                    <a:pt x="400" y="39"/>
                    <a:pt x="400" y="37"/>
                  </a:cubicBezTo>
                  <a:cubicBezTo>
                    <a:pt x="400" y="31"/>
                    <a:pt x="400" y="25"/>
                    <a:pt x="400" y="18"/>
                  </a:cubicBezTo>
                  <a:cubicBezTo>
                    <a:pt x="400" y="14"/>
                    <a:pt x="400" y="9"/>
                    <a:pt x="400" y="5"/>
                  </a:cubicBezTo>
                  <a:cubicBezTo>
                    <a:pt x="400" y="3"/>
                    <a:pt x="400" y="2"/>
                    <a:pt x="400" y="0"/>
                  </a:cubicBezTo>
                  <a:cubicBezTo>
                    <a:pt x="400" y="0"/>
                    <a:pt x="400" y="0"/>
                    <a:pt x="400" y="0"/>
                  </a:cubicBezTo>
                  <a:close/>
                  <a:moveTo>
                    <a:pt x="540" y="199"/>
                  </a:moveTo>
                  <a:cubicBezTo>
                    <a:pt x="540" y="199"/>
                    <a:pt x="540" y="199"/>
                    <a:pt x="540" y="199"/>
                  </a:cubicBezTo>
                  <a:cubicBezTo>
                    <a:pt x="540" y="199"/>
                    <a:pt x="540" y="199"/>
                    <a:pt x="540" y="199"/>
                  </a:cubicBezTo>
                  <a:cubicBezTo>
                    <a:pt x="539" y="199"/>
                    <a:pt x="538" y="199"/>
                    <a:pt x="537" y="199"/>
                  </a:cubicBezTo>
                  <a:cubicBezTo>
                    <a:pt x="537" y="199"/>
                    <a:pt x="536" y="199"/>
                    <a:pt x="536" y="199"/>
                  </a:cubicBezTo>
                  <a:cubicBezTo>
                    <a:pt x="535" y="199"/>
                    <a:pt x="534" y="199"/>
                    <a:pt x="533" y="198"/>
                  </a:cubicBezTo>
                  <a:cubicBezTo>
                    <a:pt x="533" y="198"/>
                    <a:pt x="531" y="197"/>
                    <a:pt x="531" y="197"/>
                  </a:cubicBezTo>
                  <a:cubicBezTo>
                    <a:pt x="529" y="196"/>
                    <a:pt x="529" y="196"/>
                    <a:pt x="529" y="194"/>
                  </a:cubicBezTo>
                  <a:cubicBezTo>
                    <a:pt x="528" y="190"/>
                    <a:pt x="528" y="186"/>
                    <a:pt x="531" y="183"/>
                  </a:cubicBezTo>
                  <a:cubicBezTo>
                    <a:pt x="532" y="182"/>
                    <a:pt x="533" y="182"/>
                    <a:pt x="534" y="181"/>
                  </a:cubicBezTo>
                  <a:cubicBezTo>
                    <a:pt x="539" y="184"/>
                    <a:pt x="544" y="183"/>
                    <a:pt x="549" y="186"/>
                  </a:cubicBezTo>
                  <a:cubicBezTo>
                    <a:pt x="551" y="186"/>
                    <a:pt x="551" y="187"/>
                    <a:pt x="552" y="189"/>
                  </a:cubicBezTo>
                  <a:cubicBezTo>
                    <a:pt x="552" y="189"/>
                    <a:pt x="553" y="189"/>
                    <a:pt x="553" y="189"/>
                  </a:cubicBezTo>
                  <a:cubicBezTo>
                    <a:pt x="553" y="189"/>
                    <a:pt x="553" y="189"/>
                    <a:pt x="553" y="190"/>
                  </a:cubicBezTo>
                  <a:cubicBezTo>
                    <a:pt x="553" y="190"/>
                    <a:pt x="553" y="190"/>
                    <a:pt x="553" y="190"/>
                  </a:cubicBezTo>
                  <a:cubicBezTo>
                    <a:pt x="553" y="190"/>
                    <a:pt x="553" y="190"/>
                    <a:pt x="553" y="190"/>
                  </a:cubicBezTo>
                  <a:cubicBezTo>
                    <a:pt x="553" y="190"/>
                    <a:pt x="553" y="191"/>
                    <a:pt x="553" y="192"/>
                  </a:cubicBezTo>
                  <a:cubicBezTo>
                    <a:pt x="553" y="192"/>
                    <a:pt x="553" y="192"/>
                    <a:pt x="553" y="192"/>
                  </a:cubicBezTo>
                  <a:cubicBezTo>
                    <a:pt x="552" y="192"/>
                    <a:pt x="552" y="192"/>
                    <a:pt x="552" y="192"/>
                  </a:cubicBezTo>
                  <a:cubicBezTo>
                    <a:pt x="552" y="193"/>
                    <a:pt x="552" y="193"/>
                    <a:pt x="552" y="193"/>
                  </a:cubicBezTo>
                  <a:cubicBezTo>
                    <a:pt x="552" y="193"/>
                    <a:pt x="552" y="193"/>
                    <a:pt x="552" y="193"/>
                  </a:cubicBezTo>
                  <a:cubicBezTo>
                    <a:pt x="551" y="194"/>
                    <a:pt x="550" y="194"/>
                    <a:pt x="550" y="195"/>
                  </a:cubicBezTo>
                  <a:cubicBezTo>
                    <a:pt x="550" y="195"/>
                    <a:pt x="549" y="196"/>
                    <a:pt x="549" y="196"/>
                  </a:cubicBezTo>
                  <a:cubicBezTo>
                    <a:pt x="548" y="197"/>
                    <a:pt x="547" y="197"/>
                    <a:pt x="546" y="197"/>
                  </a:cubicBezTo>
                  <a:cubicBezTo>
                    <a:pt x="546" y="198"/>
                    <a:pt x="546" y="198"/>
                    <a:pt x="545" y="198"/>
                  </a:cubicBezTo>
                  <a:cubicBezTo>
                    <a:pt x="545" y="198"/>
                    <a:pt x="545" y="198"/>
                    <a:pt x="544" y="198"/>
                  </a:cubicBezTo>
                  <a:cubicBezTo>
                    <a:pt x="543" y="198"/>
                    <a:pt x="542" y="199"/>
                    <a:pt x="541" y="199"/>
                  </a:cubicBezTo>
                  <a:cubicBezTo>
                    <a:pt x="541" y="199"/>
                    <a:pt x="541" y="199"/>
                    <a:pt x="540" y="199"/>
                  </a:cubicBezTo>
                  <a:close/>
                  <a:moveTo>
                    <a:pt x="21" y="187"/>
                  </a:moveTo>
                  <a:cubicBezTo>
                    <a:pt x="21" y="187"/>
                    <a:pt x="21" y="187"/>
                    <a:pt x="21" y="187"/>
                  </a:cubicBezTo>
                  <a:cubicBezTo>
                    <a:pt x="20" y="189"/>
                    <a:pt x="20" y="189"/>
                    <a:pt x="19" y="190"/>
                  </a:cubicBezTo>
                  <a:cubicBezTo>
                    <a:pt x="18" y="191"/>
                    <a:pt x="17" y="192"/>
                    <a:pt x="15" y="193"/>
                  </a:cubicBezTo>
                  <a:cubicBezTo>
                    <a:pt x="14" y="193"/>
                    <a:pt x="11" y="194"/>
                    <a:pt x="9" y="193"/>
                  </a:cubicBezTo>
                  <a:cubicBezTo>
                    <a:pt x="6" y="193"/>
                    <a:pt x="4" y="190"/>
                    <a:pt x="2" y="187"/>
                  </a:cubicBezTo>
                  <a:cubicBezTo>
                    <a:pt x="0" y="183"/>
                    <a:pt x="1" y="179"/>
                    <a:pt x="3" y="176"/>
                  </a:cubicBezTo>
                  <a:cubicBezTo>
                    <a:pt x="6" y="177"/>
                    <a:pt x="11" y="176"/>
                    <a:pt x="14" y="177"/>
                  </a:cubicBezTo>
                  <a:cubicBezTo>
                    <a:pt x="18" y="177"/>
                    <a:pt x="21" y="180"/>
                    <a:pt x="22" y="182"/>
                  </a:cubicBezTo>
                  <a:cubicBezTo>
                    <a:pt x="22" y="184"/>
                    <a:pt x="22" y="185"/>
                    <a:pt x="21" y="187"/>
                  </a:cubicBezTo>
                  <a:close/>
                  <a:moveTo>
                    <a:pt x="113" y="0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0"/>
                    <a:pt x="114" y="0"/>
                  </a:cubicBezTo>
                  <a:cubicBezTo>
                    <a:pt x="114" y="0"/>
                    <a:pt x="114" y="0"/>
                    <a:pt x="114" y="1"/>
                  </a:cubicBezTo>
                  <a:cubicBezTo>
                    <a:pt x="115" y="1"/>
                    <a:pt x="116" y="1"/>
                    <a:pt x="117" y="1"/>
                  </a:cubicBezTo>
                  <a:cubicBezTo>
                    <a:pt x="118" y="2"/>
                    <a:pt x="118" y="2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1" y="4"/>
                    <a:pt x="121" y="4"/>
                  </a:cubicBezTo>
                  <a:cubicBezTo>
                    <a:pt x="123" y="7"/>
                    <a:pt x="123" y="13"/>
                    <a:pt x="123" y="16"/>
                  </a:cubicBezTo>
                  <a:cubicBezTo>
                    <a:pt x="122" y="21"/>
                    <a:pt x="121" y="26"/>
                    <a:pt x="121" y="31"/>
                  </a:cubicBezTo>
                  <a:cubicBezTo>
                    <a:pt x="120" y="36"/>
                    <a:pt x="120" y="42"/>
                    <a:pt x="119" y="48"/>
                  </a:cubicBezTo>
                  <a:cubicBezTo>
                    <a:pt x="119" y="50"/>
                    <a:pt x="119" y="52"/>
                    <a:pt x="118" y="55"/>
                  </a:cubicBezTo>
                  <a:cubicBezTo>
                    <a:pt x="118" y="56"/>
                    <a:pt x="117" y="57"/>
                    <a:pt x="116" y="58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6" y="58"/>
                    <a:pt x="116" y="58"/>
                    <a:pt x="115" y="58"/>
                  </a:cubicBezTo>
                  <a:cubicBezTo>
                    <a:pt x="115" y="59"/>
                    <a:pt x="115" y="59"/>
                    <a:pt x="113" y="59"/>
                  </a:cubicBezTo>
                  <a:cubicBezTo>
                    <a:pt x="112" y="59"/>
                    <a:pt x="111" y="60"/>
                    <a:pt x="110" y="60"/>
                  </a:cubicBezTo>
                  <a:cubicBezTo>
                    <a:pt x="110" y="60"/>
                    <a:pt x="110" y="59"/>
                    <a:pt x="110" y="59"/>
                  </a:cubicBezTo>
                  <a:cubicBezTo>
                    <a:pt x="110" y="59"/>
                    <a:pt x="110" y="58"/>
                    <a:pt x="109" y="57"/>
                  </a:cubicBezTo>
                  <a:cubicBezTo>
                    <a:pt x="109" y="55"/>
                    <a:pt x="109" y="53"/>
                    <a:pt x="109" y="50"/>
                  </a:cubicBezTo>
                  <a:cubicBezTo>
                    <a:pt x="109" y="45"/>
                    <a:pt x="108" y="39"/>
                    <a:pt x="108" y="34"/>
                  </a:cubicBezTo>
                  <a:cubicBezTo>
                    <a:pt x="108" y="28"/>
                    <a:pt x="109" y="22"/>
                    <a:pt x="109" y="16"/>
                  </a:cubicBezTo>
                  <a:cubicBezTo>
                    <a:pt x="108" y="12"/>
                    <a:pt x="109" y="7"/>
                    <a:pt x="108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9" y="1"/>
                    <a:pt x="109" y="1"/>
                    <a:pt x="110" y="1"/>
                  </a:cubicBezTo>
                  <a:cubicBezTo>
                    <a:pt x="111" y="0"/>
                    <a:pt x="112" y="0"/>
                    <a:pt x="113" y="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0" name="ïṧ1iḑé"/>
            <p:cNvSpPr/>
            <p:nvPr/>
          </p:nvSpPr>
          <p:spPr bwMode="auto">
            <a:xfrm>
              <a:off x="5461054" y="4187631"/>
              <a:ext cx="1029803" cy="294714"/>
            </a:xfrm>
            <a:custGeom>
              <a:avLst/>
              <a:gdLst>
                <a:gd name="T0" fmla="*/ 40 w 146"/>
                <a:gd name="T1" fmla="*/ 4 h 42"/>
                <a:gd name="T2" fmla="*/ 35 w 146"/>
                <a:gd name="T3" fmla="*/ 4 h 42"/>
                <a:gd name="T4" fmla="*/ 34 w 146"/>
                <a:gd name="T5" fmla="*/ 21 h 42"/>
                <a:gd name="T6" fmla="*/ 36 w 146"/>
                <a:gd name="T7" fmla="*/ 39 h 42"/>
                <a:gd name="T8" fmla="*/ 42 w 146"/>
                <a:gd name="T9" fmla="*/ 36 h 42"/>
                <a:gd name="T10" fmla="*/ 42 w 146"/>
                <a:gd name="T11" fmla="*/ 21 h 42"/>
                <a:gd name="T12" fmla="*/ 40 w 146"/>
                <a:gd name="T13" fmla="*/ 4 h 42"/>
                <a:gd name="T14" fmla="*/ 110 w 146"/>
                <a:gd name="T15" fmla="*/ 5 h 42"/>
                <a:gd name="T16" fmla="*/ 106 w 146"/>
                <a:gd name="T17" fmla="*/ 3 h 42"/>
                <a:gd name="T18" fmla="*/ 104 w 146"/>
                <a:gd name="T19" fmla="*/ 17 h 42"/>
                <a:gd name="T20" fmla="*/ 104 w 146"/>
                <a:gd name="T21" fmla="*/ 35 h 42"/>
                <a:gd name="T22" fmla="*/ 111 w 146"/>
                <a:gd name="T23" fmla="*/ 35 h 42"/>
                <a:gd name="T24" fmla="*/ 111 w 146"/>
                <a:gd name="T25" fmla="*/ 18 h 42"/>
                <a:gd name="T26" fmla="*/ 110 w 146"/>
                <a:gd name="T27" fmla="*/ 5 h 42"/>
                <a:gd name="T28" fmla="*/ 121 w 146"/>
                <a:gd name="T29" fmla="*/ 4 h 42"/>
                <a:gd name="T30" fmla="*/ 119 w 146"/>
                <a:gd name="T31" fmla="*/ 33 h 42"/>
                <a:gd name="T32" fmla="*/ 122 w 146"/>
                <a:gd name="T33" fmla="*/ 40 h 42"/>
                <a:gd name="T34" fmla="*/ 124 w 146"/>
                <a:gd name="T35" fmla="*/ 40 h 42"/>
                <a:gd name="T36" fmla="*/ 127 w 146"/>
                <a:gd name="T37" fmla="*/ 33 h 42"/>
                <a:gd name="T38" fmla="*/ 125 w 146"/>
                <a:gd name="T39" fmla="*/ 4 h 42"/>
                <a:gd name="T40" fmla="*/ 121 w 146"/>
                <a:gd name="T41" fmla="*/ 4 h 42"/>
                <a:gd name="T42" fmla="*/ 143 w 146"/>
                <a:gd name="T43" fmla="*/ 4 h 42"/>
                <a:gd name="T44" fmla="*/ 138 w 146"/>
                <a:gd name="T45" fmla="*/ 4 h 42"/>
                <a:gd name="T46" fmla="*/ 137 w 146"/>
                <a:gd name="T47" fmla="*/ 21 h 42"/>
                <a:gd name="T48" fmla="*/ 139 w 146"/>
                <a:gd name="T49" fmla="*/ 39 h 42"/>
                <a:gd name="T50" fmla="*/ 145 w 146"/>
                <a:gd name="T51" fmla="*/ 36 h 42"/>
                <a:gd name="T52" fmla="*/ 145 w 146"/>
                <a:gd name="T53" fmla="*/ 21 h 42"/>
                <a:gd name="T54" fmla="*/ 143 w 146"/>
                <a:gd name="T55" fmla="*/ 4 h 42"/>
                <a:gd name="T56" fmla="*/ 59 w 146"/>
                <a:gd name="T57" fmla="*/ 5 h 42"/>
                <a:gd name="T58" fmla="*/ 55 w 146"/>
                <a:gd name="T59" fmla="*/ 3 h 42"/>
                <a:gd name="T60" fmla="*/ 52 w 146"/>
                <a:gd name="T61" fmla="*/ 17 h 42"/>
                <a:gd name="T62" fmla="*/ 52 w 146"/>
                <a:gd name="T63" fmla="*/ 35 h 42"/>
                <a:gd name="T64" fmla="*/ 60 w 146"/>
                <a:gd name="T65" fmla="*/ 35 h 42"/>
                <a:gd name="T66" fmla="*/ 60 w 146"/>
                <a:gd name="T67" fmla="*/ 18 h 42"/>
                <a:gd name="T68" fmla="*/ 59 w 146"/>
                <a:gd name="T69" fmla="*/ 5 h 42"/>
                <a:gd name="T70" fmla="*/ 69 w 146"/>
                <a:gd name="T71" fmla="*/ 4 h 42"/>
                <a:gd name="T72" fmla="*/ 68 w 146"/>
                <a:gd name="T73" fmla="*/ 33 h 42"/>
                <a:gd name="T74" fmla="*/ 71 w 146"/>
                <a:gd name="T75" fmla="*/ 40 h 42"/>
                <a:gd name="T76" fmla="*/ 73 w 146"/>
                <a:gd name="T77" fmla="*/ 40 h 42"/>
                <a:gd name="T78" fmla="*/ 76 w 146"/>
                <a:gd name="T79" fmla="*/ 33 h 42"/>
                <a:gd name="T80" fmla="*/ 74 w 146"/>
                <a:gd name="T81" fmla="*/ 4 h 42"/>
                <a:gd name="T82" fmla="*/ 69 w 146"/>
                <a:gd name="T83" fmla="*/ 4 h 42"/>
                <a:gd name="T84" fmla="*/ 91 w 146"/>
                <a:gd name="T85" fmla="*/ 4 h 42"/>
                <a:gd name="T86" fmla="*/ 87 w 146"/>
                <a:gd name="T87" fmla="*/ 4 h 42"/>
                <a:gd name="T88" fmla="*/ 86 w 146"/>
                <a:gd name="T89" fmla="*/ 21 h 42"/>
                <a:gd name="T90" fmla="*/ 88 w 146"/>
                <a:gd name="T91" fmla="*/ 39 h 42"/>
                <a:gd name="T92" fmla="*/ 94 w 146"/>
                <a:gd name="T93" fmla="*/ 36 h 42"/>
                <a:gd name="T94" fmla="*/ 94 w 146"/>
                <a:gd name="T95" fmla="*/ 21 h 42"/>
                <a:gd name="T96" fmla="*/ 91 w 146"/>
                <a:gd name="T97" fmla="*/ 4 h 42"/>
                <a:gd name="T98" fmla="*/ 7 w 146"/>
                <a:gd name="T99" fmla="*/ 5 h 42"/>
                <a:gd name="T100" fmla="*/ 3 w 146"/>
                <a:gd name="T101" fmla="*/ 3 h 42"/>
                <a:gd name="T102" fmla="*/ 1 w 146"/>
                <a:gd name="T103" fmla="*/ 17 h 42"/>
                <a:gd name="T104" fmla="*/ 1 w 146"/>
                <a:gd name="T105" fmla="*/ 35 h 42"/>
                <a:gd name="T106" fmla="*/ 9 w 146"/>
                <a:gd name="T107" fmla="*/ 35 h 42"/>
                <a:gd name="T108" fmla="*/ 9 w 146"/>
                <a:gd name="T109" fmla="*/ 18 h 42"/>
                <a:gd name="T110" fmla="*/ 7 w 146"/>
                <a:gd name="T111" fmla="*/ 5 h 42"/>
                <a:gd name="T112" fmla="*/ 18 w 146"/>
                <a:gd name="T113" fmla="*/ 4 h 42"/>
                <a:gd name="T114" fmla="*/ 16 w 146"/>
                <a:gd name="T115" fmla="*/ 33 h 42"/>
                <a:gd name="T116" fmla="*/ 19 w 146"/>
                <a:gd name="T117" fmla="*/ 40 h 42"/>
                <a:gd name="T118" fmla="*/ 22 w 146"/>
                <a:gd name="T119" fmla="*/ 40 h 42"/>
                <a:gd name="T120" fmla="*/ 25 w 146"/>
                <a:gd name="T121" fmla="*/ 33 h 42"/>
                <a:gd name="T122" fmla="*/ 23 w 146"/>
                <a:gd name="T123" fmla="*/ 4 h 42"/>
                <a:gd name="T124" fmla="*/ 18 w 146"/>
                <a:gd name="T125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6" h="42">
                  <a:moveTo>
                    <a:pt x="40" y="4"/>
                  </a:moveTo>
                  <a:cubicBezTo>
                    <a:pt x="40" y="0"/>
                    <a:pt x="36" y="0"/>
                    <a:pt x="35" y="4"/>
                  </a:cubicBezTo>
                  <a:cubicBezTo>
                    <a:pt x="35" y="10"/>
                    <a:pt x="35" y="15"/>
                    <a:pt x="34" y="21"/>
                  </a:cubicBezTo>
                  <a:cubicBezTo>
                    <a:pt x="34" y="28"/>
                    <a:pt x="34" y="34"/>
                    <a:pt x="36" y="39"/>
                  </a:cubicBezTo>
                  <a:cubicBezTo>
                    <a:pt x="38" y="42"/>
                    <a:pt x="41" y="40"/>
                    <a:pt x="42" y="36"/>
                  </a:cubicBezTo>
                  <a:cubicBezTo>
                    <a:pt x="43" y="31"/>
                    <a:pt x="42" y="26"/>
                    <a:pt x="42" y="21"/>
                  </a:cubicBezTo>
                  <a:cubicBezTo>
                    <a:pt x="42" y="15"/>
                    <a:pt x="41" y="10"/>
                    <a:pt x="40" y="4"/>
                  </a:cubicBezTo>
                  <a:close/>
                  <a:moveTo>
                    <a:pt x="110" y="5"/>
                  </a:moveTo>
                  <a:cubicBezTo>
                    <a:pt x="110" y="1"/>
                    <a:pt x="107" y="0"/>
                    <a:pt x="106" y="3"/>
                  </a:cubicBezTo>
                  <a:cubicBezTo>
                    <a:pt x="104" y="7"/>
                    <a:pt x="104" y="12"/>
                    <a:pt x="104" y="17"/>
                  </a:cubicBezTo>
                  <a:cubicBezTo>
                    <a:pt x="104" y="23"/>
                    <a:pt x="103" y="29"/>
                    <a:pt x="104" y="35"/>
                  </a:cubicBezTo>
                  <a:cubicBezTo>
                    <a:pt x="104" y="41"/>
                    <a:pt x="111" y="41"/>
                    <a:pt x="111" y="35"/>
                  </a:cubicBezTo>
                  <a:cubicBezTo>
                    <a:pt x="112" y="29"/>
                    <a:pt x="112" y="24"/>
                    <a:pt x="111" y="18"/>
                  </a:cubicBezTo>
                  <a:cubicBezTo>
                    <a:pt x="111" y="14"/>
                    <a:pt x="110" y="10"/>
                    <a:pt x="110" y="5"/>
                  </a:cubicBezTo>
                  <a:close/>
                  <a:moveTo>
                    <a:pt x="121" y="4"/>
                  </a:moveTo>
                  <a:cubicBezTo>
                    <a:pt x="119" y="13"/>
                    <a:pt x="119" y="24"/>
                    <a:pt x="119" y="33"/>
                  </a:cubicBezTo>
                  <a:cubicBezTo>
                    <a:pt x="119" y="36"/>
                    <a:pt x="120" y="39"/>
                    <a:pt x="122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6" y="39"/>
                    <a:pt x="127" y="36"/>
                    <a:pt x="127" y="33"/>
                  </a:cubicBezTo>
                  <a:cubicBezTo>
                    <a:pt x="128" y="24"/>
                    <a:pt x="127" y="13"/>
                    <a:pt x="125" y="4"/>
                  </a:cubicBezTo>
                  <a:cubicBezTo>
                    <a:pt x="125" y="0"/>
                    <a:pt x="122" y="0"/>
                    <a:pt x="121" y="4"/>
                  </a:cubicBezTo>
                  <a:close/>
                  <a:moveTo>
                    <a:pt x="143" y="4"/>
                  </a:moveTo>
                  <a:cubicBezTo>
                    <a:pt x="142" y="0"/>
                    <a:pt x="139" y="0"/>
                    <a:pt x="138" y="4"/>
                  </a:cubicBezTo>
                  <a:cubicBezTo>
                    <a:pt x="137" y="10"/>
                    <a:pt x="137" y="15"/>
                    <a:pt x="137" y="21"/>
                  </a:cubicBezTo>
                  <a:cubicBezTo>
                    <a:pt x="137" y="28"/>
                    <a:pt x="136" y="34"/>
                    <a:pt x="139" y="39"/>
                  </a:cubicBezTo>
                  <a:cubicBezTo>
                    <a:pt x="141" y="42"/>
                    <a:pt x="144" y="40"/>
                    <a:pt x="145" y="36"/>
                  </a:cubicBezTo>
                  <a:cubicBezTo>
                    <a:pt x="146" y="31"/>
                    <a:pt x="145" y="26"/>
                    <a:pt x="145" y="21"/>
                  </a:cubicBezTo>
                  <a:cubicBezTo>
                    <a:pt x="145" y="15"/>
                    <a:pt x="143" y="10"/>
                    <a:pt x="143" y="4"/>
                  </a:cubicBezTo>
                  <a:close/>
                  <a:moveTo>
                    <a:pt x="59" y="5"/>
                  </a:moveTo>
                  <a:cubicBezTo>
                    <a:pt x="59" y="1"/>
                    <a:pt x="56" y="0"/>
                    <a:pt x="55" y="3"/>
                  </a:cubicBezTo>
                  <a:cubicBezTo>
                    <a:pt x="53" y="7"/>
                    <a:pt x="53" y="12"/>
                    <a:pt x="52" y="17"/>
                  </a:cubicBezTo>
                  <a:cubicBezTo>
                    <a:pt x="52" y="23"/>
                    <a:pt x="52" y="29"/>
                    <a:pt x="52" y="35"/>
                  </a:cubicBezTo>
                  <a:cubicBezTo>
                    <a:pt x="53" y="41"/>
                    <a:pt x="59" y="41"/>
                    <a:pt x="60" y="35"/>
                  </a:cubicBezTo>
                  <a:cubicBezTo>
                    <a:pt x="61" y="29"/>
                    <a:pt x="60" y="24"/>
                    <a:pt x="60" y="18"/>
                  </a:cubicBezTo>
                  <a:cubicBezTo>
                    <a:pt x="60" y="14"/>
                    <a:pt x="59" y="10"/>
                    <a:pt x="59" y="5"/>
                  </a:cubicBezTo>
                  <a:close/>
                  <a:moveTo>
                    <a:pt x="69" y="4"/>
                  </a:moveTo>
                  <a:cubicBezTo>
                    <a:pt x="67" y="13"/>
                    <a:pt x="67" y="24"/>
                    <a:pt x="68" y="33"/>
                  </a:cubicBezTo>
                  <a:cubicBezTo>
                    <a:pt x="68" y="36"/>
                    <a:pt x="69" y="39"/>
                    <a:pt x="71" y="40"/>
                  </a:cubicBezTo>
                  <a:cubicBezTo>
                    <a:pt x="71" y="40"/>
                    <a:pt x="72" y="40"/>
                    <a:pt x="73" y="40"/>
                  </a:cubicBezTo>
                  <a:cubicBezTo>
                    <a:pt x="75" y="39"/>
                    <a:pt x="76" y="36"/>
                    <a:pt x="76" y="33"/>
                  </a:cubicBezTo>
                  <a:cubicBezTo>
                    <a:pt x="76" y="24"/>
                    <a:pt x="76" y="13"/>
                    <a:pt x="74" y="4"/>
                  </a:cubicBezTo>
                  <a:cubicBezTo>
                    <a:pt x="73" y="0"/>
                    <a:pt x="70" y="0"/>
                    <a:pt x="69" y="4"/>
                  </a:cubicBezTo>
                  <a:close/>
                  <a:moveTo>
                    <a:pt x="91" y="4"/>
                  </a:moveTo>
                  <a:cubicBezTo>
                    <a:pt x="91" y="0"/>
                    <a:pt x="87" y="0"/>
                    <a:pt x="87" y="4"/>
                  </a:cubicBezTo>
                  <a:cubicBezTo>
                    <a:pt x="86" y="10"/>
                    <a:pt x="86" y="15"/>
                    <a:pt x="86" y="21"/>
                  </a:cubicBezTo>
                  <a:cubicBezTo>
                    <a:pt x="85" y="28"/>
                    <a:pt x="85" y="34"/>
                    <a:pt x="88" y="39"/>
                  </a:cubicBezTo>
                  <a:cubicBezTo>
                    <a:pt x="90" y="42"/>
                    <a:pt x="93" y="40"/>
                    <a:pt x="94" y="36"/>
                  </a:cubicBezTo>
                  <a:cubicBezTo>
                    <a:pt x="94" y="31"/>
                    <a:pt x="94" y="26"/>
                    <a:pt x="94" y="21"/>
                  </a:cubicBezTo>
                  <a:cubicBezTo>
                    <a:pt x="94" y="15"/>
                    <a:pt x="92" y="10"/>
                    <a:pt x="91" y="4"/>
                  </a:cubicBezTo>
                  <a:close/>
                  <a:moveTo>
                    <a:pt x="7" y="5"/>
                  </a:moveTo>
                  <a:cubicBezTo>
                    <a:pt x="7" y="1"/>
                    <a:pt x="4" y="0"/>
                    <a:pt x="3" y="3"/>
                  </a:cubicBezTo>
                  <a:cubicBezTo>
                    <a:pt x="1" y="7"/>
                    <a:pt x="1" y="12"/>
                    <a:pt x="1" y="17"/>
                  </a:cubicBezTo>
                  <a:cubicBezTo>
                    <a:pt x="1" y="23"/>
                    <a:pt x="0" y="29"/>
                    <a:pt x="1" y="35"/>
                  </a:cubicBezTo>
                  <a:cubicBezTo>
                    <a:pt x="2" y="41"/>
                    <a:pt x="8" y="41"/>
                    <a:pt x="9" y="35"/>
                  </a:cubicBezTo>
                  <a:cubicBezTo>
                    <a:pt x="9" y="29"/>
                    <a:pt x="9" y="24"/>
                    <a:pt x="9" y="18"/>
                  </a:cubicBezTo>
                  <a:cubicBezTo>
                    <a:pt x="8" y="14"/>
                    <a:pt x="7" y="10"/>
                    <a:pt x="7" y="5"/>
                  </a:cubicBezTo>
                  <a:close/>
                  <a:moveTo>
                    <a:pt x="18" y="4"/>
                  </a:moveTo>
                  <a:cubicBezTo>
                    <a:pt x="16" y="13"/>
                    <a:pt x="16" y="24"/>
                    <a:pt x="16" y="33"/>
                  </a:cubicBezTo>
                  <a:cubicBezTo>
                    <a:pt x="16" y="36"/>
                    <a:pt x="18" y="39"/>
                    <a:pt x="19" y="40"/>
                  </a:cubicBezTo>
                  <a:cubicBezTo>
                    <a:pt x="20" y="40"/>
                    <a:pt x="21" y="40"/>
                    <a:pt x="22" y="40"/>
                  </a:cubicBezTo>
                  <a:cubicBezTo>
                    <a:pt x="23" y="39"/>
                    <a:pt x="25" y="36"/>
                    <a:pt x="25" y="33"/>
                  </a:cubicBezTo>
                  <a:cubicBezTo>
                    <a:pt x="25" y="24"/>
                    <a:pt x="25" y="13"/>
                    <a:pt x="23" y="4"/>
                  </a:cubicBezTo>
                  <a:cubicBezTo>
                    <a:pt x="22" y="0"/>
                    <a:pt x="19" y="0"/>
                    <a:pt x="18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1" name="ïŝ1îḑé"/>
            <p:cNvSpPr/>
            <p:nvPr/>
          </p:nvSpPr>
          <p:spPr bwMode="auto">
            <a:xfrm>
              <a:off x="5454279" y="3455930"/>
              <a:ext cx="108400" cy="220189"/>
            </a:xfrm>
            <a:custGeom>
              <a:avLst/>
              <a:gdLst>
                <a:gd name="T0" fmla="*/ 10 w 15"/>
                <a:gd name="T1" fmla="*/ 1 h 31"/>
                <a:gd name="T2" fmla="*/ 10 w 15"/>
                <a:gd name="T3" fmla="*/ 1 h 31"/>
                <a:gd name="T4" fmla="*/ 13 w 15"/>
                <a:gd name="T5" fmla="*/ 1 h 31"/>
                <a:gd name="T6" fmla="*/ 14 w 15"/>
                <a:gd name="T7" fmla="*/ 19 h 31"/>
                <a:gd name="T8" fmla="*/ 15 w 15"/>
                <a:gd name="T9" fmla="*/ 29 h 31"/>
                <a:gd name="T10" fmla="*/ 15 w 15"/>
                <a:gd name="T11" fmla="*/ 30 h 31"/>
                <a:gd name="T12" fmla="*/ 6 w 15"/>
                <a:gd name="T13" fmla="*/ 30 h 31"/>
                <a:gd name="T14" fmla="*/ 2 w 15"/>
                <a:gd name="T15" fmla="*/ 31 h 31"/>
                <a:gd name="T16" fmla="*/ 2 w 15"/>
                <a:gd name="T17" fmla="*/ 29 h 31"/>
                <a:gd name="T18" fmla="*/ 2 w 15"/>
                <a:gd name="T19" fmla="*/ 20 h 31"/>
                <a:gd name="T20" fmla="*/ 2 w 15"/>
                <a:gd name="T21" fmla="*/ 10 h 31"/>
                <a:gd name="T22" fmla="*/ 0 w 15"/>
                <a:gd name="T23" fmla="*/ 0 h 31"/>
                <a:gd name="T24" fmla="*/ 1 w 15"/>
                <a:gd name="T25" fmla="*/ 1 h 31"/>
                <a:gd name="T26" fmla="*/ 10 w 15"/>
                <a:gd name="T27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31">
                  <a:moveTo>
                    <a:pt x="1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2" y="1"/>
                    <a:pt x="13" y="1"/>
                  </a:cubicBezTo>
                  <a:cubicBezTo>
                    <a:pt x="13" y="7"/>
                    <a:pt x="14" y="13"/>
                    <a:pt x="14" y="19"/>
                  </a:cubicBezTo>
                  <a:cubicBezTo>
                    <a:pt x="14" y="22"/>
                    <a:pt x="14" y="25"/>
                    <a:pt x="15" y="29"/>
                  </a:cubicBezTo>
                  <a:cubicBezTo>
                    <a:pt x="15" y="29"/>
                    <a:pt x="15" y="29"/>
                    <a:pt x="15" y="30"/>
                  </a:cubicBezTo>
                  <a:cubicBezTo>
                    <a:pt x="12" y="30"/>
                    <a:pt x="9" y="30"/>
                    <a:pt x="6" y="30"/>
                  </a:cubicBezTo>
                  <a:cubicBezTo>
                    <a:pt x="5" y="30"/>
                    <a:pt x="4" y="31"/>
                    <a:pt x="2" y="31"/>
                  </a:cubicBezTo>
                  <a:cubicBezTo>
                    <a:pt x="3" y="30"/>
                    <a:pt x="3" y="30"/>
                    <a:pt x="2" y="29"/>
                  </a:cubicBezTo>
                  <a:cubicBezTo>
                    <a:pt x="2" y="26"/>
                    <a:pt x="3" y="23"/>
                    <a:pt x="2" y="20"/>
                  </a:cubicBezTo>
                  <a:cubicBezTo>
                    <a:pt x="2" y="17"/>
                    <a:pt x="2" y="13"/>
                    <a:pt x="2" y="10"/>
                  </a:cubicBezTo>
                  <a:cubicBezTo>
                    <a:pt x="1" y="7"/>
                    <a:pt x="1" y="4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4" y="1"/>
                    <a:pt x="7" y="1"/>
                    <a:pt x="10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2" name="iṥľîḍê"/>
            <p:cNvSpPr/>
            <p:nvPr/>
          </p:nvSpPr>
          <p:spPr bwMode="auto">
            <a:xfrm>
              <a:off x="5576229" y="3455930"/>
              <a:ext cx="111789" cy="213414"/>
            </a:xfrm>
            <a:custGeom>
              <a:avLst/>
              <a:gdLst>
                <a:gd name="T0" fmla="*/ 15 w 16"/>
                <a:gd name="T1" fmla="*/ 0 h 30"/>
                <a:gd name="T2" fmla="*/ 15 w 16"/>
                <a:gd name="T3" fmla="*/ 0 h 30"/>
                <a:gd name="T4" fmla="*/ 15 w 16"/>
                <a:gd name="T5" fmla="*/ 13 h 30"/>
                <a:gd name="T6" fmla="*/ 15 w 16"/>
                <a:gd name="T7" fmla="*/ 22 h 30"/>
                <a:gd name="T8" fmla="*/ 15 w 16"/>
                <a:gd name="T9" fmla="*/ 29 h 30"/>
                <a:gd name="T10" fmla="*/ 16 w 16"/>
                <a:gd name="T11" fmla="*/ 30 h 30"/>
                <a:gd name="T12" fmla="*/ 3 w 16"/>
                <a:gd name="T13" fmla="*/ 30 h 30"/>
                <a:gd name="T14" fmla="*/ 2 w 16"/>
                <a:gd name="T15" fmla="*/ 27 h 30"/>
                <a:gd name="T16" fmla="*/ 2 w 16"/>
                <a:gd name="T17" fmla="*/ 19 h 30"/>
                <a:gd name="T18" fmla="*/ 0 w 16"/>
                <a:gd name="T19" fmla="*/ 1 h 30"/>
                <a:gd name="T20" fmla="*/ 12 w 16"/>
                <a:gd name="T21" fmla="*/ 0 h 30"/>
                <a:gd name="T22" fmla="*/ 15 w 16"/>
                <a:gd name="T2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30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4" y="4"/>
                    <a:pt x="15" y="8"/>
                    <a:pt x="15" y="13"/>
                  </a:cubicBezTo>
                  <a:cubicBezTo>
                    <a:pt x="14" y="16"/>
                    <a:pt x="15" y="19"/>
                    <a:pt x="15" y="22"/>
                  </a:cubicBezTo>
                  <a:cubicBezTo>
                    <a:pt x="15" y="24"/>
                    <a:pt x="14" y="27"/>
                    <a:pt x="15" y="29"/>
                  </a:cubicBezTo>
                  <a:cubicBezTo>
                    <a:pt x="16" y="29"/>
                    <a:pt x="16" y="29"/>
                    <a:pt x="16" y="30"/>
                  </a:cubicBezTo>
                  <a:cubicBezTo>
                    <a:pt x="11" y="30"/>
                    <a:pt x="7" y="30"/>
                    <a:pt x="3" y="30"/>
                  </a:cubicBezTo>
                  <a:cubicBezTo>
                    <a:pt x="2" y="29"/>
                    <a:pt x="2" y="28"/>
                    <a:pt x="2" y="27"/>
                  </a:cubicBezTo>
                  <a:cubicBezTo>
                    <a:pt x="2" y="24"/>
                    <a:pt x="2" y="22"/>
                    <a:pt x="2" y="19"/>
                  </a:cubicBezTo>
                  <a:cubicBezTo>
                    <a:pt x="1" y="13"/>
                    <a:pt x="0" y="7"/>
                    <a:pt x="0" y="1"/>
                  </a:cubicBezTo>
                  <a:cubicBezTo>
                    <a:pt x="4" y="0"/>
                    <a:pt x="8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3" name="îşḻîdé"/>
            <p:cNvSpPr/>
            <p:nvPr/>
          </p:nvSpPr>
          <p:spPr bwMode="auto">
            <a:xfrm>
              <a:off x="5701568" y="3455930"/>
              <a:ext cx="125339" cy="206639"/>
            </a:xfrm>
            <a:custGeom>
              <a:avLst/>
              <a:gdLst>
                <a:gd name="T0" fmla="*/ 17 w 18"/>
                <a:gd name="T1" fmla="*/ 1 h 29"/>
                <a:gd name="T2" fmla="*/ 17 w 18"/>
                <a:gd name="T3" fmla="*/ 1 h 29"/>
                <a:gd name="T4" fmla="*/ 17 w 18"/>
                <a:gd name="T5" fmla="*/ 14 h 29"/>
                <a:gd name="T6" fmla="*/ 17 w 18"/>
                <a:gd name="T7" fmla="*/ 25 h 29"/>
                <a:gd name="T8" fmla="*/ 18 w 18"/>
                <a:gd name="T9" fmla="*/ 29 h 29"/>
                <a:gd name="T10" fmla="*/ 17 w 18"/>
                <a:gd name="T11" fmla="*/ 29 h 29"/>
                <a:gd name="T12" fmla="*/ 0 w 18"/>
                <a:gd name="T13" fmla="*/ 29 h 29"/>
                <a:gd name="T14" fmla="*/ 0 w 18"/>
                <a:gd name="T15" fmla="*/ 29 h 29"/>
                <a:gd name="T16" fmla="*/ 1 w 18"/>
                <a:gd name="T17" fmla="*/ 23 h 29"/>
                <a:gd name="T18" fmla="*/ 1 w 18"/>
                <a:gd name="T19" fmla="*/ 14 h 29"/>
                <a:gd name="T20" fmla="*/ 1 w 18"/>
                <a:gd name="T21" fmla="*/ 0 h 29"/>
                <a:gd name="T22" fmla="*/ 17 w 18"/>
                <a:gd name="T2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29">
                  <a:moveTo>
                    <a:pt x="17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8" y="5"/>
                    <a:pt x="17" y="10"/>
                    <a:pt x="17" y="14"/>
                  </a:cubicBezTo>
                  <a:cubicBezTo>
                    <a:pt x="17" y="18"/>
                    <a:pt x="17" y="21"/>
                    <a:pt x="17" y="25"/>
                  </a:cubicBezTo>
                  <a:cubicBezTo>
                    <a:pt x="18" y="26"/>
                    <a:pt x="18" y="28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1" y="29"/>
                    <a:pt x="5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27"/>
                    <a:pt x="1" y="25"/>
                    <a:pt x="1" y="23"/>
                  </a:cubicBezTo>
                  <a:cubicBezTo>
                    <a:pt x="1" y="20"/>
                    <a:pt x="1" y="17"/>
                    <a:pt x="1" y="14"/>
                  </a:cubicBezTo>
                  <a:cubicBezTo>
                    <a:pt x="1" y="9"/>
                    <a:pt x="1" y="5"/>
                    <a:pt x="1" y="0"/>
                  </a:cubicBezTo>
                  <a:cubicBezTo>
                    <a:pt x="6" y="0"/>
                    <a:pt x="11" y="1"/>
                    <a:pt x="17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4" name="ïş1îḍe"/>
            <p:cNvSpPr/>
            <p:nvPr/>
          </p:nvSpPr>
          <p:spPr bwMode="auto">
            <a:xfrm>
              <a:off x="5850619" y="3462705"/>
              <a:ext cx="111789" cy="213414"/>
            </a:xfrm>
            <a:custGeom>
              <a:avLst/>
              <a:gdLst>
                <a:gd name="T0" fmla="*/ 11 w 16"/>
                <a:gd name="T1" fmla="*/ 1 h 30"/>
                <a:gd name="T2" fmla="*/ 11 w 16"/>
                <a:gd name="T3" fmla="*/ 1 h 30"/>
                <a:gd name="T4" fmla="*/ 16 w 16"/>
                <a:gd name="T5" fmla="*/ 1 h 30"/>
                <a:gd name="T6" fmla="*/ 16 w 16"/>
                <a:gd name="T7" fmla="*/ 5 h 30"/>
                <a:gd name="T8" fmla="*/ 15 w 16"/>
                <a:gd name="T9" fmla="*/ 16 h 30"/>
                <a:gd name="T10" fmla="*/ 15 w 16"/>
                <a:gd name="T11" fmla="*/ 27 h 30"/>
                <a:gd name="T12" fmla="*/ 15 w 16"/>
                <a:gd name="T13" fmla="*/ 30 h 30"/>
                <a:gd name="T14" fmla="*/ 14 w 16"/>
                <a:gd name="T15" fmla="*/ 30 h 30"/>
                <a:gd name="T16" fmla="*/ 2 w 16"/>
                <a:gd name="T17" fmla="*/ 29 h 30"/>
                <a:gd name="T18" fmla="*/ 2 w 16"/>
                <a:gd name="T19" fmla="*/ 23 h 30"/>
                <a:gd name="T20" fmla="*/ 1 w 16"/>
                <a:gd name="T21" fmla="*/ 11 h 30"/>
                <a:gd name="T22" fmla="*/ 0 w 16"/>
                <a:gd name="T23" fmla="*/ 0 h 30"/>
                <a:gd name="T24" fmla="*/ 11 w 16"/>
                <a:gd name="T25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30"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4" y="1"/>
                    <a:pt x="16" y="1"/>
                  </a:cubicBezTo>
                  <a:cubicBezTo>
                    <a:pt x="16" y="2"/>
                    <a:pt x="16" y="4"/>
                    <a:pt x="16" y="5"/>
                  </a:cubicBezTo>
                  <a:cubicBezTo>
                    <a:pt x="16" y="9"/>
                    <a:pt x="16" y="12"/>
                    <a:pt x="15" y="16"/>
                  </a:cubicBezTo>
                  <a:cubicBezTo>
                    <a:pt x="15" y="19"/>
                    <a:pt x="15" y="23"/>
                    <a:pt x="15" y="27"/>
                  </a:cubicBezTo>
                  <a:cubicBezTo>
                    <a:pt x="15" y="28"/>
                    <a:pt x="15" y="29"/>
                    <a:pt x="15" y="30"/>
                  </a:cubicBezTo>
                  <a:cubicBezTo>
                    <a:pt x="15" y="30"/>
                    <a:pt x="14" y="30"/>
                    <a:pt x="14" y="30"/>
                  </a:cubicBezTo>
                  <a:cubicBezTo>
                    <a:pt x="10" y="29"/>
                    <a:pt x="6" y="29"/>
                    <a:pt x="2" y="29"/>
                  </a:cubicBezTo>
                  <a:cubicBezTo>
                    <a:pt x="2" y="27"/>
                    <a:pt x="2" y="25"/>
                    <a:pt x="2" y="23"/>
                  </a:cubicBezTo>
                  <a:cubicBezTo>
                    <a:pt x="1" y="19"/>
                    <a:pt x="1" y="15"/>
                    <a:pt x="1" y="11"/>
                  </a:cubicBezTo>
                  <a:cubicBezTo>
                    <a:pt x="1" y="7"/>
                    <a:pt x="1" y="4"/>
                    <a:pt x="0" y="0"/>
                  </a:cubicBezTo>
                  <a:cubicBezTo>
                    <a:pt x="4" y="1"/>
                    <a:pt x="7" y="1"/>
                    <a:pt x="11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5" name="işlíḋé"/>
            <p:cNvSpPr/>
            <p:nvPr/>
          </p:nvSpPr>
          <p:spPr bwMode="auto">
            <a:xfrm>
              <a:off x="5989505" y="3455930"/>
              <a:ext cx="105014" cy="220189"/>
            </a:xfrm>
            <a:custGeom>
              <a:avLst/>
              <a:gdLst>
                <a:gd name="T0" fmla="*/ 15 w 15"/>
                <a:gd name="T1" fmla="*/ 0 h 31"/>
                <a:gd name="T2" fmla="*/ 15 w 15"/>
                <a:gd name="T3" fmla="*/ 0 h 31"/>
                <a:gd name="T4" fmla="*/ 15 w 15"/>
                <a:gd name="T5" fmla="*/ 18 h 31"/>
                <a:gd name="T6" fmla="*/ 15 w 15"/>
                <a:gd name="T7" fmla="*/ 30 h 31"/>
                <a:gd name="T8" fmla="*/ 13 w 15"/>
                <a:gd name="T9" fmla="*/ 30 h 31"/>
                <a:gd name="T10" fmla="*/ 0 w 15"/>
                <a:gd name="T11" fmla="*/ 31 h 31"/>
                <a:gd name="T12" fmla="*/ 0 w 15"/>
                <a:gd name="T13" fmla="*/ 29 h 31"/>
                <a:gd name="T14" fmla="*/ 0 w 15"/>
                <a:gd name="T15" fmla="*/ 18 h 31"/>
                <a:gd name="T16" fmla="*/ 1 w 15"/>
                <a:gd name="T17" fmla="*/ 7 h 31"/>
                <a:gd name="T18" fmla="*/ 1 w 15"/>
                <a:gd name="T19" fmla="*/ 1 h 31"/>
                <a:gd name="T20" fmla="*/ 10 w 15"/>
                <a:gd name="T21" fmla="*/ 0 h 31"/>
                <a:gd name="T22" fmla="*/ 15 w 15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31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6"/>
                    <a:pt x="15" y="12"/>
                    <a:pt x="15" y="18"/>
                  </a:cubicBezTo>
                  <a:cubicBezTo>
                    <a:pt x="15" y="21"/>
                    <a:pt x="14" y="26"/>
                    <a:pt x="15" y="30"/>
                  </a:cubicBezTo>
                  <a:cubicBezTo>
                    <a:pt x="14" y="30"/>
                    <a:pt x="14" y="30"/>
                    <a:pt x="13" y="30"/>
                  </a:cubicBezTo>
                  <a:cubicBezTo>
                    <a:pt x="8" y="31"/>
                    <a:pt x="4" y="31"/>
                    <a:pt x="0" y="31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25"/>
                    <a:pt x="0" y="22"/>
                    <a:pt x="0" y="18"/>
                  </a:cubicBezTo>
                  <a:cubicBezTo>
                    <a:pt x="0" y="15"/>
                    <a:pt x="0" y="11"/>
                    <a:pt x="1" y="7"/>
                  </a:cubicBezTo>
                  <a:cubicBezTo>
                    <a:pt x="1" y="5"/>
                    <a:pt x="1" y="3"/>
                    <a:pt x="1" y="1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1" y="0"/>
                    <a:pt x="13" y="0"/>
                    <a:pt x="1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6" name="iśļïdè"/>
            <p:cNvSpPr/>
            <p:nvPr/>
          </p:nvSpPr>
          <p:spPr bwMode="auto">
            <a:xfrm>
              <a:off x="6216470" y="3462705"/>
              <a:ext cx="84689" cy="206639"/>
            </a:xfrm>
            <a:custGeom>
              <a:avLst/>
              <a:gdLst>
                <a:gd name="T0" fmla="*/ 12 w 12"/>
                <a:gd name="T1" fmla="*/ 0 h 29"/>
                <a:gd name="T2" fmla="*/ 12 w 12"/>
                <a:gd name="T3" fmla="*/ 0 h 29"/>
                <a:gd name="T4" fmla="*/ 11 w 12"/>
                <a:gd name="T5" fmla="*/ 18 h 29"/>
                <a:gd name="T6" fmla="*/ 11 w 12"/>
                <a:gd name="T7" fmla="*/ 27 h 29"/>
                <a:gd name="T8" fmla="*/ 11 w 12"/>
                <a:gd name="T9" fmla="*/ 29 h 29"/>
                <a:gd name="T10" fmla="*/ 3 w 12"/>
                <a:gd name="T11" fmla="*/ 28 h 29"/>
                <a:gd name="T12" fmla="*/ 3 w 12"/>
                <a:gd name="T13" fmla="*/ 14 h 29"/>
                <a:gd name="T14" fmla="*/ 0 w 12"/>
                <a:gd name="T15" fmla="*/ 0 h 29"/>
                <a:gd name="T16" fmla="*/ 12 w 12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9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6"/>
                    <a:pt x="11" y="12"/>
                    <a:pt x="11" y="18"/>
                  </a:cubicBezTo>
                  <a:cubicBezTo>
                    <a:pt x="11" y="21"/>
                    <a:pt x="11" y="24"/>
                    <a:pt x="11" y="27"/>
                  </a:cubicBezTo>
                  <a:cubicBezTo>
                    <a:pt x="11" y="28"/>
                    <a:pt x="11" y="28"/>
                    <a:pt x="11" y="29"/>
                  </a:cubicBezTo>
                  <a:cubicBezTo>
                    <a:pt x="8" y="29"/>
                    <a:pt x="5" y="29"/>
                    <a:pt x="3" y="28"/>
                  </a:cubicBezTo>
                  <a:cubicBezTo>
                    <a:pt x="3" y="23"/>
                    <a:pt x="3" y="19"/>
                    <a:pt x="3" y="14"/>
                  </a:cubicBezTo>
                  <a:cubicBezTo>
                    <a:pt x="3" y="9"/>
                    <a:pt x="3" y="4"/>
                    <a:pt x="0" y="0"/>
                  </a:cubicBezTo>
                  <a:cubicBezTo>
                    <a:pt x="4" y="0"/>
                    <a:pt x="8" y="0"/>
                    <a:pt x="12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7" name="íṩliḍê"/>
            <p:cNvSpPr/>
            <p:nvPr/>
          </p:nvSpPr>
          <p:spPr bwMode="auto">
            <a:xfrm>
              <a:off x="6328256" y="3462705"/>
              <a:ext cx="111789" cy="206639"/>
            </a:xfrm>
            <a:custGeom>
              <a:avLst/>
              <a:gdLst>
                <a:gd name="T0" fmla="*/ 13 w 16"/>
                <a:gd name="T1" fmla="*/ 0 h 29"/>
                <a:gd name="T2" fmla="*/ 13 w 16"/>
                <a:gd name="T3" fmla="*/ 0 h 29"/>
                <a:gd name="T4" fmla="*/ 13 w 16"/>
                <a:gd name="T5" fmla="*/ 6 h 29"/>
                <a:gd name="T6" fmla="*/ 14 w 16"/>
                <a:gd name="T7" fmla="*/ 14 h 29"/>
                <a:gd name="T8" fmla="*/ 15 w 16"/>
                <a:gd name="T9" fmla="*/ 23 h 29"/>
                <a:gd name="T10" fmla="*/ 16 w 16"/>
                <a:gd name="T11" fmla="*/ 29 h 29"/>
                <a:gd name="T12" fmla="*/ 1 w 16"/>
                <a:gd name="T13" fmla="*/ 29 h 29"/>
                <a:gd name="T14" fmla="*/ 0 w 16"/>
                <a:gd name="T15" fmla="*/ 29 h 29"/>
                <a:gd name="T16" fmla="*/ 0 w 16"/>
                <a:gd name="T17" fmla="*/ 27 h 29"/>
                <a:gd name="T18" fmla="*/ 0 w 16"/>
                <a:gd name="T19" fmla="*/ 18 h 29"/>
                <a:gd name="T20" fmla="*/ 0 w 16"/>
                <a:gd name="T21" fmla="*/ 0 h 29"/>
                <a:gd name="T22" fmla="*/ 13 w 16"/>
                <a:gd name="T2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29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4" y="2"/>
                    <a:pt x="13" y="4"/>
                    <a:pt x="13" y="6"/>
                  </a:cubicBezTo>
                  <a:cubicBezTo>
                    <a:pt x="13" y="9"/>
                    <a:pt x="13" y="11"/>
                    <a:pt x="14" y="14"/>
                  </a:cubicBezTo>
                  <a:cubicBezTo>
                    <a:pt x="14" y="17"/>
                    <a:pt x="14" y="20"/>
                    <a:pt x="15" y="23"/>
                  </a:cubicBezTo>
                  <a:cubicBezTo>
                    <a:pt x="15" y="24"/>
                    <a:pt x="15" y="27"/>
                    <a:pt x="16" y="29"/>
                  </a:cubicBezTo>
                  <a:cubicBezTo>
                    <a:pt x="11" y="28"/>
                    <a:pt x="6" y="29"/>
                    <a:pt x="1" y="29"/>
                  </a:cubicBezTo>
                  <a:cubicBezTo>
                    <a:pt x="1" y="29"/>
                    <a:pt x="0" y="29"/>
                    <a:pt x="0" y="29"/>
                  </a:cubicBezTo>
                  <a:cubicBezTo>
                    <a:pt x="0" y="28"/>
                    <a:pt x="0" y="28"/>
                    <a:pt x="0" y="27"/>
                  </a:cubicBezTo>
                  <a:cubicBezTo>
                    <a:pt x="0" y="24"/>
                    <a:pt x="0" y="21"/>
                    <a:pt x="0" y="18"/>
                  </a:cubicBezTo>
                  <a:cubicBezTo>
                    <a:pt x="0" y="12"/>
                    <a:pt x="0" y="6"/>
                    <a:pt x="0" y="0"/>
                  </a:cubicBezTo>
                  <a:cubicBezTo>
                    <a:pt x="5" y="0"/>
                    <a:pt x="9" y="0"/>
                    <a:pt x="13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8" name="îŝḻiḓe"/>
            <p:cNvSpPr/>
            <p:nvPr/>
          </p:nvSpPr>
          <p:spPr bwMode="auto">
            <a:xfrm>
              <a:off x="6118231" y="3455930"/>
              <a:ext cx="84689" cy="206639"/>
            </a:xfrm>
            <a:custGeom>
              <a:avLst/>
              <a:gdLst>
                <a:gd name="T0" fmla="*/ 3 w 12"/>
                <a:gd name="T1" fmla="*/ 29 h 29"/>
                <a:gd name="T2" fmla="*/ 3 w 12"/>
                <a:gd name="T3" fmla="*/ 29 h 29"/>
                <a:gd name="T4" fmla="*/ 2 w 12"/>
                <a:gd name="T5" fmla="*/ 25 h 29"/>
                <a:gd name="T6" fmla="*/ 2 w 12"/>
                <a:gd name="T7" fmla="*/ 17 h 29"/>
                <a:gd name="T8" fmla="*/ 0 w 12"/>
                <a:gd name="T9" fmla="*/ 0 h 29"/>
                <a:gd name="T10" fmla="*/ 11 w 12"/>
                <a:gd name="T11" fmla="*/ 0 h 29"/>
                <a:gd name="T12" fmla="*/ 12 w 12"/>
                <a:gd name="T13" fmla="*/ 17 h 29"/>
                <a:gd name="T14" fmla="*/ 12 w 12"/>
                <a:gd name="T15" fmla="*/ 29 h 29"/>
                <a:gd name="T16" fmla="*/ 3 w 12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9">
                  <a:moveTo>
                    <a:pt x="3" y="29"/>
                  </a:moveTo>
                  <a:cubicBezTo>
                    <a:pt x="3" y="29"/>
                    <a:pt x="3" y="29"/>
                    <a:pt x="3" y="29"/>
                  </a:cubicBezTo>
                  <a:cubicBezTo>
                    <a:pt x="2" y="28"/>
                    <a:pt x="2" y="26"/>
                    <a:pt x="2" y="25"/>
                  </a:cubicBezTo>
                  <a:cubicBezTo>
                    <a:pt x="2" y="22"/>
                    <a:pt x="2" y="19"/>
                    <a:pt x="2" y="17"/>
                  </a:cubicBezTo>
                  <a:cubicBezTo>
                    <a:pt x="2" y="11"/>
                    <a:pt x="1" y="6"/>
                    <a:pt x="0" y="0"/>
                  </a:cubicBezTo>
                  <a:cubicBezTo>
                    <a:pt x="4" y="0"/>
                    <a:pt x="7" y="0"/>
                    <a:pt x="11" y="0"/>
                  </a:cubicBezTo>
                  <a:cubicBezTo>
                    <a:pt x="12" y="6"/>
                    <a:pt x="12" y="11"/>
                    <a:pt x="12" y="17"/>
                  </a:cubicBezTo>
                  <a:cubicBezTo>
                    <a:pt x="12" y="21"/>
                    <a:pt x="11" y="25"/>
                    <a:pt x="12" y="29"/>
                  </a:cubicBezTo>
                  <a:cubicBezTo>
                    <a:pt x="9" y="29"/>
                    <a:pt x="6" y="29"/>
                    <a:pt x="3" y="29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189" name="矩形: 圆角 188"/>
          <p:cNvSpPr/>
          <p:nvPr userDrawn="1"/>
        </p:nvSpPr>
        <p:spPr>
          <a:xfrm>
            <a:off x="1255339" y="1191197"/>
            <a:ext cx="9411170" cy="3739164"/>
          </a:xfrm>
          <a:prstGeom prst="roundRect">
            <a:avLst>
              <a:gd name="adj" fmla="val 9140"/>
            </a:avLst>
          </a:prstGeom>
          <a:solidFill>
            <a:schemeClr val="bg1"/>
          </a:solidFill>
          <a:ln w="76200">
            <a:solidFill>
              <a:srgbClr val="6039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90" name="bca53829-35c6-4459-b981-6f35f8ea863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6"/>
            </p:custDataLst>
          </p:nvPr>
        </p:nvGrpSpPr>
        <p:grpSpPr>
          <a:xfrm>
            <a:off x="6463630" y="2136530"/>
            <a:ext cx="4813650" cy="4298748"/>
            <a:chOff x="3686000" y="1535214"/>
            <a:chExt cx="4813650" cy="4298748"/>
          </a:xfrm>
        </p:grpSpPr>
        <p:sp>
          <p:nvSpPr>
            <p:cNvPr id="191" name="îṧļïde"/>
            <p:cNvSpPr/>
            <p:nvPr/>
          </p:nvSpPr>
          <p:spPr bwMode="auto">
            <a:xfrm>
              <a:off x="3686000" y="1535214"/>
              <a:ext cx="4813650" cy="4298748"/>
            </a:xfrm>
            <a:custGeom>
              <a:avLst/>
              <a:gdLst>
                <a:gd name="T0" fmla="*/ 639 w 684"/>
                <a:gd name="T1" fmla="*/ 410 h 611"/>
                <a:gd name="T2" fmla="*/ 598 w 684"/>
                <a:gd name="T3" fmla="*/ 335 h 611"/>
                <a:gd name="T4" fmla="*/ 499 w 684"/>
                <a:gd name="T5" fmla="*/ 267 h 611"/>
                <a:gd name="T6" fmla="*/ 489 w 684"/>
                <a:gd name="T7" fmla="*/ 180 h 611"/>
                <a:gd name="T8" fmla="*/ 482 w 684"/>
                <a:gd name="T9" fmla="*/ 154 h 611"/>
                <a:gd name="T10" fmla="*/ 347 w 684"/>
                <a:gd name="T11" fmla="*/ 142 h 611"/>
                <a:gd name="T12" fmla="*/ 337 w 684"/>
                <a:gd name="T13" fmla="*/ 118 h 611"/>
                <a:gd name="T14" fmla="*/ 341 w 684"/>
                <a:gd name="T15" fmla="*/ 86 h 611"/>
                <a:gd name="T16" fmla="*/ 355 w 684"/>
                <a:gd name="T17" fmla="*/ 61 h 611"/>
                <a:gd name="T18" fmla="*/ 332 w 684"/>
                <a:gd name="T19" fmla="*/ 46 h 611"/>
                <a:gd name="T20" fmla="*/ 370 w 684"/>
                <a:gd name="T21" fmla="*/ 14 h 611"/>
                <a:gd name="T22" fmla="*/ 322 w 684"/>
                <a:gd name="T23" fmla="*/ 24 h 611"/>
                <a:gd name="T24" fmla="*/ 331 w 684"/>
                <a:gd name="T25" fmla="*/ 61 h 611"/>
                <a:gd name="T26" fmla="*/ 334 w 684"/>
                <a:gd name="T27" fmla="*/ 97 h 611"/>
                <a:gd name="T28" fmla="*/ 313 w 684"/>
                <a:gd name="T29" fmla="*/ 129 h 611"/>
                <a:gd name="T30" fmla="*/ 262 w 684"/>
                <a:gd name="T31" fmla="*/ 144 h 611"/>
                <a:gd name="T32" fmla="*/ 171 w 684"/>
                <a:gd name="T33" fmla="*/ 184 h 611"/>
                <a:gd name="T34" fmla="*/ 169 w 684"/>
                <a:gd name="T35" fmla="*/ 267 h 611"/>
                <a:gd name="T36" fmla="*/ 59 w 684"/>
                <a:gd name="T37" fmla="*/ 357 h 611"/>
                <a:gd name="T38" fmla="*/ 30 w 684"/>
                <a:gd name="T39" fmla="*/ 410 h 611"/>
                <a:gd name="T40" fmla="*/ 7 w 684"/>
                <a:gd name="T41" fmla="*/ 438 h 611"/>
                <a:gd name="T42" fmla="*/ 14 w 684"/>
                <a:gd name="T43" fmla="*/ 474 h 611"/>
                <a:gd name="T44" fmla="*/ 28 w 684"/>
                <a:gd name="T45" fmla="*/ 471 h 611"/>
                <a:gd name="T46" fmla="*/ 55 w 684"/>
                <a:gd name="T47" fmla="*/ 461 h 611"/>
                <a:gd name="T48" fmla="*/ 78 w 684"/>
                <a:gd name="T49" fmla="*/ 487 h 611"/>
                <a:gd name="T50" fmla="*/ 89 w 684"/>
                <a:gd name="T51" fmla="*/ 425 h 611"/>
                <a:gd name="T52" fmla="*/ 101 w 684"/>
                <a:gd name="T53" fmla="*/ 391 h 611"/>
                <a:gd name="T54" fmla="*/ 147 w 684"/>
                <a:gd name="T55" fmla="*/ 335 h 611"/>
                <a:gd name="T56" fmla="*/ 173 w 684"/>
                <a:gd name="T57" fmla="*/ 403 h 611"/>
                <a:gd name="T58" fmla="*/ 175 w 684"/>
                <a:gd name="T59" fmla="*/ 499 h 611"/>
                <a:gd name="T60" fmla="*/ 235 w 684"/>
                <a:gd name="T61" fmla="*/ 514 h 611"/>
                <a:gd name="T62" fmla="*/ 151 w 684"/>
                <a:gd name="T63" fmla="*/ 532 h 611"/>
                <a:gd name="T64" fmla="*/ 93 w 684"/>
                <a:gd name="T65" fmla="*/ 534 h 611"/>
                <a:gd name="T66" fmla="*/ 160 w 684"/>
                <a:gd name="T67" fmla="*/ 610 h 611"/>
                <a:gd name="T68" fmla="*/ 382 w 684"/>
                <a:gd name="T69" fmla="*/ 604 h 611"/>
                <a:gd name="T70" fmla="*/ 531 w 684"/>
                <a:gd name="T71" fmla="*/ 603 h 611"/>
                <a:gd name="T72" fmla="*/ 605 w 684"/>
                <a:gd name="T73" fmla="*/ 567 h 611"/>
                <a:gd name="T74" fmla="*/ 552 w 684"/>
                <a:gd name="T75" fmla="*/ 523 h 611"/>
                <a:gd name="T76" fmla="*/ 436 w 684"/>
                <a:gd name="T77" fmla="*/ 527 h 611"/>
                <a:gd name="T78" fmla="*/ 426 w 684"/>
                <a:gd name="T79" fmla="*/ 515 h 611"/>
                <a:gd name="T80" fmla="*/ 485 w 684"/>
                <a:gd name="T81" fmla="*/ 504 h 611"/>
                <a:gd name="T82" fmla="*/ 487 w 684"/>
                <a:gd name="T83" fmla="*/ 493 h 611"/>
                <a:gd name="T84" fmla="*/ 492 w 684"/>
                <a:gd name="T85" fmla="*/ 403 h 611"/>
                <a:gd name="T86" fmla="*/ 496 w 684"/>
                <a:gd name="T87" fmla="*/ 321 h 611"/>
                <a:gd name="T88" fmla="*/ 573 w 684"/>
                <a:gd name="T89" fmla="*/ 395 h 611"/>
                <a:gd name="T90" fmla="*/ 596 w 684"/>
                <a:gd name="T91" fmla="*/ 434 h 611"/>
                <a:gd name="T92" fmla="*/ 589 w 684"/>
                <a:gd name="T93" fmla="*/ 485 h 611"/>
                <a:gd name="T94" fmla="*/ 626 w 684"/>
                <a:gd name="T95" fmla="*/ 487 h 611"/>
                <a:gd name="T96" fmla="*/ 670 w 684"/>
                <a:gd name="T97" fmla="*/ 477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4" h="611">
                  <a:moveTo>
                    <a:pt x="682" y="458"/>
                  </a:moveTo>
                  <a:cubicBezTo>
                    <a:pt x="682" y="453"/>
                    <a:pt x="681" y="450"/>
                    <a:pt x="679" y="446"/>
                  </a:cubicBezTo>
                  <a:cubicBezTo>
                    <a:pt x="677" y="438"/>
                    <a:pt x="672" y="431"/>
                    <a:pt x="666" y="425"/>
                  </a:cubicBezTo>
                  <a:cubicBezTo>
                    <a:pt x="659" y="417"/>
                    <a:pt x="649" y="411"/>
                    <a:pt x="639" y="410"/>
                  </a:cubicBezTo>
                  <a:cubicBezTo>
                    <a:pt x="638" y="406"/>
                    <a:pt x="637" y="403"/>
                    <a:pt x="636" y="401"/>
                  </a:cubicBezTo>
                  <a:cubicBezTo>
                    <a:pt x="634" y="396"/>
                    <a:pt x="632" y="391"/>
                    <a:pt x="630" y="386"/>
                  </a:cubicBezTo>
                  <a:cubicBezTo>
                    <a:pt x="625" y="377"/>
                    <a:pt x="621" y="368"/>
                    <a:pt x="615" y="359"/>
                  </a:cubicBezTo>
                  <a:cubicBezTo>
                    <a:pt x="610" y="351"/>
                    <a:pt x="604" y="343"/>
                    <a:pt x="598" y="335"/>
                  </a:cubicBezTo>
                  <a:cubicBezTo>
                    <a:pt x="592" y="328"/>
                    <a:pt x="587" y="320"/>
                    <a:pt x="580" y="313"/>
                  </a:cubicBezTo>
                  <a:cubicBezTo>
                    <a:pt x="568" y="300"/>
                    <a:pt x="552" y="290"/>
                    <a:pt x="537" y="282"/>
                  </a:cubicBezTo>
                  <a:cubicBezTo>
                    <a:pt x="529" y="277"/>
                    <a:pt x="520" y="273"/>
                    <a:pt x="512" y="270"/>
                  </a:cubicBezTo>
                  <a:cubicBezTo>
                    <a:pt x="507" y="269"/>
                    <a:pt x="503" y="267"/>
                    <a:pt x="499" y="267"/>
                  </a:cubicBezTo>
                  <a:cubicBezTo>
                    <a:pt x="496" y="266"/>
                    <a:pt x="493" y="266"/>
                    <a:pt x="490" y="266"/>
                  </a:cubicBezTo>
                  <a:cubicBezTo>
                    <a:pt x="490" y="257"/>
                    <a:pt x="491" y="248"/>
                    <a:pt x="491" y="240"/>
                  </a:cubicBezTo>
                  <a:cubicBezTo>
                    <a:pt x="491" y="226"/>
                    <a:pt x="491" y="213"/>
                    <a:pt x="490" y="200"/>
                  </a:cubicBezTo>
                  <a:cubicBezTo>
                    <a:pt x="490" y="193"/>
                    <a:pt x="490" y="187"/>
                    <a:pt x="489" y="180"/>
                  </a:cubicBezTo>
                  <a:cubicBezTo>
                    <a:pt x="489" y="179"/>
                    <a:pt x="489" y="177"/>
                    <a:pt x="489" y="175"/>
                  </a:cubicBezTo>
                  <a:cubicBezTo>
                    <a:pt x="489" y="174"/>
                    <a:pt x="490" y="172"/>
                    <a:pt x="490" y="171"/>
                  </a:cubicBezTo>
                  <a:cubicBezTo>
                    <a:pt x="491" y="169"/>
                    <a:pt x="490" y="166"/>
                    <a:pt x="490" y="164"/>
                  </a:cubicBezTo>
                  <a:cubicBezTo>
                    <a:pt x="489" y="160"/>
                    <a:pt x="486" y="156"/>
                    <a:pt x="482" y="154"/>
                  </a:cubicBezTo>
                  <a:cubicBezTo>
                    <a:pt x="479" y="152"/>
                    <a:pt x="476" y="151"/>
                    <a:pt x="472" y="151"/>
                  </a:cubicBezTo>
                  <a:cubicBezTo>
                    <a:pt x="467" y="149"/>
                    <a:pt x="462" y="148"/>
                    <a:pt x="457" y="147"/>
                  </a:cubicBezTo>
                  <a:cubicBezTo>
                    <a:pt x="436" y="143"/>
                    <a:pt x="414" y="143"/>
                    <a:pt x="393" y="142"/>
                  </a:cubicBezTo>
                  <a:cubicBezTo>
                    <a:pt x="378" y="142"/>
                    <a:pt x="362" y="142"/>
                    <a:pt x="347" y="142"/>
                  </a:cubicBezTo>
                  <a:cubicBezTo>
                    <a:pt x="347" y="142"/>
                    <a:pt x="346" y="141"/>
                    <a:pt x="346" y="141"/>
                  </a:cubicBezTo>
                  <a:cubicBezTo>
                    <a:pt x="341" y="137"/>
                    <a:pt x="336" y="133"/>
                    <a:pt x="332" y="128"/>
                  </a:cubicBezTo>
                  <a:cubicBezTo>
                    <a:pt x="330" y="126"/>
                    <a:pt x="328" y="124"/>
                    <a:pt x="326" y="123"/>
                  </a:cubicBezTo>
                  <a:cubicBezTo>
                    <a:pt x="330" y="121"/>
                    <a:pt x="334" y="120"/>
                    <a:pt x="337" y="118"/>
                  </a:cubicBezTo>
                  <a:cubicBezTo>
                    <a:pt x="341" y="116"/>
                    <a:pt x="344" y="113"/>
                    <a:pt x="348" y="111"/>
                  </a:cubicBezTo>
                  <a:cubicBezTo>
                    <a:pt x="351" y="108"/>
                    <a:pt x="356" y="106"/>
                    <a:pt x="360" y="104"/>
                  </a:cubicBezTo>
                  <a:cubicBezTo>
                    <a:pt x="364" y="101"/>
                    <a:pt x="365" y="94"/>
                    <a:pt x="360" y="92"/>
                  </a:cubicBezTo>
                  <a:cubicBezTo>
                    <a:pt x="354" y="89"/>
                    <a:pt x="347" y="88"/>
                    <a:pt x="341" y="86"/>
                  </a:cubicBezTo>
                  <a:cubicBezTo>
                    <a:pt x="337" y="84"/>
                    <a:pt x="334" y="83"/>
                    <a:pt x="331" y="81"/>
                  </a:cubicBezTo>
                  <a:cubicBezTo>
                    <a:pt x="332" y="81"/>
                    <a:pt x="333" y="80"/>
                    <a:pt x="334" y="79"/>
                  </a:cubicBezTo>
                  <a:cubicBezTo>
                    <a:pt x="338" y="77"/>
                    <a:pt x="342" y="74"/>
                    <a:pt x="347" y="72"/>
                  </a:cubicBezTo>
                  <a:cubicBezTo>
                    <a:pt x="351" y="70"/>
                    <a:pt x="355" y="67"/>
                    <a:pt x="355" y="61"/>
                  </a:cubicBezTo>
                  <a:cubicBezTo>
                    <a:pt x="355" y="55"/>
                    <a:pt x="350" y="53"/>
                    <a:pt x="345" y="51"/>
                  </a:cubicBezTo>
                  <a:cubicBezTo>
                    <a:pt x="343" y="51"/>
                    <a:pt x="340" y="50"/>
                    <a:pt x="338" y="49"/>
                  </a:cubicBezTo>
                  <a:cubicBezTo>
                    <a:pt x="336" y="48"/>
                    <a:pt x="335" y="48"/>
                    <a:pt x="334" y="47"/>
                  </a:cubicBezTo>
                  <a:cubicBezTo>
                    <a:pt x="333" y="47"/>
                    <a:pt x="333" y="46"/>
                    <a:pt x="332" y="46"/>
                  </a:cubicBezTo>
                  <a:cubicBezTo>
                    <a:pt x="332" y="46"/>
                    <a:pt x="332" y="46"/>
                    <a:pt x="333" y="45"/>
                  </a:cubicBezTo>
                  <a:cubicBezTo>
                    <a:pt x="334" y="44"/>
                    <a:pt x="335" y="44"/>
                    <a:pt x="337" y="43"/>
                  </a:cubicBezTo>
                  <a:cubicBezTo>
                    <a:pt x="342" y="45"/>
                    <a:pt x="347" y="46"/>
                    <a:pt x="353" y="45"/>
                  </a:cubicBezTo>
                  <a:cubicBezTo>
                    <a:pt x="367" y="43"/>
                    <a:pt x="376" y="27"/>
                    <a:pt x="370" y="14"/>
                  </a:cubicBezTo>
                  <a:cubicBezTo>
                    <a:pt x="367" y="7"/>
                    <a:pt x="360" y="4"/>
                    <a:pt x="353" y="2"/>
                  </a:cubicBezTo>
                  <a:cubicBezTo>
                    <a:pt x="348" y="1"/>
                    <a:pt x="341" y="0"/>
                    <a:pt x="336" y="2"/>
                  </a:cubicBezTo>
                  <a:cubicBezTo>
                    <a:pt x="332" y="1"/>
                    <a:pt x="329" y="2"/>
                    <a:pt x="326" y="5"/>
                  </a:cubicBezTo>
                  <a:cubicBezTo>
                    <a:pt x="321" y="11"/>
                    <a:pt x="321" y="18"/>
                    <a:pt x="322" y="24"/>
                  </a:cubicBezTo>
                  <a:cubicBezTo>
                    <a:pt x="322" y="28"/>
                    <a:pt x="324" y="31"/>
                    <a:pt x="326" y="34"/>
                  </a:cubicBezTo>
                  <a:cubicBezTo>
                    <a:pt x="326" y="34"/>
                    <a:pt x="326" y="34"/>
                    <a:pt x="326" y="34"/>
                  </a:cubicBezTo>
                  <a:cubicBezTo>
                    <a:pt x="322" y="36"/>
                    <a:pt x="318" y="39"/>
                    <a:pt x="317" y="44"/>
                  </a:cubicBezTo>
                  <a:cubicBezTo>
                    <a:pt x="313" y="53"/>
                    <a:pt x="325" y="58"/>
                    <a:pt x="331" y="61"/>
                  </a:cubicBezTo>
                  <a:cubicBezTo>
                    <a:pt x="333" y="61"/>
                    <a:pt x="335" y="62"/>
                    <a:pt x="336" y="63"/>
                  </a:cubicBezTo>
                  <a:cubicBezTo>
                    <a:pt x="328" y="67"/>
                    <a:pt x="320" y="71"/>
                    <a:pt x="313" y="76"/>
                  </a:cubicBezTo>
                  <a:cubicBezTo>
                    <a:pt x="309" y="78"/>
                    <a:pt x="308" y="85"/>
                    <a:pt x="313" y="88"/>
                  </a:cubicBezTo>
                  <a:cubicBezTo>
                    <a:pt x="320" y="91"/>
                    <a:pt x="327" y="94"/>
                    <a:pt x="334" y="97"/>
                  </a:cubicBezTo>
                  <a:cubicBezTo>
                    <a:pt x="336" y="98"/>
                    <a:pt x="338" y="99"/>
                    <a:pt x="340" y="100"/>
                  </a:cubicBezTo>
                  <a:cubicBezTo>
                    <a:pt x="336" y="102"/>
                    <a:pt x="333" y="105"/>
                    <a:pt x="330" y="107"/>
                  </a:cubicBezTo>
                  <a:cubicBezTo>
                    <a:pt x="323" y="110"/>
                    <a:pt x="315" y="112"/>
                    <a:pt x="310" y="118"/>
                  </a:cubicBezTo>
                  <a:cubicBezTo>
                    <a:pt x="306" y="122"/>
                    <a:pt x="308" y="127"/>
                    <a:pt x="313" y="129"/>
                  </a:cubicBezTo>
                  <a:cubicBezTo>
                    <a:pt x="317" y="131"/>
                    <a:pt x="321" y="136"/>
                    <a:pt x="325" y="139"/>
                  </a:cubicBezTo>
                  <a:cubicBezTo>
                    <a:pt x="326" y="140"/>
                    <a:pt x="327" y="141"/>
                    <a:pt x="329" y="142"/>
                  </a:cubicBezTo>
                  <a:cubicBezTo>
                    <a:pt x="328" y="142"/>
                    <a:pt x="327" y="142"/>
                    <a:pt x="327" y="142"/>
                  </a:cubicBezTo>
                  <a:cubicBezTo>
                    <a:pt x="305" y="143"/>
                    <a:pt x="283" y="142"/>
                    <a:pt x="262" y="144"/>
                  </a:cubicBezTo>
                  <a:cubicBezTo>
                    <a:pt x="250" y="145"/>
                    <a:pt x="239" y="148"/>
                    <a:pt x="228" y="149"/>
                  </a:cubicBezTo>
                  <a:cubicBezTo>
                    <a:pt x="217" y="150"/>
                    <a:pt x="206" y="149"/>
                    <a:pt x="195" y="150"/>
                  </a:cubicBezTo>
                  <a:cubicBezTo>
                    <a:pt x="186" y="150"/>
                    <a:pt x="177" y="153"/>
                    <a:pt x="173" y="162"/>
                  </a:cubicBezTo>
                  <a:cubicBezTo>
                    <a:pt x="170" y="168"/>
                    <a:pt x="168" y="177"/>
                    <a:pt x="171" y="184"/>
                  </a:cubicBezTo>
                  <a:cubicBezTo>
                    <a:pt x="171" y="185"/>
                    <a:pt x="171" y="185"/>
                    <a:pt x="171" y="186"/>
                  </a:cubicBezTo>
                  <a:cubicBezTo>
                    <a:pt x="170" y="192"/>
                    <a:pt x="170" y="198"/>
                    <a:pt x="170" y="204"/>
                  </a:cubicBezTo>
                  <a:cubicBezTo>
                    <a:pt x="170" y="215"/>
                    <a:pt x="170" y="226"/>
                    <a:pt x="170" y="237"/>
                  </a:cubicBezTo>
                  <a:cubicBezTo>
                    <a:pt x="169" y="247"/>
                    <a:pt x="169" y="257"/>
                    <a:pt x="169" y="267"/>
                  </a:cubicBezTo>
                  <a:cubicBezTo>
                    <a:pt x="163" y="267"/>
                    <a:pt x="157" y="269"/>
                    <a:pt x="152" y="271"/>
                  </a:cubicBezTo>
                  <a:cubicBezTo>
                    <a:pt x="143" y="274"/>
                    <a:pt x="135" y="279"/>
                    <a:pt x="128" y="284"/>
                  </a:cubicBezTo>
                  <a:cubicBezTo>
                    <a:pt x="114" y="293"/>
                    <a:pt x="100" y="304"/>
                    <a:pt x="89" y="316"/>
                  </a:cubicBezTo>
                  <a:cubicBezTo>
                    <a:pt x="77" y="328"/>
                    <a:pt x="67" y="342"/>
                    <a:pt x="59" y="357"/>
                  </a:cubicBezTo>
                  <a:cubicBezTo>
                    <a:pt x="55" y="364"/>
                    <a:pt x="51" y="372"/>
                    <a:pt x="49" y="380"/>
                  </a:cubicBezTo>
                  <a:cubicBezTo>
                    <a:pt x="47" y="385"/>
                    <a:pt x="46" y="390"/>
                    <a:pt x="45" y="395"/>
                  </a:cubicBezTo>
                  <a:cubicBezTo>
                    <a:pt x="44" y="399"/>
                    <a:pt x="43" y="403"/>
                    <a:pt x="43" y="407"/>
                  </a:cubicBezTo>
                  <a:cubicBezTo>
                    <a:pt x="39" y="408"/>
                    <a:pt x="34" y="409"/>
                    <a:pt x="30" y="410"/>
                  </a:cubicBezTo>
                  <a:cubicBezTo>
                    <a:pt x="28" y="410"/>
                    <a:pt x="26" y="410"/>
                    <a:pt x="24" y="411"/>
                  </a:cubicBezTo>
                  <a:cubicBezTo>
                    <a:pt x="21" y="414"/>
                    <a:pt x="17" y="417"/>
                    <a:pt x="14" y="421"/>
                  </a:cubicBezTo>
                  <a:cubicBezTo>
                    <a:pt x="12" y="426"/>
                    <a:pt x="10" y="430"/>
                    <a:pt x="8" y="435"/>
                  </a:cubicBezTo>
                  <a:cubicBezTo>
                    <a:pt x="7" y="436"/>
                    <a:pt x="7" y="437"/>
                    <a:pt x="7" y="438"/>
                  </a:cubicBezTo>
                  <a:cubicBezTo>
                    <a:pt x="6" y="439"/>
                    <a:pt x="6" y="440"/>
                    <a:pt x="6" y="440"/>
                  </a:cubicBezTo>
                  <a:cubicBezTo>
                    <a:pt x="6" y="441"/>
                    <a:pt x="5" y="441"/>
                    <a:pt x="5" y="442"/>
                  </a:cubicBezTo>
                  <a:cubicBezTo>
                    <a:pt x="3" y="448"/>
                    <a:pt x="0" y="455"/>
                    <a:pt x="1" y="462"/>
                  </a:cubicBezTo>
                  <a:cubicBezTo>
                    <a:pt x="1" y="468"/>
                    <a:pt x="7" y="476"/>
                    <a:pt x="14" y="474"/>
                  </a:cubicBezTo>
                  <a:cubicBezTo>
                    <a:pt x="14" y="475"/>
                    <a:pt x="15" y="475"/>
                    <a:pt x="16" y="475"/>
                  </a:cubicBezTo>
                  <a:cubicBezTo>
                    <a:pt x="17" y="475"/>
                    <a:pt x="18" y="475"/>
                    <a:pt x="17" y="474"/>
                  </a:cubicBezTo>
                  <a:cubicBezTo>
                    <a:pt x="18" y="474"/>
                    <a:pt x="19" y="474"/>
                    <a:pt x="20" y="474"/>
                  </a:cubicBezTo>
                  <a:cubicBezTo>
                    <a:pt x="23" y="474"/>
                    <a:pt x="25" y="473"/>
                    <a:pt x="28" y="471"/>
                  </a:cubicBezTo>
                  <a:cubicBezTo>
                    <a:pt x="33" y="467"/>
                    <a:pt x="34" y="459"/>
                    <a:pt x="37" y="453"/>
                  </a:cubicBezTo>
                  <a:cubicBezTo>
                    <a:pt x="40" y="449"/>
                    <a:pt x="43" y="444"/>
                    <a:pt x="48" y="442"/>
                  </a:cubicBezTo>
                  <a:cubicBezTo>
                    <a:pt x="53" y="441"/>
                    <a:pt x="59" y="444"/>
                    <a:pt x="60" y="449"/>
                  </a:cubicBezTo>
                  <a:cubicBezTo>
                    <a:pt x="61" y="452"/>
                    <a:pt x="57" y="458"/>
                    <a:pt x="55" y="461"/>
                  </a:cubicBezTo>
                  <a:cubicBezTo>
                    <a:pt x="52" y="466"/>
                    <a:pt x="49" y="471"/>
                    <a:pt x="50" y="478"/>
                  </a:cubicBezTo>
                  <a:cubicBezTo>
                    <a:pt x="52" y="482"/>
                    <a:pt x="56" y="485"/>
                    <a:pt x="61" y="487"/>
                  </a:cubicBezTo>
                  <a:cubicBezTo>
                    <a:pt x="65" y="488"/>
                    <a:pt x="71" y="490"/>
                    <a:pt x="75" y="489"/>
                  </a:cubicBezTo>
                  <a:cubicBezTo>
                    <a:pt x="76" y="488"/>
                    <a:pt x="77" y="488"/>
                    <a:pt x="78" y="487"/>
                  </a:cubicBezTo>
                  <a:cubicBezTo>
                    <a:pt x="81" y="486"/>
                    <a:pt x="84" y="483"/>
                    <a:pt x="85" y="480"/>
                  </a:cubicBezTo>
                  <a:cubicBezTo>
                    <a:pt x="88" y="476"/>
                    <a:pt x="90" y="470"/>
                    <a:pt x="91" y="465"/>
                  </a:cubicBezTo>
                  <a:cubicBezTo>
                    <a:pt x="94" y="453"/>
                    <a:pt x="92" y="440"/>
                    <a:pt x="86" y="429"/>
                  </a:cubicBezTo>
                  <a:cubicBezTo>
                    <a:pt x="87" y="428"/>
                    <a:pt x="88" y="426"/>
                    <a:pt x="89" y="425"/>
                  </a:cubicBezTo>
                  <a:cubicBezTo>
                    <a:pt x="89" y="425"/>
                    <a:pt x="89" y="425"/>
                    <a:pt x="89" y="425"/>
                  </a:cubicBezTo>
                  <a:cubicBezTo>
                    <a:pt x="91" y="415"/>
                    <a:pt x="92" y="404"/>
                    <a:pt x="96" y="394"/>
                  </a:cubicBezTo>
                  <a:cubicBezTo>
                    <a:pt x="97" y="395"/>
                    <a:pt x="99" y="395"/>
                    <a:pt x="100" y="395"/>
                  </a:cubicBezTo>
                  <a:cubicBezTo>
                    <a:pt x="101" y="394"/>
                    <a:pt x="102" y="392"/>
                    <a:pt x="101" y="391"/>
                  </a:cubicBezTo>
                  <a:cubicBezTo>
                    <a:pt x="100" y="390"/>
                    <a:pt x="99" y="390"/>
                    <a:pt x="98" y="389"/>
                  </a:cubicBezTo>
                  <a:cubicBezTo>
                    <a:pt x="98" y="389"/>
                    <a:pt x="98" y="388"/>
                    <a:pt x="99" y="388"/>
                  </a:cubicBezTo>
                  <a:cubicBezTo>
                    <a:pt x="104" y="377"/>
                    <a:pt x="111" y="367"/>
                    <a:pt x="119" y="358"/>
                  </a:cubicBezTo>
                  <a:cubicBezTo>
                    <a:pt x="127" y="349"/>
                    <a:pt x="137" y="342"/>
                    <a:pt x="147" y="335"/>
                  </a:cubicBezTo>
                  <a:cubicBezTo>
                    <a:pt x="153" y="331"/>
                    <a:pt x="159" y="328"/>
                    <a:pt x="166" y="325"/>
                  </a:cubicBezTo>
                  <a:cubicBezTo>
                    <a:pt x="167" y="324"/>
                    <a:pt x="169" y="324"/>
                    <a:pt x="170" y="323"/>
                  </a:cubicBezTo>
                  <a:cubicBezTo>
                    <a:pt x="171" y="339"/>
                    <a:pt x="172" y="355"/>
                    <a:pt x="173" y="371"/>
                  </a:cubicBezTo>
                  <a:cubicBezTo>
                    <a:pt x="173" y="382"/>
                    <a:pt x="173" y="393"/>
                    <a:pt x="173" y="403"/>
                  </a:cubicBezTo>
                  <a:cubicBezTo>
                    <a:pt x="173" y="414"/>
                    <a:pt x="174" y="425"/>
                    <a:pt x="174" y="436"/>
                  </a:cubicBezTo>
                  <a:cubicBezTo>
                    <a:pt x="175" y="454"/>
                    <a:pt x="174" y="472"/>
                    <a:pt x="172" y="490"/>
                  </a:cubicBezTo>
                  <a:cubicBezTo>
                    <a:pt x="172" y="492"/>
                    <a:pt x="173" y="494"/>
                    <a:pt x="174" y="495"/>
                  </a:cubicBezTo>
                  <a:cubicBezTo>
                    <a:pt x="174" y="496"/>
                    <a:pt x="174" y="498"/>
                    <a:pt x="175" y="499"/>
                  </a:cubicBezTo>
                  <a:cubicBezTo>
                    <a:pt x="177" y="506"/>
                    <a:pt x="185" y="514"/>
                    <a:pt x="193" y="514"/>
                  </a:cubicBezTo>
                  <a:cubicBezTo>
                    <a:pt x="194" y="514"/>
                    <a:pt x="196" y="513"/>
                    <a:pt x="197" y="512"/>
                  </a:cubicBezTo>
                  <a:cubicBezTo>
                    <a:pt x="206" y="515"/>
                    <a:pt x="217" y="513"/>
                    <a:pt x="225" y="514"/>
                  </a:cubicBezTo>
                  <a:cubicBezTo>
                    <a:pt x="229" y="514"/>
                    <a:pt x="232" y="514"/>
                    <a:pt x="235" y="514"/>
                  </a:cubicBezTo>
                  <a:cubicBezTo>
                    <a:pt x="235" y="516"/>
                    <a:pt x="235" y="518"/>
                    <a:pt x="235" y="520"/>
                  </a:cubicBezTo>
                  <a:cubicBezTo>
                    <a:pt x="234" y="522"/>
                    <a:pt x="233" y="526"/>
                    <a:pt x="233" y="529"/>
                  </a:cubicBezTo>
                  <a:cubicBezTo>
                    <a:pt x="222" y="530"/>
                    <a:pt x="211" y="531"/>
                    <a:pt x="200" y="531"/>
                  </a:cubicBezTo>
                  <a:cubicBezTo>
                    <a:pt x="184" y="531"/>
                    <a:pt x="167" y="532"/>
                    <a:pt x="151" y="532"/>
                  </a:cubicBezTo>
                  <a:cubicBezTo>
                    <a:pt x="143" y="532"/>
                    <a:pt x="135" y="531"/>
                    <a:pt x="127" y="531"/>
                  </a:cubicBezTo>
                  <a:cubicBezTo>
                    <a:pt x="127" y="531"/>
                    <a:pt x="126" y="531"/>
                    <a:pt x="126" y="531"/>
                  </a:cubicBezTo>
                  <a:cubicBezTo>
                    <a:pt x="124" y="530"/>
                    <a:pt x="123" y="530"/>
                    <a:pt x="122" y="530"/>
                  </a:cubicBezTo>
                  <a:cubicBezTo>
                    <a:pt x="112" y="528"/>
                    <a:pt x="102" y="529"/>
                    <a:pt x="93" y="534"/>
                  </a:cubicBezTo>
                  <a:cubicBezTo>
                    <a:pt x="77" y="541"/>
                    <a:pt x="69" y="562"/>
                    <a:pt x="73" y="578"/>
                  </a:cubicBezTo>
                  <a:cubicBezTo>
                    <a:pt x="77" y="595"/>
                    <a:pt x="93" y="604"/>
                    <a:pt x="108" y="607"/>
                  </a:cubicBezTo>
                  <a:cubicBezTo>
                    <a:pt x="118" y="609"/>
                    <a:pt x="128" y="610"/>
                    <a:pt x="138" y="610"/>
                  </a:cubicBezTo>
                  <a:cubicBezTo>
                    <a:pt x="145" y="611"/>
                    <a:pt x="153" y="611"/>
                    <a:pt x="160" y="610"/>
                  </a:cubicBezTo>
                  <a:cubicBezTo>
                    <a:pt x="171" y="610"/>
                    <a:pt x="182" y="609"/>
                    <a:pt x="193" y="609"/>
                  </a:cubicBezTo>
                  <a:cubicBezTo>
                    <a:pt x="215" y="608"/>
                    <a:pt x="236" y="610"/>
                    <a:pt x="257" y="611"/>
                  </a:cubicBezTo>
                  <a:cubicBezTo>
                    <a:pt x="279" y="611"/>
                    <a:pt x="301" y="611"/>
                    <a:pt x="323" y="609"/>
                  </a:cubicBezTo>
                  <a:cubicBezTo>
                    <a:pt x="343" y="608"/>
                    <a:pt x="363" y="606"/>
                    <a:pt x="382" y="604"/>
                  </a:cubicBezTo>
                  <a:cubicBezTo>
                    <a:pt x="392" y="603"/>
                    <a:pt x="402" y="603"/>
                    <a:pt x="411" y="604"/>
                  </a:cubicBezTo>
                  <a:cubicBezTo>
                    <a:pt x="422" y="604"/>
                    <a:pt x="432" y="605"/>
                    <a:pt x="442" y="605"/>
                  </a:cubicBezTo>
                  <a:cubicBezTo>
                    <a:pt x="462" y="606"/>
                    <a:pt x="482" y="605"/>
                    <a:pt x="502" y="604"/>
                  </a:cubicBezTo>
                  <a:cubicBezTo>
                    <a:pt x="512" y="603"/>
                    <a:pt x="522" y="603"/>
                    <a:pt x="531" y="603"/>
                  </a:cubicBezTo>
                  <a:cubicBezTo>
                    <a:pt x="535" y="603"/>
                    <a:pt x="539" y="603"/>
                    <a:pt x="542" y="602"/>
                  </a:cubicBezTo>
                  <a:cubicBezTo>
                    <a:pt x="549" y="604"/>
                    <a:pt x="556" y="603"/>
                    <a:pt x="563" y="603"/>
                  </a:cubicBezTo>
                  <a:cubicBezTo>
                    <a:pt x="571" y="602"/>
                    <a:pt x="579" y="601"/>
                    <a:pt x="586" y="597"/>
                  </a:cubicBezTo>
                  <a:cubicBezTo>
                    <a:pt x="598" y="592"/>
                    <a:pt x="604" y="580"/>
                    <a:pt x="605" y="567"/>
                  </a:cubicBezTo>
                  <a:cubicBezTo>
                    <a:pt x="606" y="555"/>
                    <a:pt x="601" y="542"/>
                    <a:pt x="592" y="533"/>
                  </a:cubicBezTo>
                  <a:cubicBezTo>
                    <a:pt x="586" y="528"/>
                    <a:pt x="580" y="525"/>
                    <a:pt x="573" y="523"/>
                  </a:cubicBezTo>
                  <a:cubicBezTo>
                    <a:pt x="570" y="522"/>
                    <a:pt x="566" y="522"/>
                    <a:pt x="563" y="521"/>
                  </a:cubicBezTo>
                  <a:cubicBezTo>
                    <a:pt x="559" y="521"/>
                    <a:pt x="555" y="521"/>
                    <a:pt x="552" y="523"/>
                  </a:cubicBezTo>
                  <a:cubicBezTo>
                    <a:pt x="552" y="523"/>
                    <a:pt x="552" y="523"/>
                    <a:pt x="552" y="523"/>
                  </a:cubicBezTo>
                  <a:cubicBezTo>
                    <a:pt x="547" y="524"/>
                    <a:pt x="541" y="525"/>
                    <a:pt x="536" y="525"/>
                  </a:cubicBezTo>
                  <a:cubicBezTo>
                    <a:pt x="525" y="527"/>
                    <a:pt x="514" y="527"/>
                    <a:pt x="503" y="527"/>
                  </a:cubicBezTo>
                  <a:cubicBezTo>
                    <a:pt x="481" y="526"/>
                    <a:pt x="458" y="527"/>
                    <a:pt x="436" y="527"/>
                  </a:cubicBezTo>
                  <a:cubicBezTo>
                    <a:pt x="431" y="527"/>
                    <a:pt x="426" y="527"/>
                    <a:pt x="420" y="527"/>
                  </a:cubicBezTo>
                  <a:cubicBezTo>
                    <a:pt x="420" y="525"/>
                    <a:pt x="420" y="523"/>
                    <a:pt x="419" y="522"/>
                  </a:cubicBezTo>
                  <a:cubicBezTo>
                    <a:pt x="419" y="520"/>
                    <a:pt x="419" y="517"/>
                    <a:pt x="418" y="515"/>
                  </a:cubicBezTo>
                  <a:cubicBezTo>
                    <a:pt x="421" y="515"/>
                    <a:pt x="423" y="515"/>
                    <a:pt x="426" y="515"/>
                  </a:cubicBezTo>
                  <a:cubicBezTo>
                    <a:pt x="432" y="514"/>
                    <a:pt x="438" y="514"/>
                    <a:pt x="444" y="514"/>
                  </a:cubicBezTo>
                  <a:cubicBezTo>
                    <a:pt x="450" y="514"/>
                    <a:pt x="456" y="514"/>
                    <a:pt x="462" y="514"/>
                  </a:cubicBezTo>
                  <a:cubicBezTo>
                    <a:pt x="468" y="513"/>
                    <a:pt x="474" y="512"/>
                    <a:pt x="479" y="508"/>
                  </a:cubicBezTo>
                  <a:cubicBezTo>
                    <a:pt x="481" y="507"/>
                    <a:pt x="483" y="505"/>
                    <a:pt x="485" y="504"/>
                  </a:cubicBezTo>
                  <a:cubicBezTo>
                    <a:pt x="485" y="503"/>
                    <a:pt x="485" y="503"/>
                    <a:pt x="486" y="502"/>
                  </a:cubicBezTo>
                  <a:cubicBezTo>
                    <a:pt x="486" y="502"/>
                    <a:pt x="486" y="501"/>
                    <a:pt x="487" y="500"/>
                  </a:cubicBezTo>
                  <a:cubicBezTo>
                    <a:pt x="487" y="499"/>
                    <a:pt x="488" y="498"/>
                    <a:pt x="488" y="496"/>
                  </a:cubicBezTo>
                  <a:cubicBezTo>
                    <a:pt x="488" y="495"/>
                    <a:pt x="487" y="494"/>
                    <a:pt x="487" y="493"/>
                  </a:cubicBezTo>
                  <a:cubicBezTo>
                    <a:pt x="487" y="490"/>
                    <a:pt x="487" y="488"/>
                    <a:pt x="487" y="485"/>
                  </a:cubicBezTo>
                  <a:cubicBezTo>
                    <a:pt x="488" y="480"/>
                    <a:pt x="489" y="474"/>
                    <a:pt x="489" y="469"/>
                  </a:cubicBezTo>
                  <a:cubicBezTo>
                    <a:pt x="490" y="458"/>
                    <a:pt x="490" y="447"/>
                    <a:pt x="491" y="436"/>
                  </a:cubicBezTo>
                  <a:cubicBezTo>
                    <a:pt x="491" y="425"/>
                    <a:pt x="492" y="414"/>
                    <a:pt x="492" y="403"/>
                  </a:cubicBezTo>
                  <a:cubicBezTo>
                    <a:pt x="493" y="391"/>
                    <a:pt x="492" y="380"/>
                    <a:pt x="493" y="369"/>
                  </a:cubicBezTo>
                  <a:cubicBezTo>
                    <a:pt x="494" y="358"/>
                    <a:pt x="493" y="347"/>
                    <a:pt x="493" y="336"/>
                  </a:cubicBezTo>
                  <a:cubicBezTo>
                    <a:pt x="493" y="331"/>
                    <a:pt x="493" y="325"/>
                    <a:pt x="493" y="320"/>
                  </a:cubicBezTo>
                  <a:cubicBezTo>
                    <a:pt x="494" y="320"/>
                    <a:pt x="495" y="321"/>
                    <a:pt x="496" y="321"/>
                  </a:cubicBezTo>
                  <a:cubicBezTo>
                    <a:pt x="502" y="325"/>
                    <a:pt x="507" y="329"/>
                    <a:pt x="512" y="333"/>
                  </a:cubicBezTo>
                  <a:cubicBezTo>
                    <a:pt x="517" y="338"/>
                    <a:pt x="522" y="342"/>
                    <a:pt x="527" y="347"/>
                  </a:cubicBezTo>
                  <a:cubicBezTo>
                    <a:pt x="532" y="352"/>
                    <a:pt x="538" y="357"/>
                    <a:pt x="544" y="362"/>
                  </a:cubicBezTo>
                  <a:cubicBezTo>
                    <a:pt x="555" y="372"/>
                    <a:pt x="565" y="383"/>
                    <a:pt x="573" y="395"/>
                  </a:cubicBezTo>
                  <a:cubicBezTo>
                    <a:pt x="577" y="402"/>
                    <a:pt x="581" y="408"/>
                    <a:pt x="586" y="414"/>
                  </a:cubicBezTo>
                  <a:cubicBezTo>
                    <a:pt x="588" y="417"/>
                    <a:pt x="590" y="420"/>
                    <a:pt x="591" y="423"/>
                  </a:cubicBezTo>
                  <a:cubicBezTo>
                    <a:pt x="593" y="427"/>
                    <a:pt x="594" y="431"/>
                    <a:pt x="596" y="434"/>
                  </a:cubicBezTo>
                  <a:cubicBezTo>
                    <a:pt x="596" y="434"/>
                    <a:pt x="596" y="434"/>
                    <a:pt x="596" y="434"/>
                  </a:cubicBezTo>
                  <a:cubicBezTo>
                    <a:pt x="595" y="436"/>
                    <a:pt x="593" y="439"/>
                    <a:pt x="592" y="441"/>
                  </a:cubicBezTo>
                  <a:cubicBezTo>
                    <a:pt x="589" y="449"/>
                    <a:pt x="587" y="457"/>
                    <a:pt x="586" y="465"/>
                  </a:cubicBezTo>
                  <a:cubicBezTo>
                    <a:pt x="586" y="469"/>
                    <a:pt x="586" y="474"/>
                    <a:pt x="587" y="478"/>
                  </a:cubicBezTo>
                  <a:cubicBezTo>
                    <a:pt x="587" y="480"/>
                    <a:pt x="588" y="483"/>
                    <a:pt x="589" y="485"/>
                  </a:cubicBezTo>
                  <a:cubicBezTo>
                    <a:pt x="588" y="489"/>
                    <a:pt x="589" y="493"/>
                    <a:pt x="593" y="494"/>
                  </a:cubicBezTo>
                  <a:cubicBezTo>
                    <a:pt x="596" y="494"/>
                    <a:pt x="599" y="494"/>
                    <a:pt x="601" y="494"/>
                  </a:cubicBezTo>
                  <a:cubicBezTo>
                    <a:pt x="604" y="494"/>
                    <a:pt x="607" y="494"/>
                    <a:pt x="610" y="494"/>
                  </a:cubicBezTo>
                  <a:cubicBezTo>
                    <a:pt x="616" y="494"/>
                    <a:pt x="622" y="492"/>
                    <a:pt x="626" y="487"/>
                  </a:cubicBezTo>
                  <a:cubicBezTo>
                    <a:pt x="630" y="480"/>
                    <a:pt x="627" y="474"/>
                    <a:pt x="626" y="467"/>
                  </a:cubicBezTo>
                  <a:cubicBezTo>
                    <a:pt x="625" y="461"/>
                    <a:pt x="625" y="455"/>
                    <a:pt x="629" y="451"/>
                  </a:cubicBezTo>
                  <a:cubicBezTo>
                    <a:pt x="638" y="442"/>
                    <a:pt x="652" y="455"/>
                    <a:pt x="656" y="463"/>
                  </a:cubicBezTo>
                  <a:cubicBezTo>
                    <a:pt x="659" y="468"/>
                    <a:pt x="663" y="477"/>
                    <a:pt x="670" y="477"/>
                  </a:cubicBezTo>
                  <a:cubicBezTo>
                    <a:pt x="673" y="477"/>
                    <a:pt x="676" y="475"/>
                    <a:pt x="677" y="473"/>
                  </a:cubicBezTo>
                  <a:cubicBezTo>
                    <a:pt x="678" y="472"/>
                    <a:pt x="679" y="472"/>
                    <a:pt x="680" y="471"/>
                  </a:cubicBezTo>
                  <a:cubicBezTo>
                    <a:pt x="684" y="467"/>
                    <a:pt x="683" y="462"/>
                    <a:pt x="682" y="45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2" name="îS1îḑê"/>
            <p:cNvSpPr/>
            <p:nvPr/>
          </p:nvSpPr>
          <p:spPr bwMode="auto">
            <a:xfrm>
              <a:off x="4959703" y="2625991"/>
              <a:ext cx="2103644" cy="2455944"/>
            </a:xfrm>
            <a:custGeom>
              <a:avLst/>
              <a:gdLst>
                <a:gd name="T0" fmla="*/ 298 w 299"/>
                <a:gd name="T1" fmla="*/ 235 h 349"/>
                <a:gd name="T2" fmla="*/ 296 w 299"/>
                <a:gd name="T3" fmla="*/ 309 h 349"/>
                <a:gd name="T4" fmla="*/ 292 w 299"/>
                <a:gd name="T5" fmla="*/ 343 h 349"/>
                <a:gd name="T6" fmla="*/ 264 w 299"/>
                <a:gd name="T7" fmla="*/ 347 h 349"/>
                <a:gd name="T8" fmla="*/ 181 w 299"/>
                <a:gd name="T9" fmla="*/ 348 h 349"/>
                <a:gd name="T10" fmla="*/ 47 w 299"/>
                <a:gd name="T11" fmla="*/ 347 h 349"/>
                <a:gd name="T12" fmla="*/ 17 w 299"/>
                <a:gd name="T13" fmla="*/ 348 h 349"/>
                <a:gd name="T14" fmla="*/ 8 w 299"/>
                <a:gd name="T15" fmla="*/ 343 h 349"/>
                <a:gd name="T16" fmla="*/ 5 w 299"/>
                <a:gd name="T17" fmla="*/ 339 h 349"/>
                <a:gd name="T18" fmla="*/ 4 w 299"/>
                <a:gd name="T19" fmla="*/ 331 h 349"/>
                <a:gd name="T20" fmla="*/ 38 w 299"/>
                <a:gd name="T21" fmla="*/ 332 h 349"/>
                <a:gd name="T22" fmla="*/ 125 w 299"/>
                <a:gd name="T23" fmla="*/ 328 h 349"/>
                <a:gd name="T24" fmla="*/ 158 w 299"/>
                <a:gd name="T25" fmla="*/ 326 h 349"/>
                <a:gd name="T26" fmla="*/ 163 w 299"/>
                <a:gd name="T27" fmla="*/ 325 h 349"/>
                <a:gd name="T28" fmla="*/ 172 w 299"/>
                <a:gd name="T29" fmla="*/ 304 h 349"/>
                <a:gd name="T30" fmla="*/ 171 w 299"/>
                <a:gd name="T31" fmla="*/ 255 h 349"/>
                <a:gd name="T32" fmla="*/ 167 w 299"/>
                <a:gd name="T33" fmla="*/ 232 h 349"/>
                <a:gd name="T34" fmla="*/ 167 w 299"/>
                <a:gd name="T35" fmla="*/ 231 h 349"/>
                <a:gd name="T36" fmla="*/ 167 w 299"/>
                <a:gd name="T37" fmla="*/ 231 h 349"/>
                <a:gd name="T38" fmla="*/ 162 w 299"/>
                <a:gd name="T39" fmla="*/ 230 h 349"/>
                <a:gd name="T40" fmla="*/ 120 w 299"/>
                <a:gd name="T41" fmla="*/ 231 h 349"/>
                <a:gd name="T42" fmla="*/ 78 w 299"/>
                <a:gd name="T43" fmla="*/ 232 h 349"/>
                <a:gd name="T44" fmla="*/ 19 w 299"/>
                <a:gd name="T45" fmla="*/ 230 h 349"/>
                <a:gd name="T46" fmla="*/ 6 w 299"/>
                <a:gd name="T47" fmla="*/ 231 h 349"/>
                <a:gd name="T48" fmla="*/ 2 w 299"/>
                <a:gd name="T49" fmla="*/ 144 h 349"/>
                <a:gd name="T50" fmla="*/ 1 w 299"/>
                <a:gd name="T51" fmla="*/ 46 h 349"/>
                <a:gd name="T52" fmla="*/ 0 w 299"/>
                <a:gd name="T53" fmla="*/ 21 h 349"/>
                <a:gd name="T54" fmla="*/ 9 w 299"/>
                <a:gd name="T55" fmla="*/ 9 h 349"/>
                <a:gd name="T56" fmla="*/ 39 w 299"/>
                <a:gd name="T57" fmla="*/ 8 h 349"/>
                <a:gd name="T58" fmla="*/ 89 w 299"/>
                <a:gd name="T59" fmla="*/ 2 h 349"/>
                <a:gd name="T60" fmla="*/ 154 w 299"/>
                <a:gd name="T61" fmla="*/ 1 h 349"/>
                <a:gd name="T62" fmla="*/ 271 w 299"/>
                <a:gd name="T63" fmla="*/ 5 h 349"/>
                <a:gd name="T64" fmla="*/ 296 w 299"/>
                <a:gd name="T65" fmla="*/ 11 h 349"/>
                <a:gd name="T66" fmla="*/ 298 w 299"/>
                <a:gd name="T67" fmla="*/ 23 h 349"/>
                <a:gd name="T68" fmla="*/ 297 w 299"/>
                <a:gd name="T69" fmla="*/ 73 h 349"/>
                <a:gd name="T70" fmla="*/ 298 w 299"/>
                <a:gd name="T71" fmla="*/ 154 h 349"/>
                <a:gd name="T72" fmla="*/ 298 w 299"/>
                <a:gd name="T73" fmla="*/ 159 h 349"/>
                <a:gd name="T74" fmla="*/ 299 w 299"/>
                <a:gd name="T75" fmla="*/ 2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9" h="349">
                  <a:moveTo>
                    <a:pt x="298" y="235"/>
                  </a:moveTo>
                  <a:cubicBezTo>
                    <a:pt x="298" y="235"/>
                    <a:pt x="298" y="235"/>
                    <a:pt x="298" y="235"/>
                  </a:cubicBezTo>
                  <a:cubicBezTo>
                    <a:pt x="298" y="247"/>
                    <a:pt x="298" y="258"/>
                    <a:pt x="298" y="269"/>
                  </a:cubicBezTo>
                  <a:cubicBezTo>
                    <a:pt x="297" y="282"/>
                    <a:pt x="297" y="296"/>
                    <a:pt x="296" y="309"/>
                  </a:cubicBezTo>
                  <a:cubicBezTo>
                    <a:pt x="295" y="319"/>
                    <a:pt x="294" y="330"/>
                    <a:pt x="296" y="340"/>
                  </a:cubicBezTo>
                  <a:cubicBezTo>
                    <a:pt x="294" y="341"/>
                    <a:pt x="293" y="342"/>
                    <a:pt x="292" y="343"/>
                  </a:cubicBezTo>
                  <a:cubicBezTo>
                    <a:pt x="288" y="346"/>
                    <a:pt x="284" y="346"/>
                    <a:pt x="279" y="347"/>
                  </a:cubicBezTo>
                  <a:cubicBezTo>
                    <a:pt x="274" y="347"/>
                    <a:pt x="269" y="347"/>
                    <a:pt x="264" y="347"/>
                  </a:cubicBezTo>
                  <a:cubicBezTo>
                    <a:pt x="259" y="347"/>
                    <a:pt x="253" y="347"/>
                    <a:pt x="248" y="347"/>
                  </a:cubicBezTo>
                  <a:cubicBezTo>
                    <a:pt x="226" y="349"/>
                    <a:pt x="203" y="349"/>
                    <a:pt x="181" y="348"/>
                  </a:cubicBezTo>
                  <a:cubicBezTo>
                    <a:pt x="159" y="348"/>
                    <a:pt x="136" y="347"/>
                    <a:pt x="114" y="346"/>
                  </a:cubicBezTo>
                  <a:cubicBezTo>
                    <a:pt x="92" y="346"/>
                    <a:pt x="69" y="347"/>
                    <a:pt x="47" y="347"/>
                  </a:cubicBezTo>
                  <a:cubicBezTo>
                    <a:pt x="40" y="347"/>
                    <a:pt x="34" y="348"/>
                    <a:pt x="27" y="348"/>
                  </a:cubicBezTo>
                  <a:cubicBezTo>
                    <a:pt x="24" y="348"/>
                    <a:pt x="20" y="348"/>
                    <a:pt x="17" y="348"/>
                  </a:cubicBezTo>
                  <a:cubicBezTo>
                    <a:pt x="16" y="348"/>
                    <a:pt x="16" y="347"/>
                    <a:pt x="15" y="347"/>
                  </a:cubicBezTo>
                  <a:cubicBezTo>
                    <a:pt x="13" y="346"/>
                    <a:pt x="10" y="345"/>
                    <a:pt x="8" y="343"/>
                  </a:cubicBezTo>
                  <a:cubicBezTo>
                    <a:pt x="7" y="343"/>
                    <a:pt x="7" y="342"/>
                    <a:pt x="7" y="342"/>
                  </a:cubicBezTo>
                  <a:cubicBezTo>
                    <a:pt x="6" y="340"/>
                    <a:pt x="6" y="340"/>
                    <a:pt x="5" y="339"/>
                  </a:cubicBezTo>
                  <a:cubicBezTo>
                    <a:pt x="5" y="337"/>
                    <a:pt x="4" y="335"/>
                    <a:pt x="4" y="332"/>
                  </a:cubicBezTo>
                  <a:cubicBezTo>
                    <a:pt x="4" y="332"/>
                    <a:pt x="4" y="331"/>
                    <a:pt x="4" y="331"/>
                  </a:cubicBezTo>
                  <a:cubicBezTo>
                    <a:pt x="8" y="331"/>
                    <a:pt x="12" y="331"/>
                    <a:pt x="15" y="332"/>
                  </a:cubicBezTo>
                  <a:cubicBezTo>
                    <a:pt x="23" y="332"/>
                    <a:pt x="30" y="332"/>
                    <a:pt x="38" y="332"/>
                  </a:cubicBezTo>
                  <a:cubicBezTo>
                    <a:pt x="52" y="332"/>
                    <a:pt x="67" y="333"/>
                    <a:pt x="81" y="333"/>
                  </a:cubicBezTo>
                  <a:cubicBezTo>
                    <a:pt x="96" y="332"/>
                    <a:pt x="110" y="330"/>
                    <a:pt x="125" y="328"/>
                  </a:cubicBezTo>
                  <a:cubicBezTo>
                    <a:pt x="132" y="327"/>
                    <a:pt x="140" y="326"/>
                    <a:pt x="147" y="326"/>
                  </a:cubicBezTo>
                  <a:cubicBezTo>
                    <a:pt x="151" y="326"/>
                    <a:pt x="154" y="326"/>
                    <a:pt x="158" y="326"/>
                  </a:cubicBezTo>
                  <a:cubicBezTo>
                    <a:pt x="159" y="325"/>
                    <a:pt x="161" y="325"/>
                    <a:pt x="162" y="325"/>
                  </a:cubicBezTo>
                  <a:cubicBezTo>
                    <a:pt x="162" y="325"/>
                    <a:pt x="162" y="325"/>
                    <a:pt x="163" y="325"/>
                  </a:cubicBezTo>
                  <a:cubicBezTo>
                    <a:pt x="164" y="327"/>
                    <a:pt x="168" y="327"/>
                    <a:pt x="170" y="324"/>
                  </a:cubicBezTo>
                  <a:cubicBezTo>
                    <a:pt x="174" y="319"/>
                    <a:pt x="172" y="310"/>
                    <a:pt x="172" y="304"/>
                  </a:cubicBezTo>
                  <a:cubicBezTo>
                    <a:pt x="172" y="296"/>
                    <a:pt x="173" y="288"/>
                    <a:pt x="173" y="281"/>
                  </a:cubicBezTo>
                  <a:cubicBezTo>
                    <a:pt x="173" y="272"/>
                    <a:pt x="172" y="264"/>
                    <a:pt x="171" y="255"/>
                  </a:cubicBezTo>
                  <a:cubicBezTo>
                    <a:pt x="170" y="251"/>
                    <a:pt x="170" y="247"/>
                    <a:pt x="169" y="243"/>
                  </a:cubicBezTo>
                  <a:cubicBezTo>
                    <a:pt x="169" y="240"/>
                    <a:pt x="169" y="236"/>
                    <a:pt x="167" y="232"/>
                  </a:cubicBezTo>
                  <a:cubicBezTo>
                    <a:pt x="167" y="232"/>
                    <a:pt x="167" y="232"/>
                    <a:pt x="167" y="231"/>
                  </a:cubicBezTo>
                  <a:cubicBezTo>
                    <a:pt x="167" y="231"/>
                    <a:pt x="167" y="231"/>
                    <a:pt x="167" y="231"/>
                  </a:cubicBezTo>
                  <a:cubicBezTo>
                    <a:pt x="167" y="231"/>
                    <a:pt x="167" y="231"/>
                    <a:pt x="167" y="231"/>
                  </a:cubicBezTo>
                  <a:cubicBezTo>
                    <a:pt x="167" y="231"/>
                    <a:pt x="167" y="231"/>
                    <a:pt x="167" y="231"/>
                  </a:cubicBezTo>
                  <a:cubicBezTo>
                    <a:pt x="166" y="231"/>
                    <a:pt x="166" y="231"/>
                    <a:pt x="166" y="230"/>
                  </a:cubicBezTo>
                  <a:cubicBezTo>
                    <a:pt x="165" y="230"/>
                    <a:pt x="164" y="229"/>
                    <a:pt x="162" y="230"/>
                  </a:cubicBezTo>
                  <a:cubicBezTo>
                    <a:pt x="155" y="231"/>
                    <a:pt x="149" y="231"/>
                    <a:pt x="142" y="231"/>
                  </a:cubicBezTo>
                  <a:cubicBezTo>
                    <a:pt x="135" y="231"/>
                    <a:pt x="127" y="231"/>
                    <a:pt x="120" y="231"/>
                  </a:cubicBezTo>
                  <a:cubicBezTo>
                    <a:pt x="113" y="231"/>
                    <a:pt x="106" y="231"/>
                    <a:pt x="99" y="231"/>
                  </a:cubicBezTo>
                  <a:cubicBezTo>
                    <a:pt x="92" y="230"/>
                    <a:pt x="85" y="230"/>
                    <a:pt x="78" y="232"/>
                  </a:cubicBezTo>
                  <a:cubicBezTo>
                    <a:pt x="66" y="234"/>
                    <a:pt x="52" y="234"/>
                    <a:pt x="39" y="233"/>
                  </a:cubicBezTo>
                  <a:cubicBezTo>
                    <a:pt x="33" y="232"/>
                    <a:pt x="26" y="230"/>
                    <a:pt x="19" y="230"/>
                  </a:cubicBezTo>
                  <a:cubicBezTo>
                    <a:pt x="16" y="230"/>
                    <a:pt x="12" y="230"/>
                    <a:pt x="9" y="230"/>
                  </a:cubicBezTo>
                  <a:cubicBezTo>
                    <a:pt x="8" y="230"/>
                    <a:pt x="7" y="230"/>
                    <a:pt x="6" y="231"/>
                  </a:cubicBezTo>
                  <a:cubicBezTo>
                    <a:pt x="6" y="224"/>
                    <a:pt x="6" y="217"/>
                    <a:pt x="5" y="210"/>
                  </a:cubicBezTo>
                  <a:cubicBezTo>
                    <a:pt x="5" y="188"/>
                    <a:pt x="2" y="166"/>
                    <a:pt x="2" y="144"/>
                  </a:cubicBezTo>
                  <a:cubicBezTo>
                    <a:pt x="1" y="121"/>
                    <a:pt x="1" y="99"/>
                    <a:pt x="1" y="77"/>
                  </a:cubicBezTo>
                  <a:cubicBezTo>
                    <a:pt x="1" y="66"/>
                    <a:pt x="2" y="56"/>
                    <a:pt x="1" y="46"/>
                  </a:cubicBezTo>
                  <a:cubicBezTo>
                    <a:pt x="1" y="41"/>
                    <a:pt x="1" y="36"/>
                    <a:pt x="1" y="31"/>
                  </a:cubicBezTo>
                  <a:cubicBezTo>
                    <a:pt x="1" y="28"/>
                    <a:pt x="1" y="25"/>
                    <a:pt x="0" y="21"/>
                  </a:cubicBezTo>
                  <a:cubicBezTo>
                    <a:pt x="1" y="18"/>
                    <a:pt x="2" y="15"/>
                    <a:pt x="3" y="13"/>
                  </a:cubicBezTo>
                  <a:cubicBezTo>
                    <a:pt x="5" y="11"/>
                    <a:pt x="7" y="10"/>
                    <a:pt x="9" y="9"/>
                  </a:cubicBezTo>
                  <a:cubicBezTo>
                    <a:pt x="14" y="8"/>
                    <a:pt x="19" y="8"/>
                    <a:pt x="24" y="8"/>
                  </a:cubicBezTo>
                  <a:cubicBezTo>
                    <a:pt x="29" y="8"/>
                    <a:pt x="34" y="8"/>
                    <a:pt x="39" y="8"/>
                  </a:cubicBezTo>
                  <a:cubicBezTo>
                    <a:pt x="45" y="8"/>
                    <a:pt x="51" y="7"/>
                    <a:pt x="57" y="6"/>
                  </a:cubicBezTo>
                  <a:cubicBezTo>
                    <a:pt x="67" y="5"/>
                    <a:pt x="78" y="3"/>
                    <a:pt x="89" y="2"/>
                  </a:cubicBezTo>
                  <a:cubicBezTo>
                    <a:pt x="99" y="1"/>
                    <a:pt x="110" y="1"/>
                    <a:pt x="121" y="1"/>
                  </a:cubicBezTo>
                  <a:cubicBezTo>
                    <a:pt x="132" y="1"/>
                    <a:pt x="143" y="1"/>
                    <a:pt x="154" y="1"/>
                  </a:cubicBezTo>
                  <a:cubicBezTo>
                    <a:pt x="176" y="0"/>
                    <a:pt x="197" y="1"/>
                    <a:pt x="219" y="1"/>
                  </a:cubicBezTo>
                  <a:cubicBezTo>
                    <a:pt x="237" y="2"/>
                    <a:pt x="254" y="2"/>
                    <a:pt x="271" y="5"/>
                  </a:cubicBezTo>
                  <a:cubicBezTo>
                    <a:pt x="279" y="6"/>
                    <a:pt x="286" y="8"/>
                    <a:pt x="293" y="10"/>
                  </a:cubicBezTo>
                  <a:cubicBezTo>
                    <a:pt x="294" y="10"/>
                    <a:pt x="295" y="11"/>
                    <a:pt x="296" y="11"/>
                  </a:cubicBezTo>
                  <a:cubicBezTo>
                    <a:pt x="297" y="12"/>
                    <a:pt x="298" y="12"/>
                    <a:pt x="298" y="12"/>
                  </a:cubicBezTo>
                  <a:cubicBezTo>
                    <a:pt x="298" y="16"/>
                    <a:pt x="298" y="19"/>
                    <a:pt x="298" y="23"/>
                  </a:cubicBezTo>
                  <a:cubicBezTo>
                    <a:pt x="297" y="28"/>
                    <a:pt x="297" y="34"/>
                    <a:pt x="297" y="40"/>
                  </a:cubicBezTo>
                  <a:cubicBezTo>
                    <a:pt x="297" y="51"/>
                    <a:pt x="297" y="62"/>
                    <a:pt x="297" y="73"/>
                  </a:cubicBezTo>
                  <a:cubicBezTo>
                    <a:pt x="297" y="95"/>
                    <a:pt x="295" y="116"/>
                    <a:pt x="297" y="138"/>
                  </a:cubicBezTo>
                  <a:cubicBezTo>
                    <a:pt x="297" y="143"/>
                    <a:pt x="298" y="149"/>
                    <a:pt x="298" y="154"/>
                  </a:cubicBezTo>
                  <a:cubicBezTo>
                    <a:pt x="298" y="154"/>
                    <a:pt x="298" y="154"/>
                    <a:pt x="298" y="154"/>
                  </a:cubicBezTo>
                  <a:cubicBezTo>
                    <a:pt x="297" y="156"/>
                    <a:pt x="297" y="158"/>
                    <a:pt x="298" y="159"/>
                  </a:cubicBezTo>
                  <a:cubicBezTo>
                    <a:pt x="299" y="163"/>
                    <a:pt x="299" y="166"/>
                    <a:pt x="299" y="170"/>
                  </a:cubicBezTo>
                  <a:cubicBezTo>
                    <a:pt x="299" y="181"/>
                    <a:pt x="299" y="191"/>
                    <a:pt x="299" y="202"/>
                  </a:cubicBezTo>
                  <a:cubicBezTo>
                    <a:pt x="299" y="213"/>
                    <a:pt x="298" y="224"/>
                    <a:pt x="298" y="23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3" name="ïṧ1îďé"/>
            <p:cNvSpPr/>
            <p:nvPr/>
          </p:nvSpPr>
          <p:spPr bwMode="auto">
            <a:xfrm>
              <a:off x="4959703" y="2683578"/>
              <a:ext cx="145664" cy="2374644"/>
            </a:xfrm>
            <a:custGeom>
              <a:avLst/>
              <a:gdLst>
                <a:gd name="T0" fmla="*/ 13 w 21"/>
                <a:gd name="T1" fmla="*/ 338 h 338"/>
                <a:gd name="T2" fmla="*/ 8 w 21"/>
                <a:gd name="T3" fmla="*/ 335 h 338"/>
                <a:gd name="T4" fmla="*/ 7 w 21"/>
                <a:gd name="T5" fmla="*/ 334 h 338"/>
                <a:gd name="T6" fmla="*/ 5 w 21"/>
                <a:gd name="T7" fmla="*/ 331 h 338"/>
                <a:gd name="T8" fmla="*/ 4 w 21"/>
                <a:gd name="T9" fmla="*/ 324 h 338"/>
                <a:gd name="T10" fmla="*/ 4 w 21"/>
                <a:gd name="T11" fmla="*/ 323 h 338"/>
                <a:gd name="T12" fmla="*/ 13 w 21"/>
                <a:gd name="T13" fmla="*/ 323 h 338"/>
                <a:gd name="T14" fmla="*/ 13 w 21"/>
                <a:gd name="T15" fmla="*/ 338 h 338"/>
                <a:gd name="T16" fmla="*/ 11 w 21"/>
                <a:gd name="T17" fmla="*/ 222 h 338"/>
                <a:gd name="T18" fmla="*/ 9 w 21"/>
                <a:gd name="T19" fmla="*/ 222 h 338"/>
                <a:gd name="T20" fmla="*/ 6 w 21"/>
                <a:gd name="T21" fmla="*/ 223 h 338"/>
                <a:gd name="T22" fmla="*/ 5 w 21"/>
                <a:gd name="T23" fmla="*/ 202 h 338"/>
                <a:gd name="T24" fmla="*/ 2 w 21"/>
                <a:gd name="T25" fmla="*/ 136 h 338"/>
                <a:gd name="T26" fmla="*/ 1 w 21"/>
                <a:gd name="T27" fmla="*/ 69 h 338"/>
                <a:gd name="T28" fmla="*/ 1 w 21"/>
                <a:gd name="T29" fmla="*/ 38 h 338"/>
                <a:gd name="T30" fmla="*/ 1 w 21"/>
                <a:gd name="T31" fmla="*/ 23 h 338"/>
                <a:gd name="T32" fmla="*/ 0 w 21"/>
                <a:gd name="T33" fmla="*/ 13 h 338"/>
                <a:gd name="T34" fmla="*/ 3 w 21"/>
                <a:gd name="T35" fmla="*/ 5 h 338"/>
                <a:gd name="T36" fmla="*/ 9 w 21"/>
                <a:gd name="T37" fmla="*/ 1 h 338"/>
                <a:gd name="T38" fmla="*/ 21 w 21"/>
                <a:gd name="T39" fmla="*/ 0 h 338"/>
                <a:gd name="T40" fmla="*/ 21 w 21"/>
                <a:gd name="T41" fmla="*/ 0 h 338"/>
                <a:gd name="T42" fmla="*/ 9 w 21"/>
                <a:gd name="T43" fmla="*/ 70 h 338"/>
                <a:gd name="T44" fmla="*/ 11 w 21"/>
                <a:gd name="T45" fmla="*/ 222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338">
                  <a:moveTo>
                    <a:pt x="13" y="338"/>
                  </a:moveTo>
                  <a:cubicBezTo>
                    <a:pt x="11" y="337"/>
                    <a:pt x="9" y="336"/>
                    <a:pt x="8" y="335"/>
                  </a:cubicBezTo>
                  <a:cubicBezTo>
                    <a:pt x="7" y="335"/>
                    <a:pt x="7" y="334"/>
                    <a:pt x="7" y="334"/>
                  </a:cubicBezTo>
                  <a:cubicBezTo>
                    <a:pt x="6" y="332"/>
                    <a:pt x="6" y="332"/>
                    <a:pt x="5" y="331"/>
                  </a:cubicBezTo>
                  <a:cubicBezTo>
                    <a:pt x="5" y="329"/>
                    <a:pt x="4" y="327"/>
                    <a:pt x="4" y="324"/>
                  </a:cubicBezTo>
                  <a:cubicBezTo>
                    <a:pt x="4" y="324"/>
                    <a:pt x="4" y="323"/>
                    <a:pt x="4" y="323"/>
                  </a:cubicBezTo>
                  <a:cubicBezTo>
                    <a:pt x="7" y="323"/>
                    <a:pt x="10" y="323"/>
                    <a:pt x="13" y="323"/>
                  </a:cubicBezTo>
                  <a:lnTo>
                    <a:pt x="13" y="338"/>
                  </a:lnTo>
                  <a:close/>
                  <a:moveTo>
                    <a:pt x="11" y="222"/>
                  </a:moveTo>
                  <a:cubicBezTo>
                    <a:pt x="11" y="222"/>
                    <a:pt x="10" y="222"/>
                    <a:pt x="9" y="222"/>
                  </a:cubicBezTo>
                  <a:cubicBezTo>
                    <a:pt x="8" y="222"/>
                    <a:pt x="7" y="222"/>
                    <a:pt x="6" y="223"/>
                  </a:cubicBezTo>
                  <a:cubicBezTo>
                    <a:pt x="6" y="216"/>
                    <a:pt x="6" y="209"/>
                    <a:pt x="5" y="202"/>
                  </a:cubicBezTo>
                  <a:cubicBezTo>
                    <a:pt x="5" y="180"/>
                    <a:pt x="2" y="158"/>
                    <a:pt x="2" y="136"/>
                  </a:cubicBezTo>
                  <a:cubicBezTo>
                    <a:pt x="1" y="113"/>
                    <a:pt x="1" y="91"/>
                    <a:pt x="1" y="69"/>
                  </a:cubicBezTo>
                  <a:cubicBezTo>
                    <a:pt x="1" y="58"/>
                    <a:pt x="2" y="48"/>
                    <a:pt x="1" y="38"/>
                  </a:cubicBezTo>
                  <a:cubicBezTo>
                    <a:pt x="1" y="33"/>
                    <a:pt x="1" y="28"/>
                    <a:pt x="1" y="23"/>
                  </a:cubicBezTo>
                  <a:cubicBezTo>
                    <a:pt x="1" y="20"/>
                    <a:pt x="1" y="17"/>
                    <a:pt x="0" y="13"/>
                  </a:cubicBezTo>
                  <a:cubicBezTo>
                    <a:pt x="1" y="10"/>
                    <a:pt x="2" y="7"/>
                    <a:pt x="3" y="5"/>
                  </a:cubicBezTo>
                  <a:cubicBezTo>
                    <a:pt x="5" y="3"/>
                    <a:pt x="7" y="2"/>
                    <a:pt x="9" y="1"/>
                  </a:cubicBezTo>
                  <a:cubicBezTo>
                    <a:pt x="13" y="0"/>
                    <a:pt x="17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8" y="2"/>
                    <a:pt x="9" y="70"/>
                  </a:cubicBezTo>
                  <a:cubicBezTo>
                    <a:pt x="10" y="100"/>
                    <a:pt x="11" y="163"/>
                    <a:pt x="11" y="2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4" name="ísľíḑe"/>
            <p:cNvSpPr/>
            <p:nvPr/>
          </p:nvSpPr>
          <p:spPr bwMode="auto">
            <a:xfrm>
              <a:off x="6670394" y="2653091"/>
              <a:ext cx="392951" cy="2422069"/>
            </a:xfrm>
            <a:custGeom>
              <a:avLst/>
              <a:gdLst>
                <a:gd name="T0" fmla="*/ 55 w 56"/>
                <a:gd name="T1" fmla="*/ 231 h 344"/>
                <a:gd name="T2" fmla="*/ 55 w 56"/>
                <a:gd name="T3" fmla="*/ 231 h 344"/>
                <a:gd name="T4" fmla="*/ 55 w 56"/>
                <a:gd name="T5" fmla="*/ 265 h 344"/>
                <a:gd name="T6" fmla="*/ 53 w 56"/>
                <a:gd name="T7" fmla="*/ 305 h 344"/>
                <a:gd name="T8" fmla="*/ 53 w 56"/>
                <a:gd name="T9" fmla="*/ 336 h 344"/>
                <a:gd name="T10" fmla="*/ 49 w 56"/>
                <a:gd name="T11" fmla="*/ 339 h 344"/>
                <a:gd name="T12" fmla="*/ 36 w 56"/>
                <a:gd name="T13" fmla="*/ 343 h 344"/>
                <a:gd name="T14" fmla="*/ 21 w 56"/>
                <a:gd name="T15" fmla="*/ 343 h 344"/>
                <a:gd name="T16" fmla="*/ 5 w 56"/>
                <a:gd name="T17" fmla="*/ 343 h 344"/>
                <a:gd name="T18" fmla="*/ 0 w 56"/>
                <a:gd name="T19" fmla="*/ 344 h 344"/>
                <a:gd name="T20" fmla="*/ 22 w 56"/>
                <a:gd name="T21" fmla="*/ 0 h 344"/>
                <a:gd name="T22" fmla="*/ 22 w 56"/>
                <a:gd name="T23" fmla="*/ 0 h 344"/>
                <a:gd name="T24" fmla="*/ 28 w 56"/>
                <a:gd name="T25" fmla="*/ 1 h 344"/>
                <a:gd name="T26" fmla="*/ 50 w 56"/>
                <a:gd name="T27" fmla="*/ 6 h 344"/>
                <a:gd name="T28" fmla="*/ 53 w 56"/>
                <a:gd name="T29" fmla="*/ 7 h 344"/>
                <a:gd name="T30" fmla="*/ 55 w 56"/>
                <a:gd name="T31" fmla="*/ 8 h 344"/>
                <a:gd name="T32" fmla="*/ 55 w 56"/>
                <a:gd name="T33" fmla="*/ 19 h 344"/>
                <a:gd name="T34" fmla="*/ 54 w 56"/>
                <a:gd name="T35" fmla="*/ 36 h 344"/>
                <a:gd name="T36" fmla="*/ 54 w 56"/>
                <a:gd name="T37" fmla="*/ 69 h 344"/>
                <a:gd name="T38" fmla="*/ 54 w 56"/>
                <a:gd name="T39" fmla="*/ 134 h 344"/>
                <a:gd name="T40" fmla="*/ 55 w 56"/>
                <a:gd name="T41" fmla="*/ 150 h 344"/>
                <a:gd name="T42" fmla="*/ 55 w 56"/>
                <a:gd name="T43" fmla="*/ 150 h 344"/>
                <a:gd name="T44" fmla="*/ 55 w 56"/>
                <a:gd name="T45" fmla="*/ 155 h 344"/>
                <a:gd name="T46" fmla="*/ 56 w 56"/>
                <a:gd name="T47" fmla="*/ 166 h 344"/>
                <a:gd name="T48" fmla="*/ 56 w 56"/>
                <a:gd name="T49" fmla="*/ 198 h 344"/>
                <a:gd name="T50" fmla="*/ 55 w 56"/>
                <a:gd name="T51" fmla="*/ 231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6" h="344">
                  <a:moveTo>
                    <a:pt x="55" y="231"/>
                  </a:moveTo>
                  <a:cubicBezTo>
                    <a:pt x="55" y="231"/>
                    <a:pt x="55" y="231"/>
                    <a:pt x="55" y="231"/>
                  </a:cubicBezTo>
                  <a:cubicBezTo>
                    <a:pt x="55" y="243"/>
                    <a:pt x="55" y="254"/>
                    <a:pt x="55" y="265"/>
                  </a:cubicBezTo>
                  <a:cubicBezTo>
                    <a:pt x="54" y="278"/>
                    <a:pt x="54" y="292"/>
                    <a:pt x="53" y="305"/>
                  </a:cubicBezTo>
                  <a:cubicBezTo>
                    <a:pt x="52" y="315"/>
                    <a:pt x="51" y="326"/>
                    <a:pt x="53" y="336"/>
                  </a:cubicBezTo>
                  <a:cubicBezTo>
                    <a:pt x="51" y="337"/>
                    <a:pt x="50" y="338"/>
                    <a:pt x="49" y="339"/>
                  </a:cubicBezTo>
                  <a:cubicBezTo>
                    <a:pt x="45" y="342"/>
                    <a:pt x="41" y="342"/>
                    <a:pt x="36" y="343"/>
                  </a:cubicBezTo>
                  <a:cubicBezTo>
                    <a:pt x="31" y="343"/>
                    <a:pt x="26" y="343"/>
                    <a:pt x="21" y="343"/>
                  </a:cubicBezTo>
                  <a:cubicBezTo>
                    <a:pt x="16" y="343"/>
                    <a:pt x="10" y="343"/>
                    <a:pt x="5" y="343"/>
                  </a:cubicBezTo>
                  <a:cubicBezTo>
                    <a:pt x="3" y="343"/>
                    <a:pt x="2" y="343"/>
                    <a:pt x="0" y="344"/>
                  </a:cubicBezTo>
                  <a:cubicBezTo>
                    <a:pt x="49" y="20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8" y="1"/>
                  </a:cubicBezTo>
                  <a:cubicBezTo>
                    <a:pt x="36" y="2"/>
                    <a:pt x="43" y="4"/>
                    <a:pt x="50" y="6"/>
                  </a:cubicBezTo>
                  <a:cubicBezTo>
                    <a:pt x="51" y="6"/>
                    <a:pt x="52" y="7"/>
                    <a:pt x="53" y="7"/>
                  </a:cubicBezTo>
                  <a:cubicBezTo>
                    <a:pt x="54" y="8"/>
                    <a:pt x="55" y="8"/>
                    <a:pt x="55" y="8"/>
                  </a:cubicBezTo>
                  <a:cubicBezTo>
                    <a:pt x="55" y="12"/>
                    <a:pt x="55" y="15"/>
                    <a:pt x="55" y="19"/>
                  </a:cubicBezTo>
                  <a:cubicBezTo>
                    <a:pt x="54" y="24"/>
                    <a:pt x="54" y="30"/>
                    <a:pt x="54" y="36"/>
                  </a:cubicBezTo>
                  <a:cubicBezTo>
                    <a:pt x="54" y="47"/>
                    <a:pt x="54" y="58"/>
                    <a:pt x="54" y="69"/>
                  </a:cubicBezTo>
                  <a:cubicBezTo>
                    <a:pt x="54" y="91"/>
                    <a:pt x="52" y="112"/>
                    <a:pt x="54" y="134"/>
                  </a:cubicBezTo>
                  <a:cubicBezTo>
                    <a:pt x="54" y="139"/>
                    <a:pt x="55" y="145"/>
                    <a:pt x="55" y="150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4" y="152"/>
                    <a:pt x="54" y="154"/>
                    <a:pt x="55" y="155"/>
                  </a:cubicBezTo>
                  <a:cubicBezTo>
                    <a:pt x="56" y="159"/>
                    <a:pt x="56" y="162"/>
                    <a:pt x="56" y="166"/>
                  </a:cubicBezTo>
                  <a:cubicBezTo>
                    <a:pt x="56" y="177"/>
                    <a:pt x="56" y="187"/>
                    <a:pt x="56" y="198"/>
                  </a:cubicBezTo>
                  <a:cubicBezTo>
                    <a:pt x="56" y="209"/>
                    <a:pt x="55" y="220"/>
                    <a:pt x="55" y="23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5" name="i$lïḑê"/>
            <p:cNvSpPr/>
            <p:nvPr/>
          </p:nvSpPr>
          <p:spPr bwMode="auto">
            <a:xfrm>
              <a:off x="5305229" y="2639541"/>
              <a:ext cx="1449853" cy="829940"/>
            </a:xfrm>
            <a:custGeom>
              <a:avLst/>
              <a:gdLst>
                <a:gd name="T0" fmla="*/ 190 w 206"/>
                <a:gd name="T1" fmla="*/ 88 h 118"/>
                <a:gd name="T2" fmla="*/ 205 w 206"/>
                <a:gd name="T3" fmla="*/ 64 h 118"/>
                <a:gd name="T4" fmla="*/ 204 w 206"/>
                <a:gd name="T5" fmla="*/ 51 h 118"/>
                <a:gd name="T6" fmla="*/ 204 w 206"/>
                <a:gd name="T7" fmla="*/ 50 h 118"/>
                <a:gd name="T8" fmla="*/ 190 w 206"/>
                <a:gd name="T9" fmla="*/ 30 h 118"/>
                <a:gd name="T10" fmla="*/ 171 w 206"/>
                <a:gd name="T11" fmla="*/ 16 h 118"/>
                <a:gd name="T12" fmla="*/ 116 w 206"/>
                <a:gd name="T13" fmla="*/ 2 h 118"/>
                <a:gd name="T14" fmla="*/ 9 w 206"/>
                <a:gd name="T15" fmla="*/ 41 h 118"/>
                <a:gd name="T16" fmla="*/ 10 w 206"/>
                <a:gd name="T17" fmla="*/ 44 h 118"/>
                <a:gd name="T18" fmla="*/ 10 w 206"/>
                <a:gd name="T19" fmla="*/ 44 h 118"/>
                <a:gd name="T20" fmla="*/ 0 w 206"/>
                <a:gd name="T21" fmla="*/ 67 h 118"/>
                <a:gd name="T22" fmla="*/ 30 w 206"/>
                <a:gd name="T23" fmla="*/ 106 h 118"/>
                <a:gd name="T24" fmla="*/ 82 w 206"/>
                <a:gd name="T25" fmla="*/ 116 h 118"/>
                <a:gd name="T26" fmla="*/ 143 w 206"/>
                <a:gd name="T27" fmla="*/ 114 h 118"/>
                <a:gd name="T28" fmla="*/ 190 w 206"/>
                <a:gd name="T29" fmla="*/ 88 h 118"/>
                <a:gd name="T30" fmla="*/ 62 w 206"/>
                <a:gd name="T31" fmla="*/ 106 h 118"/>
                <a:gd name="T32" fmla="*/ 62 w 206"/>
                <a:gd name="T33" fmla="*/ 106 h 118"/>
                <a:gd name="T34" fmla="*/ 17 w 206"/>
                <a:gd name="T35" fmla="*/ 88 h 118"/>
                <a:gd name="T36" fmla="*/ 8 w 206"/>
                <a:gd name="T37" fmla="*/ 56 h 118"/>
                <a:gd name="T38" fmla="*/ 32 w 206"/>
                <a:gd name="T39" fmla="*/ 35 h 118"/>
                <a:gd name="T40" fmla="*/ 32 w 206"/>
                <a:gd name="T41" fmla="*/ 31 h 118"/>
                <a:gd name="T42" fmla="*/ 112 w 206"/>
                <a:gd name="T43" fmla="*/ 9 h 118"/>
                <a:gd name="T44" fmla="*/ 166 w 206"/>
                <a:gd name="T45" fmla="*/ 21 h 118"/>
                <a:gd name="T46" fmla="*/ 184 w 206"/>
                <a:gd name="T47" fmla="*/ 34 h 118"/>
                <a:gd name="T48" fmla="*/ 192 w 206"/>
                <a:gd name="T49" fmla="*/ 43 h 118"/>
                <a:gd name="T50" fmla="*/ 197 w 206"/>
                <a:gd name="T51" fmla="*/ 51 h 118"/>
                <a:gd name="T52" fmla="*/ 195 w 206"/>
                <a:gd name="T53" fmla="*/ 69 h 118"/>
                <a:gd name="T54" fmla="*/ 175 w 206"/>
                <a:gd name="T55" fmla="*/ 90 h 118"/>
                <a:gd name="T56" fmla="*/ 125 w 206"/>
                <a:gd name="T57" fmla="*/ 107 h 118"/>
                <a:gd name="T58" fmla="*/ 62 w 206"/>
                <a:gd name="T59" fmla="*/ 10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6" h="118">
                  <a:moveTo>
                    <a:pt x="190" y="88"/>
                  </a:moveTo>
                  <a:cubicBezTo>
                    <a:pt x="197" y="81"/>
                    <a:pt x="203" y="73"/>
                    <a:pt x="205" y="64"/>
                  </a:cubicBezTo>
                  <a:cubicBezTo>
                    <a:pt x="206" y="59"/>
                    <a:pt x="205" y="55"/>
                    <a:pt x="204" y="51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2" y="43"/>
                    <a:pt x="195" y="36"/>
                    <a:pt x="190" y="30"/>
                  </a:cubicBezTo>
                  <a:cubicBezTo>
                    <a:pt x="185" y="24"/>
                    <a:pt x="178" y="19"/>
                    <a:pt x="171" y="16"/>
                  </a:cubicBezTo>
                  <a:cubicBezTo>
                    <a:pt x="154" y="7"/>
                    <a:pt x="134" y="3"/>
                    <a:pt x="116" y="2"/>
                  </a:cubicBezTo>
                  <a:cubicBezTo>
                    <a:pt x="76" y="0"/>
                    <a:pt x="40" y="18"/>
                    <a:pt x="9" y="41"/>
                  </a:cubicBezTo>
                  <a:cubicBezTo>
                    <a:pt x="8" y="42"/>
                    <a:pt x="9" y="44"/>
                    <a:pt x="10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3" y="50"/>
                    <a:pt x="0" y="58"/>
                    <a:pt x="0" y="67"/>
                  </a:cubicBezTo>
                  <a:cubicBezTo>
                    <a:pt x="2" y="84"/>
                    <a:pt x="16" y="97"/>
                    <a:pt x="30" y="106"/>
                  </a:cubicBezTo>
                  <a:cubicBezTo>
                    <a:pt x="46" y="115"/>
                    <a:pt x="65" y="115"/>
                    <a:pt x="82" y="116"/>
                  </a:cubicBezTo>
                  <a:cubicBezTo>
                    <a:pt x="102" y="117"/>
                    <a:pt x="123" y="118"/>
                    <a:pt x="143" y="114"/>
                  </a:cubicBezTo>
                  <a:cubicBezTo>
                    <a:pt x="161" y="110"/>
                    <a:pt x="178" y="101"/>
                    <a:pt x="190" y="88"/>
                  </a:cubicBezTo>
                  <a:close/>
                  <a:moveTo>
                    <a:pt x="62" y="106"/>
                  </a:moveTo>
                  <a:cubicBezTo>
                    <a:pt x="62" y="106"/>
                    <a:pt x="62" y="106"/>
                    <a:pt x="62" y="106"/>
                  </a:cubicBezTo>
                  <a:cubicBezTo>
                    <a:pt x="46" y="105"/>
                    <a:pt x="28" y="100"/>
                    <a:pt x="17" y="88"/>
                  </a:cubicBezTo>
                  <a:cubicBezTo>
                    <a:pt x="9" y="79"/>
                    <a:pt x="3" y="67"/>
                    <a:pt x="8" y="56"/>
                  </a:cubicBezTo>
                  <a:cubicBezTo>
                    <a:pt x="13" y="45"/>
                    <a:pt x="25" y="42"/>
                    <a:pt x="32" y="35"/>
                  </a:cubicBezTo>
                  <a:cubicBezTo>
                    <a:pt x="34" y="34"/>
                    <a:pt x="33" y="32"/>
                    <a:pt x="32" y="31"/>
                  </a:cubicBezTo>
                  <a:cubicBezTo>
                    <a:pt x="57" y="18"/>
                    <a:pt x="84" y="8"/>
                    <a:pt x="112" y="9"/>
                  </a:cubicBezTo>
                  <a:cubicBezTo>
                    <a:pt x="130" y="9"/>
                    <a:pt x="149" y="14"/>
                    <a:pt x="166" y="21"/>
                  </a:cubicBezTo>
                  <a:cubicBezTo>
                    <a:pt x="173" y="24"/>
                    <a:pt x="179" y="28"/>
                    <a:pt x="184" y="34"/>
                  </a:cubicBezTo>
                  <a:cubicBezTo>
                    <a:pt x="187" y="36"/>
                    <a:pt x="189" y="40"/>
                    <a:pt x="192" y="43"/>
                  </a:cubicBezTo>
                  <a:cubicBezTo>
                    <a:pt x="194" y="46"/>
                    <a:pt x="195" y="49"/>
                    <a:pt x="197" y="51"/>
                  </a:cubicBezTo>
                  <a:cubicBezTo>
                    <a:pt x="198" y="57"/>
                    <a:pt x="198" y="63"/>
                    <a:pt x="195" y="69"/>
                  </a:cubicBezTo>
                  <a:cubicBezTo>
                    <a:pt x="190" y="77"/>
                    <a:pt x="183" y="84"/>
                    <a:pt x="175" y="90"/>
                  </a:cubicBezTo>
                  <a:cubicBezTo>
                    <a:pt x="161" y="100"/>
                    <a:pt x="143" y="107"/>
                    <a:pt x="125" y="107"/>
                  </a:cubicBezTo>
                  <a:cubicBezTo>
                    <a:pt x="104" y="108"/>
                    <a:pt x="83" y="108"/>
                    <a:pt x="62" y="106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6" name="í$1îďe"/>
            <p:cNvSpPr/>
            <p:nvPr/>
          </p:nvSpPr>
          <p:spPr bwMode="auto">
            <a:xfrm>
              <a:off x="5664305" y="2815692"/>
              <a:ext cx="182925" cy="189700"/>
            </a:xfrm>
            <a:custGeom>
              <a:avLst/>
              <a:gdLst>
                <a:gd name="T0" fmla="*/ 18 w 26"/>
                <a:gd name="T1" fmla="*/ 2 h 27"/>
                <a:gd name="T2" fmla="*/ 4 w 26"/>
                <a:gd name="T3" fmla="*/ 4 h 27"/>
                <a:gd name="T4" fmla="*/ 1 w 26"/>
                <a:gd name="T5" fmla="*/ 14 h 27"/>
                <a:gd name="T6" fmla="*/ 6 w 26"/>
                <a:gd name="T7" fmla="*/ 25 h 27"/>
                <a:gd name="T8" fmla="*/ 18 w 26"/>
                <a:gd name="T9" fmla="*/ 24 h 27"/>
                <a:gd name="T10" fmla="*/ 26 w 26"/>
                <a:gd name="T11" fmla="*/ 12 h 27"/>
                <a:gd name="T12" fmla="*/ 18 w 26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7">
                  <a:moveTo>
                    <a:pt x="18" y="2"/>
                  </a:moveTo>
                  <a:cubicBezTo>
                    <a:pt x="13" y="0"/>
                    <a:pt x="8" y="1"/>
                    <a:pt x="4" y="4"/>
                  </a:cubicBezTo>
                  <a:cubicBezTo>
                    <a:pt x="1" y="6"/>
                    <a:pt x="0" y="10"/>
                    <a:pt x="1" y="14"/>
                  </a:cubicBezTo>
                  <a:cubicBezTo>
                    <a:pt x="0" y="18"/>
                    <a:pt x="2" y="22"/>
                    <a:pt x="6" y="25"/>
                  </a:cubicBezTo>
                  <a:cubicBezTo>
                    <a:pt x="10" y="27"/>
                    <a:pt x="15" y="26"/>
                    <a:pt x="18" y="24"/>
                  </a:cubicBezTo>
                  <a:cubicBezTo>
                    <a:pt x="23" y="22"/>
                    <a:pt x="26" y="17"/>
                    <a:pt x="26" y="12"/>
                  </a:cubicBezTo>
                  <a:cubicBezTo>
                    <a:pt x="26" y="7"/>
                    <a:pt x="22" y="4"/>
                    <a:pt x="1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7" name="işľîḋé"/>
            <p:cNvSpPr/>
            <p:nvPr/>
          </p:nvSpPr>
          <p:spPr bwMode="auto">
            <a:xfrm>
              <a:off x="6175817" y="2795367"/>
              <a:ext cx="220189" cy="203250"/>
            </a:xfrm>
            <a:custGeom>
              <a:avLst/>
              <a:gdLst>
                <a:gd name="T0" fmla="*/ 20 w 31"/>
                <a:gd name="T1" fmla="*/ 2 h 29"/>
                <a:gd name="T2" fmla="*/ 8 w 31"/>
                <a:gd name="T3" fmla="*/ 3 h 29"/>
                <a:gd name="T4" fmla="*/ 1 w 31"/>
                <a:gd name="T5" fmla="*/ 19 h 29"/>
                <a:gd name="T6" fmla="*/ 10 w 31"/>
                <a:gd name="T7" fmla="*/ 27 h 29"/>
                <a:gd name="T8" fmla="*/ 24 w 31"/>
                <a:gd name="T9" fmla="*/ 27 h 29"/>
                <a:gd name="T10" fmla="*/ 31 w 31"/>
                <a:gd name="T11" fmla="*/ 15 h 29"/>
                <a:gd name="T12" fmla="*/ 20 w 31"/>
                <a:gd name="T13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9">
                  <a:moveTo>
                    <a:pt x="20" y="2"/>
                  </a:moveTo>
                  <a:cubicBezTo>
                    <a:pt x="16" y="0"/>
                    <a:pt x="12" y="0"/>
                    <a:pt x="8" y="3"/>
                  </a:cubicBezTo>
                  <a:cubicBezTo>
                    <a:pt x="3" y="6"/>
                    <a:pt x="0" y="13"/>
                    <a:pt x="1" y="19"/>
                  </a:cubicBezTo>
                  <a:cubicBezTo>
                    <a:pt x="2" y="23"/>
                    <a:pt x="6" y="26"/>
                    <a:pt x="10" y="27"/>
                  </a:cubicBezTo>
                  <a:cubicBezTo>
                    <a:pt x="15" y="28"/>
                    <a:pt x="20" y="29"/>
                    <a:pt x="24" y="27"/>
                  </a:cubicBezTo>
                  <a:cubicBezTo>
                    <a:pt x="29" y="25"/>
                    <a:pt x="31" y="19"/>
                    <a:pt x="31" y="15"/>
                  </a:cubicBezTo>
                  <a:cubicBezTo>
                    <a:pt x="31" y="9"/>
                    <a:pt x="26" y="4"/>
                    <a:pt x="20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8" name="íşļîḍé"/>
            <p:cNvSpPr/>
            <p:nvPr/>
          </p:nvSpPr>
          <p:spPr bwMode="auto">
            <a:xfrm>
              <a:off x="5823517" y="3012167"/>
              <a:ext cx="372626" cy="162600"/>
            </a:xfrm>
            <a:custGeom>
              <a:avLst/>
              <a:gdLst>
                <a:gd name="T0" fmla="*/ 46 w 53"/>
                <a:gd name="T1" fmla="*/ 3 h 23"/>
                <a:gd name="T2" fmla="*/ 35 w 53"/>
                <a:gd name="T3" fmla="*/ 10 h 23"/>
                <a:gd name="T4" fmla="*/ 24 w 53"/>
                <a:gd name="T5" fmla="*/ 11 h 23"/>
                <a:gd name="T6" fmla="*/ 15 w 53"/>
                <a:gd name="T7" fmla="*/ 9 h 23"/>
                <a:gd name="T8" fmla="*/ 7 w 53"/>
                <a:gd name="T9" fmla="*/ 3 h 23"/>
                <a:gd name="T10" fmla="*/ 4 w 53"/>
                <a:gd name="T11" fmla="*/ 4 h 23"/>
                <a:gd name="T12" fmla="*/ 21 w 53"/>
                <a:gd name="T13" fmla="*/ 20 h 23"/>
                <a:gd name="T14" fmla="*/ 52 w 53"/>
                <a:gd name="T15" fmla="*/ 9 h 23"/>
                <a:gd name="T16" fmla="*/ 46 w 53"/>
                <a:gd name="T1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3">
                  <a:moveTo>
                    <a:pt x="46" y="3"/>
                  </a:moveTo>
                  <a:cubicBezTo>
                    <a:pt x="42" y="5"/>
                    <a:pt x="39" y="8"/>
                    <a:pt x="35" y="10"/>
                  </a:cubicBezTo>
                  <a:cubicBezTo>
                    <a:pt x="32" y="11"/>
                    <a:pt x="28" y="12"/>
                    <a:pt x="24" y="11"/>
                  </a:cubicBezTo>
                  <a:cubicBezTo>
                    <a:pt x="21" y="11"/>
                    <a:pt x="18" y="10"/>
                    <a:pt x="15" y="9"/>
                  </a:cubicBezTo>
                  <a:cubicBezTo>
                    <a:pt x="12" y="8"/>
                    <a:pt x="10" y="5"/>
                    <a:pt x="7" y="3"/>
                  </a:cubicBezTo>
                  <a:cubicBezTo>
                    <a:pt x="6" y="3"/>
                    <a:pt x="5" y="2"/>
                    <a:pt x="4" y="4"/>
                  </a:cubicBezTo>
                  <a:cubicBezTo>
                    <a:pt x="0" y="13"/>
                    <a:pt x="15" y="19"/>
                    <a:pt x="21" y="20"/>
                  </a:cubicBezTo>
                  <a:cubicBezTo>
                    <a:pt x="31" y="23"/>
                    <a:pt x="47" y="19"/>
                    <a:pt x="52" y="9"/>
                  </a:cubicBezTo>
                  <a:cubicBezTo>
                    <a:pt x="53" y="5"/>
                    <a:pt x="50" y="0"/>
                    <a:pt x="4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9" name="î$1iḑê"/>
            <p:cNvSpPr/>
            <p:nvPr/>
          </p:nvSpPr>
          <p:spPr bwMode="auto">
            <a:xfrm>
              <a:off x="5091815" y="3476255"/>
              <a:ext cx="111789" cy="311651"/>
            </a:xfrm>
            <a:custGeom>
              <a:avLst/>
              <a:gdLst>
                <a:gd name="T0" fmla="*/ 10 w 16"/>
                <a:gd name="T1" fmla="*/ 4 h 44"/>
                <a:gd name="T2" fmla="*/ 3 w 16"/>
                <a:gd name="T3" fmla="*/ 3 h 44"/>
                <a:gd name="T4" fmla="*/ 3 w 16"/>
                <a:gd name="T5" fmla="*/ 22 h 44"/>
                <a:gd name="T6" fmla="*/ 3 w 16"/>
                <a:gd name="T7" fmla="*/ 29 h 44"/>
                <a:gd name="T8" fmla="*/ 2 w 16"/>
                <a:gd name="T9" fmla="*/ 37 h 44"/>
                <a:gd name="T10" fmla="*/ 10 w 16"/>
                <a:gd name="T11" fmla="*/ 41 h 44"/>
                <a:gd name="T12" fmla="*/ 14 w 16"/>
                <a:gd name="T13" fmla="*/ 24 h 44"/>
                <a:gd name="T14" fmla="*/ 10 w 16"/>
                <a:gd name="T15" fmla="*/ 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44">
                  <a:moveTo>
                    <a:pt x="10" y="4"/>
                  </a:moveTo>
                  <a:cubicBezTo>
                    <a:pt x="9" y="1"/>
                    <a:pt x="4" y="0"/>
                    <a:pt x="3" y="3"/>
                  </a:cubicBezTo>
                  <a:cubicBezTo>
                    <a:pt x="0" y="9"/>
                    <a:pt x="3" y="15"/>
                    <a:pt x="3" y="22"/>
                  </a:cubicBezTo>
                  <a:cubicBezTo>
                    <a:pt x="2" y="24"/>
                    <a:pt x="3" y="26"/>
                    <a:pt x="3" y="29"/>
                  </a:cubicBezTo>
                  <a:cubicBezTo>
                    <a:pt x="3" y="32"/>
                    <a:pt x="2" y="34"/>
                    <a:pt x="2" y="37"/>
                  </a:cubicBezTo>
                  <a:cubicBezTo>
                    <a:pt x="2" y="41"/>
                    <a:pt x="6" y="44"/>
                    <a:pt x="10" y="41"/>
                  </a:cubicBezTo>
                  <a:cubicBezTo>
                    <a:pt x="16" y="38"/>
                    <a:pt x="15" y="30"/>
                    <a:pt x="14" y="24"/>
                  </a:cubicBezTo>
                  <a:cubicBezTo>
                    <a:pt x="13" y="17"/>
                    <a:pt x="12" y="10"/>
                    <a:pt x="10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0" name="í$lîďê"/>
            <p:cNvSpPr/>
            <p:nvPr/>
          </p:nvSpPr>
          <p:spPr bwMode="auto">
            <a:xfrm>
              <a:off x="5213765" y="3476255"/>
              <a:ext cx="111789" cy="311651"/>
            </a:xfrm>
            <a:custGeom>
              <a:avLst/>
              <a:gdLst>
                <a:gd name="T0" fmla="*/ 9 w 16"/>
                <a:gd name="T1" fmla="*/ 2 h 44"/>
                <a:gd name="T2" fmla="*/ 4 w 16"/>
                <a:gd name="T3" fmla="*/ 2 h 44"/>
                <a:gd name="T4" fmla="*/ 1 w 16"/>
                <a:gd name="T5" fmla="*/ 21 h 44"/>
                <a:gd name="T6" fmla="*/ 2 w 16"/>
                <a:gd name="T7" fmla="*/ 29 h 44"/>
                <a:gd name="T8" fmla="*/ 1 w 16"/>
                <a:gd name="T9" fmla="*/ 39 h 44"/>
                <a:gd name="T10" fmla="*/ 9 w 16"/>
                <a:gd name="T11" fmla="*/ 42 h 44"/>
                <a:gd name="T12" fmla="*/ 13 w 16"/>
                <a:gd name="T13" fmla="*/ 23 h 44"/>
                <a:gd name="T14" fmla="*/ 9 w 16"/>
                <a:gd name="T15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44">
                  <a:moveTo>
                    <a:pt x="9" y="2"/>
                  </a:moveTo>
                  <a:cubicBezTo>
                    <a:pt x="8" y="0"/>
                    <a:pt x="5" y="0"/>
                    <a:pt x="4" y="2"/>
                  </a:cubicBezTo>
                  <a:cubicBezTo>
                    <a:pt x="0" y="7"/>
                    <a:pt x="1" y="15"/>
                    <a:pt x="1" y="21"/>
                  </a:cubicBezTo>
                  <a:cubicBezTo>
                    <a:pt x="1" y="24"/>
                    <a:pt x="2" y="27"/>
                    <a:pt x="2" y="29"/>
                  </a:cubicBezTo>
                  <a:cubicBezTo>
                    <a:pt x="2" y="33"/>
                    <a:pt x="1" y="35"/>
                    <a:pt x="1" y="39"/>
                  </a:cubicBezTo>
                  <a:cubicBezTo>
                    <a:pt x="2" y="43"/>
                    <a:pt x="6" y="44"/>
                    <a:pt x="9" y="42"/>
                  </a:cubicBezTo>
                  <a:cubicBezTo>
                    <a:pt x="16" y="39"/>
                    <a:pt x="14" y="29"/>
                    <a:pt x="13" y="23"/>
                  </a:cubicBezTo>
                  <a:cubicBezTo>
                    <a:pt x="12" y="16"/>
                    <a:pt x="13" y="7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1" name="ïŝľiḋè"/>
            <p:cNvSpPr/>
            <p:nvPr/>
          </p:nvSpPr>
          <p:spPr bwMode="auto">
            <a:xfrm>
              <a:off x="5352654" y="3483030"/>
              <a:ext cx="98239" cy="304876"/>
            </a:xfrm>
            <a:custGeom>
              <a:avLst/>
              <a:gdLst>
                <a:gd name="T0" fmla="*/ 11 w 14"/>
                <a:gd name="T1" fmla="*/ 10 h 43"/>
                <a:gd name="T2" fmla="*/ 9 w 14"/>
                <a:gd name="T3" fmla="*/ 2 h 43"/>
                <a:gd name="T4" fmla="*/ 4 w 14"/>
                <a:gd name="T5" fmla="*/ 2 h 43"/>
                <a:gd name="T6" fmla="*/ 2 w 14"/>
                <a:gd name="T7" fmla="*/ 10 h 43"/>
                <a:gd name="T8" fmla="*/ 1 w 14"/>
                <a:gd name="T9" fmla="*/ 19 h 43"/>
                <a:gd name="T10" fmla="*/ 3 w 14"/>
                <a:gd name="T11" fmla="*/ 37 h 43"/>
                <a:gd name="T12" fmla="*/ 14 w 14"/>
                <a:gd name="T13" fmla="*/ 35 h 43"/>
                <a:gd name="T14" fmla="*/ 12 w 14"/>
                <a:gd name="T15" fmla="*/ 19 h 43"/>
                <a:gd name="T16" fmla="*/ 11 w 14"/>
                <a:gd name="T17" fmla="*/ 1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43">
                  <a:moveTo>
                    <a:pt x="11" y="10"/>
                  </a:moveTo>
                  <a:cubicBezTo>
                    <a:pt x="11" y="7"/>
                    <a:pt x="11" y="4"/>
                    <a:pt x="9" y="2"/>
                  </a:cubicBezTo>
                  <a:cubicBezTo>
                    <a:pt x="8" y="0"/>
                    <a:pt x="5" y="0"/>
                    <a:pt x="4" y="2"/>
                  </a:cubicBezTo>
                  <a:cubicBezTo>
                    <a:pt x="2" y="4"/>
                    <a:pt x="2" y="7"/>
                    <a:pt x="2" y="10"/>
                  </a:cubicBezTo>
                  <a:cubicBezTo>
                    <a:pt x="1" y="13"/>
                    <a:pt x="1" y="16"/>
                    <a:pt x="1" y="19"/>
                  </a:cubicBezTo>
                  <a:cubicBezTo>
                    <a:pt x="1" y="24"/>
                    <a:pt x="0" y="32"/>
                    <a:pt x="3" y="37"/>
                  </a:cubicBezTo>
                  <a:cubicBezTo>
                    <a:pt x="5" y="43"/>
                    <a:pt x="13" y="42"/>
                    <a:pt x="14" y="35"/>
                  </a:cubicBezTo>
                  <a:cubicBezTo>
                    <a:pt x="14" y="30"/>
                    <a:pt x="13" y="24"/>
                    <a:pt x="12" y="19"/>
                  </a:cubicBezTo>
                  <a:cubicBezTo>
                    <a:pt x="12" y="16"/>
                    <a:pt x="12" y="13"/>
                    <a:pt x="11" y="1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2" name="î$ḻïḍe"/>
            <p:cNvSpPr/>
            <p:nvPr/>
          </p:nvSpPr>
          <p:spPr bwMode="auto">
            <a:xfrm>
              <a:off x="6162267" y="3513518"/>
              <a:ext cx="633465" cy="633465"/>
            </a:xfrm>
            <a:custGeom>
              <a:avLst/>
              <a:gdLst>
                <a:gd name="T0" fmla="*/ 86 w 90"/>
                <a:gd name="T1" fmla="*/ 47 h 90"/>
                <a:gd name="T2" fmla="*/ 72 w 90"/>
                <a:gd name="T3" fmla="*/ 9 h 90"/>
                <a:gd name="T4" fmla="*/ 50 w 90"/>
                <a:gd name="T5" fmla="*/ 1 h 90"/>
                <a:gd name="T6" fmla="*/ 27 w 90"/>
                <a:gd name="T7" fmla="*/ 6 h 90"/>
                <a:gd name="T8" fmla="*/ 26 w 90"/>
                <a:gd name="T9" fmla="*/ 6 h 90"/>
                <a:gd name="T10" fmla="*/ 21 w 90"/>
                <a:gd name="T11" fmla="*/ 8 h 90"/>
                <a:gd name="T12" fmla="*/ 6 w 90"/>
                <a:gd name="T13" fmla="*/ 26 h 90"/>
                <a:gd name="T14" fmla="*/ 17 w 90"/>
                <a:gd name="T15" fmla="*/ 70 h 90"/>
                <a:gd name="T16" fmla="*/ 86 w 90"/>
                <a:gd name="T17" fmla="*/ 47 h 90"/>
                <a:gd name="T18" fmla="*/ 17 w 90"/>
                <a:gd name="T19" fmla="*/ 34 h 90"/>
                <a:gd name="T20" fmla="*/ 17 w 90"/>
                <a:gd name="T21" fmla="*/ 34 h 90"/>
                <a:gd name="T22" fmla="*/ 26 w 90"/>
                <a:gd name="T23" fmla="*/ 18 h 90"/>
                <a:gd name="T24" fmla="*/ 32 w 90"/>
                <a:gd name="T25" fmla="*/ 14 h 90"/>
                <a:gd name="T26" fmla="*/ 39 w 90"/>
                <a:gd name="T27" fmla="*/ 14 h 90"/>
                <a:gd name="T28" fmla="*/ 52 w 90"/>
                <a:gd name="T29" fmla="*/ 15 h 90"/>
                <a:gd name="T30" fmla="*/ 69 w 90"/>
                <a:gd name="T31" fmla="*/ 24 h 90"/>
                <a:gd name="T32" fmla="*/ 73 w 90"/>
                <a:gd name="T33" fmla="*/ 32 h 90"/>
                <a:gd name="T34" fmla="*/ 73 w 90"/>
                <a:gd name="T35" fmla="*/ 35 h 90"/>
                <a:gd name="T36" fmla="*/ 64 w 90"/>
                <a:gd name="T37" fmla="*/ 36 h 90"/>
                <a:gd name="T38" fmla="*/ 50 w 90"/>
                <a:gd name="T39" fmla="*/ 40 h 90"/>
                <a:gd name="T40" fmla="*/ 53 w 90"/>
                <a:gd name="T41" fmla="*/ 45 h 90"/>
                <a:gd name="T42" fmla="*/ 65 w 90"/>
                <a:gd name="T43" fmla="*/ 46 h 90"/>
                <a:gd name="T44" fmla="*/ 71 w 90"/>
                <a:gd name="T45" fmla="*/ 47 h 90"/>
                <a:gd name="T46" fmla="*/ 66 w 90"/>
                <a:gd name="T47" fmla="*/ 54 h 90"/>
                <a:gd name="T48" fmla="*/ 35 w 90"/>
                <a:gd name="T49" fmla="*/ 65 h 90"/>
                <a:gd name="T50" fmla="*/ 17 w 90"/>
                <a:gd name="T51" fmla="*/ 3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0" h="90">
                  <a:moveTo>
                    <a:pt x="86" y="47"/>
                  </a:moveTo>
                  <a:cubicBezTo>
                    <a:pt x="90" y="33"/>
                    <a:pt x="84" y="17"/>
                    <a:pt x="72" y="9"/>
                  </a:cubicBezTo>
                  <a:cubicBezTo>
                    <a:pt x="66" y="4"/>
                    <a:pt x="58" y="2"/>
                    <a:pt x="50" y="1"/>
                  </a:cubicBezTo>
                  <a:cubicBezTo>
                    <a:pt x="42" y="0"/>
                    <a:pt x="32" y="0"/>
                    <a:pt x="27" y="6"/>
                  </a:cubicBezTo>
                  <a:cubicBezTo>
                    <a:pt x="27" y="6"/>
                    <a:pt x="26" y="6"/>
                    <a:pt x="26" y="6"/>
                  </a:cubicBezTo>
                  <a:cubicBezTo>
                    <a:pt x="25" y="6"/>
                    <a:pt x="23" y="7"/>
                    <a:pt x="21" y="8"/>
                  </a:cubicBezTo>
                  <a:cubicBezTo>
                    <a:pt x="14" y="11"/>
                    <a:pt x="9" y="18"/>
                    <a:pt x="6" y="26"/>
                  </a:cubicBezTo>
                  <a:cubicBezTo>
                    <a:pt x="0" y="40"/>
                    <a:pt x="5" y="59"/>
                    <a:pt x="17" y="70"/>
                  </a:cubicBezTo>
                  <a:cubicBezTo>
                    <a:pt x="39" y="90"/>
                    <a:pt x="77" y="74"/>
                    <a:pt x="86" y="47"/>
                  </a:cubicBezTo>
                  <a:close/>
                  <a:moveTo>
                    <a:pt x="17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18" y="28"/>
                    <a:pt x="20" y="22"/>
                    <a:pt x="26" y="18"/>
                  </a:cubicBezTo>
                  <a:cubicBezTo>
                    <a:pt x="28" y="17"/>
                    <a:pt x="30" y="15"/>
                    <a:pt x="32" y="14"/>
                  </a:cubicBezTo>
                  <a:cubicBezTo>
                    <a:pt x="34" y="15"/>
                    <a:pt x="37" y="15"/>
                    <a:pt x="39" y="14"/>
                  </a:cubicBezTo>
                  <a:cubicBezTo>
                    <a:pt x="43" y="14"/>
                    <a:pt x="48" y="14"/>
                    <a:pt x="52" y="15"/>
                  </a:cubicBezTo>
                  <a:cubicBezTo>
                    <a:pt x="58" y="15"/>
                    <a:pt x="65" y="19"/>
                    <a:pt x="69" y="24"/>
                  </a:cubicBezTo>
                  <a:cubicBezTo>
                    <a:pt x="71" y="27"/>
                    <a:pt x="72" y="29"/>
                    <a:pt x="73" y="32"/>
                  </a:cubicBezTo>
                  <a:cubicBezTo>
                    <a:pt x="73" y="34"/>
                    <a:pt x="73" y="34"/>
                    <a:pt x="73" y="35"/>
                  </a:cubicBezTo>
                  <a:cubicBezTo>
                    <a:pt x="70" y="35"/>
                    <a:pt x="67" y="35"/>
                    <a:pt x="64" y="36"/>
                  </a:cubicBezTo>
                  <a:cubicBezTo>
                    <a:pt x="59" y="37"/>
                    <a:pt x="54" y="36"/>
                    <a:pt x="50" y="40"/>
                  </a:cubicBezTo>
                  <a:cubicBezTo>
                    <a:pt x="48" y="42"/>
                    <a:pt x="50" y="46"/>
                    <a:pt x="53" y="45"/>
                  </a:cubicBezTo>
                  <a:cubicBezTo>
                    <a:pt x="57" y="44"/>
                    <a:pt x="61" y="46"/>
                    <a:pt x="65" y="46"/>
                  </a:cubicBezTo>
                  <a:cubicBezTo>
                    <a:pt x="67" y="47"/>
                    <a:pt x="69" y="46"/>
                    <a:pt x="71" y="47"/>
                  </a:cubicBezTo>
                  <a:cubicBezTo>
                    <a:pt x="70" y="49"/>
                    <a:pt x="68" y="52"/>
                    <a:pt x="66" y="54"/>
                  </a:cubicBezTo>
                  <a:cubicBezTo>
                    <a:pt x="58" y="62"/>
                    <a:pt x="46" y="67"/>
                    <a:pt x="35" y="65"/>
                  </a:cubicBezTo>
                  <a:cubicBezTo>
                    <a:pt x="22" y="62"/>
                    <a:pt x="15" y="47"/>
                    <a:pt x="17" y="3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3" name="iŝḷïdé"/>
            <p:cNvSpPr/>
            <p:nvPr/>
          </p:nvSpPr>
          <p:spPr bwMode="auto">
            <a:xfrm>
              <a:off x="6372293" y="4130045"/>
              <a:ext cx="626690" cy="880752"/>
            </a:xfrm>
            <a:custGeom>
              <a:avLst/>
              <a:gdLst>
                <a:gd name="T0" fmla="*/ 87 w 89"/>
                <a:gd name="T1" fmla="*/ 62 h 125"/>
                <a:gd name="T2" fmla="*/ 88 w 89"/>
                <a:gd name="T3" fmla="*/ 31 h 125"/>
                <a:gd name="T4" fmla="*/ 84 w 89"/>
                <a:gd name="T5" fmla="*/ 14 h 125"/>
                <a:gd name="T6" fmla="*/ 74 w 89"/>
                <a:gd name="T7" fmla="*/ 5 h 125"/>
                <a:gd name="T8" fmla="*/ 47 w 89"/>
                <a:gd name="T9" fmla="*/ 1 h 125"/>
                <a:gd name="T10" fmla="*/ 13 w 89"/>
                <a:gd name="T11" fmla="*/ 2 h 125"/>
                <a:gd name="T12" fmla="*/ 2 w 89"/>
                <a:gd name="T13" fmla="*/ 7 h 125"/>
                <a:gd name="T14" fmla="*/ 4 w 89"/>
                <a:gd name="T15" fmla="*/ 19 h 125"/>
                <a:gd name="T16" fmla="*/ 3 w 89"/>
                <a:gd name="T17" fmla="*/ 30 h 125"/>
                <a:gd name="T18" fmla="*/ 3 w 89"/>
                <a:gd name="T19" fmla="*/ 45 h 125"/>
                <a:gd name="T20" fmla="*/ 4 w 89"/>
                <a:gd name="T21" fmla="*/ 75 h 125"/>
                <a:gd name="T22" fmla="*/ 3 w 89"/>
                <a:gd name="T23" fmla="*/ 103 h 125"/>
                <a:gd name="T24" fmla="*/ 11 w 89"/>
                <a:gd name="T25" fmla="*/ 118 h 125"/>
                <a:gd name="T26" fmla="*/ 41 w 89"/>
                <a:gd name="T27" fmla="*/ 124 h 125"/>
                <a:gd name="T28" fmla="*/ 57 w 89"/>
                <a:gd name="T29" fmla="*/ 123 h 125"/>
                <a:gd name="T30" fmla="*/ 69 w 89"/>
                <a:gd name="T31" fmla="*/ 123 h 125"/>
                <a:gd name="T32" fmla="*/ 81 w 89"/>
                <a:gd name="T33" fmla="*/ 121 h 125"/>
                <a:gd name="T34" fmla="*/ 83 w 89"/>
                <a:gd name="T35" fmla="*/ 120 h 125"/>
                <a:gd name="T36" fmla="*/ 88 w 89"/>
                <a:gd name="T37" fmla="*/ 109 h 125"/>
                <a:gd name="T38" fmla="*/ 88 w 89"/>
                <a:gd name="T39" fmla="*/ 93 h 125"/>
                <a:gd name="T40" fmla="*/ 87 w 89"/>
                <a:gd name="T41" fmla="*/ 62 h 125"/>
                <a:gd name="T42" fmla="*/ 79 w 89"/>
                <a:gd name="T43" fmla="*/ 114 h 125"/>
                <a:gd name="T44" fmla="*/ 79 w 89"/>
                <a:gd name="T45" fmla="*/ 114 h 125"/>
                <a:gd name="T46" fmla="*/ 71 w 89"/>
                <a:gd name="T47" fmla="*/ 113 h 125"/>
                <a:gd name="T48" fmla="*/ 58 w 89"/>
                <a:gd name="T49" fmla="*/ 114 h 125"/>
                <a:gd name="T50" fmla="*/ 44 w 89"/>
                <a:gd name="T51" fmla="*/ 115 h 125"/>
                <a:gd name="T52" fmla="*/ 17 w 89"/>
                <a:gd name="T53" fmla="*/ 112 h 125"/>
                <a:gd name="T54" fmla="*/ 12 w 89"/>
                <a:gd name="T55" fmla="*/ 99 h 125"/>
                <a:gd name="T56" fmla="*/ 13 w 89"/>
                <a:gd name="T57" fmla="*/ 72 h 125"/>
                <a:gd name="T58" fmla="*/ 11 w 89"/>
                <a:gd name="T59" fmla="*/ 45 h 125"/>
                <a:gd name="T60" fmla="*/ 9 w 89"/>
                <a:gd name="T61" fmla="*/ 16 h 125"/>
                <a:gd name="T62" fmla="*/ 11 w 89"/>
                <a:gd name="T63" fmla="*/ 12 h 125"/>
                <a:gd name="T64" fmla="*/ 21 w 89"/>
                <a:gd name="T65" fmla="*/ 10 h 125"/>
                <a:gd name="T66" fmla="*/ 49 w 89"/>
                <a:gd name="T67" fmla="*/ 10 h 125"/>
                <a:gd name="T68" fmla="*/ 69 w 89"/>
                <a:gd name="T69" fmla="*/ 12 h 125"/>
                <a:gd name="T70" fmla="*/ 76 w 89"/>
                <a:gd name="T71" fmla="*/ 15 h 125"/>
                <a:gd name="T72" fmla="*/ 79 w 89"/>
                <a:gd name="T73" fmla="*/ 19 h 125"/>
                <a:gd name="T74" fmla="*/ 79 w 89"/>
                <a:gd name="T75" fmla="*/ 24 h 125"/>
                <a:gd name="T76" fmla="*/ 78 w 89"/>
                <a:gd name="T77" fmla="*/ 35 h 125"/>
                <a:gd name="T78" fmla="*/ 78 w 89"/>
                <a:gd name="T79" fmla="*/ 64 h 125"/>
                <a:gd name="T80" fmla="*/ 79 w 89"/>
                <a:gd name="T81" fmla="*/ 91 h 125"/>
                <a:gd name="T82" fmla="*/ 79 w 89"/>
                <a:gd name="T83" fmla="*/ 105 h 125"/>
                <a:gd name="T84" fmla="*/ 79 w 89"/>
                <a:gd name="T85" fmla="*/ 11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9" h="125">
                  <a:moveTo>
                    <a:pt x="87" y="62"/>
                  </a:moveTo>
                  <a:cubicBezTo>
                    <a:pt x="87" y="52"/>
                    <a:pt x="88" y="42"/>
                    <a:pt x="88" y="31"/>
                  </a:cubicBezTo>
                  <a:cubicBezTo>
                    <a:pt x="87" y="26"/>
                    <a:pt x="89" y="17"/>
                    <a:pt x="84" y="14"/>
                  </a:cubicBezTo>
                  <a:cubicBezTo>
                    <a:pt x="83" y="10"/>
                    <a:pt x="78" y="7"/>
                    <a:pt x="74" y="5"/>
                  </a:cubicBezTo>
                  <a:cubicBezTo>
                    <a:pt x="66" y="2"/>
                    <a:pt x="56" y="2"/>
                    <a:pt x="47" y="1"/>
                  </a:cubicBezTo>
                  <a:cubicBezTo>
                    <a:pt x="36" y="0"/>
                    <a:pt x="24" y="0"/>
                    <a:pt x="13" y="2"/>
                  </a:cubicBezTo>
                  <a:cubicBezTo>
                    <a:pt x="9" y="2"/>
                    <a:pt x="5" y="4"/>
                    <a:pt x="2" y="7"/>
                  </a:cubicBezTo>
                  <a:cubicBezTo>
                    <a:pt x="0" y="11"/>
                    <a:pt x="1" y="16"/>
                    <a:pt x="4" y="19"/>
                  </a:cubicBezTo>
                  <a:cubicBezTo>
                    <a:pt x="4" y="23"/>
                    <a:pt x="3" y="26"/>
                    <a:pt x="3" y="30"/>
                  </a:cubicBezTo>
                  <a:cubicBezTo>
                    <a:pt x="3" y="35"/>
                    <a:pt x="3" y="40"/>
                    <a:pt x="3" y="45"/>
                  </a:cubicBezTo>
                  <a:cubicBezTo>
                    <a:pt x="3" y="55"/>
                    <a:pt x="4" y="65"/>
                    <a:pt x="4" y="75"/>
                  </a:cubicBezTo>
                  <a:cubicBezTo>
                    <a:pt x="3" y="84"/>
                    <a:pt x="2" y="94"/>
                    <a:pt x="3" y="103"/>
                  </a:cubicBezTo>
                  <a:cubicBezTo>
                    <a:pt x="4" y="109"/>
                    <a:pt x="6" y="114"/>
                    <a:pt x="11" y="118"/>
                  </a:cubicBezTo>
                  <a:cubicBezTo>
                    <a:pt x="19" y="125"/>
                    <a:pt x="31" y="125"/>
                    <a:pt x="41" y="124"/>
                  </a:cubicBezTo>
                  <a:cubicBezTo>
                    <a:pt x="47" y="124"/>
                    <a:pt x="52" y="123"/>
                    <a:pt x="57" y="123"/>
                  </a:cubicBezTo>
                  <a:cubicBezTo>
                    <a:pt x="61" y="123"/>
                    <a:pt x="65" y="123"/>
                    <a:pt x="69" y="123"/>
                  </a:cubicBezTo>
                  <a:cubicBezTo>
                    <a:pt x="74" y="123"/>
                    <a:pt x="78" y="123"/>
                    <a:pt x="81" y="121"/>
                  </a:cubicBezTo>
                  <a:cubicBezTo>
                    <a:pt x="82" y="121"/>
                    <a:pt x="83" y="121"/>
                    <a:pt x="83" y="120"/>
                  </a:cubicBezTo>
                  <a:cubicBezTo>
                    <a:pt x="87" y="117"/>
                    <a:pt x="87" y="113"/>
                    <a:pt x="88" y="109"/>
                  </a:cubicBezTo>
                  <a:cubicBezTo>
                    <a:pt x="88" y="104"/>
                    <a:pt x="88" y="98"/>
                    <a:pt x="88" y="93"/>
                  </a:cubicBezTo>
                  <a:cubicBezTo>
                    <a:pt x="88" y="83"/>
                    <a:pt x="87" y="73"/>
                    <a:pt x="87" y="62"/>
                  </a:cubicBezTo>
                  <a:close/>
                  <a:moveTo>
                    <a:pt x="79" y="114"/>
                  </a:moveTo>
                  <a:cubicBezTo>
                    <a:pt x="79" y="114"/>
                    <a:pt x="79" y="114"/>
                    <a:pt x="79" y="114"/>
                  </a:cubicBezTo>
                  <a:cubicBezTo>
                    <a:pt x="76" y="113"/>
                    <a:pt x="74" y="113"/>
                    <a:pt x="71" y="113"/>
                  </a:cubicBezTo>
                  <a:cubicBezTo>
                    <a:pt x="66" y="113"/>
                    <a:pt x="62" y="114"/>
                    <a:pt x="58" y="114"/>
                  </a:cubicBezTo>
                  <a:cubicBezTo>
                    <a:pt x="53" y="114"/>
                    <a:pt x="48" y="114"/>
                    <a:pt x="44" y="115"/>
                  </a:cubicBezTo>
                  <a:cubicBezTo>
                    <a:pt x="36" y="115"/>
                    <a:pt x="24" y="117"/>
                    <a:pt x="17" y="112"/>
                  </a:cubicBezTo>
                  <a:cubicBezTo>
                    <a:pt x="13" y="109"/>
                    <a:pt x="13" y="104"/>
                    <a:pt x="12" y="99"/>
                  </a:cubicBezTo>
                  <a:cubicBezTo>
                    <a:pt x="12" y="90"/>
                    <a:pt x="12" y="81"/>
                    <a:pt x="13" y="72"/>
                  </a:cubicBezTo>
                  <a:cubicBezTo>
                    <a:pt x="13" y="63"/>
                    <a:pt x="12" y="54"/>
                    <a:pt x="11" y="45"/>
                  </a:cubicBezTo>
                  <a:cubicBezTo>
                    <a:pt x="11" y="35"/>
                    <a:pt x="9" y="25"/>
                    <a:pt x="9" y="16"/>
                  </a:cubicBezTo>
                  <a:cubicBezTo>
                    <a:pt x="10" y="14"/>
                    <a:pt x="10" y="13"/>
                    <a:pt x="11" y="12"/>
                  </a:cubicBezTo>
                  <a:cubicBezTo>
                    <a:pt x="14" y="10"/>
                    <a:pt x="18" y="10"/>
                    <a:pt x="21" y="10"/>
                  </a:cubicBezTo>
                  <a:cubicBezTo>
                    <a:pt x="30" y="9"/>
                    <a:pt x="39" y="9"/>
                    <a:pt x="49" y="10"/>
                  </a:cubicBezTo>
                  <a:cubicBezTo>
                    <a:pt x="55" y="10"/>
                    <a:pt x="62" y="10"/>
                    <a:pt x="69" y="12"/>
                  </a:cubicBezTo>
                  <a:cubicBezTo>
                    <a:pt x="71" y="12"/>
                    <a:pt x="74" y="13"/>
                    <a:pt x="76" y="15"/>
                  </a:cubicBezTo>
                  <a:cubicBezTo>
                    <a:pt x="77" y="16"/>
                    <a:pt x="78" y="18"/>
                    <a:pt x="79" y="19"/>
                  </a:cubicBezTo>
                  <a:cubicBezTo>
                    <a:pt x="79" y="21"/>
                    <a:pt x="79" y="23"/>
                    <a:pt x="79" y="24"/>
                  </a:cubicBezTo>
                  <a:cubicBezTo>
                    <a:pt x="78" y="28"/>
                    <a:pt x="78" y="32"/>
                    <a:pt x="78" y="35"/>
                  </a:cubicBezTo>
                  <a:cubicBezTo>
                    <a:pt x="78" y="45"/>
                    <a:pt x="78" y="54"/>
                    <a:pt x="78" y="64"/>
                  </a:cubicBezTo>
                  <a:cubicBezTo>
                    <a:pt x="78" y="73"/>
                    <a:pt x="78" y="82"/>
                    <a:pt x="79" y="91"/>
                  </a:cubicBezTo>
                  <a:cubicBezTo>
                    <a:pt x="79" y="95"/>
                    <a:pt x="79" y="100"/>
                    <a:pt x="79" y="105"/>
                  </a:cubicBezTo>
                  <a:cubicBezTo>
                    <a:pt x="79" y="108"/>
                    <a:pt x="79" y="111"/>
                    <a:pt x="79" y="11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4" name="íṡḷîdè"/>
            <p:cNvSpPr/>
            <p:nvPr/>
          </p:nvSpPr>
          <p:spPr bwMode="auto">
            <a:xfrm>
              <a:off x="6507793" y="4357007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5" name="ïsļiḋé"/>
            <p:cNvSpPr/>
            <p:nvPr/>
          </p:nvSpPr>
          <p:spPr bwMode="auto">
            <a:xfrm>
              <a:off x="5938692" y="5417298"/>
              <a:ext cx="250676" cy="226964"/>
            </a:xfrm>
            <a:custGeom>
              <a:avLst/>
              <a:gdLst>
                <a:gd name="T0" fmla="*/ 26 w 36"/>
                <a:gd name="T1" fmla="*/ 3 h 32"/>
                <a:gd name="T2" fmla="*/ 17 w 36"/>
                <a:gd name="T3" fmla="*/ 3 h 32"/>
                <a:gd name="T4" fmla="*/ 15 w 36"/>
                <a:gd name="T5" fmla="*/ 2 h 32"/>
                <a:gd name="T6" fmla="*/ 3 w 36"/>
                <a:gd name="T7" fmla="*/ 19 h 32"/>
                <a:gd name="T8" fmla="*/ 28 w 36"/>
                <a:gd name="T9" fmla="*/ 27 h 32"/>
                <a:gd name="T10" fmla="*/ 36 w 36"/>
                <a:gd name="T11" fmla="*/ 15 h 32"/>
                <a:gd name="T12" fmla="*/ 26 w 36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2">
                  <a:moveTo>
                    <a:pt x="26" y="3"/>
                  </a:moveTo>
                  <a:cubicBezTo>
                    <a:pt x="23" y="2"/>
                    <a:pt x="20" y="2"/>
                    <a:pt x="17" y="3"/>
                  </a:cubicBezTo>
                  <a:cubicBezTo>
                    <a:pt x="16" y="3"/>
                    <a:pt x="16" y="2"/>
                    <a:pt x="15" y="2"/>
                  </a:cubicBezTo>
                  <a:cubicBezTo>
                    <a:pt x="6" y="0"/>
                    <a:pt x="0" y="12"/>
                    <a:pt x="3" y="19"/>
                  </a:cubicBezTo>
                  <a:cubicBezTo>
                    <a:pt x="6" y="29"/>
                    <a:pt x="20" y="32"/>
                    <a:pt x="28" y="27"/>
                  </a:cubicBezTo>
                  <a:cubicBezTo>
                    <a:pt x="33" y="24"/>
                    <a:pt x="36" y="20"/>
                    <a:pt x="36" y="15"/>
                  </a:cubicBezTo>
                  <a:cubicBezTo>
                    <a:pt x="36" y="9"/>
                    <a:pt x="31" y="5"/>
                    <a:pt x="2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6" name="ïṥḻîḑé"/>
            <p:cNvSpPr/>
            <p:nvPr/>
          </p:nvSpPr>
          <p:spPr bwMode="auto">
            <a:xfrm>
              <a:off x="4563364" y="5430848"/>
              <a:ext cx="226964" cy="220189"/>
            </a:xfrm>
            <a:custGeom>
              <a:avLst/>
              <a:gdLst>
                <a:gd name="T0" fmla="*/ 24 w 32"/>
                <a:gd name="T1" fmla="*/ 4 h 31"/>
                <a:gd name="T2" fmla="*/ 5 w 32"/>
                <a:gd name="T3" fmla="*/ 5 h 31"/>
                <a:gd name="T4" fmla="*/ 3 w 32"/>
                <a:gd name="T5" fmla="*/ 7 h 31"/>
                <a:gd name="T6" fmla="*/ 0 w 32"/>
                <a:gd name="T7" fmla="*/ 16 h 31"/>
                <a:gd name="T8" fmla="*/ 9 w 32"/>
                <a:gd name="T9" fmla="*/ 28 h 31"/>
                <a:gd name="T10" fmla="*/ 28 w 32"/>
                <a:gd name="T11" fmla="*/ 25 h 31"/>
                <a:gd name="T12" fmla="*/ 31 w 32"/>
                <a:gd name="T13" fmla="*/ 13 h 31"/>
                <a:gd name="T14" fmla="*/ 24 w 32"/>
                <a:gd name="T1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1">
                  <a:moveTo>
                    <a:pt x="24" y="4"/>
                  </a:moveTo>
                  <a:cubicBezTo>
                    <a:pt x="19" y="1"/>
                    <a:pt x="11" y="0"/>
                    <a:pt x="5" y="5"/>
                  </a:cubicBezTo>
                  <a:cubicBezTo>
                    <a:pt x="4" y="5"/>
                    <a:pt x="4" y="6"/>
                    <a:pt x="3" y="7"/>
                  </a:cubicBezTo>
                  <a:cubicBezTo>
                    <a:pt x="1" y="10"/>
                    <a:pt x="0" y="13"/>
                    <a:pt x="0" y="16"/>
                  </a:cubicBezTo>
                  <a:cubicBezTo>
                    <a:pt x="0" y="22"/>
                    <a:pt x="4" y="26"/>
                    <a:pt x="9" y="28"/>
                  </a:cubicBezTo>
                  <a:cubicBezTo>
                    <a:pt x="15" y="31"/>
                    <a:pt x="23" y="29"/>
                    <a:pt x="28" y="25"/>
                  </a:cubicBezTo>
                  <a:cubicBezTo>
                    <a:pt x="31" y="22"/>
                    <a:pt x="32" y="17"/>
                    <a:pt x="31" y="13"/>
                  </a:cubicBezTo>
                  <a:cubicBezTo>
                    <a:pt x="31" y="9"/>
                    <a:pt x="28" y="7"/>
                    <a:pt x="24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7" name="i$ḷide"/>
            <p:cNvSpPr/>
            <p:nvPr/>
          </p:nvSpPr>
          <p:spPr bwMode="auto">
            <a:xfrm>
              <a:off x="5261190" y="5403747"/>
              <a:ext cx="216801" cy="226964"/>
            </a:xfrm>
            <a:custGeom>
              <a:avLst/>
              <a:gdLst>
                <a:gd name="T0" fmla="*/ 3 w 31"/>
                <a:gd name="T1" fmla="*/ 12 h 32"/>
                <a:gd name="T2" fmla="*/ 3 w 31"/>
                <a:gd name="T3" fmla="*/ 15 h 32"/>
                <a:gd name="T4" fmla="*/ 11 w 31"/>
                <a:gd name="T5" fmla="*/ 30 h 32"/>
                <a:gd name="T6" fmla="*/ 27 w 31"/>
                <a:gd name="T7" fmla="*/ 26 h 32"/>
                <a:gd name="T8" fmla="*/ 28 w 31"/>
                <a:gd name="T9" fmla="*/ 11 h 32"/>
                <a:gd name="T10" fmla="*/ 3 w 31"/>
                <a:gd name="T11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2">
                  <a:moveTo>
                    <a:pt x="3" y="12"/>
                  </a:moveTo>
                  <a:cubicBezTo>
                    <a:pt x="3" y="13"/>
                    <a:pt x="3" y="14"/>
                    <a:pt x="3" y="15"/>
                  </a:cubicBezTo>
                  <a:cubicBezTo>
                    <a:pt x="0" y="22"/>
                    <a:pt x="5" y="27"/>
                    <a:pt x="11" y="30"/>
                  </a:cubicBezTo>
                  <a:cubicBezTo>
                    <a:pt x="16" y="32"/>
                    <a:pt x="23" y="31"/>
                    <a:pt x="27" y="26"/>
                  </a:cubicBezTo>
                  <a:cubicBezTo>
                    <a:pt x="31" y="22"/>
                    <a:pt x="31" y="16"/>
                    <a:pt x="28" y="11"/>
                  </a:cubicBezTo>
                  <a:cubicBezTo>
                    <a:pt x="24" y="2"/>
                    <a:pt x="5" y="0"/>
                    <a:pt x="3" y="1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8" name="îṧḷiďê"/>
            <p:cNvSpPr/>
            <p:nvPr/>
          </p:nvSpPr>
          <p:spPr bwMode="auto">
            <a:xfrm>
              <a:off x="7388545" y="5369872"/>
              <a:ext cx="254064" cy="243901"/>
            </a:xfrm>
            <a:custGeom>
              <a:avLst/>
              <a:gdLst>
                <a:gd name="T0" fmla="*/ 18 w 36"/>
                <a:gd name="T1" fmla="*/ 34 h 35"/>
                <a:gd name="T2" fmla="*/ 31 w 36"/>
                <a:gd name="T3" fmla="*/ 26 h 35"/>
                <a:gd name="T4" fmla="*/ 21 w 36"/>
                <a:gd name="T5" fmla="*/ 2 h 35"/>
                <a:gd name="T6" fmla="*/ 6 w 36"/>
                <a:gd name="T7" fmla="*/ 7 h 35"/>
                <a:gd name="T8" fmla="*/ 3 w 36"/>
                <a:gd name="T9" fmla="*/ 11 h 35"/>
                <a:gd name="T10" fmla="*/ 4 w 36"/>
                <a:gd name="T11" fmla="*/ 26 h 35"/>
                <a:gd name="T12" fmla="*/ 18 w 36"/>
                <a:gd name="T13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5">
                  <a:moveTo>
                    <a:pt x="18" y="34"/>
                  </a:moveTo>
                  <a:cubicBezTo>
                    <a:pt x="24" y="35"/>
                    <a:pt x="29" y="31"/>
                    <a:pt x="31" y="26"/>
                  </a:cubicBezTo>
                  <a:cubicBezTo>
                    <a:pt x="36" y="17"/>
                    <a:pt x="30" y="5"/>
                    <a:pt x="21" y="2"/>
                  </a:cubicBezTo>
                  <a:cubicBezTo>
                    <a:pt x="15" y="0"/>
                    <a:pt x="9" y="2"/>
                    <a:pt x="6" y="7"/>
                  </a:cubicBezTo>
                  <a:cubicBezTo>
                    <a:pt x="5" y="8"/>
                    <a:pt x="4" y="9"/>
                    <a:pt x="3" y="11"/>
                  </a:cubicBezTo>
                  <a:cubicBezTo>
                    <a:pt x="0" y="16"/>
                    <a:pt x="1" y="22"/>
                    <a:pt x="4" y="26"/>
                  </a:cubicBezTo>
                  <a:cubicBezTo>
                    <a:pt x="8" y="31"/>
                    <a:pt x="12" y="34"/>
                    <a:pt x="18" y="3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9" name="iṣ1îdé"/>
            <p:cNvSpPr/>
            <p:nvPr/>
          </p:nvSpPr>
          <p:spPr bwMode="auto">
            <a:xfrm>
              <a:off x="6717819" y="5383422"/>
              <a:ext cx="247289" cy="230351"/>
            </a:xfrm>
            <a:custGeom>
              <a:avLst/>
              <a:gdLst>
                <a:gd name="T0" fmla="*/ 30 w 35"/>
                <a:gd name="T1" fmla="*/ 22 h 33"/>
                <a:gd name="T2" fmla="*/ 31 w 35"/>
                <a:gd name="T3" fmla="*/ 6 h 33"/>
                <a:gd name="T4" fmla="*/ 16 w 35"/>
                <a:gd name="T5" fmla="*/ 1 h 33"/>
                <a:gd name="T6" fmla="*/ 4 w 35"/>
                <a:gd name="T7" fmla="*/ 9 h 33"/>
                <a:gd name="T8" fmla="*/ 3 w 35"/>
                <a:gd name="T9" fmla="*/ 10 h 33"/>
                <a:gd name="T10" fmla="*/ 4 w 35"/>
                <a:gd name="T11" fmla="*/ 26 h 33"/>
                <a:gd name="T12" fmla="*/ 30 w 35"/>
                <a:gd name="T13" fmla="*/ 22 h 33"/>
                <a:gd name="T14" fmla="*/ 20 w 35"/>
                <a:gd name="T15" fmla="*/ 13 h 33"/>
                <a:gd name="T16" fmla="*/ 20 w 35"/>
                <a:gd name="T17" fmla="*/ 13 h 33"/>
                <a:gd name="T18" fmla="*/ 20 w 35"/>
                <a:gd name="T19" fmla="*/ 14 h 33"/>
                <a:gd name="T20" fmla="*/ 20 w 35"/>
                <a:gd name="T21" fmla="*/ 14 h 33"/>
                <a:gd name="T22" fmla="*/ 20 w 35"/>
                <a:gd name="T23" fmla="*/ 14 h 33"/>
                <a:gd name="T24" fmla="*/ 20 w 35"/>
                <a:gd name="T25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33">
                  <a:moveTo>
                    <a:pt x="30" y="22"/>
                  </a:moveTo>
                  <a:cubicBezTo>
                    <a:pt x="35" y="17"/>
                    <a:pt x="35" y="11"/>
                    <a:pt x="31" y="6"/>
                  </a:cubicBezTo>
                  <a:cubicBezTo>
                    <a:pt x="27" y="2"/>
                    <a:pt x="21" y="0"/>
                    <a:pt x="16" y="1"/>
                  </a:cubicBezTo>
                  <a:cubicBezTo>
                    <a:pt x="10" y="1"/>
                    <a:pt x="5" y="4"/>
                    <a:pt x="4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15"/>
                    <a:pt x="0" y="21"/>
                    <a:pt x="4" y="26"/>
                  </a:cubicBezTo>
                  <a:cubicBezTo>
                    <a:pt x="10" y="33"/>
                    <a:pt x="25" y="29"/>
                    <a:pt x="30" y="22"/>
                  </a:cubicBezTo>
                  <a:close/>
                  <a:moveTo>
                    <a:pt x="20" y="13"/>
                  </a:move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0" y="1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0" name="iśļiḍe"/>
            <p:cNvSpPr/>
            <p:nvPr/>
          </p:nvSpPr>
          <p:spPr bwMode="auto">
            <a:xfrm>
              <a:off x="3686000" y="1535214"/>
              <a:ext cx="4813650" cy="4298748"/>
            </a:xfrm>
            <a:custGeom>
              <a:avLst/>
              <a:gdLst>
                <a:gd name="T0" fmla="*/ 537 w 684"/>
                <a:gd name="T1" fmla="*/ 282 h 611"/>
                <a:gd name="T2" fmla="*/ 482 w 684"/>
                <a:gd name="T3" fmla="*/ 154 h 611"/>
                <a:gd name="T4" fmla="*/ 360 w 684"/>
                <a:gd name="T5" fmla="*/ 104 h 611"/>
                <a:gd name="T6" fmla="*/ 332 w 684"/>
                <a:gd name="T7" fmla="*/ 46 h 611"/>
                <a:gd name="T8" fmla="*/ 326 w 684"/>
                <a:gd name="T9" fmla="*/ 34 h 611"/>
                <a:gd name="T10" fmla="*/ 313 w 684"/>
                <a:gd name="T11" fmla="*/ 129 h 611"/>
                <a:gd name="T12" fmla="*/ 170 w 684"/>
                <a:gd name="T13" fmla="*/ 204 h 611"/>
                <a:gd name="T14" fmla="*/ 30 w 684"/>
                <a:gd name="T15" fmla="*/ 410 h 611"/>
                <a:gd name="T16" fmla="*/ 17 w 684"/>
                <a:gd name="T17" fmla="*/ 474 h 611"/>
                <a:gd name="T18" fmla="*/ 78 w 684"/>
                <a:gd name="T19" fmla="*/ 487 h 611"/>
                <a:gd name="T20" fmla="*/ 99 w 684"/>
                <a:gd name="T21" fmla="*/ 388 h 611"/>
                <a:gd name="T22" fmla="*/ 175 w 684"/>
                <a:gd name="T23" fmla="*/ 499 h 611"/>
                <a:gd name="T24" fmla="*/ 126 w 684"/>
                <a:gd name="T25" fmla="*/ 531 h 611"/>
                <a:gd name="T26" fmla="*/ 382 w 684"/>
                <a:gd name="T27" fmla="*/ 604 h 611"/>
                <a:gd name="T28" fmla="*/ 573 w 684"/>
                <a:gd name="T29" fmla="*/ 523 h 611"/>
                <a:gd name="T30" fmla="*/ 426 w 684"/>
                <a:gd name="T31" fmla="*/ 515 h 611"/>
                <a:gd name="T32" fmla="*/ 489 w 684"/>
                <a:gd name="T33" fmla="*/ 469 h 611"/>
                <a:gd name="T34" fmla="*/ 573 w 684"/>
                <a:gd name="T35" fmla="*/ 395 h 611"/>
                <a:gd name="T36" fmla="*/ 601 w 684"/>
                <a:gd name="T37" fmla="*/ 494 h 611"/>
                <a:gd name="T38" fmla="*/ 332 w 684"/>
                <a:gd name="T39" fmla="*/ 15 h 611"/>
                <a:gd name="T40" fmla="*/ 169 w 684"/>
                <a:gd name="T41" fmla="*/ 278 h 611"/>
                <a:gd name="T42" fmla="*/ 55 w 684"/>
                <a:gd name="T43" fmla="*/ 408 h 611"/>
                <a:gd name="T44" fmla="*/ 73 w 684"/>
                <a:gd name="T45" fmla="*/ 450 h 611"/>
                <a:gd name="T46" fmla="*/ 15 w 684"/>
                <a:gd name="T47" fmla="*/ 462 h 611"/>
                <a:gd name="T48" fmla="*/ 26 w 684"/>
                <a:gd name="T49" fmla="*/ 427 h 611"/>
                <a:gd name="T50" fmla="*/ 61 w 684"/>
                <a:gd name="T51" fmla="*/ 386 h 611"/>
                <a:gd name="T52" fmla="*/ 70 w 684"/>
                <a:gd name="T53" fmla="*/ 364 h 611"/>
                <a:gd name="T54" fmla="*/ 89 w 684"/>
                <a:gd name="T55" fmla="*/ 336 h 611"/>
                <a:gd name="T56" fmla="*/ 110 w 684"/>
                <a:gd name="T57" fmla="*/ 315 h 611"/>
                <a:gd name="T58" fmla="*/ 133 w 684"/>
                <a:gd name="T59" fmla="*/ 298 h 611"/>
                <a:gd name="T60" fmla="*/ 161 w 684"/>
                <a:gd name="T61" fmla="*/ 281 h 611"/>
                <a:gd name="T62" fmla="*/ 542 w 684"/>
                <a:gd name="T63" fmla="*/ 537 h 611"/>
                <a:gd name="T64" fmla="*/ 429 w 684"/>
                <a:gd name="T65" fmla="*/ 592 h 611"/>
                <a:gd name="T66" fmla="*/ 103 w 684"/>
                <a:gd name="T67" fmla="*/ 544 h 611"/>
                <a:gd name="T68" fmla="*/ 246 w 684"/>
                <a:gd name="T69" fmla="*/ 514 h 611"/>
                <a:gd name="T70" fmla="*/ 245 w 684"/>
                <a:gd name="T71" fmla="*/ 527 h 611"/>
                <a:gd name="T72" fmla="*/ 445 w 684"/>
                <a:gd name="T73" fmla="*/ 502 h 611"/>
                <a:gd name="T74" fmla="*/ 186 w 684"/>
                <a:gd name="T75" fmla="*/ 494 h 611"/>
                <a:gd name="T76" fmla="*/ 344 w 684"/>
                <a:gd name="T77" fmla="*/ 480 h 611"/>
                <a:gd name="T78" fmla="*/ 348 w 684"/>
                <a:gd name="T79" fmla="*/ 386 h 611"/>
                <a:gd name="T80" fmla="*/ 187 w 684"/>
                <a:gd name="T81" fmla="*/ 386 h 611"/>
                <a:gd name="T82" fmla="*/ 220 w 684"/>
                <a:gd name="T83" fmla="*/ 163 h 611"/>
                <a:gd name="T84" fmla="*/ 479 w 684"/>
                <a:gd name="T85" fmla="*/ 178 h 611"/>
                <a:gd name="T86" fmla="*/ 203 w 684"/>
                <a:gd name="T87" fmla="*/ 451 h 611"/>
                <a:gd name="T88" fmla="*/ 203 w 684"/>
                <a:gd name="T89" fmla="*/ 405 h 611"/>
                <a:gd name="T90" fmla="*/ 209 w 684"/>
                <a:gd name="T91" fmla="*/ 448 h 611"/>
                <a:gd name="T92" fmla="*/ 263 w 684"/>
                <a:gd name="T93" fmla="*/ 478 h 611"/>
                <a:gd name="T94" fmla="*/ 305 w 684"/>
                <a:gd name="T95" fmla="*/ 395 h 611"/>
                <a:gd name="T96" fmla="*/ 336 w 684"/>
                <a:gd name="T97" fmla="*/ 472 h 611"/>
                <a:gd name="T98" fmla="*/ 606 w 684"/>
                <a:gd name="T99" fmla="*/ 422 h 611"/>
                <a:gd name="T100" fmla="*/ 490 w 684"/>
                <a:gd name="T101" fmla="*/ 277 h 611"/>
                <a:gd name="T102" fmla="*/ 507 w 684"/>
                <a:gd name="T103" fmla="*/ 291 h 611"/>
                <a:gd name="T104" fmla="*/ 515 w 684"/>
                <a:gd name="T105" fmla="*/ 320 h 611"/>
                <a:gd name="T106" fmla="*/ 533 w 684"/>
                <a:gd name="T107" fmla="*/ 335 h 611"/>
                <a:gd name="T108" fmla="*/ 566 w 684"/>
                <a:gd name="T109" fmla="*/ 365 h 611"/>
                <a:gd name="T110" fmla="*/ 564 w 684"/>
                <a:gd name="T111" fmla="*/ 334 h 611"/>
                <a:gd name="T112" fmla="*/ 597 w 684"/>
                <a:gd name="T113" fmla="*/ 387 h 611"/>
                <a:gd name="T114" fmla="*/ 617 w 684"/>
                <a:gd name="T115" fmla="*/ 392 h 611"/>
                <a:gd name="T116" fmla="*/ 614 w 684"/>
                <a:gd name="T117" fmla="*/ 477 h 611"/>
                <a:gd name="T118" fmla="*/ 598 w 684"/>
                <a:gd name="T119" fmla="*/ 480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4" h="611">
                  <a:moveTo>
                    <a:pt x="682" y="458"/>
                  </a:moveTo>
                  <a:cubicBezTo>
                    <a:pt x="682" y="453"/>
                    <a:pt x="681" y="450"/>
                    <a:pt x="679" y="446"/>
                  </a:cubicBezTo>
                  <a:cubicBezTo>
                    <a:pt x="677" y="438"/>
                    <a:pt x="672" y="431"/>
                    <a:pt x="666" y="425"/>
                  </a:cubicBezTo>
                  <a:cubicBezTo>
                    <a:pt x="659" y="417"/>
                    <a:pt x="649" y="411"/>
                    <a:pt x="639" y="410"/>
                  </a:cubicBezTo>
                  <a:cubicBezTo>
                    <a:pt x="638" y="406"/>
                    <a:pt x="637" y="403"/>
                    <a:pt x="636" y="401"/>
                  </a:cubicBezTo>
                  <a:cubicBezTo>
                    <a:pt x="634" y="396"/>
                    <a:pt x="632" y="391"/>
                    <a:pt x="630" y="386"/>
                  </a:cubicBezTo>
                  <a:cubicBezTo>
                    <a:pt x="625" y="377"/>
                    <a:pt x="621" y="368"/>
                    <a:pt x="615" y="359"/>
                  </a:cubicBezTo>
                  <a:cubicBezTo>
                    <a:pt x="610" y="351"/>
                    <a:pt x="604" y="343"/>
                    <a:pt x="598" y="335"/>
                  </a:cubicBezTo>
                  <a:cubicBezTo>
                    <a:pt x="592" y="328"/>
                    <a:pt x="587" y="320"/>
                    <a:pt x="580" y="313"/>
                  </a:cubicBezTo>
                  <a:cubicBezTo>
                    <a:pt x="568" y="300"/>
                    <a:pt x="552" y="290"/>
                    <a:pt x="537" y="282"/>
                  </a:cubicBezTo>
                  <a:cubicBezTo>
                    <a:pt x="529" y="277"/>
                    <a:pt x="520" y="273"/>
                    <a:pt x="512" y="270"/>
                  </a:cubicBezTo>
                  <a:cubicBezTo>
                    <a:pt x="507" y="269"/>
                    <a:pt x="503" y="267"/>
                    <a:pt x="499" y="267"/>
                  </a:cubicBezTo>
                  <a:cubicBezTo>
                    <a:pt x="496" y="266"/>
                    <a:pt x="493" y="266"/>
                    <a:pt x="490" y="266"/>
                  </a:cubicBezTo>
                  <a:cubicBezTo>
                    <a:pt x="490" y="257"/>
                    <a:pt x="491" y="248"/>
                    <a:pt x="491" y="240"/>
                  </a:cubicBezTo>
                  <a:cubicBezTo>
                    <a:pt x="491" y="226"/>
                    <a:pt x="491" y="213"/>
                    <a:pt x="490" y="200"/>
                  </a:cubicBezTo>
                  <a:cubicBezTo>
                    <a:pt x="490" y="193"/>
                    <a:pt x="490" y="187"/>
                    <a:pt x="489" y="180"/>
                  </a:cubicBezTo>
                  <a:cubicBezTo>
                    <a:pt x="489" y="179"/>
                    <a:pt x="489" y="177"/>
                    <a:pt x="489" y="175"/>
                  </a:cubicBezTo>
                  <a:cubicBezTo>
                    <a:pt x="489" y="174"/>
                    <a:pt x="490" y="172"/>
                    <a:pt x="490" y="171"/>
                  </a:cubicBezTo>
                  <a:cubicBezTo>
                    <a:pt x="491" y="169"/>
                    <a:pt x="490" y="166"/>
                    <a:pt x="490" y="164"/>
                  </a:cubicBezTo>
                  <a:cubicBezTo>
                    <a:pt x="489" y="160"/>
                    <a:pt x="486" y="156"/>
                    <a:pt x="482" y="154"/>
                  </a:cubicBezTo>
                  <a:cubicBezTo>
                    <a:pt x="479" y="152"/>
                    <a:pt x="476" y="151"/>
                    <a:pt x="472" y="151"/>
                  </a:cubicBezTo>
                  <a:cubicBezTo>
                    <a:pt x="467" y="149"/>
                    <a:pt x="462" y="148"/>
                    <a:pt x="457" y="147"/>
                  </a:cubicBezTo>
                  <a:cubicBezTo>
                    <a:pt x="436" y="143"/>
                    <a:pt x="414" y="143"/>
                    <a:pt x="393" y="142"/>
                  </a:cubicBezTo>
                  <a:cubicBezTo>
                    <a:pt x="378" y="142"/>
                    <a:pt x="362" y="142"/>
                    <a:pt x="347" y="142"/>
                  </a:cubicBezTo>
                  <a:cubicBezTo>
                    <a:pt x="347" y="142"/>
                    <a:pt x="346" y="141"/>
                    <a:pt x="346" y="141"/>
                  </a:cubicBezTo>
                  <a:cubicBezTo>
                    <a:pt x="341" y="137"/>
                    <a:pt x="336" y="133"/>
                    <a:pt x="332" y="128"/>
                  </a:cubicBezTo>
                  <a:cubicBezTo>
                    <a:pt x="330" y="126"/>
                    <a:pt x="328" y="124"/>
                    <a:pt x="326" y="123"/>
                  </a:cubicBezTo>
                  <a:cubicBezTo>
                    <a:pt x="330" y="121"/>
                    <a:pt x="334" y="120"/>
                    <a:pt x="337" y="118"/>
                  </a:cubicBezTo>
                  <a:cubicBezTo>
                    <a:pt x="341" y="116"/>
                    <a:pt x="344" y="113"/>
                    <a:pt x="348" y="111"/>
                  </a:cubicBezTo>
                  <a:cubicBezTo>
                    <a:pt x="351" y="108"/>
                    <a:pt x="356" y="106"/>
                    <a:pt x="360" y="104"/>
                  </a:cubicBezTo>
                  <a:cubicBezTo>
                    <a:pt x="364" y="101"/>
                    <a:pt x="365" y="94"/>
                    <a:pt x="360" y="92"/>
                  </a:cubicBezTo>
                  <a:cubicBezTo>
                    <a:pt x="354" y="89"/>
                    <a:pt x="347" y="88"/>
                    <a:pt x="341" y="86"/>
                  </a:cubicBezTo>
                  <a:cubicBezTo>
                    <a:pt x="337" y="84"/>
                    <a:pt x="334" y="83"/>
                    <a:pt x="331" y="81"/>
                  </a:cubicBezTo>
                  <a:cubicBezTo>
                    <a:pt x="332" y="81"/>
                    <a:pt x="333" y="80"/>
                    <a:pt x="334" y="79"/>
                  </a:cubicBezTo>
                  <a:cubicBezTo>
                    <a:pt x="338" y="77"/>
                    <a:pt x="342" y="74"/>
                    <a:pt x="347" y="72"/>
                  </a:cubicBezTo>
                  <a:cubicBezTo>
                    <a:pt x="351" y="70"/>
                    <a:pt x="355" y="67"/>
                    <a:pt x="355" y="61"/>
                  </a:cubicBezTo>
                  <a:cubicBezTo>
                    <a:pt x="355" y="55"/>
                    <a:pt x="350" y="53"/>
                    <a:pt x="345" y="51"/>
                  </a:cubicBezTo>
                  <a:cubicBezTo>
                    <a:pt x="343" y="51"/>
                    <a:pt x="340" y="50"/>
                    <a:pt x="338" y="49"/>
                  </a:cubicBezTo>
                  <a:cubicBezTo>
                    <a:pt x="336" y="48"/>
                    <a:pt x="335" y="48"/>
                    <a:pt x="334" y="47"/>
                  </a:cubicBezTo>
                  <a:cubicBezTo>
                    <a:pt x="333" y="47"/>
                    <a:pt x="333" y="46"/>
                    <a:pt x="332" y="46"/>
                  </a:cubicBezTo>
                  <a:cubicBezTo>
                    <a:pt x="332" y="46"/>
                    <a:pt x="332" y="46"/>
                    <a:pt x="333" y="45"/>
                  </a:cubicBezTo>
                  <a:cubicBezTo>
                    <a:pt x="334" y="44"/>
                    <a:pt x="335" y="44"/>
                    <a:pt x="337" y="43"/>
                  </a:cubicBezTo>
                  <a:cubicBezTo>
                    <a:pt x="342" y="45"/>
                    <a:pt x="347" y="46"/>
                    <a:pt x="353" y="45"/>
                  </a:cubicBezTo>
                  <a:cubicBezTo>
                    <a:pt x="367" y="43"/>
                    <a:pt x="376" y="27"/>
                    <a:pt x="370" y="14"/>
                  </a:cubicBezTo>
                  <a:cubicBezTo>
                    <a:pt x="367" y="7"/>
                    <a:pt x="360" y="4"/>
                    <a:pt x="353" y="2"/>
                  </a:cubicBezTo>
                  <a:cubicBezTo>
                    <a:pt x="348" y="1"/>
                    <a:pt x="341" y="0"/>
                    <a:pt x="336" y="2"/>
                  </a:cubicBezTo>
                  <a:cubicBezTo>
                    <a:pt x="332" y="1"/>
                    <a:pt x="329" y="2"/>
                    <a:pt x="326" y="5"/>
                  </a:cubicBezTo>
                  <a:cubicBezTo>
                    <a:pt x="321" y="11"/>
                    <a:pt x="321" y="18"/>
                    <a:pt x="322" y="24"/>
                  </a:cubicBezTo>
                  <a:cubicBezTo>
                    <a:pt x="322" y="28"/>
                    <a:pt x="324" y="31"/>
                    <a:pt x="326" y="34"/>
                  </a:cubicBezTo>
                  <a:cubicBezTo>
                    <a:pt x="326" y="34"/>
                    <a:pt x="326" y="34"/>
                    <a:pt x="326" y="34"/>
                  </a:cubicBezTo>
                  <a:cubicBezTo>
                    <a:pt x="322" y="36"/>
                    <a:pt x="318" y="39"/>
                    <a:pt x="317" y="44"/>
                  </a:cubicBezTo>
                  <a:cubicBezTo>
                    <a:pt x="313" y="53"/>
                    <a:pt x="325" y="58"/>
                    <a:pt x="331" y="61"/>
                  </a:cubicBezTo>
                  <a:cubicBezTo>
                    <a:pt x="333" y="61"/>
                    <a:pt x="335" y="62"/>
                    <a:pt x="336" y="63"/>
                  </a:cubicBezTo>
                  <a:cubicBezTo>
                    <a:pt x="328" y="67"/>
                    <a:pt x="320" y="71"/>
                    <a:pt x="313" y="76"/>
                  </a:cubicBezTo>
                  <a:cubicBezTo>
                    <a:pt x="309" y="78"/>
                    <a:pt x="308" y="85"/>
                    <a:pt x="313" y="88"/>
                  </a:cubicBezTo>
                  <a:cubicBezTo>
                    <a:pt x="320" y="91"/>
                    <a:pt x="327" y="94"/>
                    <a:pt x="334" y="97"/>
                  </a:cubicBezTo>
                  <a:cubicBezTo>
                    <a:pt x="336" y="98"/>
                    <a:pt x="338" y="99"/>
                    <a:pt x="340" y="100"/>
                  </a:cubicBezTo>
                  <a:cubicBezTo>
                    <a:pt x="336" y="102"/>
                    <a:pt x="333" y="105"/>
                    <a:pt x="330" y="107"/>
                  </a:cubicBezTo>
                  <a:cubicBezTo>
                    <a:pt x="323" y="110"/>
                    <a:pt x="315" y="112"/>
                    <a:pt x="310" y="118"/>
                  </a:cubicBezTo>
                  <a:cubicBezTo>
                    <a:pt x="306" y="122"/>
                    <a:pt x="308" y="127"/>
                    <a:pt x="313" y="129"/>
                  </a:cubicBezTo>
                  <a:cubicBezTo>
                    <a:pt x="317" y="131"/>
                    <a:pt x="321" y="136"/>
                    <a:pt x="325" y="139"/>
                  </a:cubicBezTo>
                  <a:cubicBezTo>
                    <a:pt x="326" y="140"/>
                    <a:pt x="327" y="141"/>
                    <a:pt x="329" y="142"/>
                  </a:cubicBezTo>
                  <a:cubicBezTo>
                    <a:pt x="328" y="142"/>
                    <a:pt x="327" y="142"/>
                    <a:pt x="327" y="142"/>
                  </a:cubicBezTo>
                  <a:cubicBezTo>
                    <a:pt x="305" y="143"/>
                    <a:pt x="283" y="142"/>
                    <a:pt x="262" y="144"/>
                  </a:cubicBezTo>
                  <a:cubicBezTo>
                    <a:pt x="250" y="145"/>
                    <a:pt x="239" y="148"/>
                    <a:pt x="228" y="149"/>
                  </a:cubicBezTo>
                  <a:cubicBezTo>
                    <a:pt x="217" y="150"/>
                    <a:pt x="206" y="149"/>
                    <a:pt x="195" y="150"/>
                  </a:cubicBezTo>
                  <a:cubicBezTo>
                    <a:pt x="186" y="150"/>
                    <a:pt x="177" y="153"/>
                    <a:pt x="173" y="162"/>
                  </a:cubicBezTo>
                  <a:cubicBezTo>
                    <a:pt x="170" y="168"/>
                    <a:pt x="168" y="177"/>
                    <a:pt x="171" y="184"/>
                  </a:cubicBezTo>
                  <a:cubicBezTo>
                    <a:pt x="171" y="185"/>
                    <a:pt x="171" y="185"/>
                    <a:pt x="171" y="186"/>
                  </a:cubicBezTo>
                  <a:cubicBezTo>
                    <a:pt x="170" y="192"/>
                    <a:pt x="170" y="198"/>
                    <a:pt x="170" y="204"/>
                  </a:cubicBezTo>
                  <a:cubicBezTo>
                    <a:pt x="170" y="215"/>
                    <a:pt x="170" y="226"/>
                    <a:pt x="170" y="237"/>
                  </a:cubicBezTo>
                  <a:cubicBezTo>
                    <a:pt x="169" y="247"/>
                    <a:pt x="169" y="257"/>
                    <a:pt x="169" y="267"/>
                  </a:cubicBezTo>
                  <a:cubicBezTo>
                    <a:pt x="163" y="267"/>
                    <a:pt x="157" y="269"/>
                    <a:pt x="152" y="271"/>
                  </a:cubicBezTo>
                  <a:cubicBezTo>
                    <a:pt x="143" y="274"/>
                    <a:pt x="135" y="279"/>
                    <a:pt x="128" y="284"/>
                  </a:cubicBezTo>
                  <a:cubicBezTo>
                    <a:pt x="114" y="293"/>
                    <a:pt x="100" y="304"/>
                    <a:pt x="89" y="316"/>
                  </a:cubicBezTo>
                  <a:cubicBezTo>
                    <a:pt x="77" y="328"/>
                    <a:pt x="67" y="342"/>
                    <a:pt x="59" y="357"/>
                  </a:cubicBezTo>
                  <a:cubicBezTo>
                    <a:pt x="55" y="364"/>
                    <a:pt x="51" y="372"/>
                    <a:pt x="49" y="380"/>
                  </a:cubicBezTo>
                  <a:cubicBezTo>
                    <a:pt x="47" y="385"/>
                    <a:pt x="46" y="390"/>
                    <a:pt x="45" y="395"/>
                  </a:cubicBezTo>
                  <a:cubicBezTo>
                    <a:pt x="44" y="399"/>
                    <a:pt x="43" y="403"/>
                    <a:pt x="43" y="407"/>
                  </a:cubicBezTo>
                  <a:cubicBezTo>
                    <a:pt x="39" y="408"/>
                    <a:pt x="34" y="409"/>
                    <a:pt x="30" y="410"/>
                  </a:cubicBezTo>
                  <a:cubicBezTo>
                    <a:pt x="28" y="410"/>
                    <a:pt x="26" y="410"/>
                    <a:pt x="24" y="411"/>
                  </a:cubicBezTo>
                  <a:cubicBezTo>
                    <a:pt x="21" y="414"/>
                    <a:pt x="17" y="417"/>
                    <a:pt x="14" y="421"/>
                  </a:cubicBezTo>
                  <a:cubicBezTo>
                    <a:pt x="12" y="426"/>
                    <a:pt x="10" y="430"/>
                    <a:pt x="8" y="435"/>
                  </a:cubicBezTo>
                  <a:cubicBezTo>
                    <a:pt x="7" y="436"/>
                    <a:pt x="7" y="437"/>
                    <a:pt x="7" y="438"/>
                  </a:cubicBezTo>
                  <a:cubicBezTo>
                    <a:pt x="6" y="439"/>
                    <a:pt x="6" y="440"/>
                    <a:pt x="6" y="440"/>
                  </a:cubicBezTo>
                  <a:cubicBezTo>
                    <a:pt x="6" y="441"/>
                    <a:pt x="5" y="441"/>
                    <a:pt x="5" y="442"/>
                  </a:cubicBezTo>
                  <a:cubicBezTo>
                    <a:pt x="3" y="448"/>
                    <a:pt x="0" y="455"/>
                    <a:pt x="1" y="462"/>
                  </a:cubicBezTo>
                  <a:cubicBezTo>
                    <a:pt x="1" y="468"/>
                    <a:pt x="7" y="476"/>
                    <a:pt x="14" y="474"/>
                  </a:cubicBezTo>
                  <a:cubicBezTo>
                    <a:pt x="14" y="475"/>
                    <a:pt x="15" y="475"/>
                    <a:pt x="16" y="475"/>
                  </a:cubicBezTo>
                  <a:cubicBezTo>
                    <a:pt x="17" y="475"/>
                    <a:pt x="18" y="475"/>
                    <a:pt x="17" y="474"/>
                  </a:cubicBezTo>
                  <a:cubicBezTo>
                    <a:pt x="18" y="474"/>
                    <a:pt x="19" y="474"/>
                    <a:pt x="20" y="474"/>
                  </a:cubicBezTo>
                  <a:cubicBezTo>
                    <a:pt x="23" y="474"/>
                    <a:pt x="25" y="473"/>
                    <a:pt x="28" y="471"/>
                  </a:cubicBezTo>
                  <a:cubicBezTo>
                    <a:pt x="33" y="467"/>
                    <a:pt x="34" y="459"/>
                    <a:pt x="37" y="453"/>
                  </a:cubicBezTo>
                  <a:cubicBezTo>
                    <a:pt x="40" y="449"/>
                    <a:pt x="43" y="444"/>
                    <a:pt x="48" y="442"/>
                  </a:cubicBezTo>
                  <a:cubicBezTo>
                    <a:pt x="53" y="441"/>
                    <a:pt x="59" y="444"/>
                    <a:pt x="60" y="449"/>
                  </a:cubicBezTo>
                  <a:cubicBezTo>
                    <a:pt x="61" y="452"/>
                    <a:pt x="57" y="458"/>
                    <a:pt x="55" y="461"/>
                  </a:cubicBezTo>
                  <a:cubicBezTo>
                    <a:pt x="52" y="466"/>
                    <a:pt x="49" y="471"/>
                    <a:pt x="50" y="478"/>
                  </a:cubicBezTo>
                  <a:cubicBezTo>
                    <a:pt x="52" y="482"/>
                    <a:pt x="56" y="485"/>
                    <a:pt x="61" y="487"/>
                  </a:cubicBezTo>
                  <a:cubicBezTo>
                    <a:pt x="65" y="488"/>
                    <a:pt x="71" y="490"/>
                    <a:pt x="75" y="489"/>
                  </a:cubicBezTo>
                  <a:cubicBezTo>
                    <a:pt x="76" y="488"/>
                    <a:pt x="77" y="488"/>
                    <a:pt x="78" y="487"/>
                  </a:cubicBezTo>
                  <a:cubicBezTo>
                    <a:pt x="81" y="486"/>
                    <a:pt x="84" y="483"/>
                    <a:pt x="85" y="480"/>
                  </a:cubicBezTo>
                  <a:cubicBezTo>
                    <a:pt x="88" y="476"/>
                    <a:pt x="90" y="470"/>
                    <a:pt x="91" y="465"/>
                  </a:cubicBezTo>
                  <a:cubicBezTo>
                    <a:pt x="94" y="453"/>
                    <a:pt x="92" y="440"/>
                    <a:pt x="86" y="429"/>
                  </a:cubicBezTo>
                  <a:cubicBezTo>
                    <a:pt x="87" y="428"/>
                    <a:pt x="88" y="426"/>
                    <a:pt x="89" y="425"/>
                  </a:cubicBezTo>
                  <a:cubicBezTo>
                    <a:pt x="89" y="425"/>
                    <a:pt x="89" y="425"/>
                    <a:pt x="89" y="425"/>
                  </a:cubicBezTo>
                  <a:cubicBezTo>
                    <a:pt x="91" y="415"/>
                    <a:pt x="92" y="404"/>
                    <a:pt x="96" y="394"/>
                  </a:cubicBezTo>
                  <a:cubicBezTo>
                    <a:pt x="97" y="395"/>
                    <a:pt x="99" y="395"/>
                    <a:pt x="100" y="395"/>
                  </a:cubicBezTo>
                  <a:cubicBezTo>
                    <a:pt x="101" y="394"/>
                    <a:pt x="102" y="392"/>
                    <a:pt x="101" y="391"/>
                  </a:cubicBezTo>
                  <a:cubicBezTo>
                    <a:pt x="100" y="390"/>
                    <a:pt x="99" y="390"/>
                    <a:pt x="98" y="389"/>
                  </a:cubicBezTo>
                  <a:cubicBezTo>
                    <a:pt x="98" y="389"/>
                    <a:pt x="98" y="388"/>
                    <a:pt x="99" y="388"/>
                  </a:cubicBezTo>
                  <a:cubicBezTo>
                    <a:pt x="104" y="377"/>
                    <a:pt x="111" y="367"/>
                    <a:pt x="119" y="358"/>
                  </a:cubicBezTo>
                  <a:cubicBezTo>
                    <a:pt x="127" y="349"/>
                    <a:pt x="137" y="342"/>
                    <a:pt x="147" y="335"/>
                  </a:cubicBezTo>
                  <a:cubicBezTo>
                    <a:pt x="153" y="331"/>
                    <a:pt x="159" y="328"/>
                    <a:pt x="166" y="325"/>
                  </a:cubicBezTo>
                  <a:cubicBezTo>
                    <a:pt x="167" y="324"/>
                    <a:pt x="169" y="324"/>
                    <a:pt x="170" y="323"/>
                  </a:cubicBezTo>
                  <a:cubicBezTo>
                    <a:pt x="171" y="339"/>
                    <a:pt x="172" y="355"/>
                    <a:pt x="173" y="371"/>
                  </a:cubicBezTo>
                  <a:cubicBezTo>
                    <a:pt x="173" y="382"/>
                    <a:pt x="173" y="393"/>
                    <a:pt x="173" y="403"/>
                  </a:cubicBezTo>
                  <a:cubicBezTo>
                    <a:pt x="173" y="414"/>
                    <a:pt x="174" y="425"/>
                    <a:pt x="174" y="436"/>
                  </a:cubicBezTo>
                  <a:cubicBezTo>
                    <a:pt x="175" y="454"/>
                    <a:pt x="174" y="472"/>
                    <a:pt x="172" y="490"/>
                  </a:cubicBezTo>
                  <a:cubicBezTo>
                    <a:pt x="172" y="492"/>
                    <a:pt x="173" y="494"/>
                    <a:pt x="174" y="495"/>
                  </a:cubicBezTo>
                  <a:cubicBezTo>
                    <a:pt x="174" y="496"/>
                    <a:pt x="174" y="498"/>
                    <a:pt x="175" y="499"/>
                  </a:cubicBezTo>
                  <a:cubicBezTo>
                    <a:pt x="177" y="506"/>
                    <a:pt x="185" y="514"/>
                    <a:pt x="193" y="514"/>
                  </a:cubicBezTo>
                  <a:cubicBezTo>
                    <a:pt x="194" y="514"/>
                    <a:pt x="196" y="513"/>
                    <a:pt x="197" y="512"/>
                  </a:cubicBezTo>
                  <a:cubicBezTo>
                    <a:pt x="206" y="515"/>
                    <a:pt x="217" y="513"/>
                    <a:pt x="225" y="514"/>
                  </a:cubicBezTo>
                  <a:cubicBezTo>
                    <a:pt x="229" y="514"/>
                    <a:pt x="232" y="514"/>
                    <a:pt x="235" y="514"/>
                  </a:cubicBezTo>
                  <a:cubicBezTo>
                    <a:pt x="235" y="516"/>
                    <a:pt x="235" y="518"/>
                    <a:pt x="235" y="520"/>
                  </a:cubicBezTo>
                  <a:cubicBezTo>
                    <a:pt x="234" y="522"/>
                    <a:pt x="233" y="526"/>
                    <a:pt x="233" y="529"/>
                  </a:cubicBezTo>
                  <a:cubicBezTo>
                    <a:pt x="222" y="530"/>
                    <a:pt x="211" y="531"/>
                    <a:pt x="200" y="531"/>
                  </a:cubicBezTo>
                  <a:cubicBezTo>
                    <a:pt x="184" y="531"/>
                    <a:pt x="167" y="532"/>
                    <a:pt x="151" y="532"/>
                  </a:cubicBezTo>
                  <a:cubicBezTo>
                    <a:pt x="143" y="532"/>
                    <a:pt x="135" y="531"/>
                    <a:pt x="127" y="531"/>
                  </a:cubicBezTo>
                  <a:cubicBezTo>
                    <a:pt x="127" y="531"/>
                    <a:pt x="126" y="531"/>
                    <a:pt x="126" y="531"/>
                  </a:cubicBezTo>
                  <a:cubicBezTo>
                    <a:pt x="124" y="530"/>
                    <a:pt x="123" y="530"/>
                    <a:pt x="122" y="530"/>
                  </a:cubicBezTo>
                  <a:cubicBezTo>
                    <a:pt x="112" y="528"/>
                    <a:pt x="102" y="529"/>
                    <a:pt x="93" y="534"/>
                  </a:cubicBezTo>
                  <a:cubicBezTo>
                    <a:pt x="77" y="541"/>
                    <a:pt x="69" y="562"/>
                    <a:pt x="73" y="578"/>
                  </a:cubicBezTo>
                  <a:cubicBezTo>
                    <a:pt x="77" y="595"/>
                    <a:pt x="93" y="604"/>
                    <a:pt x="108" y="607"/>
                  </a:cubicBezTo>
                  <a:cubicBezTo>
                    <a:pt x="118" y="609"/>
                    <a:pt x="128" y="610"/>
                    <a:pt x="138" y="610"/>
                  </a:cubicBezTo>
                  <a:cubicBezTo>
                    <a:pt x="145" y="611"/>
                    <a:pt x="153" y="611"/>
                    <a:pt x="160" y="611"/>
                  </a:cubicBezTo>
                  <a:cubicBezTo>
                    <a:pt x="171" y="610"/>
                    <a:pt x="182" y="609"/>
                    <a:pt x="193" y="609"/>
                  </a:cubicBezTo>
                  <a:cubicBezTo>
                    <a:pt x="215" y="608"/>
                    <a:pt x="236" y="610"/>
                    <a:pt x="257" y="611"/>
                  </a:cubicBezTo>
                  <a:cubicBezTo>
                    <a:pt x="279" y="611"/>
                    <a:pt x="301" y="611"/>
                    <a:pt x="323" y="609"/>
                  </a:cubicBezTo>
                  <a:cubicBezTo>
                    <a:pt x="343" y="608"/>
                    <a:pt x="363" y="606"/>
                    <a:pt x="382" y="604"/>
                  </a:cubicBezTo>
                  <a:cubicBezTo>
                    <a:pt x="392" y="603"/>
                    <a:pt x="402" y="603"/>
                    <a:pt x="411" y="604"/>
                  </a:cubicBezTo>
                  <a:cubicBezTo>
                    <a:pt x="422" y="604"/>
                    <a:pt x="432" y="605"/>
                    <a:pt x="442" y="605"/>
                  </a:cubicBezTo>
                  <a:cubicBezTo>
                    <a:pt x="462" y="606"/>
                    <a:pt x="482" y="605"/>
                    <a:pt x="502" y="604"/>
                  </a:cubicBezTo>
                  <a:cubicBezTo>
                    <a:pt x="512" y="603"/>
                    <a:pt x="522" y="603"/>
                    <a:pt x="531" y="603"/>
                  </a:cubicBezTo>
                  <a:cubicBezTo>
                    <a:pt x="535" y="603"/>
                    <a:pt x="539" y="603"/>
                    <a:pt x="542" y="602"/>
                  </a:cubicBezTo>
                  <a:cubicBezTo>
                    <a:pt x="549" y="604"/>
                    <a:pt x="556" y="603"/>
                    <a:pt x="563" y="603"/>
                  </a:cubicBezTo>
                  <a:cubicBezTo>
                    <a:pt x="571" y="602"/>
                    <a:pt x="579" y="601"/>
                    <a:pt x="586" y="597"/>
                  </a:cubicBezTo>
                  <a:cubicBezTo>
                    <a:pt x="598" y="592"/>
                    <a:pt x="604" y="580"/>
                    <a:pt x="605" y="567"/>
                  </a:cubicBezTo>
                  <a:cubicBezTo>
                    <a:pt x="606" y="555"/>
                    <a:pt x="601" y="542"/>
                    <a:pt x="592" y="533"/>
                  </a:cubicBezTo>
                  <a:cubicBezTo>
                    <a:pt x="586" y="528"/>
                    <a:pt x="580" y="525"/>
                    <a:pt x="573" y="523"/>
                  </a:cubicBezTo>
                  <a:cubicBezTo>
                    <a:pt x="570" y="522"/>
                    <a:pt x="566" y="522"/>
                    <a:pt x="563" y="521"/>
                  </a:cubicBezTo>
                  <a:cubicBezTo>
                    <a:pt x="559" y="521"/>
                    <a:pt x="555" y="521"/>
                    <a:pt x="552" y="523"/>
                  </a:cubicBezTo>
                  <a:cubicBezTo>
                    <a:pt x="552" y="523"/>
                    <a:pt x="552" y="523"/>
                    <a:pt x="552" y="523"/>
                  </a:cubicBezTo>
                  <a:cubicBezTo>
                    <a:pt x="547" y="524"/>
                    <a:pt x="541" y="525"/>
                    <a:pt x="536" y="525"/>
                  </a:cubicBezTo>
                  <a:cubicBezTo>
                    <a:pt x="525" y="527"/>
                    <a:pt x="514" y="527"/>
                    <a:pt x="503" y="527"/>
                  </a:cubicBezTo>
                  <a:cubicBezTo>
                    <a:pt x="481" y="526"/>
                    <a:pt x="458" y="527"/>
                    <a:pt x="436" y="527"/>
                  </a:cubicBezTo>
                  <a:cubicBezTo>
                    <a:pt x="431" y="527"/>
                    <a:pt x="426" y="527"/>
                    <a:pt x="420" y="527"/>
                  </a:cubicBezTo>
                  <a:cubicBezTo>
                    <a:pt x="420" y="525"/>
                    <a:pt x="420" y="523"/>
                    <a:pt x="419" y="522"/>
                  </a:cubicBezTo>
                  <a:cubicBezTo>
                    <a:pt x="419" y="520"/>
                    <a:pt x="419" y="517"/>
                    <a:pt x="418" y="515"/>
                  </a:cubicBezTo>
                  <a:cubicBezTo>
                    <a:pt x="421" y="515"/>
                    <a:pt x="423" y="515"/>
                    <a:pt x="426" y="515"/>
                  </a:cubicBezTo>
                  <a:cubicBezTo>
                    <a:pt x="432" y="514"/>
                    <a:pt x="438" y="514"/>
                    <a:pt x="444" y="514"/>
                  </a:cubicBezTo>
                  <a:cubicBezTo>
                    <a:pt x="450" y="514"/>
                    <a:pt x="456" y="514"/>
                    <a:pt x="462" y="514"/>
                  </a:cubicBezTo>
                  <a:cubicBezTo>
                    <a:pt x="468" y="513"/>
                    <a:pt x="474" y="512"/>
                    <a:pt x="479" y="508"/>
                  </a:cubicBezTo>
                  <a:cubicBezTo>
                    <a:pt x="481" y="507"/>
                    <a:pt x="483" y="505"/>
                    <a:pt x="485" y="504"/>
                  </a:cubicBezTo>
                  <a:cubicBezTo>
                    <a:pt x="485" y="503"/>
                    <a:pt x="485" y="503"/>
                    <a:pt x="486" y="502"/>
                  </a:cubicBezTo>
                  <a:cubicBezTo>
                    <a:pt x="486" y="502"/>
                    <a:pt x="486" y="501"/>
                    <a:pt x="487" y="500"/>
                  </a:cubicBezTo>
                  <a:cubicBezTo>
                    <a:pt x="487" y="499"/>
                    <a:pt x="488" y="498"/>
                    <a:pt x="488" y="496"/>
                  </a:cubicBezTo>
                  <a:cubicBezTo>
                    <a:pt x="488" y="495"/>
                    <a:pt x="487" y="494"/>
                    <a:pt x="487" y="493"/>
                  </a:cubicBezTo>
                  <a:cubicBezTo>
                    <a:pt x="487" y="490"/>
                    <a:pt x="487" y="488"/>
                    <a:pt x="487" y="485"/>
                  </a:cubicBezTo>
                  <a:cubicBezTo>
                    <a:pt x="488" y="480"/>
                    <a:pt x="489" y="474"/>
                    <a:pt x="489" y="469"/>
                  </a:cubicBezTo>
                  <a:cubicBezTo>
                    <a:pt x="490" y="458"/>
                    <a:pt x="490" y="447"/>
                    <a:pt x="491" y="436"/>
                  </a:cubicBezTo>
                  <a:cubicBezTo>
                    <a:pt x="491" y="425"/>
                    <a:pt x="492" y="414"/>
                    <a:pt x="492" y="403"/>
                  </a:cubicBezTo>
                  <a:cubicBezTo>
                    <a:pt x="493" y="391"/>
                    <a:pt x="492" y="380"/>
                    <a:pt x="493" y="369"/>
                  </a:cubicBezTo>
                  <a:cubicBezTo>
                    <a:pt x="494" y="358"/>
                    <a:pt x="493" y="347"/>
                    <a:pt x="493" y="336"/>
                  </a:cubicBezTo>
                  <a:cubicBezTo>
                    <a:pt x="493" y="331"/>
                    <a:pt x="493" y="325"/>
                    <a:pt x="493" y="320"/>
                  </a:cubicBezTo>
                  <a:cubicBezTo>
                    <a:pt x="494" y="320"/>
                    <a:pt x="495" y="321"/>
                    <a:pt x="496" y="321"/>
                  </a:cubicBezTo>
                  <a:cubicBezTo>
                    <a:pt x="502" y="325"/>
                    <a:pt x="507" y="329"/>
                    <a:pt x="512" y="333"/>
                  </a:cubicBezTo>
                  <a:cubicBezTo>
                    <a:pt x="517" y="338"/>
                    <a:pt x="522" y="342"/>
                    <a:pt x="527" y="347"/>
                  </a:cubicBezTo>
                  <a:cubicBezTo>
                    <a:pt x="532" y="352"/>
                    <a:pt x="538" y="357"/>
                    <a:pt x="544" y="362"/>
                  </a:cubicBezTo>
                  <a:cubicBezTo>
                    <a:pt x="555" y="372"/>
                    <a:pt x="565" y="383"/>
                    <a:pt x="573" y="395"/>
                  </a:cubicBezTo>
                  <a:cubicBezTo>
                    <a:pt x="577" y="402"/>
                    <a:pt x="581" y="408"/>
                    <a:pt x="586" y="414"/>
                  </a:cubicBezTo>
                  <a:cubicBezTo>
                    <a:pt x="588" y="417"/>
                    <a:pt x="590" y="420"/>
                    <a:pt x="591" y="423"/>
                  </a:cubicBezTo>
                  <a:cubicBezTo>
                    <a:pt x="593" y="427"/>
                    <a:pt x="594" y="431"/>
                    <a:pt x="596" y="434"/>
                  </a:cubicBezTo>
                  <a:cubicBezTo>
                    <a:pt x="596" y="434"/>
                    <a:pt x="596" y="434"/>
                    <a:pt x="596" y="434"/>
                  </a:cubicBezTo>
                  <a:cubicBezTo>
                    <a:pt x="595" y="436"/>
                    <a:pt x="593" y="439"/>
                    <a:pt x="592" y="441"/>
                  </a:cubicBezTo>
                  <a:cubicBezTo>
                    <a:pt x="589" y="449"/>
                    <a:pt x="587" y="457"/>
                    <a:pt x="586" y="465"/>
                  </a:cubicBezTo>
                  <a:cubicBezTo>
                    <a:pt x="586" y="469"/>
                    <a:pt x="586" y="474"/>
                    <a:pt x="587" y="478"/>
                  </a:cubicBezTo>
                  <a:cubicBezTo>
                    <a:pt x="587" y="480"/>
                    <a:pt x="588" y="483"/>
                    <a:pt x="589" y="485"/>
                  </a:cubicBezTo>
                  <a:cubicBezTo>
                    <a:pt x="588" y="489"/>
                    <a:pt x="589" y="493"/>
                    <a:pt x="593" y="494"/>
                  </a:cubicBezTo>
                  <a:cubicBezTo>
                    <a:pt x="596" y="494"/>
                    <a:pt x="599" y="494"/>
                    <a:pt x="601" y="494"/>
                  </a:cubicBezTo>
                  <a:cubicBezTo>
                    <a:pt x="604" y="494"/>
                    <a:pt x="607" y="494"/>
                    <a:pt x="610" y="494"/>
                  </a:cubicBezTo>
                  <a:cubicBezTo>
                    <a:pt x="616" y="494"/>
                    <a:pt x="622" y="492"/>
                    <a:pt x="626" y="487"/>
                  </a:cubicBezTo>
                  <a:cubicBezTo>
                    <a:pt x="630" y="480"/>
                    <a:pt x="627" y="474"/>
                    <a:pt x="626" y="467"/>
                  </a:cubicBezTo>
                  <a:cubicBezTo>
                    <a:pt x="625" y="461"/>
                    <a:pt x="625" y="455"/>
                    <a:pt x="629" y="451"/>
                  </a:cubicBezTo>
                  <a:cubicBezTo>
                    <a:pt x="638" y="442"/>
                    <a:pt x="652" y="455"/>
                    <a:pt x="656" y="463"/>
                  </a:cubicBezTo>
                  <a:cubicBezTo>
                    <a:pt x="659" y="468"/>
                    <a:pt x="663" y="477"/>
                    <a:pt x="670" y="477"/>
                  </a:cubicBezTo>
                  <a:cubicBezTo>
                    <a:pt x="673" y="477"/>
                    <a:pt x="676" y="475"/>
                    <a:pt x="677" y="473"/>
                  </a:cubicBezTo>
                  <a:cubicBezTo>
                    <a:pt x="678" y="472"/>
                    <a:pt x="679" y="472"/>
                    <a:pt x="680" y="471"/>
                  </a:cubicBezTo>
                  <a:cubicBezTo>
                    <a:pt x="684" y="467"/>
                    <a:pt x="683" y="462"/>
                    <a:pt x="682" y="458"/>
                  </a:cubicBezTo>
                  <a:close/>
                  <a:moveTo>
                    <a:pt x="332" y="15"/>
                  </a:moveTo>
                  <a:cubicBezTo>
                    <a:pt x="332" y="15"/>
                    <a:pt x="332" y="15"/>
                    <a:pt x="332" y="15"/>
                  </a:cubicBezTo>
                  <a:cubicBezTo>
                    <a:pt x="332" y="15"/>
                    <a:pt x="333" y="14"/>
                    <a:pt x="333" y="14"/>
                  </a:cubicBezTo>
                  <a:cubicBezTo>
                    <a:pt x="337" y="15"/>
                    <a:pt x="341" y="14"/>
                    <a:pt x="345" y="14"/>
                  </a:cubicBezTo>
                  <a:cubicBezTo>
                    <a:pt x="349" y="15"/>
                    <a:pt x="354" y="16"/>
                    <a:pt x="357" y="18"/>
                  </a:cubicBezTo>
                  <a:cubicBezTo>
                    <a:pt x="362" y="23"/>
                    <a:pt x="358" y="30"/>
                    <a:pt x="352" y="32"/>
                  </a:cubicBezTo>
                  <a:cubicBezTo>
                    <a:pt x="349" y="34"/>
                    <a:pt x="345" y="34"/>
                    <a:pt x="341" y="32"/>
                  </a:cubicBezTo>
                  <a:cubicBezTo>
                    <a:pt x="340" y="30"/>
                    <a:pt x="339" y="29"/>
                    <a:pt x="337" y="29"/>
                  </a:cubicBezTo>
                  <a:cubicBezTo>
                    <a:pt x="336" y="28"/>
                    <a:pt x="335" y="27"/>
                    <a:pt x="335" y="26"/>
                  </a:cubicBezTo>
                  <a:cubicBezTo>
                    <a:pt x="333" y="23"/>
                    <a:pt x="332" y="19"/>
                    <a:pt x="332" y="15"/>
                  </a:cubicBezTo>
                  <a:close/>
                  <a:moveTo>
                    <a:pt x="169" y="278"/>
                  </a:moveTo>
                  <a:cubicBezTo>
                    <a:pt x="169" y="278"/>
                    <a:pt x="169" y="278"/>
                    <a:pt x="169" y="278"/>
                  </a:cubicBezTo>
                  <a:cubicBezTo>
                    <a:pt x="169" y="280"/>
                    <a:pt x="169" y="282"/>
                    <a:pt x="169" y="284"/>
                  </a:cubicBezTo>
                  <a:cubicBezTo>
                    <a:pt x="168" y="282"/>
                    <a:pt x="168" y="281"/>
                    <a:pt x="167" y="279"/>
                  </a:cubicBezTo>
                  <a:cubicBezTo>
                    <a:pt x="168" y="279"/>
                    <a:pt x="168" y="279"/>
                    <a:pt x="169" y="278"/>
                  </a:cubicBezTo>
                  <a:close/>
                  <a:moveTo>
                    <a:pt x="58" y="397"/>
                  </a:moveTo>
                  <a:cubicBezTo>
                    <a:pt x="58" y="397"/>
                    <a:pt x="58" y="397"/>
                    <a:pt x="58" y="397"/>
                  </a:cubicBezTo>
                  <a:cubicBezTo>
                    <a:pt x="62" y="398"/>
                    <a:pt x="67" y="400"/>
                    <a:pt x="71" y="402"/>
                  </a:cubicBezTo>
                  <a:cubicBezTo>
                    <a:pt x="73" y="404"/>
                    <a:pt x="76" y="405"/>
                    <a:pt x="79" y="406"/>
                  </a:cubicBezTo>
                  <a:cubicBezTo>
                    <a:pt x="78" y="410"/>
                    <a:pt x="77" y="413"/>
                    <a:pt x="76" y="417"/>
                  </a:cubicBezTo>
                  <a:cubicBezTo>
                    <a:pt x="70" y="412"/>
                    <a:pt x="63" y="409"/>
                    <a:pt x="55" y="408"/>
                  </a:cubicBezTo>
                  <a:cubicBezTo>
                    <a:pt x="56" y="404"/>
                    <a:pt x="57" y="401"/>
                    <a:pt x="58" y="397"/>
                  </a:cubicBezTo>
                  <a:close/>
                  <a:moveTo>
                    <a:pt x="78" y="458"/>
                  </a:moveTo>
                  <a:cubicBezTo>
                    <a:pt x="78" y="458"/>
                    <a:pt x="78" y="458"/>
                    <a:pt x="78" y="458"/>
                  </a:cubicBezTo>
                  <a:cubicBezTo>
                    <a:pt x="78" y="462"/>
                    <a:pt x="77" y="466"/>
                    <a:pt x="75" y="470"/>
                  </a:cubicBezTo>
                  <a:cubicBezTo>
                    <a:pt x="74" y="472"/>
                    <a:pt x="73" y="474"/>
                    <a:pt x="72" y="475"/>
                  </a:cubicBezTo>
                  <a:cubicBezTo>
                    <a:pt x="70" y="475"/>
                    <a:pt x="67" y="475"/>
                    <a:pt x="64" y="474"/>
                  </a:cubicBezTo>
                  <a:cubicBezTo>
                    <a:pt x="64" y="474"/>
                    <a:pt x="64" y="474"/>
                    <a:pt x="63" y="473"/>
                  </a:cubicBezTo>
                  <a:cubicBezTo>
                    <a:pt x="63" y="473"/>
                    <a:pt x="63" y="473"/>
                    <a:pt x="64" y="473"/>
                  </a:cubicBezTo>
                  <a:cubicBezTo>
                    <a:pt x="64" y="471"/>
                    <a:pt x="65" y="470"/>
                    <a:pt x="66" y="468"/>
                  </a:cubicBezTo>
                  <a:cubicBezTo>
                    <a:pt x="69" y="463"/>
                    <a:pt x="72" y="457"/>
                    <a:pt x="73" y="450"/>
                  </a:cubicBezTo>
                  <a:cubicBezTo>
                    <a:pt x="74" y="443"/>
                    <a:pt x="68" y="437"/>
                    <a:pt x="62" y="433"/>
                  </a:cubicBezTo>
                  <a:cubicBezTo>
                    <a:pt x="56" y="429"/>
                    <a:pt x="48" y="428"/>
                    <a:pt x="42" y="431"/>
                  </a:cubicBezTo>
                  <a:cubicBezTo>
                    <a:pt x="35" y="434"/>
                    <a:pt x="31" y="440"/>
                    <a:pt x="27" y="446"/>
                  </a:cubicBezTo>
                  <a:cubicBezTo>
                    <a:pt x="25" y="449"/>
                    <a:pt x="24" y="453"/>
                    <a:pt x="23" y="456"/>
                  </a:cubicBezTo>
                  <a:cubicBezTo>
                    <a:pt x="22" y="458"/>
                    <a:pt x="21" y="460"/>
                    <a:pt x="21" y="461"/>
                  </a:cubicBezTo>
                  <a:cubicBezTo>
                    <a:pt x="21" y="462"/>
                    <a:pt x="19" y="464"/>
                    <a:pt x="20" y="463"/>
                  </a:cubicBezTo>
                  <a:cubicBezTo>
                    <a:pt x="19" y="464"/>
                    <a:pt x="18" y="464"/>
                    <a:pt x="17" y="464"/>
                  </a:cubicBezTo>
                  <a:cubicBezTo>
                    <a:pt x="16" y="464"/>
                    <a:pt x="16" y="463"/>
                    <a:pt x="15" y="463"/>
                  </a:cubicBezTo>
                  <a:cubicBezTo>
                    <a:pt x="15" y="463"/>
                    <a:pt x="15" y="463"/>
                    <a:pt x="15" y="463"/>
                  </a:cubicBezTo>
                  <a:cubicBezTo>
                    <a:pt x="15" y="463"/>
                    <a:pt x="15" y="463"/>
                    <a:pt x="15" y="462"/>
                  </a:cubicBezTo>
                  <a:cubicBezTo>
                    <a:pt x="15" y="462"/>
                    <a:pt x="14" y="462"/>
                    <a:pt x="14" y="462"/>
                  </a:cubicBezTo>
                  <a:cubicBezTo>
                    <a:pt x="14" y="462"/>
                    <a:pt x="14" y="462"/>
                    <a:pt x="14" y="462"/>
                  </a:cubicBezTo>
                  <a:cubicBezTo>
                    <a:pt x="14" y="462"/>
                    <a:pt x="14" y="461"/>
                    <a:pt x="14" y="460"/>
                  </a:cubicBezTo>
                  <a:cubicBezTo>
                    <a:pt x="14" y="460"/>
                    <a:pt x="14" y="459"/>
                    <a:pt x="14" y="458"/>
                  </a:cubicBezTo>
                  <a:cubicBezTo>
                    <a:pt x="14" y="458"/>
                    <a:pt x="14" y="458"/>
                    <a:pt x="14" y="458"/>
                  </a:cubicBezTo>
                  <a:cubicBezTo>
                    <a:pt x="14" y="458"/>
                    <a:pt x="14" y="457"/>
                    <a:pt x="14" y="456"/>
                  </a:cubicBezTo>
                  <a:cubicBezTo>
                    <a:pt x="15" y="455"/>
                    <a:pt x="15" y="454"/>
                    <a:pt x="16" y="452"/>
                  </a:cubicBezTo>
                  <a:cubicBezTo>
                    <a:pt x="16" y="450"/>
                    <a:pt x="17" y="447"/>
                    <a:pt x="18" y="445"/>
                  </a:cubicBezTo>
                  <a:cubicBezTo>
                    <a:pt x="20" y="440"/>
                    <a:pt x="21" y="435"/>
                    <a:pt x="24" y="430"/>
                  </a:cubicBezTo>
                  <a:cubicBezTo>
                    <a:pt x="24" y="429"/>
                    <a:pt x="25" y="428"/>
                    <a:pt x="26" y="427"/>
                  </a:cubicBezTo>
                  <a:cubicBezTo>
                    <a:pt x="26" y="427"/>
                    <a:pt x="26" y="427"/>
                    <a:pt x="26" y="426"/>
                  </a:cubicBezTo>
                  <a:cubicBezTo>
                    <a:pt x="28" y="425"/>
                    <a:pt x="31" y="423"/>
                    <a:pt x="33" y="421"/>
                  </a:cubicBezTo>
                  <a:cubicBezTo>
                    <a:pt x="36" y="420"/>
                    <a:pt x="39" y="420"/>
                    <a:pt x="42" y="420"/>
                  </a:cubicBezTo>
                  <a:cubicBezTo>
                    <a:pt x="48" y="419"/>
                    <a:pt x="55" y="420"/>
                    <a:pt x="61" y="423"/>
                  </a:cubicBezTo>
                  <a:cubicBezTo>
                    <a:pt x="74" y="429"/>
                    <a:pt x="80" y="443"/>
                    <a:pt x="78" y="458"/>
                  </a:cubicBezTo>
                  <a:close/>
                  <a:moveTo>
                    <a:pt x="80" y="401"/>
                  </a:moveTo>
                  <a:cubicBezTo>
                    <a:pt x="80" y="401"/>
                    <a:pt x="80" y="401"/>
                    <a:pt x="80" y="401"/>
                  </a:cubicBezTo>
                  <a:cubicBezTo>
                    <a:pt x="78" y="399"/>
                    <a:pt x="75" y="398"/>
                    <a:pt x="72" y="397"/>
                  </a:cubicBezTo>
                  <a:cubicBezTo>
                    <a:pt x="68" y="395"/>
                    <a:pt x="64" y="393"/>
                    <a:pt x="59" y="392"/>
                  </a:cubicBezTo>
                  <a:cubicBezTo>
                    <a:pt x="60" y="390"/>
                    <a:pt x="60" y="388"/>
                    <a:pt x="61" y="386"/>
                  </a:cubicBezTo>
                  <a:cubicBezTo>
                    <a:pt x="62" y="383"/>
                    <a:pt x="63" y="380"/>
                    <a:pt x="64" y="377"/>
                  </a:cubicBezTo>
                  <a:cubicBezTo>
                    <a:pt x="69" y="380"/>
                    <a:pt x="75" y="383"/>
                    <a:pt x="80" y="387"/>
                  </a:cubicBezTo>
                  <a:cubicBezTo>
                    <a:pt x="81" y="387"/>
                    <a:pt x="82" y="388"/>
                    <a:pt x="84" y="389"/>
                  </a:cubicBezTo>
                  <a:cubicBezTo>
                    <a:pt x="82" y="393"/>
                    <a:pt x="81" y="397"/>
                    <a:pt x="80" y="401"/>
                  </a:cubicBezTo>
                  <a:close/>
                  <a:moveTo>
                    <a:pt x="87" y="381"/>
                  </a:moveTo>
                  <a:cubicBezTo>
                    <a:pt x="87" y="381"/>
                    <a:pt x="87" y="381"/>
                    <a:pt x="87" y="381"/>
                  </a:cubicBezTo>
                  <a:cubicBezTo>
                    <a:pt x="86" y="382"/>
                    <a:pt x="86" y="383"/>
                    <a:pt x="86" y="384"/>
                  </a:cubicBezTo>
                  <a:cubicBezTo>
                    <a:pt x="84" y="383"/>
                    <a:pt x="83" y="382"/>
                    <a:pt x="82" y="381"/>
                  </a:cubicBezTo>
                  <a:cubicBezTo>
                    <a:pt x="77" y="378"/>
                    <a:pt x="71" y="375"/>
                    <a:pt x="66" y="373"/>
                  </a:cubicBezTo>
                  <a:cubicBezTo>
                    <a:pt x="67" y="370"/>
                    <a:pt x="69" y="367"/>
                    <a:pt x="70" y="364"/>
                  </a:cubicBezTo>
                  <a:cubicBezTo>
                    <a:pt x="72" y="360"/>
                    <a:pt x="75" y="356"/>
                    <a:pt x="77" y="352"/>
                  </a:cubicBezTo>
                  <a:cubicBezTo>
                    <a:pt x="82" y="355"/>
                    <a:pt x="87" y="358"/>
                    <a:pt x="91" y="361"/>
                  </a:cubicBezTo>
                  <a:cubicBezTo>
                    <a:pt x="93" y="362"/>
                    <a:pt x="95" y="363"/>
                    <a:pt x="97" y="364"/>
                  </a:cubicBezTo>
                  <a:cubicBezTo>
                    <a:pt x="93" y="369"/>
                    <a:pt x="90" y="375"/>
                    <a:pt x="87" y="381"/>
                  </a:cubicBezTo>
                  <a:close/>
                  <a:moveTo>
                    <a:pt x="109" y="349"/>
                  </a:moveTo>
                  <a:cubicBezTo>
                    <a:pt x="109" y="349"/>
                    <a:pt x="109" y="349"/>
                    <a:pt x="109" y="349"/>
                  </a:cubicBezTo>
                  <a:cubicBezTo>
                    <a:pt x="106" y="353"/>
                    <a:pt x="103" y="356"/>
                    <a:pt x="100" y="360"/>
                  </a:cubicBezTo>
                  <a:cubicBezTo>
                    <a:pt x="98" y="359"/>
                    <a:pt x="95" y="357"/>
                    <a:pt x="93" y="356"/>
                  </a:cubicBezTo>
                  <a:cubicBezTo>
                    <a:pt x="89" y="353"/>
                    <a:pt x="84" y="350"/>
                    <a:pt x="80" y="348"/>
                  </a:cubicBezTo>
                  <a:cubicBezTo>
                    <a:pt x="83" y="344"/>
                    <a:pt x="86" y="340"/>
                    <a:pt x="89" y="336"/>
                  </a:cubicBezTo>
                  <a:cubicBezTo>
                    <a:pt x="89" y="336"/>
                    <a:pt x="89" y="336"/>
                    <a:pt x="90" y="337"/>
                  </a:cubicBezTo>
                  <a:cubicBezTo>
                    <a:pt x="95" y="339"/>
                    <a:pt x="101" y="341"/>
                    <a:pt x="106" y="344"/>
                  </a:cubicBezTo>
                  <a:cubicBezTo>
                    <a:pt x="108" y="345"/>
                    <a:pt x="109" y="346"/>
                    <a:pt x="111" y="347"/>
                  </a:cubicBezTo>
                  <a:cubicBezTo>
                    <a:pt x="110" y="348"/>
                    <a:pt x="110" y="349"/>
                    <a:pt x="109" y="349"/>
                  </a:cubicBezTo>
                  <a:close/>
                  <a:moveTo>
                    <a:pt x="115" y="343"/>
                  </a:moveTo>
                  <a:cubicBezTo>
                    <a:pt x="115" y="343"/>
                    <a:pt x="115" y="343"/>
                    <a:pt x="115" y="343"/>
                  </a:cubicBezTo>
                  <a:cubicBezTo>
                    <a:pt x="113" y="341"/>
                    <a:pt x="111" y="340"/>
                    <a:pt x="109" y="339"/>
                  </a:cubicBezTo>
                  <a:cubicBezTo>
                    <a:pt x="103" y="337"/>
                    <a:pt x="98" y="334"/>
                    <a:pt x="92" y="332"/>
                  </a:cubicBezTo>
                  <a:cubicBezTo>
                    <a:pt x="94" y="330"/>
                    <a:pt x="96" y="328"/>
                    <a:pt x="98" y="326"/>
                  </a:cubicBezTo>
                  <a:cubicBezTo>
                    <a:pt x="102" y="322"/>
                    <a:pt x="106" y="318"/>
                    <a:pt x="110" y="315"/>
                  </a:cubicBezTo>
                  <a:cubicBezTo>
                    <a:pt x="113" y="319"/>
                    <a:pt x="118" y="323"/>
                    <a:pt x="122" y="326"/>
                  </a:cubicBezTo>
                  <a:cubicBezTo>
                    <a:pt x="124" y="328"/>
                    <a:pt x="127" y="329"/>
                    <a:pt x="129" y="331"/>
                  </a:cubicBezTo>
                  <a:cubicBezTo>
                    <a:pt x="124" y="335"/>
                    <a:pt x="120" y="339"/>
                    <a:pt x="115" y="343"/>
                  </a:cubicBezTo>
                  <a:close/>
                  <a:moveTo>
                    <a:pt x="139" y="324"/>
                  </a:moveTo>
                  <a:cubicBezTo>
                    <a:pt x="139" y="324"/>
                    <a:pt x="139" y="324"/>
                    <a:pt x="139" y="324"/>
                  </a:cubicBezTo>
                  <a:cubicBezTo>
                    <a:pt x="137" y="325"/>
                    <a:pt x="135" y="326"/>
                    <a:pt x="134" y="328"/>
                  </a:cubicBezTo>
                  <a:cubicBezTo>
                    <a:pt x="132" y="326"/>
                    <a:pt x="130" y="325"/>
                    <a:pt x="128" y="324"/>
                  </a:cubicBezTo>
                  <a:cubicBezTo>
                    <a:pt x="123" y="320"/>
                    <a:pt x="118" y="316"/>
                    <a:pt x="113" y="311"/>
                  </a:cubicBezTo>
                  <a:cubicBezTo>
                    <a:pt x="119" y="306"/>
                    <a:pt x="125" y="302"/>
                    <a:pt x="132" y="297"/>
                  </a:cubicBezTo>
                  <a:cubicBezTo>
                    <a:pt x="132" y="297"/>
                    <a:pt x="132" y="297"/>
                    <a:pt x="133" y="298"/>
                  </a:cubicBezTo>
                  <a:cubicBezTo>
                    <a:pt x="140" y="300"/>
                    <a:pt x="144" y="306"/>
                    <a:pt x="148" y="312"/>
                  </a:cubicBezTo>
                  <a:cubicBezTo>
                    <a:pt x="150" y="313"/>
                    <a:pt x="151" y="315"/>
                    <a:pt x="152" y="317"/>
                  </a:cubicBezTo>
                  <a:cubicBezTo>
                    <a:pt x="148" y="319"/>
                    <a:pt x="143" y="321"/>
                    <a:pt x="139" y="324"/>
                  </a:cubicBezTo>
                  <a:close/>
                  <a:moveTo>
                    <a:pt x="159" y="314"/>
                  </a:moveTo>
                  <a:cubicBezTo>
                    <a:pt x="159" y="314"/>
                    <a:pt x="159" y="314"/>
                    <a:pt x="159" y="314"/>
                  </a:cubicBezTo>
                  <a:cubicBezTo>
                    <a:pt x="158" y="314"/>
                    <a:pt x="158" y="315"/>
                    <a:pt x="157" y="315"/>
                  </a:cubicBezTo>
                  <a:cubicBezTo>
                    <a:pt x="155" y="312"/>
                    <a:pt x="153" y="309"/>
                    <a:pt x="151" y="307"/>
                  </a:cubicBezTo>
                  <a:cubicBezTo>
                    <a:pt x="147" y="302"/>
                    <a:pt x="142" y="296"/>
                    <a:pt x="136" y="294"/>
                  </a:cubicBezTo>
                  <a:cubicBezTo>
                    <a:pt x="142" y="290"/>
                    <a:pt x="149" y="286"/>
                    <a:pt x="155" y="283"/>
                  </a:cubicBezTo>
                  <a:cubicBezTo>
                    <a:pt x="157" y="282"/>
                    <a:pt x="159" y="282"/>
                    <a:pt x="161" y="281"/>
                  </a:cubicBezTo>
                  <a:cubicBezTo>
                    <a:pt x="163" y="285"/>
                    <a:pt x="165" y="289"/>
                    <a:pt x="167" y="293"/>
                  </a:cubicBezTo>
                  <a:cubicBezTo>
                    <a:pt x="168" y="295"/>
                    <a:pt x="169" y="296"/>
                    <a:pt x="169" y="297"/>
                  </a:cubicBezTo>
                  <a:cubicBezTo>
                    <a:pt x="169" y="300"/>
                    <a:pt x="169" y="302"/>
                    <a:pt x="169" y="304"/>
                  </a:cubicBezTo>
                  <a:cubicBezTo>
                    <a:pt x="170" y="306"/>
                    <a:pt x="170" y="308"/>
                    <a:pt x="170" y="310"/>
                  </a:cubicBezTo>
                  <a:cubicBezTo>
                    <a:pt x="166" y="311"/>
                    <a:pt x="162" y="313"/>
                    <a:pt x="159" y="314"/>
                  </a:cubicBezTo>
                  <a:close/>
                  <a:moveTo>
                    <a:pt x="468" y="540"/>
                  </a:moveTo>
                  <a:cubicBezTo>
                    <a:pt x="468" y="540"/>
                    <a:pt x="468" y="540"/>
                    <a:pt x="468" y="540"/>
                  </a:cubicBezTo>
                  <a:cubicBezTo>
                    <a:pt x="476" y="540"/>
                    <a:pt x="484" y="540"/>
                    <a:pt x="492" y="540"/>
                  </a:cubicBezTo>
                  <a:cubicBezTo>
                    <a:pt x="501" y="540"/>
                    <a:pt x="509" y="540"/>
                    <a:pt x="517" y="540"/>
                  </a:cubicBezTo>
                  <a:cubicBezTo>
                    <a:pt x="526" y="539"/>
                    <a:pt x="534" y="538"/>
                    <a:pt x="542" y="537"/>
                  </a:cubicBezTo>
                  <a:cubicBezTo>
                    <a:pt x="550" y="535"/>
                    <a:pt x="557" y="534"/>
                    <a:pt x="565" y="534"/>
                  </a:cubicBezTo>
                  <a:cubicBezTo>
                    <a:pt x="566" y="534"/>
                    <a:pt x="567" y="535"/>
                    <a:pt x="568" y="535"/>
                  </a:cubicBezTo>
                  <a:cubicBezTo>
                    <a:pt x="572" y="537"/>
                    <a:pt x="577" y="539"/>
                    <a:pt x="581" y="542"/>
                  </a:cubicBezTo>
                  <a:cubicBezTo>
                    <a:pt x="589" y="549"/>
                    <a:pt x="592" y="558"/>
                    <a:pt x="592" y="567"/>
                  </a:cubicBezTo>
                  <a:cubicBezTo>
                    <a:pt x="591" y="575"/>
                    <a:pt x="586" y="583"/>
                    <a:pt x="578" y="587"/>
                  </a:cubicBezTo>
                  <a:cubicBezTo>
                    <a:pt x="573" y="589"/>
                    <a:pt x="565" y="589"/>
                    <a:pt x="559" y="589"/>
                  </a:cubicBezTo>
                  <a:cubicBezTo>
                    <a:pt x="554" y="590"/>
                    <a:pt x="549" y="590"/>
                    <a:pt x="544" y="592"/>
                  </a:cubicBezTo>
                  <a:cubicBezTo>
                    <a:pt x="539" y="591"/>
                    <a:pt x="534" y="591"/>
                    <a:pt x="529" y="591"/>
                  </a:cubicBezTo>
                  <a:cubicBezTo>
                    <a:pt x="518" y="591"/>
                    <a:pt x="507" y="591"/>
                    <a:pt x="496" y="591"/>
                  </a:cubicBezTo>
                  <a:cubicBezTo>
                    <a:pt x="473" y="592"/>
                    <a:pt x="451" y="593"/>
                    <a:pt x="429" y="592"/>
                  </a:cubicBezTo>
                  <a:cubicBezTo>
                    <a:pt x="418" y="591"/>
                    <a:pt x="407" y="590"/>
                    <a:pt x="396" y="590"/>
                  </a:cubicBezTo>
                  <a:cubicBezTo>
                    <a:pt x="384" y="590"/>
                    <a:pt x="373" y="592"/>
                    <a:pt x="362" y="593"/>
                  </a:cubicBezTo>
                  <a:cubicBezTo>
                    <a:pt x="340" y="595"/>
                    <a:pt x="317" y="597"/>
                    <a:pt x="295" y="598"/>
                  </a:cubicBezTo>
                  <a:cubicBezTo>
                    <a:pt x="275" y="598"/>
                    <a:pt x="255" y="598"/>
                    <a:pt x="236" y="597"/>
                  </a:cubicBezTo>
                  <a:cubicBezTo>
                    <a:pt x="226" y="597"/>
                    <a:pt x="216" y="596"/>
                    <a:pt x="206" y="596"/>
                  </a:cubicBezTo>
                  <a:cubicBezTo>
                    <a:pt x="196" y="596"/>
                    <a:pt x="186" y="597"/>
                    <a:pt x="176" y="598"/>
                  </a:cubicBezTo>
                  <a:cubicBezTo>
                    <a:pt x="172" y="598"/>
                    <a:pt x="167" y="599"/>
                    <a:pt x="163" y="599"/>
                  </a:cubicBezTo>
                  <a:cubicBezTo>
                    <a:pt x="148" y="596"/>
                    <a:pt x="133" y="597"/>
                    <a:pt x="118" y="595"/>
                  </a:cubicBezTo>
                  <a:cubicBezTo>
                    <a:pt x="106" y="593"/>
                    <a:pt x="91" y="589"/>
                    <a:pt x="86" y="577"/>
                  </a:cubicBezTo>
                  <a:cubicBezTo>
                    <a:pt x="82" y="564"/>
                    <a:pt x="90" y="548"/>
                    <a:pt x="103" y="544"/>
                  </a:cubicBezTo>
                  <a:cubicBezTo>
                    <a:pt x="110" y="542"/>
                    <a:pt x="118" y="543"/>
                    <a:pt x="126" y="543"/>
                  </a:cubicBezTo>
                  <a:cubicBezTo>
                    <a:pt x="132" y="543"/>
                    <a:pt x="140" y="544"/>
                    <a:pt x="146" y="542"/>
                  </a:cubicBezTo>
                  <a:cubicBezTo>
                    <a:pt x="153" y="543"/>
                    <a:pt x="160" y="543"/>
                    <a:pt x="168" y="543"/>
                  </a:cubicBezTo>
                  <a:cubicBezTo>
                    <a:pt x="179" y="543"/>
                    <a:pt x="189" y="543"/>
                    <a:pt x="200" y="543"/>
                  </a:cubicBezTo>
                  <a:cubicBezTo>
                    <a:pt x="211" y="543"/>
                    <a:pt x="222" y="542"/>
                    <a:pt x="233" y="541"/>
                  </a:cubicBezTo>
                  <a:cubicBezTo>
                    <a:pt x="256" y="539"/>
                    <a:pt x="278" y="540"/>
                    <a:pt x="301" y="540"/>
                  </a:cubicBezTo>
                  <a:cubicBezTo>
                    <a:pt x="323" y="540"/>
                    <a:pt x="345" y="541"/>
                    <a:pt x="368" y="540"/>
                  </a:cubicBezTo>
                  <a:cubicBezTo>
                    <a:pt x="384" y="540"/>
                    <a:pt x="401" y="540"/>
                    <a:pt x="417" y="540"/>
                  </a:cubicBezTo>
                  <a:cubicBezTo>
                    <a:pt x="434" y="540"/>
                    <a:pt x="451" y="540"/>
                    <a:pt x="468" y="540"/>
                  </a:cubicBezTo>
                  <a:close/>
                  <a:moveTo>
                    <a:pt x="246" y="514"/>
                  </a:moveTo>
                  <a:cubicBezTo>
                    <a:pt x="246" y="514"/>
                    <a:pt x="246" y="514"/>
                    <a:pt x="246" y="514"/>
                  </a:cubicBezTo>
                  <a:cubicBezTo>
                    <a:pt x="261" y="514"/>
                    <a:pt x="277" y="513"/>
                    <a:pt x="292" y="513"/>
                  </a:cubicBezTo>
                  <a:cubicBezTo>
                    <a:pt x="331" y="514"/>
                    <a:pt x="369" y="517"/>
                    <a:pt x="407" y="515"/>
                  </a:cubicBezTo>
                  <a:cubicBezTo>
                    <a:pt x="407" y="518"/>
                    <a:pt x="408" y="520"/>
                    <a:pt x="408" y="523"/>
                  </a:cubicBezTo>
                  <a:cubicBezTo>
                    <a:pt x="408" y="524"/>
                    <a:pt x="408" y="525"/>
                    <a:pt x="408" y="527"/>
                  </a:cubicBezTo>
                  <a:cubicBezTo>
                    <a:pt x="395" y="527"/>
                    <a:pt x="382" y="527"/>
                    <a:pt x="369" y="527"/>
                  </a:cubicBezTo>
                  <a:cubicBezTo>
                    <a:pt x="347" y="528"/>
                    <a:pt x="325" y="527"/>
                    <a:pt x="302" y="527"/>
                  </a:cubicBezTo>
                  <a:cubicBezTo>
                    <a:pt x="285" y="527"/>
                    <a:pt x="268" y="527"/>
                    <a:pt x="251" y="528"/>
                  </a:cubicBezTo>
                  <a:cubicBezTo>
                    <a:pt x="249" y="528"/>
                    <a:pt x="247" y="528"/>
                    <a:pt x="245" y="528"/>
                  </a:cubicBezTo>
                  <a:cubicBezTo>
                    <a:pt x="245" y="528"/>
                    <a:pt x="245" y="527"/>
                    <a:pt x="245" y="527"/>
                  </a:cubicBezTo>
                  <a:cubicBezTo>
                    <a:pt x="245" y="525"/>
                    <a:pt x="246" y="522"/>
                    <a:pt x="246" y="519"/>
                  </a:cubicBezTo>
                  <a:cubicBezTo>
                    <a:pt x="246" y="517"/>
                    <a:pt x="246" y="516"/>
                    <a:pt x="246" y="514"/>
                  </a:cubicBezTo>
                  <a:close/>
                  <a:moveTo>
                    <a:pt x="479" y="390"/>
                  </a:moveTo>
                  <a:cubicBezTo>
                    <a:pt x="479" y="390"/>
                    <a:pt x="479" y="390"/>
                    <a:pt x="479" y="390"/>
                  </a:cubicBezTo>
                  <a:cubicBezTo>
                    <a:pt x="479" y="402"/>
                    <a:pt x="479" y="413"/>
                    <a:pt x="479" y="424"/>
                  </a:cubicBezTo>
                  <a:cubicBezTo>
                    <a:pt x="478" y="437"/>
                    <a:pt x="478" y="451"/>
                    <a:pt x="477" y="464"/>
                  </a:cubicBezTo>
                  <a:cubicBezTo>
                    <a:pt x="476" y="474"/>
                    <a:pt x="475" y="485"/>
                    <a:pt x="477" y="495"/>
                  </a:cubicBezTo>
                  <a:cubicBezTo>
                    <a:pt x="475" y="496"/>
                    <a:pt x="474" y="497"/>
                    <a:pt x="473" y="498"/>
                  </a:cubicBezTo>
                  <a:cubicBezTo>
                    <a:pt x="469" y="501"/>
                    <a:pt x="465" y="501"/>
                    <a:pt x="460" y="502"/>
                  </a:cubicBezTo>
                  <a:cubicBezTo>
                    <a:pt x="455" y="502"/>
                    <a:pt x="450" y="502"/>
                    <a:pt x="445" y="502"/>
                  </a:cubicBezTo>
                  <a:cubicBezTo>
                    <a:pt x="440" y="502"/>
                    <a:pt x="434" y="502"/>
                    <a:pt x="429" y="502"/>
                  </a:cubicBezTo>
                  <a:cubicBezTo>
                    <a:pt x="407" y="504"/>
                    <a:pt x="384" y="504"/>
                    <a:pt x="362" y="503"/>
                  </a:cubicBezTo>
                  <a:cubicBezTo>
                    <a:pt x="340" y="503"/>
                    <a:pt x="317" y="502"/>
                    <a:pt x="295" y="501"/>
                  </a:cubicBezTo>
                  <a:cubicBezTo>
                    <a:pt x="273" y="501"/>
                    <a:pt x="250" y="502"/>
                    <a:pt x="228" y="502"/>
                  </a:cubicBezTo>
                  <a:cubicBezTo>
                    <a:pt x="221" y="502"/>
                    <a:pt x="215" y="503"/>
                    <a:pt x="208" y="503"/>
                  </a:cubicBezTo>
                  <a:cubicBezTo>
                    <a:pt x="205" y="503"/>
                    <a:pt x="201" y="503"/>
                    <a:pt x="198" y="503"/>
                  </a:cubicBezTo>
                  <a:cubicBezTo>
                    <a:pt x="197" y="503"/>
                    <a:pt x="197" y="502"/>
                    <a:pt x="196" y="502"/>
                  </a:cubicBezTo>
                  <a:cubicBezTo>
                    <a:pt x="194" y="501"/>
                    <a:pt x="191" y="500"/>
                    <a:pt x="189" y="498"/>
                  </a:cubicBezTo>
                  <a:cubicBezTo>
                    <a:pt x="188" y="498"/>
                    <a:pt x="188" y="497"/>
                    <a:pt x="188" y="497"/>
                  </a:cubicBezTo>
                  <a:cubicBezTo>
                    <a:pt x="187" y="495"/>
                    <a:pt x="187" y="495"/>
                    <a:pt x="186" y="494"/>
                  </a:cubicBezTo>
                  <a:cubicBezTo>
                    <a:pt x="186" y="492"/>
                    <a:pt x="185" y="490"/>
                    <a:pt x="185" y="487"/>
                  </a:cubicBezTo>
                  <a:cubicBezTo>
                    <a:pt x="185" y="487"/>
                    <a:pt x="185" y="486"/>
                    <a:pt x="185" y="486"/>
                  </a:cubicBezTo>
                  <a:cubicBezTo>
                    <a:pt x="189" y="486"/>
                    <a:pt x="193" y="486"/>
                    <a:pt x="196" y="487"/>
                  </a:cubicBezTo>
                  <a:cubicBezTo>
                    <a:pt x="204" y="487"/>
                    <a:pt x="211" y="487"/>
                    <a:pt x="219" y="487"/>
                  </a:cubicBezTo>
                  <a:cubicBezTo>
                    <a:pt x="233" y="487"/>
                    <a:pt x="248" y="488"/>
                    <a:pt x="262" y="488"/>
                  </a:cubicBezTo>
                  <a:cubicBezTo>
                    <a:pt x="277" y="487"/>
                    <a:pt x="291" y="485"/>
                    <a:pt x="306" y="483"/>
                  </a:cubicBezTo>
                  <a:cubicBezTo>
                    <a:pt x="313" y="482"/>
                    <a:pt x="321" y="481"/>
                    <a:pt x="328" y="481"/>
                  </a:cubicBezTo>
                  <a:cubicBezTo>
                    <a:pt x="332" y="481"/>
                    <a:pt x="335" y="481"/>
                    <a:pt x="339" y="481"/>
                  </a:cubicBezTo>
                  <a:cubicBezTo>
                    <a:pt x="340" y="480"/>
                    <a:pt x="342" y="480"/>
                    <a:pt x="343" y="480"/>
                  </a:cubicBezTo>
                  <a:cubicBezTo>
                    <a:pt x="343" y="480"/>
                    <a:pt x="343" y="480"/>
                    <a:pt x="344" y="480"/>
                  </a:cubicBezTo>
                  <a:cubicBezTo>
                    <a:pt x="345" y="482"/>
                    <a:pt x="349" y="482"/>
                    <a:pt x="351" y="479"/>
                  </a:cubicBezTo>
                  <a:cubicBezTo>
                    <a:pt x="355" y="474"/>
                    <a:pt x="353" y="465"/>
                    <a:pt x="353" y="459"/>
                  </a:cubicBezTo>
                  <a:cubicBezTo>
                    <a:pt x="353" y="451"/>
                    <a:pt x="354" y="443"/>
                    <a:pt x="354" y="436"/>
                  </a:cubicBezTo>
                  <a:cubicBezTo>
                    <a:pt x="354" y="427"/>
                    <a:pt x="353" y="419"/>
                    <a:pt x="352" y="410"/>
                  </a:cubicBezTo>
                  <a:cubicBezTo>
                    <a:pt x="351" y="406"/>
                    <a:pt x="351" y="402"/>
                    <a:pt x="350" y="398"/>
                  </a:cubicBezTo>
                  <a:cubicBezTo>
                    <a:pt x="350" y="395"/>
                    <a:pt x="350" y="391"/>
                    <a:pt x="348" y="387"/>
                  </a:cubicBezTo>
                  <a:cubicBezTo>
                    <a:pt x="348" y="387"/>
                    <a:pt x="348" y="387"/>
                    <a:pt x="348" y="386"/>
                  </a:cubicBezTo>
                  <a:cubicBezTo>
                    <a:pt x="348" y="386"/>
                    <a:pt x="348" y="386"/>
                    <a:pt x="348" y="386"/>
                  </a:cubicBezTo>
                  <a:cubicBezTo>
                    <a:pt x="348" y="386"/>
                    <a:pt x="348" y="386"/>
                    <a:pt x="348" y="386"/>
                  </a:cubicBezTo>
                  <a:cubicBezTo>
                    <a:pt x="348" y="386"/>
                    <a:pt x="348" y="386"/>
                    <a:pt x="348" y="386"/>
                  </a:cubicBezTo>
                  <a:cubicBezTo>
                    <a:pt x="347" y="386"/>
                    <a:pt x="347" y="386"/>
                    <a:pt x="347" y="385"/>
                  </a:cubicBezTo>
                  <a:cubicBezTo>
                    <a:pt x="346" y="385"/>
                    <a:pt x="345" y="384"/>
                    <a:pt x="343" y="385"/>
                  </a:cubicBezTo>
                  <a:cubicBezTo>
                    <a:pt x="336" y="386"/>
                    <a:pt x="330" y="386"/>
                    <a:pt x="323" y="386"/>
                  </a:cubicBezTo>
                  <a:cubicBezTo>
                    <a:pt x="316" y="386"/>
                    <a:pt x="308" y="386"/>
                    <a:pt x="301" y="386"/>
                  </a:cubicBezTo>
                  <a:cubicBezTo>
                    <a:pt x="294" y="386"/>
                    <a:pt x="287" y="386"/>
                    <a:pt x="280" y="386"/>
                  </a:cubicBezTo>
                  <a:cubicBezTo>
                    <a:pt x="273" y="385"/>
                    <a:pt x="266" y="385"/>
                    <a:pt x="259" y="387"/>
                  </a:cubicBezTo>
                  <a:cubicBezTo>
                    <a:pt x="247" y="389"/>
                    <a:pt x="233" y="389"/>
                    <a:pt x="220" y="388"/>
                  </a:cubicBezTo>
                  <a:cubicBezTo>
                    <a:pt x="214" y="387"/>
                    <a:pt x="207" y="385"/>
                    <a:pt x="200" y="385"/>
                  </a:cubicBezTo>
                  <a:cubicBezTo>
                    <a:pt x="197" y="385"/>
                    <a:pt x="193" y="385"/>
                    <a:pt x="190" y="385"/>
                  </a:cubicBezTo>
                  <a:cubicBezTo>
                    <a:pt x="189" y="385"/>
                    <a:pt x="188" y="385"/>
                    <a:pt x="187" y="386"/>
                  </a:cubicBezTo>
                  <a:cubicBezTo>
                    <a:pt x="187" y="379"/>
                    <a:pt x="187" y="372"/>
                    <a:pt x="186" y="365"/>
                  </a:cubicBezTo>
                  <a:cubicBezTo>
                    <a:pt x="186" y="343"/>
                    <a:pt x="183" y="321"/>
                    <a:pt x="183" y="299"/>
                  </a:cubicBezTo>
                  <a:cubicBezTo>
                    <a:pt x="182" y="276"/>
                    <a:pt x="182" y="254"/>
                    <a:pt x="182" y="232"/>
                  </a:cubicBezTo>
                  <a:cubicBezTo>
                    <a:pt x="182" y="221"/>
                    <a:pt x="183" y="211"/>
                    <a:pt x="182" y="201"/>
                  </a:cubicBezTo>
                  <a:cubicBezTo>
                    <a:pt x="182" y="196"/>
                    <a:pt x="182" y="191"/>
                    <a:pt x="182" y="186"/>
                  </a:cubicBezTo>
                  <a:cubicBezTo>
                    <a:pt x="182" y="183"/>
                    <a:pt x="182" y="180"/>
                    <a:pt x="181" y="176"/>
                  </a:cubicBezTo>
                  <a:cubicBezTo>
                    <a:pt x="182" y="173"/>
                    <a:pt x="183" y="170"/>
                    <a:pt x="184" y="168"/>
                  </a:cubicBezTo>
                  <a:cubicBezTo>
                    <a:pt x="186" y="166"/>
                    <a:pt x="188" y="165"/>
                    <a:pt x="190" y="164"/>
                  </a:cubicBezTo>
                  <a:cubicBezTo>
                    <a:pt x="195" y="163"/>
                    <a:pt x="200" y="163"/>
                    <a:pt x="205" y="163"/>
                  </a:cubicBezTo>
                  <a:cubicBezTo>
                    <a:pt x="210" y="163"/>
                    <a:pt x="215" y="163"/>
                    <a:pt x="220" y="163"/>
                  </a:cubicBezTo>
                  <a:cubicBezTo>
                    <a:pt x="226" y="163"/>
                    <a:pt x="232" y="162"/>
                    <a:pt x="238" y="161"/>
                  </a:cubicBezTo>
                  <a:cubicBezTo>
                    <a:pt x="248" y="160"/>
                    <a:pt x="259" y="158"/>
                    <a:pt x="270" y="157"/>
                  </a:cubicBezTo>
                  <a:cubicBezTo>
                    <a:pt x="280" y="156"/>
                    <a:pt x="291" y="156"/>
                    <a:pt x="302" y="156"/>
                  </a:cubicBezTo>
                  <a:cubicBezTo>
                    <a:pt x="313" y="156"/>
                    <a:pt x="324" y="156"/>
                    <a:pt x="335" y="156"/>
                  </a:cubicBezTo>
                  <a:cubicBezTo>
                    <a:pt x="357" y="155"/>
                    <a:pt x="378" y="156"/>
                    <a:pt x="400" y="156"/>
                  </a:cubicBezTo>
                  <a:cubicBezTo>
                    <a:pt x="418" y="157"/>
                    <a:pt x="435" y="157"/>
                    <a:pt x="452" y="160"/>
                  </a:cubicBezTo>
                  <a:cubicBezTo>
                    <a:pt x="460" y="161"/>
                    <a:pt x="467" y="163"/>
                    <a:pt x="474" y="165"/>
                  </a:cubicBezTo>
                  <a:cubicBezTo>
                    <a:pt x="475" y="165"/>
                    <a:pt x="476" y="166"/>
                    <a:pt x="477" y="166"/>
                  </a:cubicBezTo>
                  <a:cubicBezTo>
                    <a:pt x="478" y="167"/>
                    <a:pt x="479" y="167"/>
                    <a:pt x="479" y="167"/>
                  </a:cubicBezTo>
                  <a:cubicBezTo>
                    <a:pt x="479" y="171"/>
                    <a:pt x="479" y="174"/>
                    <a:pt x="479" y="178"/>
                  </a:cubicBezTo>
                  <a:cubicBezTo>
                    <a:pt x="478" y="183"/>
                    <a:pt x="478" y="189"/>
                    <a:pt x="478" y="195"/>
                  </a:cubicBezTo>
                  <a:cubicBezTo>
                    <a:pt x="478" y="206"/>
                    <a:pt x="478" y="217"/>
                    <a:pt x="478" y="228"/>
                  </a:cubicBezTo>
                  <a:cubicBezTo>
                    <a:pt x="478" y="250"/>
                    <a:pt x="476" y="271"/>
                    <a:pt x="478" y="293"/>
                  </a:cubicBezTo>
                  <a:cubicBezTo>
                    <a:pt x="478" y="298"/>
                    <a:pt x="479" y="304"/>
                    <a:pt x="479" y="309"/>
                  </a:cubicBezTo>
                  <a:cubicBezTo>
                    <a:pt x="479" y="309"/>
                    <a:pt x="479" y="309"/>
                    <a:pt x="479" y="309"/>
                  </a:cubicBezTo>
                  <a:cubicBezTo>
                    <a:pt x="478" y="311"/>
                    <a:pt x="478" y="313"/>
                    <a:pt x="479" y="314"/>
                  </a:cubicBezTo>
                  <a:cubicBezTo>
                    <a:pt x="480" y="318"/>
                    <a:pt x="480" y="321"/>
                    <a:pt x="480" y="325"/>
                  </a:cubicBezTo>
                  <a:cubicBezTo>
                    <a:pt x="480" y="336"/>
                    <a:pt x="480" y="346"/>
                    <a:pt x="480" y="357"/>
                  </a:cubicBezTo>
                  <a:cubicBezTo>
                    <a:pt x="480" y="368"/>
                    <a:pt x="479" y="379"/>
                    <a:pt x="479" y="390"/>
                  </a:cubicBezTo>
                  <a:close/>
                  <a:moveTo>
                    <a:pt x="203" y="451"/>
                  </a:moveTo>
                  <a:cubicBezTo>
                    <a:pt x="203" y="451"/>
                    <a:pt x="203" y="451"/>
                    <a:pt x="203" y="451"/>
                  </a:cubicBezTo>
                  <a:cubicBezTo>
                    <a:pt x="204" y="458"/>
                    <a:pt x="204" y="465"/>
                    <a:pt x="204" y="473"/>
                  </a:cubicBezTo>
                  <a:cubicBezTo>
                    <a:pt x="203" y="474"/>
                    <a:pt x="203" y="476"/>
                    <a:pt x="203" y="478"/>
                  </a:cubicBezTo>
                  <a:cubicBezTo>
                    <a:pt x="201" y="478"/>
                    <a:pt x="199" y="478"/>
                    <a:pt x="198" y="478"/>
                  </a:cubicBezTo>
                  <a:cubicBezTo>
                    <a:pt x="194" y="477"/>
                    <a:pt x="190" y="477"/>
                    <a:pt x="187" y="477"/>
                  </a:cubicBezTo>
                  <a:cubicBezTo>
                    <a:pt x="189" y="462"/>
                    <a:pt x="189" y="446"/>
                    <a:pt x="188" y="431"/>
                  </a:cubicBezTo>
                  <a:cubicBezTo>
                    <a:pt x="187" y="418"/>
                    <a:pt x="187" y="405"/>
                    <a:pt x="187" y="392"/>
                  </a:cubicBezTo>
                  <a:cubicBezTo>
                    <a:pt x="190" y="392"/>
                    <a:pt x="193" y="392"/>
                    <a:pt x="196" y="392"/>
                  </a:cubicBezTo>
                  <a:cubicBezTo>
                    <a:pt x="198" y="392"/>
                    <a:pt x="200" y="392"/>
                    <a:pt x="202" y="392"/>
                  </a:cubicBezTo>
                  <a:cubicBezTo>
                    <a:pt x="202" y="396"/>
                    <a:pt x="202" y="401"/>
                    <a:pt x="203" y="405"/>
                  </a:cubicBezTo>
                  <a:cubicBezTo>
                    <a:pt x="203" y="410"/>
                    <a:pt x="203" y="415"/>
                    <a:pt x="203" y="420"/>
                  </a:cubicBezTo>
                  <a:cubicBezTo>
                    <a:pt x="203" y="430"/>
                    <a:pt x="203" y="440"/>
                    <a:pt x="203" y="451"/>
                  </a:cubicBezTo>
                  <a:close/>
                  <a:moveTo>
                    <a:pt x="252" y="412"/>
                  </a:moveTo>
                  <a:cubicBezTo>
                    <a:pt x="252" y="412"/>
                    <a:pt x="252" y="412"/>
                    <a:pt x="252" y="412"/>
                  </a:cubicBezTo>
                  <a:cubicBezTo>
                    <a:pt x="252" y="420"/>
                    <a:pt x="253" y="428"/>
                    <a:pt x="254" y="436"/>
                  </a:cubicBezTo>
                  <a:cubicBezTo>
                    <a:pt x="255" y="450"/>
                    <a:pt x="255" y="464"/>
                    <a:pt x="256" y="478"/>
                  </a:cubicBezTo>
                  <a:cubicBezTo>
                    <a:pt x="244" y="478"/>
                    <a:pt x="233" y="478"/>
                    <a:pt x="221" y="478"/>
                  </a:cubicBezTo>
                  <a:cubicBezTo>
                    <a:pt x="217" y="478"/>
                    <a:pt x="213" y="478"/>
                    <a:pt x="209" y="478"/>
                  </a:cubicBezTo>
                  <a:cubicBezTo>
                    <a:pt x="210" y="475"/>
                    <a:pt x="210" y="473"/>
                    <a:pt x="210" y="471"/>
                  </a:cubicBezTo>
                  <a:cubicBezTo>
                    <a:pt x="211" y="463"/>
                    <a:pt x="210" y="456"/>
                    <a:pt x="209" y="448"/>
                  </a:cubicBezTo>
                  <a:cubicBezTo>
                    <a:pt x="209" y="439"/>
                    <a:pt x="209" y="429"/>
                    <a:pt x="209" y="420"/>
                  </a:cubicBezTo>
                  <a:cubicBezTo>
                    <a:pt x="208" y="415"/>
                    <a:pt x="208" y="410"/>
                    <a:pt x="208" y="406"/>
                  </a:cubicBezTo>
                  <a:cubicBezTo>
                    <a:pt x="207" y="401"/>
                    <a:pt x="206" y="397"/>
                    <a:pt x="205" y="393"/>
                  </a:cubicBezTo>
                  <a:cubicBezTo>
                    <a:pt x="209" y="393"/>
                    <a:pt x="213" y="394"/>
                    <a:pt x="217" y="395"/>
                  </a:cubicBezTo>
                  <a:cubicBezTo>
                    <a:pt x="228" y="397"/>
                    <a:pt x="241" y="397"/>
                    <a:pt x="253" y="396"/>
                  </a:cubicBezTo>
                  <a:cubicBezTo>
                    <a:pt x="252" y="402"/>
                    <a:pt x="252" y="407"/>
                    <a:pt x="252" y="412"/>
                  </a:cubicBezTo>
                  <a:close/>
                  <a:moveTo>
                    <a:pt x="296" y="474"/>
                  </a:moveTo>
                  <a:cubicBezTo>
                    <a:pt x="296" y="474"/>
                    <a:pt x="296" y="474"/>
                    <a:pt x="296" y="474"/>
                  </a:cubicBezTo>
                  <a:cubicBezTo>
                    <a:pt x="286" y="476"/>
                    <a:pt x="276" y="477"/>
                    <a:pt x="266" y="478"/>
                  </a:cubicBezTo>
                  <a:cubicBezTo>
                    <a:pt x="265" y="478"/>
                    <a:pt x="264" y="478"/>
                    <a:pt x="263" y="478"/>
                  </a:cubicBezTo>
                  <a:cubicBezTo>
                    <a:pt x="263" y="464"/>
                    <a:pt x="263" y="451"/>
                    <a:pt x="262" y="437"/>
                  </a:cubicBezTo>
                  <a:cubicBezTo>
                    <a:pt x="260" y="423"/>
                    <a:pt x="259" y="409"/>
                    <a:pt x="258" y="396"/>
                  </a:cubicBezTo>
                  <a:cubicBezTo>
                    <a:pt x="258" y="396"/>
                    <a:pt x="258" y="396"/>
                    <a:pt x="258" y="396"/>
                  </a:cubicBezTo>
                  <a:cubicBezTo>
                    <a:pt x="261" y="395"/>
                    <a:pt x="264" y="394"/>
                    <a:pt x="268" y="394"/>
                  </a:cubicBezTo>
                  <a:cubicBezTo>
                    <a:pt x="271" y="394"/>
                    <a:pt x="275" y="394"/>
                    <a:pt x="278" y="395"/>
                  </a:cubicBezTo>
                  <a:cubicBezTo>
                    <a:pt x="286" y="395"/>
                    <a:pt x="293" y="395"/>
                    <a:pt x="300" y="395"/>
                  </a:cubicBezTo>
                  <a:cubicBezTo>
                    <a:pt x="299" y="400"/>
                    <a:pt x="299" y="405"/>
                    <a:pt x="299" y="411"/>
                  </a:cubicBezTo>
                  <a:cubicBezTo>
                    <a:pt x="299" y="418"/>
                    <a:pt x="298" y="426"/>
                    <a:pt x="298" y="434"/>
                  </a:cubicBezTo>
                  <a:cubicBezTo>
                    <a:pt x="298" y="447"/>
                    <a:pt x="296" y="461"/>
                    <a:pt x="296" y="474"/>
                  </a:cubicBezTo>
                  <a:close/>
                  <a:moveTo>
                    <a:pt x="305" y="395"/>
                  </a:moveTo>
                  <a:cubicBezTo>
                    <a:pt x="305" y="395"/>
                    <a:pt x="305" y="395"/>
                    <a:pt x="305" y="395"/>
                  </a:cubicBezTo>
                  <a:cubicBezTo>
                    <a:pt x="311" y="395"/>
                    <a:pt x="317" y="395"/>
                    <a:pt x="323" y="395"/>
                  </a:cubicBezTo>
                  <a:cubicBezTo>
                    <a:pt x="329" y="395"/>
                    <a:pt x="335" y="395"/>
                    <a:pt x="342" y="394"/>
                  </a:cubicBezTo>
                  <a:cubicBezTo>
                    <a:pt x="342" y="396"/>
                    <a:pt x="342" y="397"/>
                    <a:pt x="342" y="398"/>
                  </a:cubicBezTo>
                  <a:cubicBezTo>
                    <a:pt x="342" y="402"/>
                    <a:pt x="343" y="406"/>
                    <a:pt x="343" y="410"/>
                  </a:cubicBezTo>
                  <a:cubicBezTo>
                    <a:pt x="343" y="418"/>
                    <a:pt x="344" y="426"/>
                    <a:pt x="344" y="434"/>
                  </a:cubicBezTo>
                  <a:cubicBezTo>
                    <a:pt x="344" y="442"/>
                    <a:pt x="343" y="449"/>
                    <a:pt x="343" y="457"/>
                  </a:cubicBezTo>
                  <a:cubicBezTo>
                    <a:pt x="343" y="460"/>
                    <a:pt x="343" y="463"/>
                    <a:pt x="344" y="466"/>
                  </a:cubicBezTo>
                  <a:cubicBezTo>
                    <a:pt x="344" y="468"/>
                    <a:pt x="344" y="470"/>
                    <a:pt x="343" y="471"/>
                  </a:cubicBezTo>
                  <a:cubicBezTo>
                    <a:pt x="341" y="471"/>
                    <a:pt x="338" y="472"/>
                    <a:pt x="336" y="472"/>
                  </a:cubicBezTo>
                  <a:cubicBezTo>
                    <a:pt x="328" y="472"/>
                    <a:pt x="320" y="472"/>
                    <a:pt x="313" y="473"/>
                  </a:cubicBezTo>
                  <a:cubicBezTo>
                    <a:pt x="309" y="473"/>
                    <a:pt x="306" y="473"/>
                    <a:pt x="303" y="474"/>
                  </a:cubicBezTo>
                  <a:cubicBezTo>
                    <a:pt x="303" y="468"/>
                    <a:pt x="303" y="462"/>
                    <a:pt x="303" y="456"/>
                  </a:cubicBezTo>
                  <a:cubicBezTo>
                    <a:pt x="303" y="449"/>
                    <a:pt x="304" y="441"/>
                    <a:pt x="304" y="434"/>
                  </a:cubicBezTo>
                  <a:cubicBezTo>
                    <a:pt x="305" y="426"/>
                    <a:pt x="305" y="419"/>
                    <a:pt x="305" y="412"/>
                  </a:cubicBezTo>
                  <a:cubicBezTo>
                    <a:pt x="305" y="406"/>
                    <a:pt x="306" y="400"/>
                    <a:pt x="305" y="395"/>
                  </a:cubicBezTo>
                  <a:close/>
                  <a:moveTo>
                    <a:pt x="623" y="404"/>
                  </a:moveTo>
                  <a:cubicBezTo>
                    <a:pt x="623" y="404"/>
                    <a:pt x="623" y="404"/>
                    <a:pt x="623" y="404"/>
                  </a:cubicBezTo>
                  <a:cubicBezTo>
                    <a:pt x="624" y="406"/>
                    <a:pt x="625" y="408"/>
                    <a:pt x="625" y="410"/>
                  </a:cubicBezTo>
                  <a:cubicBezTo>
                    <a:pt x="618" y="411"/>
                    <a:pt x="611" y="416"/>
                    <a:pt x="606" y="422"/>
                  </a:cubicBezTo>
                  <a:cubicBezTo>
                    <a:pt x="604" y="419"/>
                    <a:pt x="603" y="416"/>
                    <a:pt x="601" y="413"/>
                  </a:cubicBezTo>
                  <a:cubicBezTo>
                    <a:pt x="603" y="411"/>
                    <a:pt x="605" y="409"/>
                    <a:pt x="607" y="407"/>
                  </a:cubicBezTo>
                  <a:cubicBezTo>
                    <a:pt x="610" y="405"/>
                    <a:pt x="612" y="403"/>
                    <a:pt x="615" y="402"/>
                  </a:cubicBezTo>
                  <a:cubicBezTo>
                    <a:pt x="616" y="401"/>
                    <a:pt x="619" y="400"/>
                    <a:pt x="620" y="398"/>
                  </a:cubicBezTo>
                  <a:cubicBezTo>
                    <a:pt x="621" y="400"/>
                    <a:pt x="622" y="402"/>
                    <a:pt x="623" y="404"/>
                  </a:cubicBezTo>
                  <a:close/>
                  <a:moveTo>
                    <a:pt x="495" y="302"/>
                  </a:moveTo>
                  <a:cubicBezTo>
                    <a:pt x="495" y="302"/>
                    <a:pt x="495" y="302"/>
                    <a:pt x="495" y="302"/>
                  </a:cubicBezTo>
                  <a:cubicBezTo>
                    <a:pt x="495" y="303"/>
                    <a:pt x="493" y="305"/>
                    <a:pt x="492" y="307"/>
                  </a:cubicBezTo>
                  <a:cubicBezTo>
                    <a:pt x="492" y="307"/>
                    <a:pt x="492" y="306"/>
                    <a:pt x="492" y="305"/>
                  </a:cubicBezTo>
                  <a:cubicBezTo>
                    <a:pt x="491" y="295"/>
                    <a:pt x="490" y="286"/>
                    <a:pt x="490" y="277"/>
                  </a:cubicBezTo>
                  <a:cubicBezTo>
                    <a:pt x="492" y="277"/>
                    <a:pt x="494" y="277"/>
                    <a:pt x="495" y="278"/>
                  </a:cubicBezTo>
                  <a:cubicBezTo>
                    <a:pt x="499" y="279"/>
                    <a:pt x="503" y="280"/>
                    <a:pt x="507" y="282"/>
                  </a:cubicBezTo>
                  <a:cubicBezTo>
                    <a:pt x="507" y="282"/>
                    <a:pt x="508" y="282"/>
                    <a:pt x="508" y="282"/>
                  </a:cubicBezTo>
                  <a:cubicBezTo>
                    <a:pt x="503" y="284"/>
                    <a:pt x="501" y="289"/>
                    <a:pt x="499" y="293"/>
                  </a:cubicBezTo>
                  <a:cubicBezTo>
                    <a:pt x="498" y="296"/>
                    <a:pt x="497" y="299"/>
                    <a:pt x="495" y="302"/>
                  </a:cubicBezTo>
                  <a:close/>
                  <a:moveTo>
                    <a:pt x="510" y="317"/>
                  </a:moveTo>
                  <a:cubicBezTo>
                    <a:pt x="510" y="317"/>
                    <a:pt x="510" y="317"/>
                    <a:pt x="510" y="317"/>
                  </a:cubicBezTo>
                  <a:cubicBezTo>
                    <a:pt x="506" y="314"/>
                    <a:pt x="502" y="312"/>
                    <a:pt x="497" y="310"/>
                  </a:cubicBezTo>
                  <a:cubicBezTo>
                    <a:pt x="500" y="307"/>
                    <a:pt x="502" y="302"/>
                    <a:pt x="504" y="299"/>
                  </a:cubicBezTo>
                  <a:cubicBezTo>
                    <a:pt x="505" y="297"/>
                    <a:pt x="506" y="294"/>
                    <a:pt x="507" y="291"/>
                  </a:cubicBezTo>
                  <a:cubicBezTo>
                    <a:pt x="509" y="289"/>
                    <a:pt x="511" y="286"/>
                    <a:pt x="512" y="284"/>
                  </a:cubicBezTo>
                  <a:cubicBezTo>
                    <a:pt x="512" y="284"/>
                    <a:pt x="512" y="284"/>
                    <a:pt x="512" y="283"/>
                  </a:cubicBezTo>
                  <a:cubicBezTo>
                    <a:pt x="517" y="286"/>
                    <a:pt x="523" y="289"/>
                    <a:pt x="528" y="292"/>
                  </a:cubicBezTo>
                  <a:cubicBezTo>
                    <a:pt x="527" y="292"/>
                    <a:pt x="526" y="293"/>
                    <a:pt x="526" y="294"/>
                  </a:cubicBezTo>
                  <a:cubicBezTo>
                    <a:pt x="524" y="297"/>
                    <a:pt x="522" y="300"/>
                    <a:pt x="520" y="303"/>
                  </a:cubicBezTo>
                  <a:cubicBezTo>
                    <a:pt x="517" y="308"/>
                    <a:pt x="514" y="313"/>
                    <a:pt x="510" y="317"/>
                  </a:cubicBezTo>
                  <a:close/>
                  <a:moveTo>
                    <a:pt x="528" y="331"/>
                  </a:moveTo>
                  <a:cubicBezTo>
                    <a:pt x="528" y="331"/>
                    <a:pt x="528" y="331"/>
                    <a:pt x="528" y="331"/>
                  </a:cubicBezTo>
                  <a:cubicBezTo>
                    <a:pt x="525" y="328"/>
                    <a:pt x="522" y="326"/>
                    <a:pt x="519" y="323"/>
                  </a:cubicBezTo>
                  <a:cubicBezTo>
                    <a:pt x="518" y="322"/>
                    <a:pt x="516" y="321"/>
                    <a:pt x="515" y="320"/>
                  </a:cubicBezTo>
                  <a:cubicBezTo>
                    <a:pt x="518" y="316"/>
                    <a:pt x="521" y="312"/>
                    <a:pt x="524" y="308"/>
                  </a:cubicBezTo>
                  <a:cubicBezTo>
                    <a:pt x="526" y="305"/>
                    <a:pt x="528" y="302"/>
                    <a:pt x="530" y="299"/>
                  </a:cubicBezTo>
                  <a:cubicBezTo>
                    <a:pt x="531" y="297"/>
                    <a:pt x="532" y="296"/>
                    <a:pt x="533" y="294"/>
                  </a:cubicBezTo>
                  <a:cubicBezTo>
                    <a:pt x="539" y="298"/>
                    <a:pt x="545" y="302"/>
                    <a:pt x="550" y="305"/>
                  </a:cubicBezTo>
                  <a:cubicBezTo>
                    <a:pt x="550" y="306"/>
                    <a:pt x="549" y="307"/>
                    <a:pt x="549" y="307"/>
                  </a:cubicBezTo>
                  <a:cubicBezTo>
                    <a:pt x="546" y="310"/>
                    <a:pt x="544" y="313"/>
                    <a:pt x="542" y="316"/>
                  </a:cubicBezTo>
                  <a:cubicBezTo>
                    <a:pt x="539" y="321"/>
                    <a:pt x="535" y="328"/>
                    <a:pt x="528" y="331"/>
                  </a:cubicBezTo>
                  <a:cubicBezTo>
                    <a:pt x="528" y="331"/>
                    <a:pt x="528" y="331"/>
                    <a:pt x="528" y="331"/>
                  </a:cubicBezTo>
                  <a:close/>
                  <a:moveTo>
                    <a:pt x="533" y="335"/>
                  </a:moveTo>
                  <a:cubicBezTo>
                    <a:pt x="533" y="335"/>
                    <a:pt x="533" y="335"/>
                    <a:pt x="533" y="335"/>
                  </a:cubicBezTo>
                  <a:cubicBezTo>
                    <a:pt x="538" y="332"/>
                    <a:pt x="542" y="327"/>
                    <a:pt x="545" y="323"/>
                  </a:cubicBezTo>
                  <a:cubicBezTo>
                    <a:pt x="548" y="320"/>
                    <a:pt x="550" y="316"/>
                    <a:pt x="552" y="313"/>
                  </a:cubicBezTo>
                  <a:cubicBezTo>
                    <a:pt x="553" y="312"/>
                    <a:pt x="554" y="310"/>
                    <a:pt x="555" y="309"/>
                  </a:cubicBezTo>
                  <a:cubicBezTo>
                    <a:pt x="560" y="313"/>
                    <a:pt x="564" y="316"/>
                    <a:pt x="569" y="321"/>
                  </a:cubicBezTo>
                  <a:cubicBezTo>
                    <a:pt x="565" y="323"/>
                    <a:pt x="560" y="329"/>
                    <a:pt x="559" y="330"/>
                  </a:cubicBezTo>
                  <a:cubicBezTo>
                    <a:pt x="555" y="336"/>
                    <a:pt x="551" y="342"/>
                    <a:pt x="547" y="348"/>
                  </a:cubicBezTo>
                  <a:cubicBezTo>
                    <a:pt x="542" y="343"/>
                    <a:pt x="538" y="339"/>
                    <a:pt x="533" y="335"/>
                  </a:cubicBezTo>
                  <a:close/>
                  <a:moveTo>
                    <a:pt x="573" y="372"/>
                  </a:moveTo>
                  <a:cubicBezTo>
                    <a:pt x="573" y="372"/>
                    <a:pt x="573" y="372"/>
                    <a:pt x="573" y="372"/>
                  </a:cubicBezTo>
                  <a:cubicBezTo>
                    <a:pt x="570" y="370"/>
                    <a:pt x="568" y="367"/>
                    <a:pt x="566" y="365"/>
                  </a:cubicBezTo>
                  <a:cubicBezTo>
                    <a:pt x="568" y="363"/>
                    <a:pt x="571" y="360"/>
                    <a:pt x="574" y="357"/>
                  </a:cubicBezTo>
                  <a:cubicBezTo>
                    <a:pt x="576" y="355"/>
                    <a:pt x="578" y="352"/>
                    <a:pt x="581" y="350"/>
                  </a:cubicBezTo>
                  <a:cubicBezTo>
                    <a:pt x="583" y="347"/>
                    <a:pt x="585" y="346"/>
                    <a:pt x="585" y="342"/>
                  </a:cubicBezTo>
                  <a:cubicBezTo>
                    <a:pt x="585" y="342"/>
                    <a:pt x="584" y="341"/>
                    <a:pt x="584" y="341"/>
                  </a:cubicBezTo>
                  <a:cubicBezTo>
                    <a:pt x="581" y="341"/>
                    <a:pt x="579" y="343"/>
                    <a:pt x="577" y="344"/>
                  </a:cubicBezTo>
                  <a:cubicBezTo>
                    <a:pt x="575" y="347"/>
                    <a:pt x="572" y="350"/>
                    <a:pt x="570" y="352"/>
                  </a:cubicBezTo>
                  <a:cubicBezTo>
                    <a:pt x="567" y="355"/>
                    <a:pt x="565" y="358"/>
                    <a:pt x="562" y="361"/>
                  </a:cubicBezTo>
                  <a:cubicBezTo>
                    <a:pt x="559" y="358"/>
                    <a:pt x="556" y="356"/>
                    <a:pt x="553" y="353"/>
                  </a:cubicBezTo>
                  <a:cubicBezTo>
                    <a:pt x="553" y="352"/>
                    <a:pt x="552" y="352"/>
                    <a:pt x="552" y="351"/>
                  </a:cubicBezTo>
                  <a:cubicBezTo>
                    <a:pt x="555" y="345"/>
                    <a:pt x="559" y="339"/>
                    <a:pt x="564" y="334"/>
                  </a:cubicBezTo>
                  <a:cubicBezTo>
                    <a:pt x="566" y="331"/>
                    <a:pt x="569" y="328"/>
                    <a:pt x="571" y="326"/>
                  </a:cubicBezTo>
                  <a:cubicBezTo>
                    <a:pt x="572" y="326"/>
                    <a:pt x="572" y="326"/>
                    <a:pt x="573" y="325"/>
                  </a:cubicBezTo>
                  <a:cubicBezTo>
                    <a:pt x="578" y="331"/>
                    <a:pt x="582" y="337"/>
                    <a:pt x="587" y="343"/>
                  </a:cubicBezTo>
                  <a:cubicBezTo>
                    <a:pt x="590" y="348"/>
                    <a:pt x="594" y="352"/>
                    <a:pt x="597" y="357"/>
                  </a:cubicBezTo>
                  <a:cubicBezTo>
                    <a:pt x="597" y="357"/>
                    <a:pt x="597" y="357"/>
                    <a:pt x="597" y="357"/>
                  </a:cubicBezTo>
                  <a:cubicBezTo>
                    <a:pt x="592" y="356"/>
                    <a:pt x="586" y="361"/>
                    <a:pt x="583" y="364"/>
                  </a:cubicBezTo>
                  <a:cubicBezTo>
                    <a:pt x="579" y="366"/>
                    <a:pt x="576" y="369"/>
                    <a:pt x="573" y="372"/>
                  </a:cubicBezTo>
                  <a:close/>
                  <a:moveTo>
                    <a:pt x="589" y="395"/>
                  </a:moveTo>
                  <a:cubicBezTo>
                    <a:pt x="589" y="395"/>
                    <a:pt x="589" y="395"/>
                    <a:pt x="589" y="395"/>
                  </a:cubicBezTo>
                  <a:cubicBezTo>
                    <a:pt x="591" y="392"/>
                    <a:pt x="594" y="390"/>
                    <a:pt x="597" y="387"/>
                  </a:cubicBezTo>
                  <a:cubicBezTo>
                    <a:pt x="600" y="386"/>
                    <a:pt x="602" y="384"/>
                    <a:pt x="605" y="383"/>
                  </a:cubicBezTo>
                  <a:cubicBezTo>
                    <a:pt x="607" y="382"/>
                    <a:pt x="609" y="380"/>
                    <a:pt x="607" y="378"/>
                  </a:cubicBezTo>
                  <a:cubicBezTo>
                    <a:pt x="604" y="373"/>
                    <a:pt x="595" y="381"/>
                    <a:pt x="592" y="383"/>
                  </a:cubicBezTo>
                  <a:cubicBezTo>
                    <a:pt x="590" y="385"/>
                    <a:pt x="587" y="387"/>
                    <a:pt x="585" y="389"/>
                  </a:cubicBezTo>
                  <a:cubicBezTo>
                    <a:pt x="582" y="385"/>
                    <a:pt x="579" y="381"/>
                    <a:pt x="576" y="377"/>
                  </a:cubicBezTo>
                  <a:cubicBezTo>
                    <a:pt x="579" y="374"/>
                    <a:pt x="583" y="371"/>
                    <a:pt x="587" y="369"/>
                  </a:cubicBezTo>
                  <a:cubicBezTo>
                    <a:pt x="591" y="367"/>
                    <a:pt x="597" y="364"/>
                    <a:pt x="598" y="359"/>
                  </a:cubicBezTo>
                  <a:cubicBezTo>
                    <a:pt x="599" y="359"/>
                    <a:pt x="599" y="359"/>
                    <a:pt x="599" y="359"/>
                  </a:cubicBezTo>
                  <a:cubicBezTo>
                    <a:pt x="600" y="361"/>
                    <a:pt x="602" y="364"/>
                    <a:pt x="604" y="366"/>
                  </a:cubicBezTo>
                  <a:cubicBezTo>
                    <a:pt x="609" y="374"/>
                    <a:pt x="613" y="383"/>
                    <a:pt x="617" y="392"/>
                  </a:cubicBezTo>
                  <a:cubicBezTo>
                    <a:pt x="618" y="392"/>
                    <a:pt x="618" y="393"/>
                    <a:pt x="618" y="394"/>
                  </a:cubicBezTo>
                  <a:cubicBezTo>
                    <a:pt x="614" y="393"/>
                    <a:pt x="609" y="397"/>
                    <a:pt x="606" y="400"/>
                  </a:cubicBezTo>
                  <a:cubicBezTo>
                    <a:pt x="603" y="402"/>
                    <a:pt x="600" y="405"/>
                    <a:pt x="597" y="407"/>
                  </a:cubicBezTo>
                  <a:cubicBezTo>
                    <a:pt x="594" y="403"/>
                    <a:pt x="592" y="399"/>
                    <a:pt x="589" y="395"/>
                  </a:cubicBezTo>
                  <a:close/>
                  <a:moveTo>
                    <a:pt x="668" y="457"/>
                  </a:moveTo>
                  <a:cubicBezTo>
                    <a:pt x="668" y="457"/>
                    <a:pt x="668" y="457"/>
                    <a:pt x="668" y="457"/>
                  </a:cubicBezTo>
                  <a:cubicBezTo>
                    <a:pt x="666" y="454"/>
                    <a:pt x="665" y="451"/>
                    <a:pt x="662" y="448"/>
                  </a:cubicBezTo>
                  <a:cubicBezTo>
                    <a:pt x="653" y="437"/>
                    <a:pt x="637" y="430"/>
                    <a:pt x="624" y="438"/>
                  </a:cubicBezTo>
                  <a:cubicBezTo>
                    <a:pt x="618" y="441"/>
                    <a:pt x="614" y="448"/>
                    <a:pt x="613" y="454"/>
                  </a:cubicBezTo>
                  <a:cubicBezTo>
                    <a:pt x="611" y="462"/>
                    <a:pt x="613" y="470"/>
                    <a:pt x="614" y="477"/>
                  </a:cubicBezTo>
                  <a:cubicBezTo>
                    <a:pt x="615" y="478"/>
                    <a:pt x="615" y="478"/>
                    <a:pt x="615" y="478"/>
                  </a:cubicBezTo>
                  <a:cubicBezTo>
                    <a:pt x="615" y="481"/>
                    <a:pt x="615" y="479"/>
                    <a:pt x="615" y="479"/>
                  </a:cubicBezTo>
                  <a:cubicBezTo>
                    <a:pt x="615" y="479"/>
                    <a:pt x="614" y="479"/>
                    <a:pt x="614" y="479"/>
                  </a:cubicBezTo>
                  <a:cubicBezTo>
                    <a:pt x="614" y="479"/>
                    <a:pt x="614" y="479"/>
                    <a:pt x="614" y="479"/>
                  </a:cubicBezTo>
                  <a:cubicBezTo>
                    <a:pt x="614" y="479"/>
                    <a:pt x="614" y="479"/>
                    <a:pt x="614" y="479"/>
                  </a:cubicBezTo>
                  <a:cubicBezTo>
                    <a:pt x="614" y="479"/>
                    <a:pt x="614" y="479"/>
                    <a:pt x="614" y="479"/>
                  </a:cubicBezTo>
                  <a:cubicBezTo>
                    <a:pt x="614" y="479"/>
                    <a:pt x="614" y="479"/>
                    <a:pt x="614" y="480"/>
                  </a:cubicBezTo>
                  <a:cubicBezTo>
                    <a:pt x="613" y="480"/>
                    <a:pt x="612" y="480"/>
                    <a:pt x="612" y="480"/>
                  </a:cubicBezTo>
                  <a:cubicBezTo>
                    <a:pt x="611" y="480"/>
                    <a:pt x="610" y="480"/>
                    <a:pt x="609" y="480"/>
                  </a:cubicBezTo>
                  <a:cubicBezTo>
                    <a:pt x="605" y="481"/>
                    <a:pt x="601" y="480"/>
                    <a:pt x="598" y="480"/>
                  </a:cubicBezTo>
                  <a:cubicBezTo>
                    <a:pt x="598" y="479"/>
                    <a:pt x="598" y="478"/>
                    <a:pt x="598" y="477"/>
                  </a:cubicBezTo>
                  <a:cubicBezTo>
                    <a:pt x="598" y="474"/>
                    <a:pt x="598" y="471"/>
                    <a:pt x="598" y="467"/>
                  </a:cubicBezTo>
                  <a:cubicBezTo>
                    <a:pt x="599" y="461"/>
                    <a:pt x="601" y="455"/>
                    <a:pt x="603" y="449"/>
                  </a:cubicBezTo>
                  <a:cubicBezTo>
                    <a:pt x="608" y="438"/>
                    <a:pt x="617" y="426"/>
                    <a:pt x="629" y="423"/>
                  </a:cubicBezTo>
                  <a:cubicBezTo>
                    <a:pt x="639" y="421"/>
                    <a:pt x="650" y="427"/>
                    <a:pt x="657" y="434"/>
                  </a:cubicBezTo>
                  <a:cubicBezTo>
                    <a:pt x="661" y="439"/>
                    <a:pt x="665" y="444"/>
                    <a:pt x="667" y="450"/>
                  </a:cubicBezTo>
                  <a:cubicBezTo>
                    <a:pt x="668" y="453"/>
                    <a:pt x="668" y="456"/>
                    <a:pt x="669" y="459"/>
                  </a:cubicBezTo>
                  <a:cubicBezTo>
                    <a:pt x="669" y="458"/>
                    <a:pt x="668" y="457"/>
                    <a:pt x="668" y="45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1" name="ïṩḻíďê"/>
            <p:cNvSpPr/>
            <p:nvPr/>
          </p:nvSpPr>
          <p:spPr bwMode="auto">
            <a:xfrm>
              <a:off x="5325554" y="1633451"/>
              <a:ext cx="1371942" cy="1768279"/>
            </a:xfrm>
            <a:custGeom>
              <a:avLst/>
              <a:gdLst>
                <a:gd name="T0" fmla="*/ 59 w 195"/>
                <a:gd name="T1" fmla="*/ 249 h 251"/>
                <a:gd name="T2" fmla="*/ 59 w 195"/>
                <a:gd name="T3" fmla="*/ 249 h 251"/>
                <a:gd name="T4" fmla="*/ 14 w 195"/>
                <a:gd name="T5" fmla="*/ 231 h 251"/>
                <a:gd name="T6" fmla="*/ 5 w 195"/>
                <a:gd name="T7" fmla="*/ 199 h 251"/>
                <a:gd name="T8" fmla="*/ 29 w 195"/>
                <a:gd name="T9" fmla="*/ 178 h 251"/>
                <a:gd name="T10" fmla="*/ 29 w 195"/>
                <a:gd name="T11" fmla="*/ 174 h 251"/>
                <a:gd name="T12" fmla="*/ 109 w 195"/>
                <a:gd name="T13" fmla="*/ 152 h 251"/>
                <a:gd name="T14" fmla="*/ 163 w 195"/>
                <a:gd name="T15" fmla="*/ 164 h 251"/>
                <a:gd name="T16" fmla="*/ 181 w 195"/>
                <a:gd name="T17" fmla="*/ 177 h 251"/>
                <a:gd name="T18" fmla="*/ 189 w 195"/>
                <a:gd name="T19" fmla="*/ 186 h 251"/>
                <a:gd name="T20" fmla="*/ 194 w 195"/>
                <a:gd name="T21" fmla="*/ 194 h 251"/>
                <a:gd name="T22" fmla="*/ 192 w 195"/>
                <a:gd name="T23" fmla="*/ 212 h 251"/>
                <a:gd name="T24" fmla="*/ 172 w 195"/>
                <a:gd name="T25" fmla="*/ 233 h 251"/>
                <a:gd name="T26" fmla="*/ 122 w 195"/>
                <a:gd name="T27" fmla="*/ 250 h 251"/>
                <a:gd name="T28" fmla="*/ 59 w 195"/>
                <a:gd name="T29" fmla="*/ 249 h 251"/>
                <a:gd name="T30" fmla="*/ 99 w 195"/>
                <a:gd name="T31" fmla="*/ 1 h 251"/>
                <a:gd name="T32" fmla="*/ 99 w 195"/>
                <a:gd name="T33" fmla="*/ 1 h 251"/>
                <a:gd name="T34" fmla="*/ 100 w 195"/>
                <a:gd name="T35" fmla="*/ 0 h 251"/>
                <a:gd name="T36" fmla="*/ 112 w 195"/>
                <a:gd name="T37" fmla="*/ 0 h 251"/>
                <a:gd name="T38" fmla="*/ 124 w 195"/>
                <a:gd name="T39" fmla="*/ 4 h 251"/>
                <a:gd name="T40" fmla="*/ 119 w 195"/>
                <a:gd name="T41" fmla="*/ 18 h 251"/>
                <a:gd name="T42" fmla="*/ 108 w 195"/>
                <a:gd name="T43" fmla="*/ 18 h 251"/>
                <a:gd name="T44" fmla="*/ 104 w 195"/>
                <a:gd name="T45" fmla="*/ 15 h 251"/>
                <a:gd name="T46" fmla="*/ 102 w 195"/>
                <a:gd name="T47" fmla="*/ 12 h 251"/>
                <a:gd name="T48" fmla="*/ 99 w 195"/>
                <a:gd name="T49" fmla="*/ 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251">
                  <a:moveTo>
                    <a:pt x="59" y="249"/>
                  </a:moveTo>
                  <a:cubicBezTo>
                    <a:pt x="59" y="249"/>
                    <a:pt x="59" y="249"/>
                    <a:pt x="59" y="249"/>
                  </a:cubicBezTo>
                  <a:cubicBezTo>
                    <a:pt x="43" y="248"/>
                    <a:pt x="25" y="243"/>
                    <a:pt x="14" y="231"/>
                  </a:cubicBezTo>
                  <a:cubicBezTo>
                    <a:pt x="6" y="222"/>
                    <a:pt x="0" y="210"/>
                    <a:pt x="5" y="199"/>
                  </a:cubicBezTo>
                  <a:cubicBezTo>
                    <a:pt x="10" y="188"/>
                    <a:pt x="22" y="185"/>
                    <a:pt x="29" y="178"/>
                  </a:cubicBezTo>
                  <a:cubicBezTo>
                    <a:pt x="31" y="177"/>
                    <a:pt x="30" y="175"/>
                    <a:pt x="29" y="174"/>
                  </a:cubicBezTo>
                  <a:cubicBezTo>
                    <a:pt x="54" y="161"/>
                    <a:pt x="81" y="151"/>
                    <a:pt x="109" y="152"/>
                  </a:cubicBezTo>
                  <a:cubicBezTo>
                    <a:pt x="127" y="152"/>
                    <a:pt x="146" y="157"/>
                    <a:pt x="163" y="164"/>
                  </a:cubicBezTo>
                  <a:cubicBezTo>
                    <a:pt x="170" y="167"/>
                    <a:pt x="176" y="171"/>
                    <a:pt x="181" y="177"/>
                  </a:cubicBezTo>
                  <a:cubicBezTo>
                    <a:pt x="184" y="179"/>
                    <a:pt x="186" y="183"/>
                    <a:pt x="189" y="186"/>
                  </a:cubicBezTo>
                  <a:cubicBezTo>
                    <a:pt x="191" y="189"/>
                    <a:pt x="192" y="192"/>
                    <a:pt x="194" y="194"/>
                  </a:cubicBezTo>
                  <a:cubicBezTo>
                    <a:pt x="195" y="200"/>
                    <a:pt x="195" y="206"/>
                    <a:pt x="192" y="212"/>
                  </a:cubicBezTo>
                  <a:cubicBezTo>
                    <a:pt x="187" y="220"/>
                    <a:pt x="180" y="227"/>
                    <a:pt x="172" y="233"/>
                  </a:cubicBezTo>
                  <a:cubicBezTo>
                    <a:pt x="158" y="243"/>
                    <a:pt x="140" y="250"/>
                    <a:pt x="122" y="250"/>
                  </a:cubicBezTo>
                  <a:cubicBezTo>
                    <a:pt x="101" y="251"/>
                    <a:pt x="80" y="251"/>
                    <a:pt x="59" y="249"/>
                  </a:cubicBezTo>
                  <a:close/>
                  <a:moveTo>
                    <a:pt x="99" y="1"/>
                  </a:move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100" y="0"/>
                    <a:pt x="100" y="0"/>
                  </a:cubicBezTo>
                  <a:cubicBezTo>
                    <a:pt x="104" y="1"/>
                    <a:pt x="108" y="0"/>
                    <a:pt x="112" y="0"/>
                  </a:cubicBezTo>
                  <a:cubicBezTo>
                    <a:pt x="116" y="1"/>
                    <a:pt x="121" y="2"/>
                    <a:pt x="124" y="4"/>
                  </a:cubicBezTo>
                  <a:cubicBezTo>
                    <a:pt x="129" y="9"/>
                    <a:pt x="125" y="16"/>
                    <a:pt x="119" y="18"/>
                  </a:cubicBezTo>
                  <a:cubicBezTo>
                    <a:pt x="116" y="20"/>
                    <a:pt x="112" y="20"/>
                    <a:pt x="108" y="18"/>
                  </a:cubicBezTo>
                  <a:cubicBezTo>
                    <a:pt x="107" y="16"/>
                    <a:pt x="106" y="15"/>
                    <a:pt x="104" y="15"/>
                  </a:cubicBezTo>
                  <a:cubicBezTo>
                    <a:pt x="103" y="14"/>
                    <a:pt x="102" y="13"/>
                    <a:pt x="102" y="12"/>
                  </a:cubicBezTo>
                  <a:cubicBezTo>
                    <a:pt x="100" y="9"/>
                    <a:pt x="99" y="5"/>
                    <a:pt x="9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2" name="iŝ1iḓê"/>
            <p:cNvSpPr/>
            <p:nvPr/>
          </p:nvSpPr>
          <p:spPr bwMode="auto">
            <a:xfrm>
              <a:off x="5671080" y="2815692"/>
              <a:ext cx="1260153" cy="586040"/>
            </a:xfrm>
            <a:custGeom>
              <a:avLst/>
              <a:gdLst>
                <a:gd name="T0" fmla="*/ 10 w 179"/>
                <a:gd name="T1" fmla="*/ 81 h 83"/>
                <a:gd name="T2" fmla="*/ 10 w 179"/>
                <a:gd name="T3" fmla="*/ 81 h 83"/>
                <a:gd name="T4" fmla="*/ 0 w 179"/>
                <a:gd name="T5" fmla="*/ 80 h 83"/>
                <a:gd name="T6" fmla="*/ 122 w 179"/>
                <a:gd name="T7" fmla="*/ 0 h 83"/>
                <a:gd name="T8" fmla="*/ 132 w 179"/>
                <a:gd name="T9" fmla="*/ 9 h 83"/>
                <a:gd name="T10" fmla="*/ 140 w 179"/>
                <a:gd name="T11" fmla="*/ 18 h 83"/>
                <a:gd name="T12" fmla="*/ 145 w 179"/>
                <a:gd name="T13" fmla="*/ 26 h 83"/>
                <a:gd name="T14" fmla="*/ 143 w 179"/>
                <a:gd name="T15" fmla="*/ 44 h 83"/>
                <a:gd name="T16" fmla="*/ 123 w 179"/>
                <a:gd name="T17" fmla="*/ 65 h 83"/>
                <a:gd name="T18" fmla="*/ 73 w 179"/>
                <a:gd name="T19" fmla="*/ 82 h 83"/>
                <a:gd name="T20" fmla="*/ 10 w 179"/>
                <a:gd name="T21" fmla="*/ 8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9" h="83">
                  <a:moveTo>
                    <a:pt x="10" y="81"/>
                  </a:moveTo>
                  <a:cubicBezTo>
                    <a:pt x="10" y="81"/>
                    <a:pt x="10" y="81"/>
                    <a:pt x="10" y="81"/>
                  </a:cubicBezTo>
                  <a:cubicBezTo>
                    <a:pt x="7" y="81"/>
                    <a:pt x="3" y="80"/>
                    <a:pt x="0" y="80"/>
                  </a:cubicBezTo>
                  <a:cubicBezTo>
                    <a:pt x="179" y="75"/>
                    <a:pt x="122" y="0"/>
                    <a:pt x="122" y="0"/>
                  </a:cubicBezTo>
                  <a:cubicBezTo>
                    <a:pt x="126" y="2"/>
                    <a:pt x="129" y="5"/>
                    <a:pt x="132" y="9"/>
                  </a:cubicBezTo>
                  <a:cubicBezTo>
                    <a:pt x="135" y="11"/>
                    <a:pt x="137" y="15"/>
                    <a:pt x="140" y="18"/>
                  </a:cubicBezTo>
                  <a:cubicBezTo>
                    <a:pt x="142" y="21"/>
                    <a:pt x="143" y="24"/>
                    <a:pt x="145" y="26"/>
                  </a:cubicBezTo>
                  <a:cubicBezTo>
                    <a:pt x="146" y="32"/>
                    <a:pt x="146" y="38"/>
                    <a:pt x="143" y="44"/>
                  </a:cubicBezTo>
                  <a:cubicBezTo>
                    <a:pt x="138" y="52"/>
                    <a:pt x="131" y="59"/>
                    <a:pt x="123" y="65"/>
                  </a:cubicBezTo>
                  <a:cubicBezTo>
                    <a:pt x="109" y="75"/>
                    <a:pt x="91" y="82"/>
                    <a:pt x="73" y="82"/>
                  </a:cubicBezTo>
                  <a:cubicBezTo>
                    <a:pt x="52" y="83"/>
                    <a:pt x="31" y="83"/>
                    <a:pt x="10" y="81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3" name="ï$lîďè"/>
            <p:cNvSpPr/>
            <p:nvPr/>
          </p:nvSpPr>
          <p:spPr bwMode="auto">
            <a:xfrm>
              <a:off x="7893285" y="4495895"/>
              <a:ext cx="501351" cy="423439"/>
            </a:xfrm>
            <a:custGeom>
              <a:avLst/>
              <a:gdLst>
                <a:gd name="T0" fmla="*/ 70 w 71"/>
                <a:gd name="T1" fmla="*/ 36 h 60"/>
                <a:gd name="T2" fmla="*/ 70 w 71"/>
                <a:gd name="T3" fmla="*/ 36 h 60"/>
                <a:gd name="T4" fmla="*/ 64 w 71"/>
                <a:gd name="T5" fmla="*/ 27 h 60"/>
                <a:gd name="T6" fmla="*/ 26 w 71"/>
                <a:gd name="T7" fmla="*/ 17 h 60"/>
                <a:gd name="T8" fmla="*/ 15 w 71"/>
                <a:gd name="T9" fmla="*/ 33 h 60"/>
                <a:gd name="T10" fmla="*/ 16 w 71"/>
                <a:gd name="T11" fmla="*/ 56 h 60"/>
                <a:gd name="T12" fmla="*/ 17 w 71"/>
                <a:gd name="T13" fmla="*/ 57 h 60"/>
                <a:gd name="T14" fmla="*/ 17 w 71"/>
                <a:gd name="T15" fmla="*/ 58 h 60"/>
                <a:gd name="T16" fmla="*/ 16 w 71"/>
                <a:gd name="T17" fmla="*/ 58 h 60"/>
                <a:gd name="T18" fmla="*/ 16 w 71"/>
                <a:gd name="T19" fmla="*/ 58 h 60"/>
                <a:gd name="T20" fmla="*/ 16 w 71"/>
                <a:gd name="T21" fmla="*/ 58 h 60"/>
                <a:gd name="T22" fmla="*/ 16 w 71"/>
                <a:gd name="T23" fmla="*/ 58 h 60"/>
                <a:gd name="T24" fmla="*/ 16 w 71"/>
                <a:gd name="T25" fmla="*/ 59 h 60"/>
                <a:gd name="T26" fmla="*/ 14 w 71"/>
                <a:gd name="T27" fmla="*/ 59 h 60"/>
                <a:gd name="T28" fmla="*/ 11 w 71"/>
                <a:gd name="T29" fmla="*/ 59 h 60"/>
                <a:gd name="T30" fmla="*/ 0 w 71"/>
                <a:gd name="T31" fmla="*/ 59 h 60"/>
                <a:gd name="T32" fmla="*/ 0 w 71"/>
                <a:gd name="T33" fmla="*/ 56 h 60"/>
                <a:gd name="T34" fmla="*/ 0 w 71"/>
                <a:gd name="T35" fmla="*/ 46 h 60"/>
                <a:gd name="T36" fmla="*/ 5 w 71"/>
                <a:gd name="T37" fmla="*/ 28 h 60"/>
                <a:gd name="T38" fmla="*/ 31 w 71"/>
                <a:gd name="T39" fmla="*/ 2 h 60"/>
                <a:gd name="T40" fmla="*/ 59 w 71"/>
                <a:gd name="T41" fmla="*/ 13 h 60"/>
                <a:gd name="T42" fmla="*/ 69 w 71"/>
                <a:gd name="T43" fmla="*/ 29 h 60"/>
                <a:gd name="T44" fmla="*/ 71 w 71"/>
                <a:gd name="T45" fmla="*/ 38 h 60"/>
                <a:gd name="T46" fmla="*/ 70 w 71"/>
                <a:gd name="T47" fmla="*/ 3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60">
                  <a:moveTo>
                    <a:pt x="70" y="36"/>
                  </a:moveTo>
                  <a:cubicBezTo>
                    <a:pt x="70" y="36"/>
                    <a:pt x="70" y="36"/>
                    <a:pt x="70" y="36"/>
                  </a:cubicBezTo>
                  <a:cubicBezTo>
                    <a:pt x="68" y="33"/>
                    <a:pt x="67" y="30"/>
                    <a:pt x="64" y="27"/>
                  </a:cubicBezTo>
                  <a:cubicBezTo>
                    <a:pt x="55" y="16"/>
                    <a:pt x="39" y="9"/>
                    <a:pt x="26" y="17"/>
                  </a:cubicBezTo>
                  <a:cubicBezTo>
                    <a:pt x="20" y="20"/>
                    <a:pt x="16" y="27"/>
                    <a:pt x="15" y="33"/>
                  </a:cubicBezTo>
                  <a:cubicBezTo>
                    <a:pt x="13" y="41"/>
                    <a:pt x="15" y="49"/>
                    <a:pt x="16" y="56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60"/>
                    <a:pt x="17" y="58"/>
                    <a:pt x="17" y="58"/>
                  </a:cubicBezTo>
                  <a:cubicBezTo>
                    <a:pt x="17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9"/>
                  </a:cubicBezTo>
                  <a:cubicBezTo>
                    <a:pt x="15" y="59"/>
                    <a:pt x="14" y="59"/>
                    <a:pt x="14" y="59"/>
                  </a:cubicBezTo>
                  <a:cubicBezTo>
                    <a:pt x="13" y="59"/>
                    <a:pt x="12" y="59"/>
                    <a:pt x="11" y="59"/>
                  </a:cubicBezTo>
                  <a:cubicBezTo>
                    <a:pt x="7" y="60"/>
                    <a:pt x="3" y="59"/>
                    <a:pt x="0" y="59"/>
                  </a:cubicBezTo>
                  <a:cubicBezTo>
                    <a:pt x="0" y="58"/>
                    <a:pt x="0" y="57"/>
                    <a:pt x="0" y="56"/>
                  </a:cubicBezTo>
                  <a:cubicBezTo>
                    <a:pt x="0" y="53"/>
                    <a:pt x="0" y="50"/>
                    <a:pt x="0" y="46"/>
                  </a:cubicBezTo>
                  <a:cubicBezTo>
                    <a:pt x="1" y="40"/>
                    <a:pt x="3" y="34"/>
                    <a:pt x="5" y="28"/>
                  </a:cubicBezTo>
                  <a:cubicBezTo>
                    <a:pt x="10" y="17"/>
                    <a:pt x="19" y="5"/>
                    <a:pt x="31" y="2"/>
                  </a:cubicBezTo>
                  <a:cubicBezTo>
                    <a:pt x="41" y="0"/>
                    <a:pt x="52" y="6"/>
                    <a:pt x="59" y="13"/>
                  </a:cubicBezTo>
                  <a:cubicBezTo>
                    <a:pt x="63" y="18"/>
                    <a:pt x="67" y="23"/>
                    <a:pt x="69" y="29"/>
                  </a:cubicBezTo>
                  <a:cubicBezTo>
                    <a:pt x="70" y="32"/>
                    <a:pt x="70" y="35"/>
                    <a:pt x="71" y="38"/>
                  </a:cubicBezTo>
                  <a:cubicBezTo>
                    <a:pt x="71" y="37"/>
                    <a:pt x="70" y="36"/>
                    <a:pt x="70" y="36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4" name="îṣ1îdé"/>
            <p:cNvSpPr/>
            <p:nvPr/>
          </p:nvSpPr>
          <p:spPr bwMode="auto">
            <a:xfrm>
              <a:off x="4072176" y="3483030"/>
              <a:ext cx="4010810" cy="1764892"/>
            </a:xfrm>
            <a:custGeom>
              <a:avLst/>
              <a:gdLst>
                <a:gd name="T0" fmla="*/ 542 w 570"/>
                <a:gd name="T1" fmla="*/ 110 h 251"/>
                <a:gd name="T2" fmla="*/ 537 w 570"/>
                <a:gd name="T3" fmla="*/ 106 h 251"/>
                <a:gd name="T4" fmla="*/ 532 w 570"/>
                <a:gd name="T5" fmla="*/ 92 h 251"/>
                <a:gd name="T6" fmla="*/ 549 w 570"/>
                <a:gd name="T7" fmla="*/ 89 h 251"/>
                <a:gd name="T8" fmla="*/ 551 w 570"/>
                <a:gd name="T9" fmla="*/ 123 h 251"/>
                <a:gd name="T10" fmla="*/ 191 w 570"/>
                <a:gd name="T11" fmla="*/ 237 h 251"/>
                <a:gd name="T12" fmla="*/ 352 w 570"/>
                <a:gd name="T13" fmla="*/ 238 h 251"/>
                <a:gd name="T14" fmla="*/ 314 w 570"/>
                <a:gd name="T15" fmla="*/ 250 h 251"/>
                <a:gd name="T16" fmla="*/ 190 w 570"/>
                <a:gd name="T17" fmla="*/ 251 h 251"/>
                <a:gd name="T18" fmla="*/ 191 w 570"/>
                <a:gd name="T19" fmla="*/ 237 h 251"/>
                <a:gd name="T20" fmla="*/ 114 w 570"/>
                <a:gd name="T21" fmla="*/ 7 h 251"/>
                <a:gd name="T22" fmla="*/ 3 w 570"/>
                <a:gd name="T23" fmla="*/ 120 h 251"/>
                <a:gd name="T24" fmla="*/ 24 w 570"/>
                <a:gd name="T25" fmla="*/ 129 h 251"/>
                <a:gd name="T26" fmla="*/ 3 w 570"/>
                <a:gd name="T27" fmla="*/ 120 h 251"/>
                <a:gd name="T28" fmla="*/ 17 w 570"/>
                <a:gd name="T29" fmla="*/ 120 h 251"/>
                <a:gd name="T30" fmla="*/ 9 w 570"/>
                <a:gd name="T31" fmla="*/ 100 h 251"/>
                <a:gd name="T32" fmla="*/ 25 w 570"/>
                <a:gd name="T33" fmla="*/ 124 h 251"/>
                <a:gd name="T34" fmla="*/ 31 w 570"/>
                <a:gd name="T35" fmla="*/ 107 h 251"/>
                <a:gd name="T36" fmla="*/ 15 w 570"/>
                <a:gd name="T37" fmla="*/ 87 h 251"/>
                <a:gd name="T38" fmla="*/ 42 w 570"/>
                <a:gd name="T39" fmla="*/ 87 h 251"/>
                <a:gd name="T40" fmla="*/ 54 w 570"/>
                <a:gd name="T41" fmla="*/ 72 h 251"/>
                <a:gd name="T42" fmla="*/ 25 w 570"/>
                <a:gd name="T43" fmla="*/ 71 h 251"/>
                <a:gd name="T44" fmla="*/ 51 w 570"/>
                <a:gd name="T45" fmla="*/ 67 h 251"/>
                <a:gd name="T46" fmla="*/ 60 w 570"/>
                <a:gd name="T47" fmla="*/ 66 h 251"/>
                <a:gd name="T48" fmla="*/ 37 w 570"/>
                <a:gd name="T49" fmla="*/ 55 h 251"/>
                <a:gd name="T50" fmla="*/ 67 w 570"/>
                <a:gd name="T51" fmla="*/ 49 h 251"/>
                <a:gd name="T52" fmla="*/ 84 w 570"/>
                <a:gd name="T53" fmla="*/ 47 h 251"/>
                <a:gd name="T54" fmla="*/ 73 w 570"/>
                <a:gd name="T55" fmla="*/ 47 h 251"/>
                <a:gd name="T56" fmla="*/ 78 w 570"/>
                <a:gd name="T57" fmla="*/ 21 h 251"/>
                <a:gd name="T58" fmla="*/ 84 w 570"/>
                <a:gd name="T59" fmla="*/ 47 h 251"/>
                <a:gd name="T60" fmla="*/ 102 w 570"/>
                <a:gd name="T61" fmla="*/ 38 h 251"/>
                <a:gd name="T62" fmla="*/ 100 w 570"/>
                <a:gd name="T63" fmla="*/ 6 h 251"/>
                <a:gd name="T64" fmla="*/ 114 w 570"/>
                <a:gd name="T65" fmla="*/ 20 h 251"/>
                <a:gd name="T66" fmla="*/ 104 w 570"/>
                <a:gd name="T67" fmla="*/ 37 h 251"/>
                <a:gd name="T68" fmla="*/ 570 w 570"/>
                <a:gd name="T69" fmla="*/ 133 h 251"/>
                <a:gd name="T70" fmla="*/ 552 w 570"/>
                <a:gd name="T71" fmla="*/ 130 h 251"/>
                <a:gd name="T72" fmla="*/ 568 w 570"/>
                <a:gd name="T73" fmla="*/ 127 h 251"/>
                <a:gd name="T74" fmla="*/ 437 w 570"/>
                <a:gd name="T75" fmla="*/ 30 h 251"/>
                <a:gd name="T76" fmla="*/ 440 w 570"/>
                <a:gd name="T77" fmla="*/ 1 h 251"/>
                <a:gd name="T78" fmla="*/ 444 w 570"/>
                <a:gd name="T79" fmla="*/ 16 h 251"/>
                <a:gd name="T80" fmla="*/ 455 w 570"/>
                <a:gd name="T81" fmla="*/ 40 h 251"/>
                <a:gd name="T82" fmla="*/ 452 w 570"/>
                <a:gd name="T83" fmla="*/ 14 h 251"/>
                <a:gd name="T84" fmla="*/ 473 w 570"/>
                <a:gd name="T85" fmla="*/ 15 h 251"/>
                <a:gd name="T86" fmla="*/ 455 w 570"/>
                <a:gd name="T87" fmla="*/ 40 h 251"/>
                <a:gd name="T88" fmla="*/ 464 w 570"/>
                <a:gd name="T89" fmla="*/ 46 h 251"/>
                <a:gd name="T90" fmla="*/ 475 w 570"/>
                <a:gd name="T91" fmla="*/ 22 h 251"/>
                <a:gd name="T92" fmla="*/ 494 w 570"/>
                <a:gd name="T93" fmla="*/ 30 h 251"/>
                <a:gd name="T94" fmla="*/ 473 w 570"/>
                <a:gd name="T95" fmla="*/ 54 h 251"/>
                <a:gd name="T96" fmla="*/ 490 w 570"/>
                <a:gd name="T97" fmla="*/ 46 h 251"/>
                <a:gd name="T98" fmla="*/ 514 w 570"/>
                <a:gd name="T99" fmla="*/ 44 h 251"/>
                <a:gd name="T100" fmla="*/ 478 w 570"/>
                <a:gd name="T101" fmla="*/ 58 h 251"/>
                <a:gd name="T102" fmla="*/ 511 w 570"/>
                <a:gd name="T103" fmla="*/ 88 h 251"/>
                <a:gd name="T104" fmla="*/ 530 w 570"/>
                <a:gd name="T105" fmla="*/ 65 h 251"/>
                <a:gd name="T106" fmla="*/ 515 w 570"/>
                <a:gd name="T107" fmla="*/ 75 h 251"/>
                <a:gd name="T108" fmla="*/ 497 w 570"/>
                <a:gd name="T109" fmla="*/ 74 h 251"/>
                <a:gd name="T110" fmla="*/ 518 w 570"/>
                <a:gd name="T111" fmla="*/ 48 h 251"/>
                <a:gd name="T112" fmla="*/ 542 w 570"/>
                <a:gd name="T11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0" h="251">
                  <a:moveTo>
                    <a:pt x="534" y="118"/>
                  </a:moveTo>
                  <a:cubicBezTo>
                    <a:pt x="534" y="118"/>
                    <a:pt x="534" y="118"/>
                    <a:pt x="534" y="118"/>
                  </a:cubicBezTo>
                  <a:cubicBezTo>
                    <a:pt x="536" y="115"/>
                    <a:pt x="539" y="113"/>
                    <a:pt x="542" y="110"/>
                  </a:cubicBezTo>
                  <a:cubicBezTo>
                    <a:pt x="545" y="109"/>
                    <a:pt x="547" y="107"/>
                    <a:pt x="550" y="106"/>
                  </a:cubicBezTo>
                  <a:cubicBezTo>
                    <a:pt x="552" y="105"/>
                    <a:pt x="554" y="103"/>
                    <a:pt x="552" y="101"/>
                  </a:cubicBezTo>
                  <a:cubicBezTo>
                    <a:pt x="549" y="96"/>
                    <a:pt x="540" y="104"/>
                    <a:pt x="537" y="106"/>
                  </a:cubicBezTo>
                  <a:cubicBezTo>
                    <a:pt x="535" y="108"/>
                    <a:pt x="532" y="110"/>
                    <a:pt x="530" y="112"/>
                  </a:cubicBezTo>
                  <a:cubicBezTo>
                    <a:pt x="527" y="108"/>
                    <a:pt x="524" y="104"/>
                    <a:pt x="521" y="100"/>
                  </a:cubicBezTo>
                  <a:cubicBezTo>
                    <a:pt x="524" y="97"/>
                    <a:pt x="528" y="94"/>
                    <a:pt x="532" y="92"/>
                  </a:cubicBezTo>
                  <a:cubicBezTo>
                    <a:pt x="536" y="90"/>
                    <a:pt x="542" y="87"/>
                    <a:pt x="543" y="82"/>
                  </a:cubicBezTo>
                  <a:cubicBezTo>
                    <a:pt x="544" y="82"/>
                    <a:pt x="544" y="82"/>
                    <a:pt x="544" y="82"/>
                  </a:cubicBezTo>
                  <a:cubicBezTo>
                    <a:pt x="545" y="84"/>
                    <a:pt x="547" y="87"/>
                    <a:pt x="549" y="89"/>
                  </a:cubicBezTo>
                  <a:cubicBezTo>
                    <a:pt x="554" y="97"/>
                    <a:pt x="558" y="106"/>
                    <a:pt x="562" y="115"/>
                  </a:cubicBezTo>
                  <a:cubicBezTo>
                    <a:pt x="563" y="115"/>
                    <a:pt x="563" y="116"/>
                    <a:pt x="563" y="117"/>
                  </a:cubicBezTo>
                  <a:cubicBezTo>
                    <a:pt x="559" y="116"/>
                    <a:pt x="554" y="120"/>
                    <a:pt x="551" y="123"/>
                  </a:cubicBezTo>
                  <a:cubicBezTo>
                    <a:pt x="548" y="125"/>
                    <a:pt x="545" y="128"/>
                    <a:pt x="542" y="130"/>
                  </a:cubicBezTo>
                  <a:cubicBezTo>
                    <a:pt x="539" y="126"/>
                    <a:pt x="537" y="122"/>
                    <a:pt x="534" y="118"/>
                  </a:cubicBezTo>
                  <a:close/>
                  <a:moveTo>
                    <a:pt x="191" y="237"/>
                  </a:moveTo>
                  <a:cubicBezTo>
                    <a:pt x="191" y="237"/>
                    <a:pt x="191" y="237"/>
                    <a:pt x="191" y="237"/>
                  </a:cubicBezTo>
                  <a:cubicBezTo>
                    <a:pt x="206" y="237"/>
                    <a:pt x="222" y="236"/>
                    <a:pt x="237" y="236"/>
                  </a:cubicBezTo>
                  <a:cubicBezTo>
                    <a:pt x="276" y="237"/>
                    <a:pt x="314" y="240"/>
                    <a:pt x="352" y="238"/>
                  </a:cubicBezTo>
                  <a:cubicBezTo>
                    <a:pt x="352" y="241"/>
                    <a:pt x="353" y="243"/>
                    <a:pt x="353" y="246"/>
                  </a:cubicBezTo>
                  <a:cubicBezTo>
                    <a:pt x="353" y="247"/>
                    <a:pt x="353" y="248"/>
                    <a:pt x="353" y="250"/>
                  </a:cubicBezTo>
                  <a:cubicBezTo>
                    <a:pt x="340" y="250"/>
                    <a:pt x="327" y="250"/>
                    <a:pt x="314" y="250"/>
                  </a:cubicBezTo>
                  <a:cubicBezTo>
                    <a:pt x="292" y="251"/>
                    <a:pt x="270" y="250"/>
                    <a:pt x="247" y="250"/>
                  </a:cubicBezTo>
                  <a:cubicBezTo>
                    <a:pt x="230" y="250"/>
                    <a:pt x="213" y="250"/>
                    <a:pt x="196" y="251"/>
                  </a:cubicBezTo>
                  <a:cubicBezTo>
                    <a:pt x="194" y="251"/>
                    <a:pt x="192" y="251"/>
                    <a:pt x="190" y="251"/>
                  </a:cubicBezTo>
                  <a:cubicBezTo>
                    <a:pt x="190" y="251"/>
                    <a:pt x="190" y="250"/>
                    <a:pt x="190" y="250"/>
                  </a:cubicBezTo>
                  <a:cubicBezTo>
                    <a:pt x="190" y="248"/>
                    <a:pt x="191" y="245"/>
                    <a:pt x="191" y="242"/>
                  </a:cubicBezTo>
                  <a:cubicBezTo>
                    <a:pt x="191" y="240"/>
                    <a:pt x="191" y="239"/>
                    <a:pt x="191" y="237"/>
                  </a:cubicBezTo>
                  <a:close/>
                  <a:moveTo>
                    <a:pt x="114" y="1"/>
                  </a:moveTo>
                  <a:cubicBezTo>
                    <a:pt x="114" y="1"/>
                    <a:pt x="114" y="1"/>
                    <a:pt x="114" y="1"/>
                  </a:cubicBezTo>
                  <a:cubicBezTo>
                    <a:pt x="114" y="3"/>
                    <a:pt x="114" y="5"/>
                    <a:pt x="114" y="7"/>
                  </a:cubicBezTo>
                  <a:cubicBezTo>
                    <a:pt x="113" y="5"/>
                    <a:pt x="113" y="4"/>
                    <a:pt x="112" y="2"/>
                  </a:cubicBezTo>
                  <a:cubicBezTo>
                    <a:pt x="113" y="2"/>
                    <a:pt x="113" y="2"/>
                    <a:pt x="114" y="1"/>
                  </a:cubicBezTo>
                  <a:close/>
                  <a:moveTo>
                    <a:pt x="3" y="120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7" y="121"/>
                    <a:pt x="12" y="123"/>
                    <a:pt x="16" y="125"/>
                  </a:cubicBezTo>
                  <a:cubicBezTo>
                    <a:pt x="18" y="127"/>
                    <a:pt x="21" y="128"/>
                    <a:pt x="24" y="129"/>
                  </a:cubicBezTo>
                  <a:cubicBezTo>
                    <a:pt x="23" y="133"/>
                    <a:pt x="22" y="136"/>
                    <a:pt x="21" y="140"/>
                  </a:cubicBezTo>
                  <a:cubicBezTo>
                    <a:pt x="15" y="135"/>
                    <a:pt x="8" y="132"/>
                    <a:pt x="0" y="131"/>
                  </a:cubicBezTo>
                  <a:cubicBezTo>
                    <a:pt x="1" y="127"/>
                    <a:pt x="2" y="124"/>
                    <a:pt x="3" y="120"/>
                  </a:cubicBezTo>
                  <a:close/>
                  <a:moveTo>
                    <a:pt x="25" y="124"/>
                  </a:moveTo>
                  <a:cubicBezTo>
                    <a:pt x="25" y="124"/>
                    <a:pt x="25" y="124"/>
                    <a:pt x="25" y="124"/>
                  </a:cubicBezTo>
                  <a:cubicBezTo>
                    <a:pt x="23" y="122"/>
                    <a:pt x="20" y="121"/>
                    <a:pt x="17" y="120"/>
                  </a:cubicBezTo>
                  <a:cubicBezTo>
                    <a:pt x="13" y="118"/>
                    <a:pt x="9" y="116"/>
                    <a:pt x="4" y="115"/>
                  </a:cubicBezTo>
                  <a:cubicBezTo>
                    <a:pt x="5" y="113"/>
                    <a:pt x="5" y="111"/>
                    <a:pt x="6" y="109"/>
                  </a:cubicBezTo>
                  <a:cubicBezTo>
                    <a:pt x="7" y="106"/>
                    <a:pt x="8" y="103"/>
                    <a:pt x="9" y="100"/>
                  </a:cubicBezTo>
                  <a:cubicBezTo>
                    <a:pt x="14" y="103"/>
                    <a:pt x="20" y="106"/>
                    <a:pt x="25" y="110"/>
                  </a:cubicBezTo>
                  <a:cubicBezTo>
                    <a:pt x="26" y="110"/>
                    <a:pt x="27" y="111"/>
                    <a:pt x="29" y="112"/>
                  </a:cubicBezTo>
                  <a:cubicBezTo>
                    <a:pt x="27" y="116"/>
                    <a:pt x="26" y="120"/>
                    <a:pt x="25" y="124"/>
                  </a:cubicBezTo>
                  <a:close/>
                  <a:moveTo>
                    <a:pt x="32" y="104"/>
                  </a:moveTo>
                  <a:cubicBezTo>
                    <a:pt x="32" y="104"/>
                    <a:pt x="32" y="104"/>
                    <a:pt x="32" y="104"/>
                  </a:cubicBezTo>
                  <a:cubicBezTo>
                    <a:pt x="31" y="105"/>
                    <a:pt x="31" y="106"/>
                    <a:pt x="31" y="107"/>
                  </a:cubicBezTo>
                  <a:cubicBezTo>
                    <a:pt x="29" y="106"/>
                    <a:pt x="28" y="105"/>
                    <a:pt x="27" y="104"/>
                  </a:cubicBezTo>
                  <a:cubicBezTo>
                    <a:pt x="22" y="101"/>
                    <a:pt x="16" y="98"/>
                    <a:pt x="11" y="96"/>
                  </a:cubicBezTo>
                  <a:cubicBezTo>
                    <a:pt x="12" y="93"/>
                    <a:pt x="14" y="90"/>
                    <a:pt x="15" y="87"/>
                  </a:cubicBezTo>
                  <a:cubicBezTo>
                    <a:pt x="17" y="83"/>
                    <a:pt x="20" y="79"/>
                    <a:pt x="22" y="75"/>
                  </a:cubicBezTo>
                  <a:cubicBezTo>
                    <a:pt x="27" y="78"/>
                    <a:pt x="32" y="81"/>
                    <a:pt x="36" y="84"/>
                  </a:cubicBezTo>
                  <a:cubicBezTo>
                    <a:pt x="38" y="85"/>
                    <a:pt x="40" y="86"/>
                    <a:pt x="42" y="87"/>
                  </a:cubicBezTo>
                  <a:cubicBezTo>
                    <a:pt x="38" y="92"/>
                    <a:pt x="35" y="98"/>
                    <a:pt x="32" y="104"/>
                  </a:cubicBezTo>
                  <a:close/>
                  <a:moveTo>
                    <a:pt x="54" y="72"/>
                  </a:moveTo>
                  <a:cubicBezTo>
                    <a:pt x="54" y="72"/>
                    <a:pt x="54" y="72"/>
                    <a:pt x="54" y="72"/>
                  </a:cubicBezTo>
                  <a:cubicBezTo>
                    <a:pt x="51" y="76"/>
                    <a:pt x="48" y="79"/>
                    <a:pt x="45" y="83"/>
                  </a:cubicBezTo>
                  <a:cubicBezTo>
                    <a:pt x="43" y="82"/>
                    <a:pt x="40" y="80"/>
                    <a:pt x="38" y="79"/>
                  </a:cubicBezTo>
                  <a:cubicBezTo>
                    <a:pt x="34" y="76"/>
                    <a:pt x="29" y="73"/>
                    <a:pt x="25" y="71"/>
                  </a:cubicBezTo>
                  <a:cubicBezTo>
                    <a:pt x="28" y="67"/>
                    <a:pt x="31" y="63"/>
                    <a:pt x="34" y="59"/>
                  </a:cubicBezTo>
                  <a:cubicBezTo>
                    <a:pt x="34" y="59"/>
                    <a:pt x="34" y="59"/>
                    <a:pt x="35" y="60"/>
                  </a:cubicBezTo>
                  <a:cubicBezTo>
                    <a:pt x="40" y="62"/>
                    <a:pt x="46" y="64"/>
                    <a:pt x="51" y="67"/>
                  </a:cubicBezTo>
                  <a:cubicBezTo>
                    <a:pt x="53" y="68"/>
                    <a:pt x="54" y="69"/>
                    <a:pt x="56" y="70"/>
                  </a:cubicBezTo>
                  <a:cubicBezTo>
                    <a:pt x="55" y="71"/>
                    <a:pt x="55" y="72"/>
                    <a:pt x="54" y="72"/>
                  </a:cubicBezTo>
                  <a:close/>
                  <a:moveTo>
                    <a:pt x="60" y="66"/>
                  </a:moveTo>
                  <a:cubicBezTo>
                    <a:pt x="60" y="66"/>
                    <a:pt x="60" y="66"/>
                    <a:pt x="60" y="66"/>
                  </a:cubicBezTo>
                  <a:cubicBezTo>
                    <a:pt x="58" y="64"/>
                    <a:pt x="56" y="63"/>
                    <a:pt x="54" y="62"/>
                  </a:cubicBezTo>
                  <a:cubicBezTo>
                    <a:pt x="48" y="60"/>
                    <a:pt x="43" y="57"/>
                    <a:pt x="37" y="55"/>
                  </a:cubicBezTo>
                  <a:cubicBezTo>
                    <a:pt x="39" y="53"/>
                    <a:pt x="41" y="51"/>
                    <a:pt x="43" y="49"/>
                  </a:cubicBezTo>
                  <a:cubicBezTo>
                    <a:pt x="47" y="45"/>
                    <a:pt x="51" y="41"/>
                    <a:pt x="55" y="38"/>
                  </a:cubicBezTo>
                  <a:cubicBezTo>
                    <a:pt x="58" y="42"/>
                    <a:pt x="63" y="46"/>
                    <a:pt x="67" y="49"/>
                  </a:cubicBezTo>
                  <a:cubicBezTo>
                    <a:pt x="69" y="51"/>
                    <a:pt x="72" y="52"/>
                    <a:pt x="74" y="54"/>
                  </a:cubicBezTo>
                  <a:cubicBezTo>
                    <a:pt x="69" y="58"/>
                    <a:pt x="65" y="62"/>
                    <a:pt x="60" y="66"/>
                  </a:cubicBezTo>
                  <a:close/>
                  <a:moveTo>
                    <a:pt x="84" y="47"/>
                  </a:moveTo>
                  <a:cubicBezTo>
                    <a:pt x="84" y="47"/>
                    <a:pt x="84" y="47"/>
                    <a:pt x="84" y="47"/>
                  </a:cubicBezTo>
                  <a:cubicBezTo>
                    <a:pt x="82" y="48"/>
                    <a:pt x="80" y="49"/>
                    <a:pt x="79" y="51"/>
                  </a:cubicBezTo>
                  <a:cubicBezTo>
                    <a:pt x="77" y="49"/>
                    <a:pt x="75" y="48"/>
                    <a:pt x="73" y="47"/>
                  </a:cubicBezTo>
                  <a:cubicBezTo>
                    <a:pt x="68" y="43"/>
                    <a:pt x="63" y="39"/>
                    <a:pt x="58" y="34"/>
                  </a:cubicBezTo>
                  <a:cubicBezTo>
                    <a:pt x="64" y="29"/>
                    <a:pt x="70" y="25"/>
                    <a:pt x="77" y="20"/>
                  </a:cubicBezTo>
                  <a:cubicBezTo>
                    <a:pt x="77" y="20"/>
                    <a:pt x="77" y="20"/>
                    <a:pt x="78" y="21"/>
                  </a:cubicBezTo>
                  <a:cubicBezTo>
                    <a:pt x="85" y="23"/>
                    <a:pt x="89" y="29"/>
                    <a:pt x="93" y="35"/>
                  </a:cubicBezTo>
                  <a:cubicBezTo>
                    <a:pt x="95" y="36"/>
                    <a:pt x="96" y="38"/>
                    <a:pt x="97" y="40"/>
                  </a:cubicBezTo>
                  <a:cubicBezTo>
                    <a:pt x="93" y="42"/>
                    <a:pt x="88" y="44"/>
                    <a:pt x="84" y="47"/>
                  </a:cubicBezTo>
                  <a:close/>
                  <a:moveTo>
                    <a:pt x="104" y="37"/>
                  </a:moveTo>
                  <a:cubicBezTo>
                    <a:pt x="104" y="37"/>
                    <a:pt x="104" y="37"/>
                    <a:pt x="104" y="37"/>
                  </a:cubicBezTo>
                  <a:cubicBezTo>
                    <a:pt x="103" y="37"/>
                    <a:pt x="103" y="38"/>
                    <a:pt x="102" y="38"/>
                  </a:cubicBezTo>
                  <a:cubicBezTo>
                    <a:pt x="100" y="35"/>
                    <a:pt x="98" y="32"/>
                    <a:pt x="96" y="30"/>
                  </a:cubicBezTo>
                  <a:cubicBezTo>
                    <a:pt x="92" y="25"/>
                    <a:pt x="87" y="19"/>
                    <a:pt x="81" y="17"/>
                  </a:cubicBezTo>
                  <a:cubicBezTo>
                    <a:pt x="87" y="13"/>
                    <a:pt x="94" y="9"/>
                    <a:pt x="100" y="6"/>
                  </a:cubicBezTo>
                  <a:cubicBezTo>
                    <a:pt x="102" y="5"/>
                    <a:pt x="104" y="5"/>
                    <a:pt x="106" y="4"/>
                  </a:cubicBezTo>
                  <a:cubicBezTo>
                    <a:pt x="108" y="8"/>
                    <a:pt x="110" y="12"/>
                    <a:pt x="112" y="16"/>
                  </a:cubicBezTo>
                  <a:cubicBezTo>
                    <a:pt x="113" y="18"/>
                    <a:pt x="114" y="19"/>
                    <a:pt x="114" y="20"/>
                  </a:cubicBezTo>
                  <a:cubicBezTo>
                    <a:pt x="114" y="23"/>
                    <a:pt x="114" y="25"/>
                    <a:pt x="114" y="27"/>
                  </a:cubicBezTo>
                  <a:cubicBezTo>
                    <a:pt x="115" y="29"/>
                    <a:pt x="115" y="31"/>
                    <a:pt x="115" y="33"/>
                  </a:cubicBezTo>
                  <a:cubicBezTo>
                    <a:pt x="111" y="34"/>
                    <a:pt x="107" y="36"/>
                    <a:pt x="104" y="37"/>
                  </a:cubicBezTo>
                  <a:close/>
                  <a:moveTo>
                    <a:pt x="568" y="127"/>
                  </a:moveTo>
                  <a:cubicBezTo>
                    <a:pt x="568" y="127"/>
                    <a:pt x="568" y="127"/>
                    <a:pt x="568" y="127"/>
                  </a:cubicBezTo>
                  <a:cubicBezTo>
                    <a:pt x="569" y="129"/>
                    <a:pt x="570" y="131"/>
                    <a:pt x="570" y="133"/>
                  </a:cubicBezTo>
                  <a:cubicBezTo>
                    <a:pt x="563" y="134"/>
                    <a:pt x="556" y="139"/>
                    <a:pt x="551" y="145"/>
                  </a:cubicBezTo>
                  <a:cubicBezTo>
                    <a:pt x="549" y="142"/>
                    <a:pt x="548" y="139"/>
                    <a:pt x="546" y="136"/>
                  </a:cubicBezTo>
                  <a:cubicBezTo>
                    <a:pt x="548" y="134"/>
                    <a:pt x="550" y="132"/>
                    <a:pt x="552" y="130"/>
                  </a:cubicBezTo>
                  <a:cubicBezTo>
                    <a:pt x="555" y="128"/>
                    <a:pt x="557" y="126"/>
                    <a:pt x="560" y="125"/>
                  </a:cubicBezTo>
                  <a:cubicBezTo>
                    <a:pt x="561" y="124"/>
                    <a:pt x="564" y="123"/>
                    <a:pt x="565" y="121"/>
                  </a:cubicBezTo>
                  <a:cubicBezTo>
                    <a:pt x="566" y="123"/>
                    <a:pt x="567" y="125"/>
                    <a:pt x="568" y="127"/>
                  </a:cubicBezTo>
                  <a:close/>
                  <a:moveTo>
                    <a:pt x="440" y="25"/>
                  </a:moveTo>
                  <a:cubicBezTo>
                    <a:pt x="440" y="25"/>
                    <a:pt x="440" y="25"/>
                    <a:pt x="440" y="25"/>
                  </a:cubicBezTo>
                  <a:cubicBezTo>
                    <a:pt x="440" y="26"/>
                    <a:pt x="438" y="28"/>
                    <a:pt x="437" y="30"/>
                  </a:cubicBezTo>
                  <a:cubicBezTo>
                    <a:pt x="437" y="30"/>
                    <a:pt x="437" y="29"/>
                    <a:pt x="437" y="28"/>
                  </a:cubicBezTo>
                  <a:cubicBezTo>
                    <a:pt x="436" y="18"/>
                    <a:pt x="435" y="9"/>
                    <a:pt x="435" y="0"/>
                  </a:cubicBezTo>
                  <a:cubicBezTo>
                    <a:pt x="437" y="0"/>
                    <a:pt x="439" y="0"/>
                    <a:pt x="440" y="1"/>
                  </a:cubicBezTo>
                  <a:cubicBezTo>
                    <a:pt x="444" y="2"/>
                    <a:pt x="448" y="3"/>
                    <a:pt x="452" y="5"/>
                  </a:cubicBezTo>
                  <a:cubicBezTo>
                    <a:pt x="452" y="5"/>
                    <a:pt x="453" y="5"/>
                    <a:pt x="453" y="5"/>
                  </a:cubicBezTo>
                  <a:cubicBezTo>
                    <a:pt x="448" y="7"/>
                    <a:pt x="446" y="12"/>
                    <a:pt x="444" y="16"/>
                  </a:cubicBezTo>
                  <a:cubicBezTo>
                    <a:pt x="443" y="19"/>
                    <a:pt x="442" y="22"/>
                    <a:pt x="440" y="25"/>
                  </a:cubicBezTo>
                  <a:close/>
                  <a:moveTo>
                    <a:pt x="455" y="40"/>
                  </a:moveTo>
                  <a:cubicBezTo>
                    <a:pt x="455" y="40"/>
                    <a:pt x="455" y="40"/>
                    <a:pt x="455" y="40"/>
                  </a:cubicBezTo>
                  <a:cubicBezTo>
                    <a:pt x="451" y="37"/>
                    <a:pt x="447" y="35"/>
                    <a:pt x="442" y="33"/>
                  </a:cubicBezTo>
                  <a:cubicBezTo>
                    <a:pt x="445" y="30"/>
                    <a:pt x="447" y="25"/>
                    <a:pt x="449" y="22"/>
                  </a:cubicBezTo>
                  <a:cubicBezTo>
                    <a:pt x="450" y="20"/>
                    <a:pt x="451" y="17"/>
                    <a:pt x="452" y="14"/>
                  </a:cubicBezTo>
                  <a:cubicBezTo>
                    <a:pt x="454" y="12"/>
                    <a:pt x="456" y="9"/>
                    <a:pt x="457" y="7"/>
                  </a:cubicBezTo>
                  <a:cubicBezTo>
                    <a:pt x="457" y="7"/>
                    <a:pt x="457" y="7"/>
                    <a:pt x="457" y="6"/>
                  </a:cubicBezTo>
                  <a:cubicBezTo>
                    <a:pt x="462" y="9"/>
                    <a:pt x="468" y="12"/>
                    <a:pt x="473" y="15"/>
                  </a:cubicBezTo>
                  <a:cubicBezTo>
                    <a:pt x="472" y="15"/>
                    <a:pt x="471" y="16"/>
                    <a:pt x="471" y="17"/>
                  </a:cubicBezTo>
                  <a:cubicBezTo>
                    <a:pt x="469" y="20"/>
                    <a:pt x="467" y="23"/>
                    <a:pt x="465" y="26"/>
                  </a:cubicBezTo>
                  <a:cubicBezTo>
                    <a:pt x="462" y="31"/>
                    <a:pt x="459" y="36"/>
                    <a:pt x="455" y="40"/>
                  </a:cubicBezTo>
                  <a:close/>
                  <a:moveTo>
                    <a:pt x="473" y="54"/>
                  </a:moveTo>
                  <a:cubicBezTo>
                    <a:pt x="473" y="54"/>
                    <a:pt x="473" y="54"/>
                    <a:pt x="473" y="54"/>
                  </a:cubicBezTo>
                  <a:cubicBezTo>
                    <a:pt x="470" y="51"/>
                    <a:pt x="467" y="49"/>
                    <a:pt x="464" y="46"/>
                  </a:cubicBezTo>
                  <a:cubicBezTo>
                    <a:pt x="463" y="45"/>
                    <a:pt x="461" y="44"/>
                    <a:pt x="460" y="43"/>
                  </a:cubicBezTo>
                  <a:cubicBezTo>
                    <a:pt x="463" y="39"/>
                    <a:pt x="466" y="35"/>
                    <a:pt x="469" y="31"/>
                  </a:cubicBezTo>
                  <a:cubicBezTo>
                    <a:pt x="471" y="28"/>
                    <a:pt x="473" y="25"/>
                    <a:pt x="475" y="22"/>
                  </a:cubicBezTo>
                  <a:cubicBezTo>
                    <a:pt x="476" y="20"/>
                    <a:pt x="477" y="19"/>
                    <a:pt x="478" y="17"/>
                  </a:cubicBezTo>
                  <a:cubicBezTo>
                    <a:pt x="484" y="21"/>
                    <a:pt x="490" y="25"/>
                    <a:pt x="495" y="28"/>
                  </a:cubicBezTo>
                  <a:cubicBezTo>
                    <a:pt x="495" y="29"/>
                    <a:pt x="494" y="30"/>
                    <a:pt x="494" y="30"/>
                  </a:cubicBezTo>
                  <a:cubicBezTo>
                    <a:pt x="491" y="33"/>
                    <a:pt x="489" y="36"/>
                    <a:pt x="487" y="39"/>
                  </a:cubicBezTo>
                  <a:cubicBezTo>
                    <a:pt x="484" y="44"/>
                    <a:pt x="480" y="51"/>
                    <a:pt x="473" y="54"/>
                  </a:cubicBezTo>
                  <a:cubicBezTo>
                    <a:pt x="473" y="54"/>
                    <a:pt x="473" y="54"/>
                    <a:pt x="473" y="54"/>
                  </a:cubicBezTo>
                  <a:close/>
                  <a:moveTo>
                    <a:pt x="478" y="58"/>
                  </a:moveTo>
                  <a:cubicBezTo>
                    <a:pt x="478" y="58"/>
                    <a:pt x="478" y="58"/>
                    <a:pt x="478" y="58"/>
                  </a:cubicBezTo>
                  <a:cubicBezTo>
                    <a:pt x="483" y="55"/>
                    <a:pt x="487" y="50"/>
                    <a:pt x="490" y="46"/>
                  </a:cubicBezTo>
                  <a:cubicBezTo>
                    <a:pt x="493" y="43"/>
                    <a:pt x="495" y="39"/>
                    <a:pt x="497" y="36"/>
                  </a:cubicBezTo>
                  <a:cubicBezTo>
                    <a:pt x="498" y="35"/>
                    <a:pt x="499" y="33"/>
                    <a:pt x="500" y="32"/>
                  </a:cubicBezTo>
                  <a:cubicBezTo>
                    <a:pt x="505" y="36"/>
                    <a:pt x="509" y="39"/>
                    <a:pt x="514" y="44"/>
                  </a:cubicBezTo>
                  <a:cubicBezTo>
                    <a:pt x="510" y="46"/>
                    <a:pt x="505" y="52"/>
                    <a:pt x="504" y="53"/>
                  </a:cubicBezTo>
                  <a:cubicBezTo>
                    <a:pt x="500" y="59"/>
                    <a:pt x="496" y="65"/>
                    <a:pt x="492" y="71"/>
                  </a:cubicBezTo>
                  <a:cubicBezTo>
                    <a:pt x="487" y="66"/>
                    <a:pt x="483" y="62"/>
                    <a:pt x="478" y="58"/>
                  </a:cubicBezTo>
                  <a:close/>
                  <a:moveTo>
                    <a:pt x="518" y="95"/>
                  </a:moveTo>
                  <a:cubicBezTo>
                    <a:pt x="518" y="95"/>
                    <a:pt x="518" y="95"/>
                    <a:pt x="518" y="95"/>
                  </a:cubicBezTo>
                  <a:cubicBezTo>
                    <a:pt x="515" y="93"/>
                    <a:pt x="513" y="90"/>
                    <a:pt x="511" y="88"/>
                  </a:cubicBezTo>
                  <a:cubicBezTo>
                    <a:pt x="513" y="86"/>
                    <a:pt x="516" y="83"/>
                    <a:pt x="519" y="80"/>
                  </a:cubicBezTo>
                  <a:cubicBezTo>
                    <a:pt x="521" y="78"/>
                    <a:pt x="523" y="75"/>
                    <a:pt x="526" y="73"/>
                  </a:cubicBezTo>
                  <a:cubicBezTo>
                    <a:pt x="528" y="70"/>
                    <a:pt x="530" y="69"/>
                    <a:pt x="530" y="65"/>
                  </a:cubicBezTo>
                  <a:cubicBezTo>
                    <a:pt x="530" y="65"/>
                    <a:pt x="529" y="64"/>
                    <a:pt x="529" y="64"/>
                  </a:cubicBezTo>
                  <a:cubicBezTo>
                    <a:pt x="526" y="64"/>
                    <a:pt x="524" y="66"/>
                    <a:pt x="522" y="67"/>
                  </a:cubicBezTo>
                  <a:cubicBezTo>
                    <a:pt x="520" y="70"/>
                    <a:pt x="517" y="73"/>
                    <a:pt x="515" y="75"/>
                  </a:cubicBezTo>
                  <a:cubicBezTo>
                    <a:pt x="512" y="78"/>
                    <a:pt x="510" y="81"/>
                    <a:pt x="507" y="84"/>
                  </a:cubicBezTo>
                  <a:cubicBezTo>
                    <a:pt x="504" y="81"/>
                    <a:pt x="501" y="79"/>
                    <a:pt x="498" y="76"/>
                  </a:cubicBezTo>
                  <a:cubicBezTo>
                    <a:pt x="498" y="75"/>
                    <a:pt x="497" y="75"/>
                    <a:pt x="497" y="74"/>
                  </a:cubicBezTo>
                  <a:cubicBezTo>
                    <a:pt x="500" y="68"/>
                    <a:pt x="504" y="62"/>
                    <a:pt x="509" y="57"/>
                  </a:cubicBezTo>
                  <a:cubicBezTo>
                    <a:pt x="511" y="54"/>
                    <a:pt x="514" y="51"/>
                    <a:pt x="516" y="49"/>
                  </a:cubicBezTo>
                  <a:cubicBezTo>
                    <a:pt x="517" y="49"/>
                    <a:pt x="517" y="49"/>
                    <a:pt x="518" y="48"/>
                  </a:cubicBezTo>
                  <a:cubicBezTo>
                    <a:pt x="523" y="54"/>
                    <a:pt x="527" y="60"/>
                    <a:pt x="532" y="66"/>
                  </a:cubicBezTo>
                  <a:cubicBezTo>
                    <a:pt x="535" y="71"/>
                    <a:pt x="539" y="75"/>
                    <a:pt x="542" y="80"/>
                  </a:cubicBezTo>
                  <a:cubicBezTo>
                    <a:pt x="542" y="80"/>
                    <a:pt x="542" y="80"/>
                    <a:pt x="542" y="80"/>
                  </a:cubicBezTo>
                  <a:cubicBezTo>
                    <a:pt x="537" y="79"/>
                    <a:pt x="531" y="84"/>
                    <a:pt x="528" y="87"/>
                  </a:cubicBezTo>
                  <a:cubicBezTo>
                    <a:pt x="524" y="89"/>
                    <a:pt x="521" y="92"/>
                    <a:pt x="518" y="95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5" name="íśľíḍè"/>
            <p:cNvSpPr/>
            <p:nvPr/>
          </p:nvSpPr>
          <p:spPr bwMode="auto">
            <a:xfrm>
              <a:off x="4119601" y="3581268"/>
              <a:ext cx="3888859" cy="921402"/>
            </a:xfrm>
            <a:custGeom>
              <a:avLst/>
              <a:gdLst>
                <a:gd name="T0" fmla="*/ 527 w 552"/>
                <a:gd name="T1" fmla="*/ 104 h 131"/>
                <a:gd name="T2" fmla="*/ 536 w 552"/>
                <a:gd name="T3" fmla="*/ 96 h 131"/>
                <a:gd name="T4" fmla="*/ 544 w 552"/>
                <a:gd name="T5" fmla="*/ 109 h 131"/>
                <a:gd name="T6" fmla="*/ 527 w 552"/>
                <a:gd name="T7" fmla="*/ 104 h 131"/>
                <a:gd name="T8" fmla="*/ 530 w 552"/>
                <a:gd name="T9" fmla="*/ 92 h 131"/>
                <a:gd name="T10" fmla="*/ 514 w 552"/>
                <a:gd name="T11" fmla="*/ 86 h 131"/>
                <a:gd name="T12" fmla="*/ 533 w 552"/>
                <a:gd name="T13" fmla="*/ 90 h 131"/>
                <a:gd name="T14" fmla="*/ 4 w 552"/>
                <a:gd name="T15" fmla="*/ 109 h 131"/>
                <a:gd name="T16" fmla="*/ 17 w 552"/>
                <a:gd name="T17" fmla="*/ 115 h 131"/>
                <a:gd name="T18" fmla="*/ 0 w 552"/>
                <a:gd name="T19" fmla="*/ 118 h 131"/>
                <a:gd name="T20" fmla="*/ 12 w 552"/>
                <a:gd name="T21" fmla="*/ 92 h 131"/>
                <a:gd name="T22" fmla="*/ 22 w 552"/>
                <a:gd name="T23" fmla="*/ 98 h 131"/>
                <a:gd name="T24" fmla="*/ 18 w 552"/>
                <a:gd name="T25" fmla="*/ 110 h 131"/>
                <a:gd name="T26" fmla="*/ 6 w 552"/>
                <a:gd name="T27" fmla="*/ 104 h 131"/>
                <a:gd name="T28" fmla="*/ 27 w 552"/>
                <a:gd name="T29" fmla="*/ 68 h 131"/>
                <a:gd name="T30" fmla="*/ 35 w 552"/>
                <a:gd name="T31" fmla="*/ 73 h 131"/>
                <a:gd name="T32" fmla="*/ 25 w 552"/>
                <a:gd name="T33" fmla="*/ 90 h 131"/>
                <a:gd name="T34" fmla="*/ 20 w 552"/>
                <a:gd name="T35" fmla="*/ 90 h 131"/>
                <a:gd name="T36" fmla="*/ 30 w 552"/>
                <a:gd name="T37" fmla="*/ 64 h 131"/>
                <a:gd name="T38" fmla="*/ 44 w 552"/>
                <a:gd name="T39" fmla="*/ 53 h 131"/>
                <a:gd name="T40" fmla="*/ 47 w 552"/>
                <a:gd name="T41" fmla="*/ 58 h 131"/>
                <a:gd name="T42" fmla="*/ 38 w 552"/>
                <a:gd name="T43" fmla="*/ 69 h 131"/>
                <a:gd name="T44" fmla="*/ 30 w 552"/>
                <a:gd name="T45" fmla="*/ 64 h 131"/>
                <a:gd name="T46" fmla="*/ 58 w 552"/>
                <a:gd name="T47" fmla="*/ 33 h 131"/>
                <a:gd name="T48" fmla="*/ 67 w 552"/>
                <a:gd name="T49" fmla="*/ 40 h 131"/>
                <a:gd name="T50" fmla="*/ 53 w 552"/>
                <a:gd name="T51" fmla="*/ 52 h 131"/>
                <a:gd name="T52" fmla="*/ 44 w 552"/>
                <a:gd name="T53" fmla="*/ 47 h 131"/>
                <a:gd name="T54" fmla="*/ 82 w 552"/>
                <a:gd name="T55" fmla="*/ 15 h 131"/>
                <a:gd name="T56" fmla="*/ 90 w 552"/>
                <a:gd name="T57" fmla="*/ 26 h 131"/>
                <a:gd name="T58" fmla="*/ 77 w 552"/>
                <a:gd name="T59" fmla="*/ 33 h 131"/>
                <a:gd name="T60" fmla="*/ 66 w 552"/>
                <a:gd name="T61" fmla="*/ 33 h 131"/>
                <a:gd name="T62" fmla="*/ 87 w 552"/>
                <a:gd name="T63" fmla="*/ 13 h 131"/>
                <a:gd name="T64" fmla="*/ 107 w 552"/>
                <a:gd name="T65" fmla="*/ 6 h 131"/>
                <a:gd name="T66" fmla="*/ 108 w 552"/>
                <a:gd name="T67" fmla="*/ 19 h 131"/>
                <a:gd name="T68" fmla="*/ 97 w 552"/>
                <a:gd name="T69" fmla="*/ 23 h 131"/>
                <a:gd name="T70" fmla="*/ 89 w 552"/>
                <a:gd name="T71" fmla="*/ 16 h 131"/>
                <a:gd name="T72" fmla="*/ 429 w 552"/>
                <a:gd name="T73" fmla="*/ 0 h 131"/>
                <a:gd name="T74" fmla="*/ 433 w 552"/>
                <a:gd name="T75" fmla="*/ 11 h 131"/>
                <a:gd name="T76" fmla="*/ 430 w 552"/>
                <a:gd name="T77" fmla="*/ 16 h 131"/>
                <a:gd name="T78" fmla="*/ 429 w 552"/>
                <a:gd name="T79" fmla="*/ 0 h 131"/>
                <a:gd name="T80" fmla="*/ 456 w 552"/>
                <a:gd name="T81" fmla="*/ 15 h 131"/>
                <a:gd name="T82" fmla="*/ 448 w 552"/>
                <a:gd name="T83" fmla="*/ 26 h 131"/>
                <a:gd name="T84" fmla="*/ 442 w 552"/>
                <a:gd name="T85" fmla="*/ 8 h 131"/>
                <a:gd name="T86" fmla="*/ 461 w 552"/>
                <a:gd name="T87" fmla="*/ 18 h 131"/>
                <a:gd name="T88" fmla="*/ 466 w 552"/>
                <a:gd name="T89" fmla="*/ 40 h 131"/>
                <a:gd name="T90" fmla="*/ 466 w 552"/>
                <a:gd name="T91" fmla="*/ 40 h 131"/>
                <a:gd name="T92" fmla="*/ 453 w 552"/>
                <a:gd name="T93" fmla="*/ 29 h 131"/>
                <a:gd name="T94" fmla="*/ 482 w 552"/>
                <a:gd name="T95" fmla="*/ 33 h 131"/>
                <a:gd name="T96" fmla="*/ 485 w 552"/>
                <a:gd name="T97" fmla="*/ 57 h 131"/>
                <a:gd name="T98" fmla="*/ 471 w 552"/>
                <a:gd name="T99" fmla="*/ 44 h 131"/>
                <a:gd name="T100" fmla="*/ 498 w 552"/>
                <a:gd name="T101" fmla="*/ 48 h 131"/>
                <a:gd name="T102" fmla="*/ 508 w 552"/>
                <a:gd name="T103" fmla="*/ 61 h 131"/>
                <a:gd name="T104" fmla="*/ 491 w 552"/>
                <a:gd name="T105" fmla="*/ 62 h 131"/>
                <a:gd name="T106" fmla="*/ 498 w 552"/>
                <a:gd name="T107" fmla="*/ 48 h 131"/>
                <a:gd name="T108" fmla="*/ 520 w 552"/>
                <a:gd name="T109" fmla="*/ 73 h 131"/>
                <a:gd name="T110" fmla="*/ 511 w 552"/>
                <a:gd name="T111" fmla="*/ 81 h 131"/>
                <a:gd name="T112" fmla="*/ 512 w 552"/>
                <a:gd name="T113" fmla="*/ 66 h 131"/>
                <a:gd name="T114" fmla="*/ 547 w 552"/>
                <a:gd name="T115" fmla="*/ 115 h 131"/>
                <a:gd name="T116" fmla="*/ 544 w 552"/>
                <a:gd name="T117" fmla="*/ 131 h 131"/>
                <a:gd name="T118" fmla="*/ 545 w 552"/>
                <a:gd name="T119" fmla="*/ 11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52" h="131">
                  <a:moveTo>
                    <a:pt x="527" y="104"/>
                  </a:moveTo>
                  <a:cubicBezTo>
                    <a:pt x="527" y="104"/>
                    <a:pt x="527" y="104"/>
                    <a:pt x="527" y="104"/>
                  </a:cubicBezTo>
                  <a:cubicBezTo>
                    <a:pt x="529" y="101"/>
                    <a:pt x="532" y="99"/>
                    <a:pt x="535" y="96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39" y="100"/>
                    <a:pt x="542" y="104"/>
                    <a:pt x="544" y="109"/>
                  </a:cubicBezTo>
                  <a:cubicBezTo>
                    <a:pt x="544" y="109"/>
                    <a:pt x="544" y="109"/>
                    <a:pt x="544" y="109"/>
                  </a:cubicBezTo>
                  <a:cubicBezTo>
                    <a:pt x="541" y="111"/>
                    <a:pt x="538" y="114"/>
                    <a:pt x="535" y="116"/>
                  </a:cubicBezTo>
                  <a:cubicBezTo>
                    <a:pt x="532" y="112"/>
                    <a:pt x="530" y="108"/>
                    <a:pt x="527" y="104"/>
                  </a:cubicBezTo>
                  <a:close/>
                  <a:moveTo>
                    <a:pt x="533" y="90"/>
                  </a:moveTo>
                  <a:cubicBezTo>
                    <a:pt x="532" y="91"/>
                    <a:pt x="531" y="91"/>
                    <a:pt x="530" y="92"/>
                  </a:cubicBezTo>
                  <a:cubicBezTo>
                    <a:pt x="528" y="94"/>
                    <a:pt x="525" y="96"/>
                    <a:pt x="523" y="98"/>
                  </a:cubicBezTo>
                  <a:cubicBezTo>
                    <a:pt x="520" y="94"/>
                    <a:pt x="517" y="90"/>
                    <a:pt x="514" y="86"/>
                  </a:cubicBezTo>
                  <a:cubicBezTo>
                    <a:pt x="517" y="83"/>
                    <a:pt x="521" y="81"/>
                    <a:pt x="524" y="78"/>
                  </a:cubicBezTo>
                  <a:cubicBezTo>
                    <a:pt x="527" y="82"/>
                    <a:pt x="530" y="86"/>
                    <a:pt x="533" y="90"/>
                  </a:cubicBezTo>
                  <a:close/>
                  <a:moveTo>
                    <a:pt x="0" y="118"/>
                  </a:moveTo>
                  <a:cubicBezTo>
                    <a:pt x="1" y="115"/>
                    <a:pt x="3" y="112"/>
                    <a:pt x="4" y="109"/>
                  </a:cubicBezTo>
                  <a:cubicBezTo>
                    <a:pt x="6" y="110"/>
                    <a:pt x="7" y="111"/>
                    <a:pt x="9" y="111"/>
                  </a:cubicBezTo>
                  <a:cubicBezTo>
                    <a:pt x="11" y="113"/>
                    <a:pt x="14" y="114"/>
                    <a:pt x="17" y="115"/>
                  </a:cubicBezTo>
                  <a:cubicBezTo>
                    <a:pt x="16" y="119"/>
                    <a:pt x="15" y="122"/>
                    <a:pt x="14" y="126"/>
                  </a:cubicBezTo>
                  <a:cubicBezTo>
                    <a:pt x="10" y="123"/>
                    <a:pt x="5" y="120"/>
                    <a:pt x="0" y="118"/>
                  </a:cubicBezTo>
                  <a:close/>
                  <a:moveTo>
                    <a:pt x="6" y="104"/>
                  </a:moveTo>
                  <a:cubicBezTo>
                    <a:pt x="8" y="100"/>
                    <a:pt x="10" y="96"/>
                    <a:pt x="12" y="92"/>
                  </a:cubicBezTo>
                  <a:cubicBezTo>
                    <a:pt x="14" y="93"/>
                    <a:pt x="16" y="94"/>
                    <a:pt x="18" y="96"/>
                  </a:cubicBezTo>
                  <a:cubicBezTo>
                    <a:pt x="19" y="96"/>
                    <a:pt x="20" y="97"/>
                    <a:pt x="22" y="98"/>
                  </a:cubicBezTo>
                  <a:cubicBezTo>
                    <a:pt x="20" y="102"/>
                    <a:pt x="19" y="106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6" y="108"/>
                    <a:pt x="13" y="107"/>
                    <a:pt x="10" y="106"/>
                  </a:cubicBezTo>
                  <a:cubicBezTo>
                    <a:pt x="9" y="105"/>
                    <a:pt x="8" y="105"/>
                    <a:pt x="6" y="104"/>
                  </a:cubicBezTo>
                  <a:close/>
                  <a:moveTo>
                    <a:pt x="15" y="88"/>
                  </a:moveTo>
                  <a:cubicBezTo>
                    <a:pt x="19" y="81"/>
                    <a:pt x="23" y="75"/>
                    <a:pt x="27" y="68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1" y="71"/>
                    <a:pt x="33" y="72"/>
                    <a:pt x="35" y="73"/>
                  </a:cubicBezTo>
                  <a:cubicBezTo>
                    <a:pt x="31" y="78"/>
                    <a:pt x="28" y="84"/>
                    <a:pt x="25" y="90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4" y="91"/>
                    <a:pt x="24" y="92"/>
                    <a:pt x="24" y="93"/>
                  </a:cubicBezTo>
                  <a:cubicBezTo>
                    <a:pt x="22" y="92"/>
                    <a:pt x="21" y="91"/>
                    <a:pt x="20" y="90"/>
                  </a:cubicBezTo>
                  <a:cubicBezTo>
                    <a:pt x="18" y="89"/>
                    <a:pt x="16" y="88"/>
                    <a:pt x="15" y="88"/>
                  </a:cubicBezTo>
                  <a:close/>
                  <a:moveTo>
                    <a:pt x="30" y="64"/>
                  </a:moveTo>
                  <a:cubicBezTo>
                    <a:pt x="33" y="59"/>
                    <a:pt x="37" y="55"/>
                    <a:pt x="40" y="51"/>
                  </a:cubicBezTo>
                  <a:cubicBezTo>
                    <a:pt x="41" y="52"/>
                    <a:pt x="43" y="52"/>
                    <a:pt x="44" y="53"/>
                  </a:cubicBezTo>
                  <a:cubicBezTo>
                    <a:pt x="46" y="54"/>
                    <a:pt x="47" y="55"/>
                    <a:pt x="49" y="56"/>
                  </a:cubicBezTo>
                  <a:cubicBezTo>
                    <a:pt x="48" y="57"/>
                    <a:pt x="48" y="58"/>
                    <a:pt x="47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4" y="62"/>
                    <a:pt x="41" y="65"/>
                    <a:pt x="38" y="69"/>
                  </a:cubicBezTo>
                  <a:cubicBezTo>
                    <a:pt x="36" y="68"/>
                    <a:pt x="33" y="66"/>
                    <a:pt x="31" y="65"/>
                  </a:cubicBezTo>
                  <a:lnTo>
                    <a:pt x="30" y="64"/>
                  </a:lnTo>
                  <a:close/>
                  <a:moveTo>
                    <a:pt x="44" y="47"/>
                  </a:moveTo>
                  <a:cubicBezTo>
                    <a:pt x="48" y="42"/>
                    <a:pt x="53" y="38"/>
                    <a:pt x="58" y="33"/>
                  </a:cubicBezTo>
                  <a:cubicBezTo>
                    <a:pt x="58" y="34"/>
                    <a:pt x="59" y="34"/>
                    <a:pt x="60" y="35"/>
                  </a:cubicBezTo>
                  <a:cubicBezTo>
                    <a:pt x="62" y="37"/>
                    <a:pt x="65" y="38"/>
                    <a:pt x="67" y="40"/>
                  </a:cubicBezTo>
                  <a:cubicBezTo>
                    <a:pt x="62" y="44"/>
                    <a:pt x="58" y="48"/>
                    <a:pt x="53" y="52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1" y="50"/>
                    <a:pt x="49" y="49"/>
                    <a:pt x="47" y="48"/>
                  </a:cubicBezTo>
                  <a:cubicBezTo>
                    <a:pt x="46" y="48"/>
                    <a:pt x="45" y="47"/>
                    <a:pt x="44" y="47"/>
                  </a:cubicBezTo>
                  <a:close/>
                  <a:moveTo>
                    <a:pt x="62" y="30"/>
                  </a:moveTo>
                  <a:cubicBezTo>
                    <a:pt x="68" y="24"/>
                    <a:pt x="75" y="20"/>
                    <a:pt x="82" y="15"/>
                  </a:cubicBezTo>
                  <a:cubicBezTo>
                    <a:pt x="84" y="17"/>
                    <a:pt x="85" y="19"/>
                    <a:pt x="86" y="21"/>
                  </a:cubicBezTo>
                  <a:cubicBezTo>
                    <a:pt x="88" y="22"/>
                    <a:pt x="89" y="24"/>
                    <a:pt x="90" y="26"/>
                  </a:cubicBezTo>
                  <a:cubicBezTo>
                    <a:pt x="86" y="28"/>
                    <a:pt x="81" y="30"/>
                    <a:pt x="77" y="33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5" y="34"/>
                    <a:pt x="73" y="35"/>
                    <a:pt x="72" y="37"/>
                  </a:cubicBezTo>
                  <a:cubicBezTo>
                    <a:pt x="70" y="35"/>
                    <a:pt x="68" y="34"/>
                    <a:pt x="66" y="33"/>
                  </a:cubicBezTo>
                  <a:cubicBezTo>
                    <a:pt x="65" y="32"/>
                    <a:pt x="63" y="31"/>
                    <a:pt x="62" y="30"/>
                  </a:cubicBezTo>
                  <a:close/>
                  <a:moveTo>
                    <a:pt x="87" y="13"/>
                  </a:moveTo>
                  <a:cubicBezTo>
                    <a:pt x="93" y="10"/>
                    <a:pt x="100" y="7"/>
                    <a:pt x="106" y="4"/>
                  </a:cubicBezTo>
                  <a:cubicBezTo>
                    <a:pt x="107" y="5"/>
                    <a:pt x="107" y="6"/>
                    <a:pt x="107" y="6"/>
                  </a:cubicBezTo>
                  <a:cubicBezTo>
                    <a:pt x="107" y="9"/>
                    <a:pt x="107" y="11"/>
                    <a:pt x="107" y="13"/>
                  </a:cubicBezTo>
                  <a:cubicBezTo>
                    <a:pt x="108" y="15"/>
                    <a:pt x="108" y="17"/>
                    <a:pt x="108" y="19"/>
                  </a:cubicBezTo>
                  <a:cubicBezTo>
                    <a:pt x="104" y="20"/>
                    <a:pt x="100" y="22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6" y="23"/>
                    <a:pt x="96" y="24"/>
                    <a:pt x="95" y="24"/>
                  </a:cubicBezTo>
                  <a:cubicBezTo>
                    <a:pt x="93" y="21"/>
                    <a:pt x="91" y="18"/>
                    <a:pt x="89" y="16"/>
                  </a:cubicBezTo>
                  <a:cubicBezTo>
                    <a:pt x="89" y="15"/>
                    <a:pt x="88" y="14"/>
                    <a:pt x="87" y="13"/>
                  </a:cubicBezTo>
                  <a:close/>
                  <a:moveTo>
                    <a:pt x="429" y="0"/>
                  </a:moveTo>
                  <a:cubicBezTo>
                    <a:pt x="429" y="0"/>
                    <a:pt x="432" y="1"/>
                    <a:pt x="436" y="3"/>
                  </a:cubicBezTo>
                  <a:cubicBezTo>
                    <a:pt x="435" y="6"/>
                    <a:pt x="435" y="8"/>
                    <a:pt x="433" y="11"/>
                  </a:cubicBezTo>
                  <a:cubicBezTo>
                    <a:pt x="433" y="11"/>
                    <a:pt x="433" y="11"/>
                    <a:pt x="433" y="11"/>
                  </a:cubicBezTo>
                  <a:cubicBezTo>
                    <a:pt x="433" y="12"/>
                    <a:pt x="431" y="14"/>
                    <a:pt x="430" y="16"/>
                  </a:cubicBezTo>
                  <a:cubicBezTo>
                    <a:pt x="430" y="16"/>
                    <a:pt x="430" y="15"/>
                    <a:pt x="430" y="14"/>
                  </a:cubicBezTo>
                  <a:cubicBezTo>
                    <a:pt x="430" y="9"/>
                    <a:pt x="429" y="4"/>
                    <a:pt x="429" y="0"/>
                  </a:cubicBezTo>
                  <a:close/>
                  <a:moveTo>
                    <a:pt x="443" y="6"/>
                  </a:moveTo>
                  <a:cubicBezTo>
                    <a:pt x="447" y="9"/>
                    <a:pt x="451" y="11"/>
                    <a:pt x="456" y="15"/>
                  </a:cubicBezTo>
                  <a:cubicBezTo>
                    <a:pt x="454" y="19"/>
                    <a:pt x="451" y="22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44" y="23"/>
                    <a:pt x="440" y="21"/>
                    <a:pt x="435" y="19"/>
                  </a:cubicBezTo>
                  <a:cubicBezTo>
                    <a:pt x="438" y="16"/>
                    <a:pt x="440" y="11"/>
                    <a:pt x="442" y="8"/>
                  </a:cubicBezTo>
                  <a:cubicBezTo>
                    <a:pt x="442" y="8"/>
                    <a:pt x="442" y="7"/>
                    <a:pt x="443" y="6"/>
                  </a:cubicBezTo>
                  <a:close/>
                  <a:moveTo>
                    <a:pt x="461" y="18"/>
                  </a:moveTo>
                  <a:cubicBezTo>
                    <a:pt x="466" y="21"/>
                    <a:pt x="471" y="25"/>
                    <a:pt x="477" y="30"/>
                  </a:cubicBezTo>
                  <a:cubicBezTo>
                    <a:pt x="474" y="34"/>
                    <a:pt x="471" y="38"/>
                    <a:pt x="466" y="40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3" y="37"/>
                    <a:pt x="460" y="35"/>
                    <a:pt x="457" y="32"/>
                  </a:cubicBezTo>
                  <a:cubicBezTo>
                    <a:pt x="456" y="31"/>
                    <a:pt x="454" y="30"/>
                    <a:pt x="453" y="29"/>
                  </a:cubicBezTo>
                  <a:cubicBezTo>
                    <a:pt x="456" y="26"/>
                    <a:pt x="458" y="22"/>
                    <a:pt x="461" y="18"/>
                  </a:cubicBezTo>
                  <a:close/>
                  <a:moveTo>
                    <a:pt x="482" y="33"/>
                  </a:moveTo>
                  <a:cubicBezTo>
                    <a:pt x="486" y="37"/>
                    <a:pt x="490" y="40"/>
                    <a:pt x="494" y="44"/>
                  </a:cubicBezTo>
                  <a:cubicBezTo>
                    <a:pt x="491" y="48"/>
                    <a:pt x="488" y="52"/>
                    <a:pt x="485" y="57"/>
                  </a:cubicBezTo>
                  <a:cubicBezTo>
                    <a:pt x="480" y="52"/>
                    <a:pt x="476" y="48"/>
                    <a:pt x="471" y="44"/>
                  </a:cubicBezTo>
                  <a:cubicBezTo>
                    <a:pt x="471" y="44"/>
                    <a:pt x="471" y="44"/>
                    <a:pt x="471" y="44"/>
                  </a:cubicBezTo>
                  <a:cubicBezTo>
                    <a:pt x="475" y="41"/>
                    <a:pt x="479" y="37"/>
                    <a:pt x="482" y="33"/>
                  </a:cubicBezTo>
                  <a:close/>
                  <a:moveTo>
                    <a:pt x="498" y="48"/>
                  </a:moveTo>
                  <a:cubicBezTo>
                    <a:pt x="502" y="52"/>
                    <a:pt x="505" y="56"/>
                    <a:pt x="509" y="60"/>
                  </a:cubicBezTo>
                  <a:cubicBezTo>
                    <a:pt x="508" y="61"/>
                    <a:pt x="508" y="61"/>
                    <a:pt x="508" y="61"/>
                  </a:cubicBezTo>
                  <a:cubicBezTo>
                    <a:pt x="505" y="64"/>
                    <a:pt x="503" y="67"/>
                    <a:pt x="500" y="70"/>
                  </a:cubicBezTo>
                  <a:cubicBezTo>
                    <a:pt x="497" y="67"/>
                    <a:pt x="494" y="65"/>
                    <a:pt x="491" y="62"/>
                  </a:cubicBezTo>
                  <a:cubicBezTo>
                    <a:pt x="491" y="61"/>
                    <a:pt x="490" y="61"/>
                    <a:pt x="490" y="60"/>
                  </a:cubicBezTo>
                  <a:cubicBezTo>
                    <a:pt x="492" y="56"/>
                    <a:pt x="495" y="52"/>
                    <a:pt x="498" y="48"/>
                  </a:cubicBezTo>
                  <a:close/>
                  <a:moveTo>
                    <a:pt x="513" y="64"/>
                  </a:moveTo>
                  <a:cubicBezTo>
                    <a:pt x="516" y="67"/>
                    <a:pt x="518" y="70"/>
                    <a:pt x="520" y="73"/>
                  </a:cubicBezTo>
                  <a:cubicBezTo>
                    <a:pt x="517" y="75"/>
                    <a:pt x="513" y="78"/>
                    <a:pt x="511" y="81"/>
                  </a:cubicBezTo>
                  <a:cubicBezTo>
                    <a:pt x="511" y="81"/>
                    <a:pt x="511" y="81"/>
                    <a:pt x="511" y="81"/>
                  </a:cubicBezTo>
                  <a:cubicBezTo>
                    <a:pt x="508" y="79"/>
                    <a:pt x="506" y="76"/>
                    <a:pt x="504" y="74"/>
                  </a:cubicBezTo>
                  <a:cubicBezTo>
                    <a:pt x="506" y="72"/>
                    <a:pt x="509" y="69"/>
                    <a:pt x="512" y="66"/>
                  </a:cubicBezTo>
                  <a:lnTo>
                    <a:pt x="513" y="64"/>
                  </a:lnTo>
                  <a:close/>
                  <a:moveTo>
                    <a:pt x="547" y="115"/>
                  </a:moveTo>
                  <a:cubicBezTo>
                    <a:pt x="549" y="117"/>
                    <a:pt x="551" y="121"/>
                    <a:pt x="552" y="124"/>
                  </a:cubicBezTo>
                  <a:cubicBezTo>
                    <a:pt x="549" y="126"/>
                    <a:pt x="546" y="128"/>
                    <a:pt x="544" y="131"/>
                  </a:cubicBezTo>
                  <a:cubicBezTo>
                    <a:pt x="542" y="128"/>
                    <a:pt x="541" y="125"/>
                    <a:pt x="539" y="122"/>
                  </a:cubicBezTo>
                  <a:cubicBezTo>
                    <a:pt x="541" y="120"/>
                    <a:pt x="543" y="118"/>
                    <a:pt x="545" y="116"/>
                  </a:cubicBezTo>
                  <a:cubicBezTo>
                    <a:pt x="546" y="116"/>
                    <a:pt x="547" y="115"/>
                    <a:pt x="547" y="11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6" name="işḷîḍé"/>
            <p:cNvSpPr/>
            <p:nvPr/>
          </p:nvSpPr>
          <p:spPr bwMode="auto">
            <a:xfrm>
              <a:off x="5000353" y="4292645"/>
              <a:ext cx="1104328" cy="606365"/>
            </a:xfrm>
            <a:custGeom>
              <a:avLst/>
              <a:gdLst>
                <a:gd name="T0" fmla="*/ 118 w 157"/>
                <a:gd name="T1" fmla="*/ 3 h 86"/>
                <a:gd name="T2" fmla="*/ 118 w 157"/>
                <a:gd name="T3" fmla="*/ 3 h 86"/>
                <a:gd name="T4" fmla="*/ 136 w 157"/>
                <a:gd name="T5" fmla="*/ 3 h 86"/>
                <a:gd name="T6" fmla="*/ 155 w 157"/>
                <a:gd name="T7" fmla="*/ 2 h 86"/>
                <a:gd name="T8" fmla="*/ 155 w 157"/>
                <a:gd name="T9" fmla="*/ 6 h 86"/>
                <a:gd name="T10" fmla="*/ 156 w 157"/>
                <a:gd name="T11" fmla="*/ 18 h 86"/>
                <a:gd name="T12" fmla="*/ 157 w 157"/>
                <a:gd name="T13" fmla="*/ 42 h 86"/>
                <a:gd name="T14" fmla="*/ 156 w 157"/>
                <a:gd name="T15" fmla="*/ 65 h 86"/>
                <a:gd name="T16" fmla="*/ 157 w 157"/>
                <a:gd name="T17" fmla="*/ 74 h 86"/>
                <a:gd name="T18" fmla="*/ 156 w 157"/>
                <a:gd name="T19" fmla="*/ 79 h 86"/>
                <a:gd name="T20" fmla="*/ 149 w 157"/>
                <a:gd name="T21" fmla="*/ 80 h 86"/>
                <a:gd name="T22" fmla="*/ 126 w 157"/>
                <a:gd name="T23" fmla="*/ 81 h 86"/>
                <a:gd name="T24" fmla="*/ 116 w 157"/>
                <a:gd name="T25" fmla="*/ 82 h 86"/>
                <a:gd name="T26" fmla="*/ 116 w 157"/>
                <a:gd name="T27" fmla="*/ 64 h 86"/>
                <a:gd name="T28" fmla="*/ 117 w 157"/>
                <a:gd name="T29" fmla="*/ 42 h 86"/>
                <a:gd name="T30" fmla="*/ 118 w 157"/>
                <a:gd name="T31" fmla="*/ 20 h 86"/>
                <a:gd name="T32" fmla="*/ 118 w 157"/>
                <a:gd name="T33" fmla="*/ 3 h 86"/>
                <a:gd name="T34" fmla="*/ 16 w 157"/>
                <a:gd name="T35" fmla="*/ 59 h 86"/>
                <a:gd name="T36" fmla="*/ 16 w 157"/>
                <a:gd name="T37" fmla="*/ 59 h 86"/>
                <a:gd name="T38" fmla="*/ 17 w 157"/>
                <a:gd name="T39" fmla="*/ 81 h 86"/>
                <a:gd name="T40" fmla="*/ 16 w 157"/>
                <a:gd name="T41" fmla="*/ 86 h 86"/>
                <a:gd name="T42" fmla="*/ 11 w 157"/>
                <a:gd name="T43" fmla="*/ 86 h 86"/>
                <a:gd name="T44" fmla="*/ 0 w 157"/>
                <a:gd name="T45" fmla="*/ 85 h 86"/>
                <a:gd name="T46" fmla="*/ 1 w 157"/>
                <a:gd name="T47" fmla="*/ 39 h 86"/>
                <a:gd name="T48" fmla="*/ 0 w 157"/>
                <a:gd name="T49" fmla="*/ 0 h 86"/>
                <a:gd name="T50" fmla="*/ 9 w 157"/>
                <a:gd name="T51" fmla="*/ 0 h 86"/>
                <a:gd name="T52" fmla="*/ 15 w 157"/>
                <a:gd name="T53" fmla="*/ 0 h 86"/>
                <a:gd name="T54" fmla="*/ 16 w 157"/>
                <a:gd name="T55" fmla="*/ 13 h 86"/>
                <a:gd name="T56" fmla="*/ 16 w 157"/>
                <a:gd name="T57" fmla="*/ 28 h 86"/>
                <a:gd name="T58" fmla="*/ 16 w 157"/>
                <a:gd name="T59" fmla="*/ 59 h 86"/>
                <a:gd name="T60" fmla="*/ 65 w 157"/>
                <a:gd name="T61" fmla="*/ 20 h 86"/>
                <a:gd name="T62" fmla="*/ 65 w 157"/>
                <a:gd name="T63" fmla="*/ 20 h 86"/>
                <a:gd name="T64" fmla="*/ 67 w 157"/>
                <a:gd name="T65" fmla="*/ 44 h 86"/>
                <a:gd name="T66" fmla="*/ 69 w 157"/>
                <a:gd name="T67" fmla="*/ 86 h 86"/>
                <a:gd name="T68" fmla="*/ 34 w 157"/>
                <a:gd name="T69" fmla="*/ 86 h 86"/>
                <a:gd name="T70" fmla="*/ 22 w 157"/>
                <a:gd name="T71" fmla="*/ 86 h 86"/>
                <a:gd name="T72" fmla="*/ 23 w 157"/>
                <a:gd name="T73" fmla="*/ 79 h 86"/>
                <a:gd name="T74" fmla="*/ 22 w 157"/>
                <a:gd name="T75" fmla="*/ 56 h 86"/>
                <a:gd name="T76" fmla="*/ 22 w 157"/>
                <a:gd name="T77" fmla="*/ 28 h 86"/>
                <a:gd name="T78" fmla="*/ 21 w 157"/>
                <a:gd name="T79" fmla="*/ 14 h 86"/>
                <a:gd name="T80" fmla="*/ 18 w 157"/>
                <a:gd name="T81" fmla="*/ 1 h 86"/>
                <a:gd name="T82" fmla="*/ 30 w 157"/>
                <a:gd name="T83" fmla="*/ 3 h 86"/>
                <a:gd name="T84" fmla="*/ 66 w 157"/>
                <a:gd name="T85" fmla="*/ 4 h 86"/>
                <a:gd name="T86" fmla="*/ 65 w 157"/>
                <a:gd name="T87" fmla="*/ 20 h 86"/>
                <a:gd name="T88" fmla="*/ 109 w 157"/>
                <a:gd name="T89" fmla="*/ 82 h 86"/>
                <a:gd name="T90" fmla="*/ 109 w 157"/>
                <a:gd name="T91" fmla="*/ 82 h 86"/>
                <a:gd name="T92" fmla="*/ 79 w 157"/>
                <a:gd name="T93" fmla="*/ 86 h 86"/>
                <a:gd name="T94" fmla="*/ 76 w 157"/>
                <a:gd name="T95" fmla="*/ 86 h 86"/>
                <a:gd name="T96" fmla="*/ 75 w 157"/>
                <a:gd name="T97" fmla="*/ 45 h 86"/>
                <a:gd name="T98" fmla="*/ 71 w 157"/>
                <a:gd name="T99" fmla="*/ 4 h 86"/>
                <a:gd name="T100" fmla="*/ 71 w 157"/>
                <a:gd name="T101" fmla="*/ 4 h 86"/>
                <a:gd name="T102" fmla="*/ 81 w 157"/>
                <a:gd name="T103" fmla="*/ 2 h 86"/>
                <a:gd name="T104" fmla="*/ 91 w 157"/>
                <a:gd name="T105" fmla="*/ 3 h 86"/>
                <a:gd name="T106" fmla="*/ 113 w 157"/>
                <a:gd name="T107" fmla="*/ 3 h 86"/>
                <a:gd name="T108" fmla="*/ 112 w 157"/>
                <a:gd name="T109" fmla="*/ 19 h 86"/>
                <a:gd name="T110" fmla="*/ 111 w 157"/>
                <a:gd name="T111" fmla="*/ 42 h 86"/>
                <a:gd name="T112" fmla="*/ 109 w 157"/>
                <a:gd name="T113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86">
                  <a:moveTo>
                    <a:pt x="118" y="3"/>
                  </a:moveTo>
                  <a:cubicBezTo>
                    <a:pt x="118" y="3"/>
                    <a:pt x="118" y="3"/>
                    <a:pt x="118" y="3"/>
                  </a:cubicBezTo>
                  <a:cubicBezTo>
                    <a:pt x="124" y="3"/>
                    <a:pt x="130" y="3"/>
                    <a:pt x="136" y="3"/>
                  </a:cubicBezTo>
                  <a:cubicBezTo>
                    <a:pt x="142" y="3"/>
                    <a:pt x="148" y="3"/>
                    <a:pt x="155" y="2"/>
                  </a:cubicBezTo>
                  <a:cubicBezTo>
                    <a:pt x="155" y="4"/>
                    <a:pt x="155" y="5"/>
                    <a:pt x="155" y="6"/>
                  </a:cubicBezTo>
                  <a:cubicBezTo>
                    <a:pt x="155" y="10"/>
                    <a:pt x="156" y="14"/>
                    <a:pt x="156" y="18"/>
                  </a:cubicBezTo>
                  <a:cubicBezTo>
                    <a:pt x="156" y="26"/>
                    <a:pt x="157" y="34"/>
                    <a:pt x="157" y="42"/>
                  </a:cubicBezTo>
                  <a:cubicBezTo>
                    <a:pt x="157" y="50"/>
                    <a:pt x="156" y="57"/>
                    <a:pt x="156" y="65"/>
                  </a:cubicBezTo>
                  <a:cubicBezTo>
                    <a:pt x="156" y="68"/>
                    <a:pt x="156" y="71"/>
                    <a:pt x="157" y="74"/>
                  </a:cubicBezTo>
                  <a:cubicBezTo>
                    <a:pt x="157" y="76"/>
                    <a:pt x="157" y="78"/>
                    <a:pt x="156" y="79"/>
                  </a:cubicBezTo>
                  <a:cubicBezTo>
                    <a:pt x="154" y="79"/>
                    <a:pt x="151" y="80"/>
                    <a:pt x="149" y="80"/>
                  </a:cubicBezTo>
                  <a:cubicBezTo>
                    <a:pt x="141" y="80"/>
                    <a:pt x="133" y="80"/>
                    <a:pt x="126" y="81"/>
                  </a:cubicBezTo>
                  <a:cubicBezTo>
                    <a:pt x="122" y="81"/>
                    <a:pt x="119" y="81"/>
                    <a:pt x="116" y="82"/>
                  </a:cubicBezTo>
                  <a:cubicBezTo>
                    <a:pt x="116" y="76"/>
                    <a:pt x="116" y="70"/>
                    <a:pt x="116" y="64"/>
                  </a:cubicBezTo>
                  <a:cubicBezTo>
                    <a:pt x="116" y="57"/>
                    <a:pt x="117" y="49"/>
                    <a:pt x="117" y="42"/>
                  </a:cubicBezTo>
                  <a:cubicBezTo>
                    <a:pt x="118" y="34"/>
                    <a:pt x="118" y="27"/>
                    <a:pt x="118" y="20"/>
                  </a:cubicBezTo>
                  <a:cubicBezTo>
                    <a:pt x="118" y="14"/>
                    <a:pt x="119" y="8"/>
                    <a:pt x="118" y="3"/>
                  </a:cubicBezTo>
                  <a:close/>
                  <a:moveTo>
                    <a:pt x="16" y="59"/>
                  </a:moveTo>
                  <a:cubicBezTo>
                    <a:pt x="16" y="59"/>
                    <a:pt x="16" y="59"/>
                    <a:pt x="16" y="59"/>
                  </a:cubicBezTo>
                  <a:cubicBezTo>
                    <a:pt x="17" y="66"/>
                    <a:pt x="17" y="73"/>
                    <a:pt x="17" y="81"/>
                  </a:cubicBezTo>
                  <a:cubicBezTo>
                    <a:pt x="16" y="82"/>
                    <a:pt x="16" y="84"/>
                    <a:pt x="16" y="86"/>
                  </a:cubicBezTo>
                  <a:cubicBezTo>
                    <a:pt x="14" y="86"/>
                    <a:pt x="12" y="86"/>
                    <a:pt x="11" y="86"/>
                  </a:cubicBezTo>
                  <a:cubicBezTo>
                    <a:pt x="7" y="85"/>
                    <a:pt x="3" y="85"/>
                    <a:pt x="0" y="85"/>
                  </a:cubicBezTo>
                  <a:cubicBezTo>
                    <a:pt x="2" y="70"/>
                    <a:pt x="2" y="54"/>
                    <a:pt x="1" y="39"/>
                  </a:cubicBezTo>
                  <a:cubicBezTo>
                    <a:pt x="0" y="26"/>
                    <a:pt x="0" y="13"/>
                    <a:pt x="0" y="0"/>
                  </a:cubicBezTo>
                  <a:cubicBezTo>
                    <a:pt x="3" y="0"/>
                    <a:pt x="6" y="0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5" y="4"/>
                    <a:pt x="15" y="8"/>
                    <a:pt x="16" y="13"/>
                  </a:cubicBezTo>
                  <a:cubicBezTo>
                    <a:pt x="16" y="18"/>
                    <a:pt x="16" y="23"/>
                    <a:pt x="16" y="28"/>
                  </a:cubicBezTo>
                  <a:cubicBezTo>
                    <a:pt x="16" y="38"/>
                    <a:pt x="16" y="48"/>
                    <a:pt x="16" y="59"/>
                  </a:cubicBezTo>
                  <a:close/>
                  <a:moveTo>
                    <a:pt x="65" y="20"/>
                  </a:moveTo>
                  <a:cubicBezTo>
                    <a:pt x="65" y="20"/>
                    <a:pt x="65" y="20"/>
                    <a:pt x="65" y="20"/>
                  </a:cubicBezTo>
                  <a:cubicBezTo>
                    <a:pt x="65" y="28"/>
                    <a:pt x="66" y="36"/>
                    <a:pt x="67" y="44"/>
                  </a:cubicBezTo>
                  <a:cubicBezTo>
                    <a:pt x="68" y="58"/>
                    <a:pt x="68" y="72"/>
                    <a:pt x="69" y="86"/>
                  </a:cubicBezTo>
                  <a:cubicBezTo>
                    <a:pt x="57" y="86"/>
                    <a:pt x="46" y="86"/>
                    <a:pt x="34" y="86"/>
                  </a:cubicBezTo>
                  <a:cubicBezTo>
                    <a:pt x="30" y="86"/>
                    <a:pt x="26" y="86"/>
                    <a:pt x="22" y="86"/>
                  </a:cubicBezTo>
                  <a:cubicBezTo>
                    <a:pt x="23" y="83"/>
                    <a:pt x="23" y="81"/>
                    <a:pt x="23" y="79"/>
                  </a:cubicBezTo>
                  <a:cubicBezTo>
                    <a:pt x="24" y="71"/>
                    <a:pt x="23" y="64"/>
                    <a:pt x="22" y="56"/>
                  </a:cubicBezTo>
                  <a:cubicBezTo>
                    <a:pt x="22" y="47"/>
                    <a:pt x="22" y="37"/>
                    <a:pt x="22" y="28"/>
                  </a:cubicBezTo>
                  <a:cubicBezTo>
                    <a:pt x="21" y="23"/>
                    <a:pt x="21" y="18"/>
                    <a:pt x="21" y="14"/>
                  </a:cubicBezTo>
                  <a:cubicBezTo>
                    <a:pt x="20" y="9"/>
                    <a:pt x="19" y="5"/>
                    <a:pt x="18" y="1"/>
                  </a:cubicBezTo>
                  <a:cubicBezTo>
                    <a:pt x="22" y="1"/>
                    <a:pt x="26" y="2"/>
                    <a:pt x="30" y="3"/>
                  </a:cubicBezTo>
                  <a:cubicBezTo>
                    <a:pt x="41" y="5"/>
                    <a:pt x="54" y="5"/>
                    <a:pt x="66" y="4"/>
                  </a:cubicBezTo>
                  <a:cubicBezTo>
                    <a:pt x="65" y="10"/>
                    <a:pt x="65" y="15"/>
                    <a:pt x="65" y="20"/>
                  </a:cubicBezTo>
                  <a:close/>
                  <a:moveTo>
                    <a:pt x="109" y="82"/>
                  </a:moveTo>
                  <a:cubicBezTo>
                    <a:pt x="109" y="82"/>
                    <a:pt x="109" y="82"/>
                    <a:pt x="109" y="82"/>
                  </a:cubicBezTo>
                  <a:cubicBezTo>
                    <a:pt x="99" y="84"/>
                    <a:pt x="89" y="85"/>
                    <a:pt x="79" y="86"/>
                  </a:cubicBezTo>
                  <a:cubicBezTo>
                    <a:pt x="78" y="86"/>
                    <a:pt x="77" y="86"/>
                    <a:pt x="76" y="86"/>
                  </a:cubicBezTo>
                  <a:cubicBezTo>
                    <a:pt x="76" y="72"/>
                    <a:pt x="76" y="59"/>
                    <a:pt x="75" y="45"/>
                  </a:cubicBezTo>
                  <a:cubicBezTo>
                    <a:pt x="73" y="31"/>
                    <a:pt x="72" y="17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4" y="3"/>
                    <a:pt x="77" y="2"/>
                    <a:pt x="81" y="2"/>
                  </a:cubicBezTo>
                  <a:cubicBezTo>
                    <a:pt x="84" y="2"/>
                    <a:pt x="88" y="2"/>
                    <a:pt x="91" y="3"/>
                  </a:cubicBezTo>
                  <a:cubicBezTo>
                    <a:pt x="99" y="3"/>
                    <a:pt x="106" y="3"/>
                    <a:pt x="113" y="3"/>
                  </a:cubicBezTo>
                  <a:cubicBezTo>
                    <a:pt x="112" y="8"/>
                    <a:pt x="112" y="13"/>
                    <a:pt x="112" y="19"/>
                  </a:cubicBezTo>
                  <a:cubicBezTo>
                    <a:pt x="112" y="26"/>
                    <a:pt x="111" y="34"/>
                    <a:pt x="111" y="42"/>
                  </a:cubicBezTo>
                  <a:cubicBezTo>
                    <a:pt x="111" y="55"/>
                    <a:pt x="109" y="69"/>
                    <a:pt x="109" y="82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7" name="íṡḻïdè"/>
            <p:cNvSpPr/>
            <p:nvPr/>
          </p:nvSpPr>
          <p:spPr bwMode="auto">
            <a:xfrm>
              <a:off x="5000353" y="4292645"/>
              <a:ext cx="50814" cy="599590"/>
            </a:xfrm>
            <a:custGeom>
              <a:avLst/>
              <a:gdLst>
                <a:gd name="T0" fmla="*/ 5 w 7"/>
                <a:gd name="T1" fmla="*/ 0 h 85"/>
                <a:gd name="T2" fmla="*/ 7 w 7"/>
                <a:gd name="T3" fmla="*/ 85 h 85"/>
                <a:gd name="T4" fmla="*/ 0 w 7"/>
                <a:gd name="T5" fmla="*/ 85 h 85"/>
                <a:gd name="T6" fmla="*/ 1 w 7"/>
                <a:gd name="T7" fmla="*/ 39 h 85"/>
                <a:gd name="T8" fmla="*/ 0 w 7"/>
                <a:gd name="T9" fmla="*/ 0 h 85"/>
                <a:gd name="T10" fmla="*/ 5 w 7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85">
                  <a:moveTo>
                    <a:pt x="5" y="0"/>
                  </a:moveTo>
                  <a:cubicBezTo>
                    <a:pt x="6" y="31"/>
                    <a:pt x="6" y="62"/>
                    <a:pt x="7" y="85"/>
                  </a:cubicBezTo>
                  <a:cubicBezTo>
                    <a:pt x="4" y="85"/>
                    <a:pt x="2" y="85"/>
                    <a:pt x="0" y="85"/>
                  </a:cubicBezTo>
                  <a:cubicBezTo>
                    <a:pt x="2" y="70"/>
                    <a:pt x="2" y="54"/>
                    <a:pt x="1" y="39"/>
                  </a:cubicBezTo>
                  <a:cubicBezTo>
                    <a:pt x="0" y="26"/>
                    <a:pt x="0" y="13"/>
                    <a:pt x="0" y="0"/>
                  </a:cubicBezTo>
                  <a:cubicBezTo>
                    <a:pt x="2" y="0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8" name="îšḻíďê"/>
            <p:cNvSpPr/>
            <p:nvPr/>
          </p:nvSpPr>
          <p:spPr bwMode="auto">
            <a:xfrm>
              <a:off x="4261876" y="5291959"/>
              <a:ext cx="3590759" cy="457315"/>
            </a:xfrm>
            <a:custGeom>
              <a:avLst/>
              <a:gdLst>
                <a:gd name="T0" fmla="*/ 386 w 510"/>
                <a:gd name="T1" fmla="*/ 6 h 65"/>
                <a:gd name="T2" fmla="*/ 386 w 510"/>
                <a:gd name="T3" fmla="*/ 6 h 65"/>
                <a:gd name="T4" fmla="*/ 410 w 510"/>
                <a:gd name="T5" fmla="*/ 6 h 65"/>
                <a:gd name="T6" fmla="*/ 435 w 510"/>
                <a:gd name="T7" fmla="*/ 6 h 65"/>
                <a:gd name="T8" fmla="*/ 460 w 510"/>
                <a:gd name="T9" fmla="*/ 3 h 65"/>
                <a:gd name="T10" fmla="*/ 483 w 510"/>
                <a:gd name="T11" fmla="*/ 0 h 65"/>
                <a:gd name="T12" fmla="*/ 486 w 510"/>
                <a:gd name="T13" fmla="*/ 1 h 65"/>
                <a:gd name="T14" fmla="*/ 499 w 510"/>
                <a:gd name="T15" fmla="*/ 8 h 65"/>
                <a:gd name="T16" fmla="*/ 510 w 510"/>
                <a:gd name="T17" fmla="*/ 33 h 65"/>
                <a:gd name="T18" fmla="*/ 496 w 510"/>
                <a:gd name="T19" fmla="*/ 53 h 65"/>
                <a:gd name="T20" fmla="*/ 477 w 510"/>
                <a:gd name="T21" fmla="*/ 55 h 65"/>
                <a:gd name="T22" fmla="*/ 462 w 510"/>
                <a:gd name="T23" fmla="*/ 58 h 65"/>
                <a:gd name="T24" fmla="*/ 447 w 510"/>
                <a:gd name="T25" fmla="*/ 57 h 65"/>
                <a:gd name="T26" fmla="*/ 414 w 510"/>
                <a:gd name="T27" fmla="*/ 57 h 65"/>
                <a:gd name="T28" fmla="*/ 347 w 510"/>
                <a:gd name="T29" fmla="*/ 58 h 65"/>
                <a:gd name="T30" fmla="*/ 314 w 510"/>
                <a:gd name="T31" fmla="*/ 56 h 65"/>
                <a:gd name="T32" fmla="*/ 280 w 510"/>
                <a:gd name="T33" fmla="*/ 59 h 65"/>
                <a:gd name="T34" fmla="*/ 213 w 510"/>
                <a:gd name="T35" fmla="*/ 64 h 65"/>
                <a:gd name="T36" fmla="*/ 154 w 510"/>
                <a:gd name="T37" fmla="*/ 63 h 65"/>
                <a:gd name="T38" fmla="*/ 124 w 510"/>
                <a:gd name="T39" fmla="*/ 62 h 65"/>
                <a:gd name="T40" fmla="*/ 94 w 510"/>
                <a:gd name="T41" fmla="*/ 64 h 65"/>
                <a:gd name="T42" fmla="*/ 81 w 510"/>
                <a:gd name="T43" fmla="*/ 65 h 65"/>
                <a:gd name="T44" fmla="*/ 36 w 510"/>
                <a:gd name="T45" fmla="*/ 61 h 65"/>
                <a:gd name="T46" fmla="*/ 4 w 510"/>
                <a:gd name="T47" fmla="*/ 43 h 65"/>
                <a:gd name="T48" fmla="*/ 21 w 510"/>
                <a:gd name="T49" fmla="*/ 10 h 65"/>
                <a:gd name="T50" fmla="*/ 44 w 510"/>
                <a:gd name="T51" fmla="*/ 9 h 65"/>
                <a:gd name="T52" fmla="*/ 64 w 510"/>
                <a:gd name="T53" fmla="*/ 8 h 65"/>
                <a:gd name="T54" fmla="*/ 86 w 510"/>
                <a:gd name="T55" fmla="*/ 9 h 65"/>
                <a:gd name="T56" fmla="*/ 118 w 510"/>
                <a:gd name="T57" fmla="*/ 9 h 65"/>
                <a:gd name="T58" fmla="*/ 151 w 510"/>
                <a:gd name="T59" fmla="*/ 7 h 65"/>
                <a:gd name="T60" fmla="*/ 219 w 510"/>
                <a:gd name="T61" fmla="*/ 6 h 65"/>
                <a:gd name="T62" fmla="*/ 286 w 510"/>
                <a:gd name="T63" fmla="*/ 6 h 65"/>
                <a:gd name="T64" fmla="*/ 335 w 510"/>
                <a:gd name="T65" fmla="*/ 6 h 65"/>
                <a:gd name="T66" fmla="*/ 386 w 510"/>
                <a:gd name="T67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10" h="65">
                  <a:moveTo>
                    <a:pt x="386" y="6"/>
                  </a:moveTo>
                  <a:cubicBezTo>
                    <a:pt x="386" y="6"/>
                    <a:pt x="386" y="6"/>
                    <a:pt x="386" y="6"/>
                  </a:cubicBezTo>
                  <a:cubicBezTo>
                    <a:pt x="394" y="6"/>
                    <a:pt x="402" y="6"/>
                    <a:pt x="410" y="6"/>
                  </a:cubicBezTo>
                  <a:cubicBezTo>
                    <a:pt x="419" y="6"/>
                    <a:pt x="427" y="6"/>
                    <a:pt x="435" y="6"/>
                  </a:cubicBezTo>
                  <a:cubicBezTo>
                    <a:pt x="444" y="5"/>
                    <a:pt x="452" y="4"/>
                    <a:pt x="460" y="3"/>
                  </a:cubicBezTo>
                  <a:cubicBezTo>
                    <a:pt x="468" y="1"/>
                    <a:pt x="475" y="0"/>
                    <a:pt x="483" y="0"/>
                  </a:cubicBezTo>
                  <a:cubicBezTo>
                    <a:pt x="484" y="0"/>
                    <a:pt x="485" y="1"/>
                    <a:pt x="486" y="1"/>
                  </a:cubicBezTo>
                  <a:cubicBezTo>
                    <a:pt x="490" y="3"/>
                    <a:pt x="495" y="5"/>
                    <a:pt x="499" y="8"/>
                  </a:cubicBezTo>
                  <a:cubicBezTo>
                    <a:pt x="507" y="15"/>
                    <a:pt x="510" y="24"/>
                    <a:pt x="510" y="33"/>
                  </a:cubicBezTo>
                  <a:cubicBezTo>
                    <a:pt x="509" y="41"/>
                    <a:pt x="504" y="49"/>
                    <a:pt x="496" y="53"/>
                  </a:cubicBezTo>
                  <a:cubicBezTo>
                    <a:pt x="491" y="55"/>
                    <a:pt x="483" y="55"/>
                    <a:pt x="477" y="55"/>
                  </a:cubicBezTo>
                  <a:cubicBezTo>
                    <a:pt x="472" y="56"/>
                    <a:pt x="467" y="56"/>
                    <a:pt x="462" y="58"/>
                  </a:cubicBezTo>
                  <a:cubicBezTo>
                    <a:pt x="457" y="57"/>
                    <a:pt x="452" y="57"/>
                    <a:pt x="447" y="57"/>
                  </a:cubicBezTo>
                  <a:cubicBezTo>
                    <a:pt x="436" y="57"/>
                    <a:pt x="425" y="57"/>
                    <a:pt x="414" y="57"/>
                  </a:cubicBezTo>
                  <a:cubicBezTo>
                    <a:pt x="391" y="58"/>
                    <a:pt x="369" y="59"/>
                    <a:pt x="347" y="58"/>
                  </a:cubicBezTo>
                  <a:cubicBezTo>
                    <a:pt x="336" y="57"/>
                    <a:pt x="325" y="56"/>
                    <a:pt x="314" y="56"/>
                  </a:cubicBezTo>
                  <a:cubicBezTo>
                    <a:pt x="302" y="56"/>
                    <a:pt x="291" y="58"/>
                    <a:pt x="280" y="59"/>
                  </a:cubicBezTo>
                  <a:cubicBezTo>
                    <a:pt x="258" y="61"/>
                    <a:pt x="235" y="63"/>
                    <a:pt x="213" y="64"/>
                  </a:cubicBezTo>
                  <a:cubicBezTo>
                    <a:pt x="193" y="64"/>
                    <a:pt x="173" y="64"/>
                    <a:pt x="154" y="63"/>
                  </a:cubicBezTo>
                  <a:cubicBezTo>
                    <a:pt x="144" y="63"/>
                    <a:pt x="134" y="62"/>
                    <a:pt x="124" y="62"/>
                  </a:cubicBezTo>
                  <a:cubicBezTo>
                    <a:pt x="114" y="62"/>
                    <a:pt x="104" y="63"/>
                    <a:pt x="94" y="64"/>
                  </a:cubicBezTo>
                  <a:cubicBezTo>
                    <a:pt x="90" y="64"/>
                    <a:pt x="85" y="65"/>
                    <a:pt x="81" y="65"/>
                  </a:cubicBezTo>
                  <a:cubicBezTo>
                    <a:pt x="66" y="62"/>
                    <a:pt x="51" y="63"/>
                    <a:pt x="36" y="61"/>
                  </a:cubicBezTo>
                  <a:cubicBezTo>
                    <a:pt x="24" y="59"/>
                    <a:pt x="9" y="55"/>
                    <a:pt x="4" y="43"/>
                  </a:cubicBezTo>
                  <a:cubicBezTo>
                    <a:pt x="0" y="30"/>
                    <a:pt x="8" y="14"/>
                    <a:pt x="21" y="10"/>
                  </a:cubicBezTo>
                  <a:cubicBezTo>
                    <a:pt x="28" y="8"/>
                    <a:pt x="36" y="9"/>
                    <a:pt x="44" y="9"/>
                  </a:cubicBezTo>
                  <a:cubicBezTo>
                    <a:pt x="50" y="9"/>
                    <a:pt x="58" y="10"/>
                    <a:pt x="64" y="8"/>
                  </a:cubicBezTo>
                  <a:cubicBezTo>
                    <a:pt x="71" y="9"/>
                    <a:pt x="78" y="9"/>
                    <a:pt x="86" y="9"/>
                  </a:cubicBezTo>
                  <a:cubicBezTo>
                    <a:pt x="97" y="9"/>
                    <a:pt x="107" y="9"/>
                    <a:pt x="118" y="9"/>
                  </a:cubicBezTo>
                  <a:cubicBezTo>
                    <a:pt x="129" y="9"/>
                    <a:pt x="140" y="8"/>
                    <a:pt x="151" y="7"/>
                  </a:cubicBezTo>
                  <a:cubicBezTo>
                    <a:pt x="174" y="5"/>
                    <a:pt x="196" y="6"/>
                    <a:pt x="219" y="6"/>
                  </a:cubicBezTo>
                  <a:cubicBezTo>
                    <a:pt x="241" y="6"/>
                    <a:pt x="263" y="7"/>
                    <a:pt x="286" y="6"/>
                  </a:cubicBezTo>
                  <a:cubicBezTo>
                    <a:pt x="302" y="6"/>
                    <a:pt x="319" y="6"/>
                    <a:pt x="335" y="6"/>
                  </a:cubicBezTo>
                  <a:cubicBezTo>
                    <a:pt x="352" y="6"/>
                    <a:pt x="369" y="6"/>
                    <a:pt x="386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9" name="íṣľiḑê"/>
            <p:cNvSpPr/>
            <p:nvPr/>
          </p:nvSpPr>
          <p:spPr bwMode="auto">
            <a:xfrm>
              <a:off x="4908889" y="5291959"/>
              <a:ext cx="2943746" cy="450540"/>
            </a:xfrm>
            <a:custGeom>
              <a:avLst/>
              <a:gdLst>
                <a:gd name="T0" fmla="*/ 294 w 418"/>
                <a:gd name="T1" fmla="*/ 6 h 64"/>
                <a:gd name="T2" fmla="*/ 294 w 418"/>
                <a:gd name="T3" fmla="*/ 6 h 64"/>
                <a:gd name="T4" fmla="*/ 318 w 418"/>
                <a:gd name="T5" fmla="*/ 6 h 64"/>
                <a:gd name="T6" fmla="*/ 343 w 418"/>
                <a:gd name="T7" fmla="*/ 6 h 64"/>
                <a:gd name="T8" fmla="*/ 368 w 418"/>
                <a:gd name="T9" fmla="*/ 3 h 64"/>
                <a:gd name="T10" fmla="*/ 391 w 418"/>
                <a:gd name="T11" fmla="*/ 0 h 64"/>
                <a:gd name="T12" fmla="*/ 394 w 418"/>
                <a:gd name="T13" fmla="*/ 1 h 64"/>
                <a:gd name="T14" fmla="*/ 407 w 418"/>
                <a:gd name="T15" fmla="*/ 8 h 64"/>
                <a:gd name="T16" fmla="*/ 418 w 418"/>
                <a:gd name="T17" fmla="*/ 33 h 64"/>
                <a:gd name="T18" fmla="*/ 404 w 418"/>
                <a:gd name="T19" fmla="*/ 53 h 64"/>
                <a:gd name="T20" fmla="*/ 385 w 418"/>
                <a:gd name="T21" fmla="*/ 55 h 64"/>
                <a:gd name="T22" fmla="*/ 370 w 418"/>
                <a:gd name="T23" fmla="*/ 58 h 64"/>
                <a:gd name="T24" fmla="*/ 355 w 418"/>
                <a:gd name="T25" fmla="*/ 57 h 64"/>
                <a:gd name="T26" fmla="*/ 322 w 418"/>
                <a:gd name="T27" fmla="*/ 57 h 64"/>
                <a:gd name="T28" fmla="*/ 255 w 418"/>
                <a:gd name="T29" fmla="*/ 58 h 64"/>
                <a:gd name="T30" fmla="*/ 222 w 418"/>
                <a:gd name="T31" fmla="*/ 56 h 64"/>
                <a:gd name="T32" fmla="*/ 188 w 418"/>
                <a:gd name="T33" fmla="*/ 59 h 64"/>
                <a:gd name="T34" fmla="*/ 121 w 418"/>
                <a:gd name="T35" fmla="*/ 64 h 64"/>
                <a:gd name="T36" fmla="*/ 62 w 418"/>
                <a:gd name="T37" fmla="*/ 63 h 64"/>
                <a:gd name="T38" fmla="*/ 32 w 418"/>
                <a:gd name="T39" fmla="*/ 62 h 64"/>
                <a:gd name="T40" fmla="*/ 27 w 418"/>
                <a:gd name="T41" fmla="*/ 62 h 64"/>
                <a:gd name="T42" fmla="*/ 243 w 418"/>
                <a:gd name="T43" fmla="*/ 6 h 64"/>
                <a:gd name="T44" fmla="*/ 294 w 418"/>
                <a:gd name="T45" fmla="*/ 6 h 64"/>
                <a:gd name="T46" fmla="*/ 17 w 418"/>
                <a:gd name="T47" fmla="*/ 63 h 64"/>
                <a:gd name="T48" fmla="*/ 2 w 418"/>
                <a:gd name="T49" fmla="*/ 64 h 64"/>
                <a:gd name="T50" fmla="*/ 0 w 418"/>
                <a:gd name="T51" fmla="*/ 64 h 64"/>
                <a:gd name="T52" fmla="*/ 17 w 418"/>
                <a:gd name="T53" fmla="*/ 6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8" h="64">
                  <a:moveTo>
                    <a:pt x="294" y="6"/>
                  </a:moveTo>
                  <a:cubicBezTo>
                    <a:pt x="294" y="6"/>
                    <a:pt x="294" y="6"/>
                    <a:pt x="294" y="6"/>
                  </a:cubicBezTo>
                  <a:cubicBezTo>
                    <a:pt x="302" y="6"/>
                    <a:pt x="310" y="6"/>
                    <a:pt x="318" y="6"/>
                  </a:cubicBezTo>
                  <a:cubicBezTo>
                    <a:pt x="327" y="6"/>
                    <a:pt x="335" y="6"/>
                    <a:pt x="343" y="6"/>
                  </a:cubicBezTo>
                  <a:cubicBezTo>
                    <a:pt x="352" y="5"/>
                    <a:pt x="360" y="4"/>
                    <a:pt x="368" y="3"/>
                  </a:cubicBezTo>
                  <a:cubicBezTo>
                    <a:pt x="376" y="1"/>
                    <a:pt x="383" y="0"/>
                    <a:pt x="391" y="0"/>
                  </a:cubicBezTo>
                  <a:cubicBezTo>
                    <a:pt x="392" y="0"/>
                    <a:pt x="393" y="1"/>
                    <a:pt x="394" y="1"/>
                  </a:cubicBezTo>
                  <a:cubicBezTo>
                    <a:pt x="398" y="3"/>
                    <a:pt x="403" y="5"/>
                    <a:pt x="407" y="8"/>
                  </a:cubicBezTo>
                  <a:cubicBezTo>
                    <a:pt x="415" y="15"/>
                    <a:pt x="418" y="24"/>
                    <a:pt x="418" y="33"/>
                  </a:cubicBezTo>
                  <a:cubicBezTo>
                    <a:pt x="417" y="41"/>
                    <a:pt x="412" y="49"/>
                    <a:pt x="404" y="53"/>
                  </a:cubicBezTo>
                  <a:cubicBezTo>
                    <a:pt x="399" y="55"/>
                    <a:pt x="391" y="55"/>
                    <a:pt x="385" y="55"/>
                  </a:cubicBezTo>
                  <a:cubicBezTo>
                    <a:pt x="380" y="56"/>
                    <a:pt x="375" y="56"/>
                    <a:pt x="370" y="58"/>
                  </a:cubicBezTo>
                  <a:cubicBezTo>
                    <a:pt x="365" y="57"/>
                    <a:pt x="360" y="57"/>
                    <a:pt x="355" y="57"/>
                  </a:cubicBezTo>
                  <a:cubicBezTo>
                    <a:pt x="344" y="57"/>
                    <a:pt x="333" y="57"/>
                    <a:pt x="322" y="57"/>
                  </a:cubicBezTo>
                  <a:cubicBezTo>
                    <a:pt x="299" y="58"/>
                    <a:pt x="277" y="59"/>
                    <a:pt x="255" y="58"/>
                  </a:cubicBezTo>
                  <a:cubicBezTo>
                    <a:pt x="244" y="57"/>
                    <a:pt x="233" y="56"/>
                    <a:pt x="222" y="56"/>
                  </a:cubicBezTo>
                  <a:cubicBezTo>
                    <a:pt x="210" y="56"/>
                    <a:pt x="199" y="58"/>
                    <a:pt x="188" y="59"/>
                  </a:cubicBezTo>
                  <a:cubicBezTo>
                    <a:pt x="166" y="61"/>
                    <a:pt x="143" y="63"/>
                    <a:pt x="121" y="64"/>
                  </a:cubicBezTo>
                  <a:cubicBezTo>
                    <a:pt x="101" y="64"/>
                    <a:pt x="81" y="64"/>
                    <a:pt x="62" y="63"/>
                  </a:cubicBezTo>
                  <a:cubicBezTo>
                    <a:pt x="52" y="63"/>
                    <a:pt x="42" y="62"/>
                    <a:pt x="32" y="62"/>
                  </a:cubicBezTo>
                  <a:cubicBezTo>
                    <a:pt x="31" y="62"/>
                    <a:pt x="29" y="62"/>
                    <a:pt x="27" y="62"/>
                  </a:cubicBezTo>
                  <a:cubicBezTo>
                    <a:pt x="187" y="54"/>
                    <a:pt x="243" y="6"/>
                    <a:pt x="243" y="6"/>
                  </a:cubicBezTo>
                  <a:cubicBezTo>
                    <a:pt x="260" y="6"/>
                    <a:pt x="277" y="6"/>
                    <a:pt x="294" y="6"/>
                  </a:cubicBezTo>
                  <a:close/>
                  <a:moveTo>
                    <a:pt x="17" y="63"/>
                  </a:moveTo>
                  <a:cubicBezTo>
                    <a:pt x="12" y="63"/>
                    <a:pt x="7" y="64"/>
                    <a:pt x="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5" y="63"/>
                    <a:pt x="11" y="63"/>
                    <a:pt x="17" y="63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0" name="ïSlíďé"/>
            <p:cNvSpPr/>
            <p:nvPr/>
          </p:nvSpPr>
          <p:spPr bwMode="auto">
            <a:xfrm>
              <a:off x="3784237" y="4482345"/>
              <a:ext cx="464090" cy="392951"/>
            </a:xfrm>
            <a:custGeom>
              <a:avLst/>
              <a:gdLst>
                <a:gd name="T0" fmla="*/ 64 w 66"/>
                <a:gd name="T1" fmla="*/ 39 h 56"/>
                <a:gd name="T2" fmla="*/ 64 w 66"/>
                <a:gd name="T3" fmla="*/ 39 h 56"/>
                <a:gd name="T4" fmla="*/ 61 w 66"/>
                <a:gd name="T5" fmla="*/ 51 h 56"/>
                <a:gd name="T6" fmla="*/ 58 w 66"/>
                <a:gd name="T7" fmla="*/ 56 h 56"/>
                <a:gd name="T8" fmla="*/ 50 w 66"/>
                <a:gd name="T9" fmla="*/ 55 h 56"/>
                <a:gd name="T10" fmla="*/ 49 w 66"/>
                <a:gd name="T11" fmla="*/ 54 h 56"/>
                <a:gd name="T12" fmla="*/ 50 w 66"/>
                <a:gd name="T13" fmla="*/ 54 h 56"/>
                <a:gd name="T14" fmla="*/ 52 w 66"/>
                <a:gd name="T15" fmla="*/ 49 h 56"/>
                <a:gd name="T16" fmla="*/ 59 w 66"/>
                <a:gd name="T17" fmla="*/ 31 h 56"/>
                <a:gd name="T18" fmla="*/ 48 w 66"/>
                <a:gd name="T19" fmla="*/ 14 h 56"/>
                <a:gd name="T20" fmla="*/ 28 w 66"/>
                <a:gd name="T21" fmla="*/ 12 h 56"/>
                <a:gd name="T22" fmla="*/ 13 w 66"/>
                <a:gd name="T23" fmla="*/ 27 h 56"/>
                <a:gd name="T24" fmla="*/ 9 w 66"/>
                <a:gd name="T25" fmla="*/ 37 h 56"/>
                <a:gd name="T26" fmla="*/ 7 w 66"/>
                <a:gd name="T27" fmla="*/ 42 h 56"/>
                <a:gd name="T28" fmla="*/ 6 w 66"/>
                <a:gd name="T29" fmla="*/ 44 h 56"/>
                <a:gd name="T30" fmla="*/ 3 w 66"/>
                <a:gd name="T31" fmla="*/ 45 h 56"/>
                <a:gd name="T32" fmla="*/ 1 w 66"/>
                <a:gd name="T33" fmla="*/ 44 h 56"/>
                <a:gd name="T34" fmla="*/ 1 w 66"/>
                <a:gd name="T35" fmla="*/ 44 h 56"/>
                <a:gd name="T36" fmla="*/ 1 w 66"/>
                <a:gd name="T37" fmla="*/ 43 h 56"/>
                <a:gd name="T38" fmla="*/ 0 w 66"/>
                <a:gd name="T39" fmla="*/ 43 h 56"/>
                <a:gd name="T40" fmla="*/ 0 w 66"/>
                <a:gd name="T41" fmla="*/ 43 h 56"/>
                <a:gd name="T42" fmla="*/ 0 w 66"/>
                <a:gd name="T43" fmla="*/ 41 h 56"/>
                <a:gd name="T44" fmla="*/ 0 w 66"/>
                <a:gd name="T45" fmla="*/ 39 h 56"/>
                <a:gd name="T46" fmla="*/ 0 w 66"/>
                <a:gd name="T47" fmla="*/ 39 h 56"/>
                <a:gd name="T48" fmla="*/ 0 w 66"/>
                <a:gd name="T49" fmla="*/ 37 h 56"/>
                <a:gd name="T50" fmla="*/ 2 w 66"/>
                <a:gd name="T51" fmla="*/ 33 h 56"/>
                <a:gd name="T52" fmla="*/ 4 w 66"/>
                <a:gd name="T53" fmla="*/ 26 h 56"/>
                <a:gd name="T54" fmla="*/ 10 w 66"/>
                <a:gd name="T55" fmla="*/ 11 h 56"/>
                <a:gd name="T56" fmla="*/ 12 w 66"/>
                <a:gd name="T57" fmla="*/ 8 h 56"/>
                <a:gd name="T58" fmla="*/ 12 w 66"/>
                <a:gd name="T59" fmla="*/ 7 h 56"/>
                <a:gd name="T60" fmla="*/ 19 w 66"/>
                <a:gd name="T61" fmla="*/ 2 h 56"/>
                <a:gd name="T62" fmla="*/ 28 w 66"/>
                <a:gd name="T63" fmla="*/ 1 h 56"/>
                <a:gd name="T64" fmla="*/ 47 w 66"/>
                <a:gd name="T65" fmla="*/ 4 h 56"/>
                <a:gd name="T66" fmla="*/ 64 w 66"/>
                <a:gd name="T67" fmla="*/ 3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56">
                  <a:moveTo>
                    <a:pt x="64" y="39"/>
                  </a:moveTo>
                  <a:cubicBezTo>
                    <a:pt x="64" y="39"/>
                    <a:pt x="64" y="39"/>
                    <a:pt x="64" y="39"/>
                  </a:cubicBezTo>
                  <a:cubicBezTo>
                    <a:pt x="64" y="43"/>
                    <a:pt x="63" y="47"/>
                    <a:pt x="61" y="51"/>
                  </a:cubicBezTo>
                  <a:cubicBezTo>
                    <a:pt x="60" y="53"/>
                    <a:pt x="59" y="55"/>
                    <a:pt x="58" y="56"/>
                  </a:cubicBezTo>
                  <a:cubicBezTo>
                    <a:pt x="56" y="56"/>
                    <a:pt x="53" y="56"/>
                    <a:pt x="50" y="55"/>
                  </a:cubicBezTo>
                  <a:cubicBezTo>
                    <a:pt x="50" y="55"/>
                    <a:pt x="50" y="55"/>
                    <a:pt x="49" y="54"/>
                  </a:cubicBezTo>
                  <a:cubicBezTo>
                    <a:pt x="49" y="54"/>
                    <a:pt x="49" y="54"/>
                    <a:pt x="50" y="54"/>
                  </a:cubicBezTo>
                  <a:cubicBezTo>
                    <a:pt x="50" y="52"/>
                    <a:pt x="51" y="51"/>
                    <a:pt x="52" y="49"/>
                  </a:cubicBezTo>
                  <a:cubicBezTo>
                    <a:pt x="55" y="44"/>
                    <a:pt x="58" y="38"/>
                    <a:pt x="59" y="31"/>
                  </a:cubicBezTo>
                  <a:cubicBezTo>
                    <a:pt x="60" y="24"/>
                    <a:pt x="54" y="18"/>
                    <a:pt x="48" y="14"/>
                  </a:cubicBezTo>
                  <a:cubicBezTo>
                    <a:pt x="42" y="10"/>
                    <a:pt x="34" y="9"/>
                    <a:pt x="28" y="12"/>
                  </a:cubicBezTo>
                  <a:cubicBezTo>
                    <a:pt x="21" y="15"/>
                    <a:pt x="17" y="21"/>
                    <a:pt x="13" y="27"/>
                  </a:cubicBezTo>
                  <a:cubicBezTo>
                    <a:pt x="11" y="30"/>
                    <a:pt x="10" y="34"/>
                    <a:pt x="9" y="37"/>
                  </a:cubicBezTo>
                  <a:cubicBezTo>
                    <a:pt x="8" y="39"/>
                    <a:pt x="7" y="41"/>
                    <a:pt x="7" y="42"/>
                  </a:cubicBezTo>
                  <a:cubicBezTo>
                    <a:pt x="7" y="43"/>
                    <a:pt x="5" y="45"/>
                    <a:pt x="6" y="44"/>
                  </a:cubicBezTo>
                  <a:cubicBezTo>
                    <a:pt x="5" y="45"/>
                    <a:pt x="4" y="45"/>
                    <a:pt x="3" y="45"/>
                  </a:cubicBezTo>
                  <a:cubicBezTo>
                    <a:pt x="2" y="45"/>
                    <a:pt x="2" y="44"/>
                    <a:pt x="1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1" y="44"/>
                    <a:pt x="1" y="43"/>
                  </a:cubicBezTo>
                  <a:cubicBezTo>
                    <a:pt x="1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2"/>
                    <a:pt x="0" y="41"/>
                  </a:cubicBezTo>
                  <a:cubicBezTo>
                    <a:pt x="0" y="41"/>
                    <a:pt x="0" y="40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8"/>
                    <a:pt x="0" y="37"/>
                  </a:cubicBezTo>
                  <a:cubicBezTo>
                    <a:pt x="1" y="36"/>
                    <a:pt x="1" y="35"/>
                    <a:pt x="2" y="33"/>
                  </a:cubicBezTo>
                  <a:cubicBezTo>
                    <a:pt x="2" y="31"/>
                    <a:pt x="3" y="28"/>
                    <a:pt x="4" y="26"/>
                  </a:cubicBezTo>
                  <a:cubicBezTo>
                    <a:pt x="6" y="21"/>
                    <a:pt x="7" y="16"/>
                    <a:pt x="10" y="11"/>
                  </a:cubicBezTo>
                  <a:cubicBezTo>
                    <a:pt x="10" y="10"/>
                    <a:pt x="11" y="9"/>
                    <a:pt x="12" y="8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4" y="6"/>
                    <a:pt x="17" y="4"/>
                    <a:pt x="19" y="2"/>
                  </a:cubicBezTo>
                  <a:cubicBezTo>
                    <a:pt x="22" y="1"/>
                    <a:pt x="25" y="1"/>
                    <a:pt x="28" y="1"/>
                  </a:cubicBezTo>
                  <a:cubicBezTo>
                    <a:pt x="34" y="0"/>
                    <a:pt x="41" y="1"/>
                    <a:pt x="47" y="4"/>
                  </a:cubicBezTo>
                  <a:cubicBezTo>
                    <a:pt x="60" y="10"/>
                    <a:pt x="66" y="24"/>
                    <a:pt x="64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1" name="îŝlïdê"/>
            <p:cNvSpPr/>
            <p:nvPr/>
          </p:nvSpPr>
          <p:spPr bwMode="auto">
            <a:xfrm>
              <a:off x="4072176" y="4495895"/>
              <a:ext cx="176150" cy="379401"/>
            </a:xfrm>
            <a:custGeom>
              <a:avLst/>
              <a:gdLst>
                <a:gd name="T0" fmla="*/ 23 w 25"/>
                <a:gd name="T1" fmla="*/ 37 h 54"/>
                <a:gd name="T2" fmla="*/ 23 w 25"/>
                <a:gd name="T3" fmla="*/ 37 h 54"/>
                <a:gd name="T4" fmla="*/ 20 w 25"/>
                <a:gd name="T5" fmla="*/ 49 h 54"/>
                <a:gd name="T6" fmla="*/ 17 w 25"/>
                <a:gd name="T7" fmla="*/ 54 h 54"/>
                <a:gd name="T8" fmla="*/ 9 w 25"/>
                <a:gd name="T9" fmla="*/ 53 h 54"/>
                <a:gd name="T10" fmla="*/ 8 w 25"/>
                <a:gd name="T11" fmla="*/ 52 h 54"/>
                <a:gd name="T12" fmla="*/ 9 w 25"/>
                <a:gd name="T13" fmla="*/ 52 h 54"/>
                <a:gd name="T14" fmla="*/ 11 w 25"/>
                <a:gd name="T15" fmla="*/ 47 h 54"/>
                <a:gd name="T16" fmla="*/ 18 w 25"/>
                <a:gd name="T17" fmla="*/ 29 h 54"/>
                <a:gd name="T18" fmla="*/ 7 w 25"/>
                <a:gd name="T19" fmla="*/ 12 h 54"/>
                <a:gd name="T20" fmla="*/ 0 w 25"/>
                <a:gd name="T21" fmla="*/ 9 h 54"/>
                <a:gd name="T22" fmla="*/ 2 w 25"/>
                <a:gd name="T23" fmla="*/ 0 h 54"/>
                <a:gd name="T24" fmla="*/ 6 w 25"/>
                <a:gd name="T25" fmla="*/ 2 h 54"/>
                <a:gd name="T26" fmla="*/ 23 w 25"/>
                <a:gd name="T27" fmla="*/ 3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54">
                  <a:moveTo>
                    <a:pt x="23" y="37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41"/>
                    <a:pt x="22" y="45"/>
                    <a:pt x="20" y="49"/>
                  </a:cubicBezTo>
                  <a:cubicBezTo>
                    <a:pt x="19" y="51"/>
                    <a:pt x="18" y="53"/>
                    <a:pt x="17" y="54"/>
                  </a:cubicBezTo>
                  <a:cubicBezTo>
                    <a:pt x="15" y="54"/>
                    <a:pt x="12" y="54"/>
                    <a:pt x="9" y="53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8" y="52"/>
                    <a:pt x="8" y="52"/>
                    <a:pt x="9" y="52"/>
                  </a:cubicBezTo>
                  <a:cubicBezTo>
                    <a:pt x="9" y="50"/>
                    <a:pt x="10" y="49"/>
                    <a:pt x="11" y="47"/>
                  </a:cubicBezTo>
                  <a:cubicBezTo>
                    <a:pt x="14" y="42"/>
                    <a:pt x="17" y="36"/>
                    <a:pt x="18" y="29"/>
                  </a:cubicBezTo>
                  <a:cubicBezTo>
                    <a:pt x="19" y="22"/>
                    <a:pt x="13" y="16"/>
                    <a:pt x="7" y="12"/>
                  </a:cubicBezTo>
                  <a:cubicBezTo>
                    <a:pt x="5" y="10"/>
                    <a:pt x="2" y="9"/>
                    <a:pt x="0" y="9"/>
                  </a:cubicBezTo>
                  <a:cubicBezTo>
                    <a:pt x="1" y="6"/>
                    <a:pt x="1" y="3"/>
                    <a:pt x="2" y="0"/>
                  </a:cubicBezTo>
                  <a:cubicBezTo>
                    <a:pt x="4" y="1"/>
                    <a:pt x="5" y="1"/>
                    <a:pt x="6" y="2"/>
                  </a:cubicBezTo>
                  <a:cubicBezTo>
                    <a:pt x="19" y="8"/>
                    <a:pt x="25" y="22"/>
                    <a:pt x="23" y="37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2" name="isḷîḋé"/>
            <p:cNvSpPr/>
            <p:nvPr/>
          </p:nvSpPr>
          <p:spPr bwMode="auto">
            <a:xfrm>
              <a:off x="6860094" y="5474884"/>
              <a:ext cx="0" cy="6775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1 h 1"/>
                <a:gd name="T4" fmla="*/ 1 h 1"/>
                <a:gd name="T5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3" name="íṧļïde"/>
            <p:cNvSpPr/>
            <p:nvPr/>
          </p:nvSpPr>
          <p:spPr bwMode="auto">
            <a:xfrm>
              <a:off x="6717819" y="5383422"/>
              <a:ext cx="247289" cy="230351"/>
            </a:xfrm>
            <a:custGeom>
              <a:avLst/>
              <a:gdLst>
                <a:gd name="T0" fmla="*/ 30 w 35"/>
                <a:gd name="T1" fmla="*/ 22 h 33"/>
                <a:gd name="T2" fmla="*/ 31 w 35"/>
                <a:gd name="T3" fmla="*/ 6 h 33"/>
                <a:gd name="T4" fmla="*/ 16 w 35"/>
                <a:gd name="T5" fmla="*/ 1 h 33"/>
                <a:gd name="T6" fmla="*/ 4 w 35"/>
                <a:gd name="T7" fmla="*/ 9 h 33"/>
                <a:gd name="T8" fmla="*/ 3 w 35"/>
                <a:gd name="T9" fmla="*/ 10 h 33"/>
                <a:gd name="T10" fmla="*/ 4 w 35"/>
                <a:gd name="T11" fmla="*/ 26 h 33"/>
                <a:gd name="T12" fmla="*/ 30 w 35"/>
                <a:gd name="T13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3">
                  <a:moveTo>
                    <a:pt x="30" y="22"/>
                  </a:moveTo>
                  <a:cubicBezTo>
                    <a:pt x="35" y="17"/>
                    <a:pt x="35" y="11"/>
                    <a:pt x="31" y="6"/>
                  </a:cubicBezTo>
                  <a:cubicBezTo>
                    <a:pt x="27" y="2"/>
                    <a:pt x="21" y="0"/>
                    <a:pt x="16" y="1"/>
                  </a:cubicBezTo>
                  <a:cubicBezTo>
                    <a:pt x="10" y="1"/>
                    <a:pt x="5" y="4"/>
                    <a:pt x="4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15"/>
                    <a:pt x="0" y="21"/>
                    <a:pt x="4" y="26"/>
                  </a:cubicBezTo>
                  <a:cubicBezTo>
                    <a:pt x="10" y="33"/>
                    <a:pt x="25" y="29"/>
                    <a:pt x="30" y="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4" name="î$ľîdê"/>
            <p:cNvSpPr/>
            <p:nvPr/>
          </p:nvSpPr>
          <p:spPr bwMode="auto">
            <a:xfrm>
              <a:off x="7388545" y="5369872"/>
              <a:ext cx="254064" cy="237126"/>
            </a:xfrm>
            <a:custGeom>
              <a:avLst/>
              <a:gdLst>
                <a:gd name="T0" fmla="*/ 18 w 36"/>
                <a:gd name="T1" fmla="*/ 34 h 34"/>
                <a:gd name="T2" fmla="*/ 31 w 36"/>
                <a:gd name="T3" fmla="*/ 26 h 34"/>
                <a:gd name="T4" fmla="*/ 21 w 36"/>
                <a:gd name="T5" fmla="*/ 2 h 34"/>
                <a:gd name="T6" fmla="*/ 6 w 36"/>
                <a:gd name="T7" fmla="*/ 7 h 34"/>
                <a:gd name="T8" fmla="*/ 3 w 36"/>
                <a:gd name="T9" fmla="*/ 11 h 34"/>
                <a:gd name="T10" fmla="*/ 4 w 36"/>
                <a:gd name="T11" fmla="*/ 26 h 34"/>
                <a:gd name="T12" fmla="*/ 18 w 36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24" y="34"/>
                    <a:pt x="29" y="31"/>
                    <a:pt x="31" y="26"/>
                  </a:cubicBezTo>
                  <a:cubicBezTo>
                    <a:pt x="36" y="17"/>
                    <a:pt x="30" y="5"/>
                    <a:pt x="21" y="2"/>
                  </a:cubicBezTo>
                  <a:cubicBezTo>
                    <a:pt x="15" y="0"/>
                    <a:pt x="9" y="2"/>
                    <a:pt x="6" y="7"/>
                  </a:cubicBezTo>
                  <a:cubicBezTo>
                    <a:pt x="5" y="8"/>
                    <a:pt x="4" y="9"/>
                    <a:pt x="3" y="11"/>
                  </a:cubicBezTo>
                  <a:cubicBezTo>
                    <a:pt x="0" y="16"/>
                    <a:pt x="1" y="22"/>
                    <a:pt x="4" y="26"/>
                  </a:cubicBezTo>
                  <a:cubicBezTo>
                    <a:pt x="8" y="31"/>
                    <a:pt x="12" y="34"/>
                    <a:pt x="18" y="3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5" name="ïṧľiḓè"/>
            <p:cNvSpPr/>
            <p:nvPr/>
          </p:nvSpPr>
          <p:spPr bwMode="auto">
            <a:xfrm>
              <a:off x="5261190" y="5403747"/>
              <a:ext cx="216801" cy="226964"/>
            </a:xfrm>
            <a:custGeom>
              <a:avLst/>
              <a:gdLst>
                <a:gd name="T0" fmla="*/ 3 w 31"/>
                <a:gd name="T1" fmla="*/ 12 h 32"/>
                <a:gd name="T2" fmla="*/ 3 w 31"/>
                <a:gd name="T3" fmla="*/ 15 h 32"/>
                <a:gd name="T4" fmla="*/ 11 w 31"/>
                <a:gd name="T5" fmla="*/ 30 h 32"/>
                <a:gd name="T6" fmla="*/ 27 w 31"/>
                <a:gd name="T7" fmla="*/ 26 h 32"/>
                <a:gd name="T8" fmla="*/ 28 w 31"/>
                <a:gd name="T9" fmla="*/ 11 h 32"/>
                <a:gd name="T10" fmla="*/ 3 w 31"/>
                <a:gd name="T11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2">
                  <a:moveTo>
                    <a:pt x="3" y="12"/>
                  </a:moveTo>
                  <a:cubicBezTo>
                    <a:pt x="3" y="13"/>
                    <a:pt x="3" y="14"/>
                    <a:pt x="3" y="15"/>
                  </a:cubicBezTo>
                  <a:cubicBezTo>
                    <a:pt x="0" y="22"/>
                    <a:pt x="5" y="27"/>
                    <a:pt x="11" y="30"/>
                  </a:cubicBezTo>
                  <a:cubicBezTo>
                    <a:pt x="16" y="32"/>
                    <a:pt x="23" y="31"/>
                    <a:pt x="27" y="26"/>
                  </a:cubicBezTo>
                  <a:cubicBezTo>
                    <a:pt x="31" y="22"/>
                    <a:pt x="31" y="16"/>
                    <a:pt x="28" y="11"/>
                  </a:cubicBezTo>
                  <a:cubicBezTo>
                    <a:pt x="24" y="2"/>
                    <a:pt x="5" y="0"/>
                    <a:pt x="3" y="1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6" name="íşļiḋè"/>
            <p:cNvSpPr/>
            <p:nvPr/>
          </p:nvSpPr>
          <p:spPr bwMode="auto">
            <a:xfrm>
              <a:off x="4563364" y="5430848"/>
              <a:ext cx="226964" cy="220189"/>
            </a:xfrm>
            <a:custGeom>
              <a:avLst/>
              <a:gdLst>
                <a:gd name="T0" fmla="*/ 24 w 32"/>
                <a:gd name="T1" fmla="*/ 4 h 31"/>
                <a:gd name="T2" fmla="*/ 5 w 32"/>
                <a:gd name="T3" fmla="*/ 5 h 31"/>
                <a:gd name="T4" fmla="*/ 3 w 32"/>
                <a:gd name="T5" fmla="*/ 7 h 31"/>
                <a:gd name="T6" fmla="*/ 0 w 32"/>
                <a:gd name="T7" fmla="*/ 16 h 31"/>
                <a:gd name="T8" fmla="*/ 9 w 32"/>
                <a:gd name="T9" fmla="*/ 28 h 31"/>
                <a:gd name="T10" fmla="*/ 28 w 32"/>
                <a:gd name="T11" fmla="*/ 25 h 31"/>
                <a:gd name="T12" fmla="*/ 31 w 32"/>
                <a:gd name="T13" fmla="*/ 13 h 31"/>
                <a:gd name="T14" fmla="*/ 24 w 32"/>
                <a:gd name="T1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1">
                  <a:moveTo>
                    <a:pt x="24" y="4"/>
                  </a:moveTo>
                  <a:cubicBezTo>
                    <a:pt x="19" y="1"/>
                    <a:pt x="11" y="0"/>
                    <a:pt x="5" y="5"/>
                  </a:cubicBezTo>
                  <a:cubicBezTo>
                    <a:pt x="4" y="5"/>
                    <a:pt x="4" y="6"/>
                    <a:pt x="3" y="7"/>
                  </a:cubicBezTo>
                  <a:cubicBezTo>
                    <a:pt x="1" y="10"/>
                    <a:pt x="0" y="13"/>
                    <a:pt x="0" y="16"/>
                  </a:cubicBezTo>
                  <a:cubicBezTo>
                    <a:pt x="0" y="22"/>
                    <a:pt x="4" y="26"/>
                    <a:pt x="9" y="28"/>
                  </a:cubicBezTo>
                  <a:cubicBezTo>
                    <a:pt x="15" y="31"/>
                    <a:pt x="23" y="29"/>
                    <a:pt x="28" y="25"/>
                  </a:cubicBezTo>
                  <a:cubicBezTo>
                    <a:pt x="31" y="22"/>
                    <a:pt x="32" y="17"/>
                    <a:pt x="31" y="13"/>
                  </a:cubicBezTo>
                  <a:cubicBezTo>
                    <a:pt x="31" y="9"/>
                    <a:pt x="28" y="7"/>
                    <a:pt x="24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7" name="išḷiḋê"/>
            <p:cNvSpPr/>
            <p:nvPr/>
          </p:nvSpPr>
          <p:spPr bwMode="auto">
            <a:xfrm>
              <a:off x="5938692" y="5417298"/>
              <a:ext cx="250676" cy="226964"/>
            </a:xfrm>
            <a:custGeom>
              <a:avLst/>
              <a:gdLst>
                <a:gd name="T0" fmla="*/ 26 w 36"/>
                <a:gd name="T1" fmla="*/ 3 h 32"/>
                <a:gd name="T2" fmla="*/ 17 w 36"/>
                <a:gd name="T3" fmla="*/ 3 h 32"/>
                <a:gd name="T4" fmla="*/ 15 w 36"/>
                <a:gd name="T5" fmla="*/ 2 h 32"/>
                <a:gd name="T6" fmla="*/ 3 w 36"/>
                <a:gd name="T7" fmla="*/ 19 h 32"/>
                <a:gd name="T8" fmla="*/ 28 w 36"/>
                <a:gd name="T9" fmla="*/ 27 h 32"/>
                <a:gd name="T10" fmla="*/ 36 w 36"/>
                <a:gd name="T11" fmla="*/ 15 h 32"/>
                <a:gd name="T12" fmla="*/ 26 w 36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2">
                  <a:moveTo>
                    <a:pt x="26" y="3"/>
                  </a:moveTo>
                  <a:cubicBezTo>
                    <a:pt x="23" y="2"/>
                    <a:pt x="20" y="2"/>
                    <a:pt x="17" y="3"/>
                  </a:cubicBezTo>
                  <a:cubicBezTo>
                    <a:pt x="16" y="3"/>
                    <a:pt x="16" y="2"/>
                    <a:pt x="15" y="2"/>
                  </a:cubicBezTo>
                  <a:cubicBezTo>
                    <a:pt x="6" y="0"/>
                    <a:pt x="0" y="12"/>
                    <a:pt x="3" y="19"/>
                  </a:cubicBezTo>
                  <a:cubicBezTo>
                    <a:pt x="6" y="29"/>
                    <a:pt x="20" y="32"/>
                    <a:pt x="28" y="27"/>
                  </a:cubicBezTo>
                  <a:cubicBezTo>
                    <a:pt x="33" y="24"/>
                    <a:pt x="36" y="20"/>
                    <a:pt x="36" y="15"/>
                  </a:cubicBezTo>
                  <a:cubicBezTo>
                    <a:pt x="36" y="9"/>
                    <a:pt x="31" y="5"/>
                    <a:pt x="2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8" name="iṥľïḓé"/>
            <p:cNvSpPr/>
            <p:nvPr/>
          </p:nvSpPr>
          <p:spPr bwMode="auto">
            <a:xfrm>
              <a:off x="6372293" y="4130045"/>
              <a:ext cx="626690" cy="880752"/>
            </a:xfrm>
            <a:custGeom>
              <a:avLst/>
              <a:gdLst>
                <a:gd name="T0" fmla="*/ 87 w 89"/>
                <a:gd name="T1" fmla="*/ 62 h 125"/>
                <a:gd name="T2" fmla="*/ 88 w 89"/>
                <a:gd name="T3" fmla="*/ 31 h 125"/>
                <a:gd name="T4" fmla="*/ 84 w 89"/>
                <a:gd name="T5" fmla="*/ 14 h 125"/>
                <a:gd name="T6" fmla="*/ 74 w 89"/>
                <a:gd name="T7" fmla="*/ 5 h 125"/>
                <a:gd name="T8" fmla="*/ 47 w 89"/>
                <a:gd name="T9" fmla="*/ 1 h 125"/>
                <a:gd name="T10" fmla="*/ 13 w 89"/>
                <a:gd name="T11" fmla="*/ 2 h 125"/>
                <a:gd name="T12" fmla="*/ 2 w 89"/>
                <a:gd name="T13" fmla="*/ 7 h 125"/>
                <a:gd name="T14" fmla="*/ 4 w 89"/>
                <a:gd name="T15" fmla="*/ 19 h 125"/>
                <a:gd name="T16" fmla="*/ 3 w 89"/>
                <a:gd name="T17" fmla="*/ 30 h 125"/>
                <a:gd name="T18" fmla="*/ 3 w 89"/>
                <a:gd name="T19" fmla="*/ 45 h 125"/>
                <a:gd name="T20" fmla="*/ 4 w 89"/>
                <a:gd name="T21" fmla="*/ 75 h 125"/>
                <a:gd name="T22" fmla="*/ 3 w 89"/>
                <a:gd name="T23" fmla="*/ 103 h 125"/>
                <a:gd name="T24" fmla="*/ 11 w 89"/>
                <a:gd name="T25" fmla="*/ 118 h 125"/>
                <a:gd name="T26" fmla="*/ 41 w 89"/>
                <a:gd name="T27" fmla="*/ 124 h 125"/>
                <a:gd name="T28" fmla="*/ 57 w 89"/>
                <a:gd name="T29" fmla="*/ 123 h 125"/>
                <a:gd name="T30" fmla="*/ 69 w 89"/>
                <a:gd name="T31" fmla="*/ 123 h 125"/>
                <a:gd name="T32" fmla="*/ 81 w 89"/>
                <a:gd name="T33" fmla="*/ 121 h 125"/>
                <a:gd name="T34" fmla="*/ 83 w 89"/>
                <a:gd name="T35" fmla="*/ 120 h 125"/>
                <a:gd name="T36" fmla="*/ 88 w 89"/>
                <a:gd name="T37" fmla="*/ 109 h 125"/>
                <a:gd name="T38" fmla="*/ 88 w 89"/>
                <a:gd name="T39" fmla="*/ 93 h 125"/>
                <a:gd name="T40" fmla="*/ 87 w 89"/>
                <a:gd name="T41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9" h="125">
                  <a:moveTo>
                    <a:pt x="87" y="62"/>
                  </a:moveTo>
                  <a:cubicBezTo>
                    <a:pt x="87" y="52"/>
                    <a:pt x="88" y="42"/>
                    <a:pt x="88" y="31"/>
                  </a:cubicBezTo>
                  <a:cubicBezTo>
                    <a:pt x="87" y="26"/>
                    <a:pt x="89" y="17"/>
                    <a:pt x="84" y="14"/>
                  </a:cubicBezTo>
                  <a:cubicBezTo>
                    <a:pt x="83" y="10"/>
                    <a:pt x="78" y="7"/>
                    <a:pt x="74" y="5"/>
                  </a:cubicBezTo>
                  <a:cubicBezTo>
                    <a:pt x="66" y="2"/>
                    <a:pt x="56" y="2"/>
                    <a:pt x="47" y="1"/>
                  </a:cubicBezTo>
                  <a:cubicBezTo>
                    <a:pt x="36" y="0"/>
                    <a:pt x="24" y="0"/>
                    <a:pt x="13" y="2"/>
                  </a:cubicBezTo>
                  <a:cubicBezTo>
                    <a:pt x="9" y="2"/>
                    <a:pt x="5" y="4"/>
                    <a:pt x="2" y="7"/>
                  </a:cubicBezTo>
                  <a:cubicBezTo>
                    <a:pt x="0" y="11"/>
                    <a:pt x="1" y="16"/>
                    <a:pt x="4" y="19"/>
                  </a:cubicBezTo>
                  <a:cubicBezTo>
                    <a:pt x="4" y="23"/>
                    <a:pt x="3" y="26"/>
                    <a:pt x="3" y="30"/>
                  </a:cubicBezTo>
                  <a:cubicBezTo>
                    <a:pt x="3" y="35"/>
                    <a:pt x="3" y="40"/>
                    <a:pt x="3" y="45"/>
                  </a:cubicBezTo>
                  <a:cubicBezTo>
                    <a:pt x="3" y="55"/>
                    <a:pt x="4" y="65"/>
                    <a:pt x="4" y="75"/>
                  </a:cubicBezTo>
                  <a:cubicBezTo>
                    <a:pt x="3" y="84"/>
                    <a:pt x="2" y="94"/>
                    <a:pt x="3" y="103"/>
                  </a:cubicBezTo>
                  <a:cubicBezTo>
                    <a:pt x="4" y="109"/>
                    <a:pt x="6" y="114"/>
                    <a:pt x="11" y="118"/>
                  </a:cubicBezTo>
                  <a:cubicBezTo>
                    <a:pt x="19" y="125"/>
                    <a:pt x="31" y="125"/>
                    <a:pt x="41" y="124"/>
                  </a:cubicBezTo>
                  <a:cubicBezTo>
                    <a:pt x="47" y="124"/>
                    <a:pt x="52" y="123"/>
                    <a:pt x="57" y="123"/>
                  </a:cubicBezTo>
                  <a:cubicBezTo>
                    <a:pt x="61" y="123"/>
                    <a:pt x="65" y="123"/>
                    <a:pt x="69" y="123"/>
                  </a:cubicBezTo>
                  <a:cubicBezTo>
                    <a:pt x="74" y="123"/>
                    <a:pt x="78" y="123"/>
                    <a:pt x="81" y="121"/>
                  </a:cubicBezTo>
                  <a:cubicBezTo>
                    <a:pt x="82" y="121"/>
                    <a:pt x="83" y="121"/>
                    <a:pt x="83" y="120"/>
                  </a:cubicBezTo>
                  <a:cubicBezTo>
                    <a:pt x="87" y="117"/>
                    <a:pt x="87" y="113"/>
                    <a:pt x="88" y="109"/>
                  </a:cubicBezTo>
                  <a:cubicBezTo>
                    <a:pt x="88" y="104"/>
                    <a:pt x="88" y="98"/>
                    <a:pt x="88" y="93"/>
                  </a:cubicBezTo>
                  <a:cubicBezTo>
                    <a:pt x="88" y="83"/>
                    <a:pt x="87" y="73"/>
                    <a:pt x="87" y="6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9" name="is1iḑé"/>
            <p:cNvSpPr/>
            <p:nvPr/>
          </p:nvSpPr>
          <p:spPr bwMode="auto">
            <a:xfrm>
              <a:off x="6162267" y="3513518"/>
              <a:ext cx="633465" cy="633465"/>
            </a:xfrm>
            <a:custGeom>
              <a:avLst/>
              <a:gdLst>
                <a:gd name="T0" fmla="*/ 86 w 90"/>
                <a:gd name="T1" fmla="*/ 47 h 90"/>
                <a:gd name="T2" fmla="*/ 72 w 90"/>
                <a:gd name="T3" fmla="*/ 9 h 90"/>
                <a:gd name="T4" fmla="*/ 50 w 90"/>
                <a:gd name="T5" fmla="*/ 1 h 90"/>
                <a:gd name="T6" fmla="*/ 27 w 90"/>
                <a:gd name="T7" fmla="*/ 6 h 90"/>
                <a:gd name="T8" fmla="*/ 26 w 90"/>
                <a:gd name="T9" fmla="*/ 6 h 90"/>
                <a:gd name="T10" fmla="*/ 21 w 90"/>
                <a:gd name="T11" fmla="*/ 8 h 90"/>
                <a:gd name="T12" fmla="*/ 6 w 90"/>
                <a:gd name="T13" fmla="*/ 26 h 90"/>
                <a:gd name="T14" fmla="*/ 17 w 90"/>
                <a:gd name="T15" fmla="*/ 70 h 90"/>
                <a:gd name="T16" fmla="*/ 86 w 90"/>
                <a:gd name="T17" fmla="*/ 4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0">
                  <a:moveTo>
                    <a:pt x="86" y="47"/>
                  </a:moveTo>
                  <a:cubicBezTo>
                    <a:pt x="90" y="33"/>
                    <a:pt x="84" y="17"/>
                    <a:pt x="72" y="9"/>
                  </a:cubicBezTo>
                  <a:cubicBezTo>
                    <a:pt x="66" y="4"/>
                    <a:pt x="58" y="2"/>
                    <a:pt x="50" y="1"/>
                  </a:cubicBezTo>
                  <a:cubicBezTo>
                    <a:pt x="42" y="0"/>
                    <a:pt x="32" y="0"/>
                    <a:pt x="27" y="6"/>
                  </a:cubicBezTo>
                  <a:cubicBezTo>
                    <a:pt x="27" y="6"/>
                    <a:pt x="26" y="6"/>
                    <a:pt x="26" y="6"/>
                  </a:cubicBezTo>
                  <a:cubicBezTo>
                    <a:pt x="25" y="6"/>
                    <a:pt x="23" y="7"/>
                    <a:pt x="21" y="8"/>
                  </a:cubicBezTo>
                  <a:cubicBezTo>
                    <a:pt x="14" y="11"/>
                    <a:pt x="9" y="18"/>
                    <a:pt x="6" y="26"/>
                  </a:cubicBezTo>
                  <a:cubicBezTo>
                    <a:pt x="0" y="40"/>
                    <a:pt x="5" y="59"/>
                    <a:pt x="17" y="70"/>
                  </a:cubicBezTo>
                  <a:cubicBezTo>
                    <a:pt x="39" y="90"/>
                    <a:pt x="77" y="74"/>
                    <a:pt x="86" y="4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0" name="íSļídè"/>
            <p:cNvSpPr/>
            <p:nvPr/>
          </p:nvSpPr>
          <p:spPr bwMode="auto">
            <a:xfrm>
              <a:off x="5823517" y="3012167"/>
              <a:ext cx="372626" cy="162600"/>
            </a:xfrm>
            <a:custGeom>
              <a:avLst/>
              <a:gdLst>
                <a:gd name="T0" fmla="*/ 46 w 53"/>
                <a:gd name="T1" fmla="*/ 3 h 23"/>
                <a:gd name="T2" fmla="*/ 35 w 53"/>
                <a:gd name="T3" fmla="*/ 10 h 23"/>
                <a:gd name="T4" fmla="*/ 24 w 53"/>
                <a:gd name="T5" fmla="*/ 11 h 23"/>
                <a:gd name="T6" fmla="*/ 15 w 53"/>
                <a:gd name="T7" fmla="*/ 9 h 23"/>
                <a:gd name="T8" fmla="*/ 7 w 53"/>
                <a:gd name="T9" fmla="*/ 3 h 23"/>
                <a:gd name="T10" fmla="*/ 4 w 53"/>
                <a:gd name="T11" fmla="*/ 4 h 23"/>
                <a:gd name="T12" fmla="*/ 21 w 53"/>
                <a:gd name="T13" fmla="*/ 20 h 23"/>
                <a:gd name="T14" fmla="*/ 52 w 53"/>
                <a:gd name="T15" fmla="*/ 9 h 23"/>
                <a:gd name="T16" fmla="*/ 46 w 53"/>
                <a:gd name="T1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3">
                  <a:moveTo>
                    <a:pt x="46" y="3"/>
                  </a:moveTo>
                  <a:cubicBezTo>
                    <a:pt x="42" y="5"/>
                    <a:pt x="39" y="8"/>
                    <a:pt x="35" y="10"/>
                  </a:cubicBezTo>
                  <a:cubicBezTo>
                    <a:pt x="32" y="11"/>
                    <a:pt x="28" y="12"/>
                    <a:pt x="24" y="11"/>
                  </a:cubicBezTo>
                  <a:cubicBezTo>
                    <a:pt x="21" y="11"/>
                    <a:pt x="18" y="10"/>
                    <a:pt x="15" y="9"/>
                  </a:cubicBezTo>
                  <a:cubicBezTo>
                    <a:pt x="12" y="8"/>
                    <a:pt x="10" y="5"/>
                    <a:pt x="7" y="3"/>
                  </a:cubicBezTo>
                  <a:cubicBezTo>
                    <a:pt x="6" y="3"/>
                    <a:pt x="5" y="2"/>
                    <a:pt x="4" y="4"/>
                  </a:cubicBezTo>
                  <a:cubicBezTo>
                    <a:pt x="0" y="13"/>
                    <a:pt x="15" y="19"/>
                    <a:pt x="21" y="20"/>
                  </a:cubicBezTo>
                  <a:cubicBezTo>
                    <a:pt x="31" y="23"/>
                    <a:pt x="47" y="19"/>
                    <a:pt x="52" y="9"/>
                  </a:cubicBezTo>
                  <a:cubicBezTo>
                    <a:pt x="53" y="5"/>
                    <a:pt x="50" y="0"/>
                    <a:pt x="4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1" name="íSľiḍe"/>
            <p:cNvSpPr/>
            <p:nvPr/>
          </p:nvSpPr>
          <p:spPr bwMode="auto">
            <a:xfrm>
              <a:off x="6175817" y="2795367"/>
              <a:ext cx="220189" cy="203250"/>
            </a:xfrm>
            <a:custGeom>
              <a:avLst/>
              <a:gdLst>
                <a:gd name="T0" fmla="*/ 20 w 31"/>
                <a:gd name="T1" fmla="*/ 2 h 29"/>
                <a:gd name="T2" fmla="*/ 8 w 31"/>
                <a:gd name="T3" fmla="*/ 3 h 29"/>
                <a:gd name="T4" fmla="*/ 1 w 31"/>
                <a:gd name="T5" fmla="*/ 19 h 29"/>
                <a:gd name="T6" fmla="*/ 10 w 31"/>
                <a:gd name="T7" fmla="*/ 27 h 29"/>
                <a:gd name="T8" fmla="*/ 24 w 31"/>
                <a:gd name="T9" fmla="*/ 27 h 29"/>
                <a:gd name="T10" fmla="*/ 31 w 31"/>
                <a:gd name="T11" fmla="*/ 15 h 29"/>
                <a:gd name="T12" fmla="*/ 20 w 31"/>
                <a:gd name="T13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9">
                  <a:moveTo>
                    <a:pt x="20" y="2"/>
                  </a:moveTo>
                  <a:cubicBezTo>
                    <a:pt x="16" y="0"/>
                    <a:pt x="12" y="0"/>
                    <a:pt x="8" y="3"/>
                  </a:cubicBezTo>
                  <a:cubicBezTo>
                    <a:pt x="3" y="6"/>
                    <a:pt x="0" y="13"/>
                    <a:pt x="1" y="19"/>
                  </a:cubicBezTo>
                  <a:cubicBezTo>
                    <a:pt x="2" y="23"/>
                    <a:pt x="6" y="26"/>
                    <a:pt x="10" y="27"/>
                  </a:cubicBezTo>
                  <a:cubicBezTo>
                    <a:pt x="15" y="28"/>
                    <a:pt x="20" y="29"/>
                    <a:pt x="24" y="27"/>
                  </a:cubicBezTo>
                  <a:cubicBezTo>
                    <a:pt x="29" y="25"/>
                    <a:pt x="31" y="19"/>
                    <a:pt x="31" y="15"/>
                  </a:cubicBezTo>
                  <a:cubicBezTo>
                    <a:pt x="31" y="9"/>
                    <a:pt x="26" y="4"/>
                    <a:pt x="20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2" name="ï$ļiḓe"/>
            <p:cNvSpPr/>
            <p:nvPr/>
          </p:nvSpPr>
          <p:spPr bwMode="auto">
            <a:xfrm>
              <a:off x="5664305" y="2815692"/>
              <a:ext cx="182925" cy="189700"/>
            </a:xfrm>
            <a:custGeom>
              <a:avLst/>
              <a:gdLst>
                <a:gd name="T0" fmla="*/ 18 w 26"/>
                <a:gd name="T1" fmla="*/ 2 h 27"/>
                <a:gd name="T2" fmla="*/ 4 w 26"/>
                <a:gd name="T3" fmla="*/ 4 h 27"/>
                <a:gd name="T4" fmla="*/ 1 w 26"/>
                <a:gd name="T5" fmla="*/ 14 h 27"/>
                <a:gd name="T6" fmla="*/ 6 w 26"/>
                <a:gd name="T7" fmla="*/ 25 h 27"/>
                <a:gd name="T8" fmla="*/ 18 w 26"/>
                <a:gd name="T9" fmla="*/ 24 h 27"/>
                <a:gd name="T10" fmla="*/ 26 w 26"/>
                <a:gd name="T11" fmla="*/ 12 h 27"/>
                <a:gd name="T12" fmla="*/ 18 w 26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7">
                  <a:moveTo>
                    <a:pt x="18" y="2"/>
                  </a:moveTo>
                  <a:cubicBezTo>
                    <a:pt x="13" y="0"/>
                    <a:pt x="8" y="1"/>
                    <a:pt x="4" y="4"/>
                  </a:cubicBezTo>
                  <a:cubicBezTo>
                    <a:pt x="1" y="6"/>
                    <a:pt x="0" y="10"/>
                    <a:pt x="1" y="14"/>
                  </a:cubicBezTo>
                  <a:cubicBezTo>
                    <a:pt x="0" y="18"/>
                    <a:pt x="2" y="22"/>
                    <a:pt x="6" y="25"/>
                  </a:cubicBezTo>
                  <a:cubicBezTo>
                    <a:pt x="10" y="27"/>
                    <a:pt x="15" y="26"/>
                    <a:pt x="18" y="24"/>
                  </a:cubicBezTo>
                  <a:cubicBezTo>
                    <a:pt x="23" y="22"/>
                    <a:pt x="26" y="17"/>
                    <a:pt x="26" y="12"/>
                  </a:cubicBezTo>
                  <a:cubicBezTo>
                    <a:pt x="26" y="7"/>
                    <a:pt x="22" y="4"/>
                    <a:pt x="1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3" name="íṣḻîḋé"/>
            <p:cNvSpPr/>
            <p:nvPr/>
          </p:nvSpPr>
          <p:spPr bwMode="auto">
            <a:xfrm>
              <a:off x="6267281" y="3611755"/>
              <a:ext cx="409890" cy="372626"/>
            </a:xfrm>
            <a:custGeom>
              <a:avLst/>
              <a:gdLst>
                <a:gd name="T0" fmla="*/ 2 w 58"/>
                <a:gd name="T1" fmla="*/ 20 h 53"/>
                <a:gd name="T2" fmla="*/ 2 w 58"/>
                <a:gd name="T3" fmla="*/ 20 h 53"/>
                <a:gd name="T4" fmla="*/ 11 w 58"/>
                <a:gd name="T5" fmla="*/ 4 h 53"/>
                <a:gd name="T6" fmla="*/ 17 w 58"/>
                <a:gd name="T7" fmla="*/ 0 h 53"/>
                <a:gd name="T8" fmla="*/ 24 w 58"/>
                <a:gd name="T9" fmla="*/ 0 h 53"/>
                <a:gd name="T10" fmla="*/ 37 w 58"/>
                <a:gd name="T11" fmla="*/ 1 h 53"/>
                <a:gd name="T12" fmla="*/ 54 w 58"/>
                <a:gd name="T13" fmla="*/ 10 h 53"/>
                <a:gd name="T14" fmla="*/ 58 w 58"/>
                <a:gd name="T15" fmla="*/ 18 h 53"/>
                <a:gd name="T16" fmla="*/ 58 w 58"/>
                <a:gd name="T17" fmla="*/ 21 h 53"/>
                <a:gd name="T18" fmla="*/ 49 w 58"/>
                <a:gd name="T19" fmla="*/ 22 h 53"/>
                <a:gd name="T20" fmla="*/ 35 w 58"/>
                <a:gd name="T21" fmla="*/ 26 h 53"/>
                <a:gd name="T22" fmla="*/ 38 w 58"/>
                <a:gd name="T23" fmla="*/ 31 h 53"/>
                <a:gd name="T24" fmla="*/ 50 w 58"/>
                <a:gd name="T25" fmla="*/ 32 h 53"/>
                <a:gd name="T26" fmla="*/ 56 w 58"/>
                <a:gd name="T27" fmla="*/ 33 h 53"/>
                <a:gd name="T28" fmla="*/ 51 w 58"/>
                <a:gd name="T29" fmla="*/ 40 h 53"/>
                <a:gd name="T30" fmla="*/ 20 w 58"/>
                <a:gd name="T31" fmla="*/ 51 h 53"/>
                <a:gd name="T32" fmla="*/ 2 w 58"/>
                <a:gd name="T33" fmla="*/ 2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53">
                  <a:moveTo>
                    <a:pt x="2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3" y="14"/>
                    <a:pt x="5" y="8"/>
                    <a:pt x="11" y="4"/>
                  </a:cubicBezTo>
                  <a:cubicBezTo>
                    <a:pt x="13" y="3"/>
                    <a:pt x="15" y="1"/>
                    <a:pt x="17" y="0"/>
                  </a:cubicBezTo>
                  <a:cubicBezTo>
                    <a:pt x="19" y="1"/>
                    <a:pt x="22" y="1"/>
                    <a:pt x="24" y="0"/>
                  </a:cubicBezTo>
                  <a:cubicBezTo>
                    <a:pt x="28" y="0"/>
                    <a:pt x="33" y="0"/>
                    <a:pt x="37" y="1"/>
                  </a:cubicBezTo>
                  <a:cubicBezTo>
                    <a:pt x="43" y="1"/>
                    <a:pt x="50" y="5"/>
                    <a:pt x="54" y="10"/>
                  </a:cubicBezTo>
                  <a:cubicBezTo>
                    <a:pt x="56" y="13"/>
                    <a:pt x="57" y="15"/>
                    <a:pt x="58" y="18"/>
                  </a:cubicBezTo>
                  <a:cubicBezTo>
                    <a:pt x="58" y="20"/>
                    <a:pt x="58" y="20"/>
                    <a:pt x="58" y="21"/>
                  </a:cubicBezTo>
                  <a:cubicBezTo>
                    <a:pt x="55" y="21"/>
                    <a:pt x="52" y="21"/>
                    <a:pt x="49" y="22"/>
                  </a:cubicBezTo>
                  <a:cubicBezTo>
                    <a:pt x="44" y="23"/>
                    <a:pt x="39" y="22"/>
                    <a:pt x="35" y="26"/>
                  </a:cubicBezTo>
                  <a:cubicBezTo>
                    <a:pt x="33" y="28"/>
                    <a:pt x="35" y="32"/>
                    <a:pt x="38" y="31"/>
                  </a:cubicBezTo>
                  <a:cubicBezTo>
                    <a:pt x="42" y="30"/>
                    <a:pt x="46" y="32"/>
                    <a:pt x="50" y="32"/>
                  </a:cubicBezTo>
                  <a:cubicBezTo>
                    <a:pt x="52" y="33"/>
                    <a:pt x="54" y="32"/>
                    <a:pt x="56" y="33"/>
                  </a:cubicBezTo>
                  <a:cubicBezTo>
                    <a:pt x="55" y="35"/>
                    <a:pt x="53" y="38"/>
                    <a:pt x="51" y="40"/>
                  </a:cubicBezTo>
                  <a:cubicBezTo>
                    <a:pt x="43" y="48"/>
                    <a:pt x="31" y="53"/>
                    <a:pt x="20" y="51"/>
                  </a:cubicBezTo>
                  <a:cubicBezTo>
                    <a:pt x="7" y="48"/>
                    <a:pt x="0" y="33"/>
                    <a:pt x="2" y="2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4" name="íš1îďé"/>
            <p:cNvSpPr/>
            <p:nvPr/>
          </p:nvSpPr>
          <p:spPr bwMode="auto">
            <a:xfrm>
              <a:off x="6436657" y="4194406"/>
              <a:ext cx="494576" cy="758802"/>
            </a:xfrm>
            <a:custGeom>
              <a:avLst/>
              <a:gdLst>
                <a:gd name="T0" fmla="*/ 70 w 70"/>
                <a:gd name="T1" fmla="*/ 105 h 108"/>
                <a:gd name="T2" fmla="*/ 70 w 70"/>
                <a:gd name="T3" fmla="*/ 105 h 108"/>
                <a:gd name="T4" fmla="*/ 62 w 70"/>
                <a:gd name="T5" fmla="*/ 104 h 108"/>
                <a:gd name="T6" fmla="*/ 49 w 70"/>
                <a:gd name="T7" fmla="*/ 105 h 108"/>
                <a:gd name="T8" fmla="*/ 35 w 70"/>
                <a:gd name="T9" fmla="*/ 106 h 108"/>
                <a:gd name="T10" fmla="*/ 8 w 70"/>
                <a:gd name="T11" fmla="*/ 103 h 108"/>
                <a:gd name="T12" fmla="*/ 3 w 70"/>
                <a:gd name="T13" fmla="*/ 90 h 108"/>
                <a:gd name="T14" fmla="*/ 4 w 70"/>
                <a:gd name="T15" fmla="*/ 63 h 108"/>
                <a:gd name="T16" fmla="*/ 2 w 70"/>
                <a:gd name="T17" fmla="*/ 36 h 108"/>
                <a:gd name="T18" fmla="*/ 0 w 70"/>
                <a:gd name="T19" fmla="*/ 7 h 108"/>
                <a:gd name="T20" fmla="*/ 2 w 70"/>
                <a:gd name="T21" fmla="*/ 3 h 108"/>
                <a:gd name="T22" fmla="*/ 12 w 70"/>
                <a:gd name="T23" fmla="*/ 1 h 108"/>
                <a:gd name="T24" fmla="*/ 40 w 70"/>
                <a:gd name="T25" fmla="*/ 1 h 108"/>
                <a:gd name="T26" fmla="*/ 60 w 70"/>
                <a:gd name="T27" fmla="*/ 3 h 108"/>
                <a:gd name="T28" fmla="*/ 67 w 70"/>
                <a:gd name="T29" fmla="*/ 6 h 108"/>
                <a:gd name="T30" fmla="*/ 70 w 70"/>
                <a:gd name="T31" fmla="*/ 10 h 108"/>
                <a:gd name="T32" fmla="*/ 70 w 70"/>
                <a:gd name="T33" fmla="*/ 15 h 108"/>
                <a:gd name="T34" fmla="*/ 69 w 70"/>
                <a:gd name="T35" fmla="*/ 26 h 108"/>
                <a:gd name="T36" fmla="*/ 69 w 70"/>
                <a:gd name="T37" fmla="*/ 55 h 108"/>
                <a:gd name="T38" fmla="*/ 70 w 70"/>
                <a:gd name="T39" fmla="*/ 82 h 108"/>
                <a:gd name="T40" fmla="*/ 70 w 70"/>
                <a:gd name="T41" fmla="*/ 96 h 108"/>
                <a:gd name="T42" fmla="*/ 70 w 70"/>
                <a:gd name="T43" fmla="*/ 10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0" h="108">
                  <a:moveTo>
                    <a:pt x="70" y="105"/>
                  </a:moveTo>
                  <a:cubicBezTo>
                    <a:pt x="70" y="105"/>
                    <a:pt x="70" y="105"/>
                    <a:pt x="70" y="105"/>
                  </a:cubicBezTo>
                  <a:cubicBezTo>
                    <a:pt x="67" y="104"/>
                    <a:pt x="65" y="104"/>
                    <a:pt x="62" y="104"/>
                  </a:cubicBezTo>
                  <a:cubicBezTo>
                    <a:pt x="57" y="104"/>
                    <a:pt x="53" y="105"/>
                    <a:pt x="49" y="105"/>
                  </a:cubicBezTo>
                  <a:cubicBezTo>
                    <a:pt x="44" y="105"/>
                    <a:pt x="39" y="105"/>
                    <a:pt x="35" y="106"/>
                  </a:cubicBezTo>
                  <a:cubicBezTo>
                    <a:pt x="27" y="106"/>
                    <a:pt x="15" y="108"/>
                    <a:pt x="8" y="103"/>
                  </a:cubicBezTo>
                  <a:cubicBezTo>
                    <a:pt x="4" y="100"/>
                    <a:pt x="4" y="95"/>
                    <a:pt x="3" y="90"/>
                  </a:cubicBezTo>
                  <a:cubicBezTo>
                    <a:pt x="3" y="81"/>
                    <a:pt x="3" y="72"/>
                    <a:pt x="4" y="63"/>
                  </a:cubicBezTo>
                  <a:cubicBezTo>
                    <a:pt x="4" y="54"/>
                    <a:pt x="3" y="45"/>
                    <a:pt x="2" y="36"/>
                  </a:cubicBezTo>
                  <a:cubicBezTo>
                    <a:pt x="2" y="26"/>
                    <a:pt x="0" y="16"/>
                    <a:pt x="0" y="7"/>
                  </a:cubicBezTo>
                  <a:cubicBezTo>
                    <a:pt x="1" y="5"/>
                    <a:pt x="1" y="4"/>
                    <a:pt x="2" y="3"/>
                  </a:cubicBezTo>
                  <a:cubicBezTo>
                    <a:pt x="5" y="1"/>
                    <a:pt x="9" y="1"/>
                    <a:pt x="12" y="1"/>
                  </a:cubicBezTo>
                  <a:cubicBezTo>
                    <a:pt x="21" y="0"/>
                    <a:pt x="30" y="0"/>
                    <a:pt x="40" y="1"/>
                  </a:cubicBezTo>
                  <a:cubicBezTo>
                    <a:pt x="46" y="1"/>
                    <a:pt x="53" y="1"/>
                    <a:pt x="60" y="3"/>
                  </a:cubicBezTo>
                  <a:cubicBezTo>
                    <a:pt x="62" y="3"/>
                    <a:pt x="65" y="4"/>
                    <a:pt x="67" y="6"/>
                  </a:cubicBezTo>
                  <a:cubicBezTo>
                    <a:pt x="68" y="7"/>
                    <a:pt x="69" y="9"/>
                    <a:pt x="70" y="10"/>
                  </a:cubicBezTo>
                  <a:cubicBezTo>
                    <a:pt x="70" y="12"/>
                    <a:pt x="70" y="14"/>
                    <a:pt x="70" y="15"/>
                  </a:cubicBezTo>
                  <a:cubicBezTo>
                    <a:pt x="69" y="19"/>
                    <a:pt x="69" y="23"/>
                    <a:pt x="69" y="26"/>
                  </a:cubicBezTo>
                  <a:cubicBezTo>
                    <a:pt x="69" y="36"/>
                    <a:pt x="69" y="45"/>
                    <a:pt x="69" y="55"/>
                  </a:cubicBezTo>
                  <a:cubicBezTo>
                    <a:pt x="69" y="64"/>
                    <a:pt x="69" y="73"/>
                    <a:pt x="70" y="82"/>
                  </a:cubicBezTo>
                  <a:cubicBezTo>
                    <a:pt x="70" y="86"/>
                    <a:pt x="70" y="91"/>
                    <a:pt x="70" y="96"/>
                  </a:cubicBezTo>
                  <a:cubicBezTo>
                    <a:pt x="70" y="99"/>
                    <a:pt x="70" y="102"/>
                    <a:pt x="70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5" name="í$ľïďe"/>
            <p:cNvSpPr/>
            <p:nvPr/>
          </p:nvSpPr>
          <p:spPr bwMode="auto">
            <a:xfrm>
              <a:off x="6711044" y="4207956"/>
              <a:ext cx="220189" cy="724927"/>
            </a:xfrm>
            <a:custGeom>
              <a:avLst/>
              <a:gdLst>
                <a:gd name="T0" fmla="*/ 31 w 31"/>
                <a:gd name="T1" fmla="*/ 103 h 103"/>
                <a:gd name="T2" fmla="*/ 31 w 31"/>
                <a:gd name="T3" fmla="*/ 103 h 103"/>
                <a:gd name="T4" fmla="*/ 23 w 31"/>
                <a:gd name="T5" fmla="*/ 102 h 103"/>
                <a:gd name="T6" fmla="*/ 10 w 31"/>
                <a:gd name="T7" fmla="*/ 103 h 103"/>
                <a:gd name="T8" fmla="*/ 0 w 31"/>
                <a:gd name="T9" fmla="*/ 103 h 103"/>
                <a:gd name="T10" fmla="*/ 19 w 31"/>
                <a:gd name="T11" fmla="*/ 0 h 103"/>
                <a:gd name="T12" fmla="*/ 21 w 31"/>
                <a:gd name="T13" fmla="*/ 1 h 103"/>
                <a:gd name="T14" fmla="*/ 28 w 31"/>
                <a:gd name="T15" fmla="*/ 4 h 103"/>
                <a:gd name="T16" fmla="*/ 31 w 31"/>
                <a:gd name="T17" fmla="*/ 8 h 103"/>
                <a:gd name="T18" fmla="*/ 31 w 31"/>
                <a:gd name="T19" fmla="*/ 13 h 103"/>
                <a:gd name="T20" fmla="*/ 30 w 31"/>
                <a:gd name="T21" fmla="*/ 24 h 103"/>
                <a:gd name="T22" fmla="*/ 30 w 31"/>
                <a:gd name="T23" fmla="*/ 53 h 103"/>
                <a:gd name="T24" fmla="*/ 31 w 31"/>
                <a:gd name="T25" fmla="*/ 80 h 103"/>
                <a:gd name="T26" fmla="*/ 31 w 31"/>
                <a:gd name="T27" fmla="*/ 94 h 103"/>
                <a:gd name="T28" fmla="*/ 31 w 31"/>
                <a:gd name="T2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103">
                  <a:moveTo>
                    <a:pt x="31" y="103"/>
                  </a:moveTo>
                  <a:cubicBezTo>
                    <a:pt x="31" y="103"/>
                    <a:pt x="31" y="103"/>
                    <a:pt x="31" y="103"/>
                  </a:cubicBezTo>
                  <a:cubicBezTo>
                    <a:pt x="28" y="102"/>
                    <a:pt x="26" y="102"/>
                    <a:pt x="23" y="102"/>
                  </a:cubicBezTo>
                  <a:cubicBezTo>
                    <a:pt x="18" y="102"/>
                    <a:pt x="14" y="103"/>
                    <a:pt x="10" y="103"/>
                  </a:cubicBezTo>
                  <a:cubicBezTo>
                    <a:pt x="7" y="103"/>
                    <a:pt x="4" y="103"/>
                    <a:pt x="0" y="103"/>
                  </a:cubicBezTo>
                  <a:cubicBezTo>
                    <a:pt x="10" y="70"/>
                    <a:pt x="15" y="35"/>
                    <a:pt x="19" y="0"/>
                  </a:cubicBezTo>
                  <a:cubicBezTo>
                    <a:pt x="20" y="1"/>
                    <a:pt x="20" y="1"/>
                    <a:pt x="21" y="1"/>
                  </a:cubicBezTo>
                  <a:cubicBezTo>
                    <a:pt x="23" y="1"/>
                    <a:pt x="26" y="2"/>
                    <a:pt x="28" y="4"/>
                  </a:cubicBezTo>
                  <a:cubicBezTo>
                    <a:pt x="29" y="5"/>
                    <a:pt x="30" y="7"/>
                    <a:pt x="31" y="8"/>
                  </a:cubicBezTo>
                  <a:cubicBezTo>
                    <a:pt x="31" y="10"/>
                    <a:pt x="31" y="12"/>
                    <a:pt x="31" y="13"/>
                  </a:cubicBezTo>
                  <a:cubicBezTo>
                    <a:pt x="30" y="17"/>
                    <a:pt x="30" y="21"/>
                    <a:pt x="30" y="24"/>
                  </a:cubicBezTo>
                  <a:cubicBezTo>
                    <a:pt x="30" y="34"/>
                    <a:pt x="30" y="43"/>
                    <a:pt x="30" y="53"/>
                  </a:cubicBezTo>
                  <a:cubicBezTo>
                    <a:pt x="30" y="62"/>
                    <a:pt x="30" y="71"/>
                    <a:pt x="31" y="80"/>
                  </a:cubicBezTo>
                  <a:cubicBezTo>
                    <a:pt x="31" y="84"/>
                    <a:pt x="31" y="89"/>
                    <a:pt x="31" y="94"/>
                  </a:cubicBezTo>
                  <a:cubicBezTo>
                    <a:pt x="31" y="97"/>
                    <a:pt x="31" y="100"/>
                    <a:pt x="31" y="103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6" name="ïṣḷíḓe"/>
            <p:cNvSpPr/>
            <p:nvPr/>
          </p:nvSpPr>
          <p:spPr bwMode="auto">
            <a:xfrm>
              <a:off x="6507793" y="4357007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237" name="组合 236"/>
          <p:cNvGrpSpPr/>
          <p:nvPr userDrawn="1"/>
        </p:nvGrpSpPr>
        <p:grpSpPr>
          <a:xfrm>
            <a:off x="1892841" y="4101585"/>
            <a:ext cx="1331096" cy="504807"/>
            <a:chOff x="626572" y="5433207"/>
            <a:chExt cx="1989966" cy="754678"/>
          </a:xfrm>
          <a:solidFill>
            <a:srgbClr val="603913"/>
          </a:solidFill>
        </p:grpSpPr>
        <p:sp>
          <p:nvSpPr>
            <p:cNvPr id="238" name="任意多边形: 形状 237"/>
            <p:cNvSpPr/>
            <p:nvPr userDrawn="1"/>
          </p:nvSpPr>
          <p:spPr>
            <a:xfrm>
              <a:off x="626572" y="5433207"/>
              <a:ext cx="595798" cy="754678"/>
            </a:xfrm>
            <a:custGeom>
              <a:avLst/>
              <a:gdLst>
                <a:gd name="connsiteX0" fmla="*/ 383297 w 595798"/>
                <a:gd name="connsiteY0" fmla="*/ 383297 h 754677"/>
                <a:gd name="connsiteX1" fmla="*/ 0 w 595798"/>
                <a:gd name="connsiteY1" fmla="*/ 766594 h 754677"/>
                <a:gd name="connsiteX2" fmla="*/ 226403 w 595798"/>
                <a:gd name="connsiteY2" fmla="*/ 766594 h 754677"/>
                <a:gd name="connsiteX3" fmla="*/ 609700 w 595798"/>
                <a:gd name="connsiteY3" fmla="*/ 383297 h 754677"/>
                <a:gd name="connsiteX4" fmla="*/ 226403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3297" y="383297"/>
                  </a:moveTo>
                  <a:lnTo>
                    <a:pt x="0" y="766594"/>
                  </a:lnTo>
                  <a:lnTo>
                    <a:pt x="226403" y="766594"/>
                  </a:lnTo>
                  <a:lnTo>
                    <a:pt x="609700" y="383297"/>
                  </a:lnTo>
                  <a:lnTo>
                    <a:pt x="2264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239" name="任意多边形: 形状 238"/>
            <p:cNvSpPr/>
            <p:nvPr userDrawn="1"/>
          </p:nvSpPr>
          <p:spPr>
            <a:xfrm>
              <a:off x="1091295" y="5433207"/>
              <a:ext cx="595798" cy="754678"/>
            </a:xfrm>
            <a:custGeom>
              <a:avLst/>
              <a:gdLst>
                <a:gd name="connsiteX0" fmla="*/ 383297 w 595798"/>
                <a:gd name="connsiteY0" fmla="*/ 383297 h 754677"/>
                <a:gd name="connsiteX1" fmla="*/ 0 w 595798"/>
                <a:gd name="connsiteY1" fmla="*/ 766594 h 754677"/>
                <a:gd name="connsiteX2" fmla="*/ 226404 w 595798"/>
                <a:gd name="connsiteY2" fmla="*/ 766594 h 754677"/>
                <a:gd name="connsiteX3" fmla="*/ 609700 w 595798"/>
                <a:gd name="connsiteY3" fmla="*/ 383297 h 754677"/>
                <a:gd name="connsiteX4" fmla="*/ 226404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3297" y="383297"/>
                  </a:moveTo>
                  <a:lnTo>
                    <a:pt x="0" y="766594"/>
                  </a:lnTo>
                  <a:lnTo>
                    <a:pt x="226404" y="766594"/>
                  </a:lnTo>
                  <a:lnTo>
                    <a:pt x="609700" y="383297"/>
                  </a:lnTo>
                  <a:lnTo>
                    <a:pt x="22640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240" name="任意多边形: 形状 239"/>
            <p:cNvSpPr/>
            <p:nvPr userDrawn="1"/>
          </p:nvSpPr>
          <p:spPr>
            <a:xfrm>
              <a:off x="1556018" y="5433207"/>
              <a:ext cx="595798" cy="754678"/>
            </a:xfrm>
            <a:custGeom>
              <a:avLst/>
              <a:gdLst>
                <a:gd name="connsiteX0" fmla="*/ 383297 w 595798"/>
                <a:gd name="connsiteY0" fmla="*/ 383297 h 754677"/>
                <a:gd name="connsiteX1" fmla="*/ 0 w 595798"/>
                <a:gd name="connsiteY1" fmla="*/ 766594 h 754677"/>
                <a:gd name="connsiteX2" fmla="*/ 226403 w 595798"/>
                <a:gd name="connsiteY2" fmla="*/ 766594 h 754677"/>
                <a:gd name="connsiteX3" fmla="*/ 607714 w 595798"/>
                <a:gd name="connsiteY3" fmla="*/ 383297 h 754677"/>
                <a:gd name="connsiteX4" fmla="*/ 226403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3297" y="383297"/>
                  </a:moveTo>
                  <a:lnTo>
                    <a:pt x="0" y="766594"/>
                  </a:lnTo>
                  <a:lnTo>
                    <a:pt x="226403" y="766594"/>
                  </a:lnTo>
                  <a:lnTo>
                    <a:pt x="607714" y="383297"/>
                  </a:lnTo>
                  <a:lnTo>
                    <a:pt x="2264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241" name="任意多边形: 形状 240"/>
            <p:cNvSpPr/>
            <p:nvPr userDrawn="1"/>
          </p:nvSpPr>
          <p:spPr>
            <a:xfrm>
              <a:off x="2020740" y="5433207"/>
              <a:ext cx="595798" cy="754678"/>
            </a:xfrm>
            <a:custGeom>
              <a:avLst/>
              <a:gdLst>
                <a:gd name="connsiteX0" fmla="*/ 381311 w 595798"/>
                <a:gd name="connsiteY0" fmla="*/ 383297 h 754677"/>
                <a:gd name="connsiteX1" fmla="*/ 0 w 595798"/>
                <a:gd name="connsiteY1" fmla="*/ 766594 h 754677"/>
                <a:gd name="connsiteX2" fmla="*/ 224417 w 595798"/>
                <a:gd name="connsiteY2" fmla="*/ 766594 h 754677"/>
                <a:gd name="connsiteX3" fmla="*/ 607714 w 595798"/>
                <a:gd name="connsiteY3" fmla="*/ 383297 h 754677"/>
                <a:gd name="connsiteX4" fmla="*/ 224417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1311" y="383297"/>
                  </a:moveTo>
                  <a:lnTo>
                    <a:pt x="0" y="766594"/>
                  </a:lnTo>
                  <a:lnTo>
                    <a:pt x="224417" y="766594"/>
                  </a:lnTo>
                  <a:lnTo>
                    <a:pt x="607714" y="383297"/>
                  </a:lnTo>
                  <a:lnTo>
                    <a:pt x="2244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686499" y="2852177"/>
            <a:ext cx="8577500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686499" y="1600930"/>
            <a:ext cx="8577500" cy="12512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41329" y="4046432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41329" y="434270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430530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431646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2" name="椭圆 1"/>
          <p:cNvSpPr/>
          <p:nvPr userDrawn="1"/>
        </p:nvSpPr>
        <p:spPr>
          <a:xfrm>
            <a:off x="8220443" y="1274159"/>
            <a:ext cx="3294743" cy="3294743"/>
          </a:xfrm>
          <a:prstGeom prst="ellipse">
            <a:avLst/>
          </a:prstGeom>
          <a:solidFill>
            <a:schemeClr val="accent1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5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 rot="20262996">
            <a:off x="5768536" y="1977994"/>
            <a:ext cx="5067710" cy="2391582"/>
            <a:chOff x="3558970" y="2488798"/>
            <a:chExt cx="5067710" cy="2391582"/>
          </a:xfrm>
        </p:grpSpPr>
        <p:sp>
          <p:nvSpPr>
            <p:cNvPr id="56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5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6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7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8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9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0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1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2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3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4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5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7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8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9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2" name="矩形 1"/>
          <p:cNvSpPr/>
          <p:nvPr userDrawn="1"/>
        </p:nvSpPr>
        <p:spPr>
          <a:xfrm>
            <a:off x="-10795" y="-22860"/>
            <a:ext cx="12191365" cy="1026160"/>
          </a:xfrm>
          <a:prstGeom prst="rect">
            <a:avLst/>
          </a:prstGeom>
          <a:gradFill>
            <a:gsLst>
              <a:gs pos="0">
                <a:srgbClr val="F1992A"/>
              </a:gs>
              <a:gs pos="50000">
                <a:srgbClr val="F5A926"/>
              </a:gs>
              <a:gs pos="100000">
                <a:srgbClr val="F6B12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-10795" y="-22860"/>
            <a:ext cx="12191365" cy="1026160"/>
          </a:xfrm>
          <a:prstGeom prst="rect">
            <a:avLst/>
          </a:prstGeom>
          <a:gradFill>
            <a:gsLst>
              <a:gs pos="0">
                <a:srgbClr val="F1992A"/>
              </a:gs>
              <a:gs pos="50000">
                <a:srgbClr val="F5A926"/>
              </a:gs>
              <a:gs pos="100000">
                <a:srgbClr val="F6B12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8" name="683ae7dc-b5ab-4ff3-a861-ec68902b1d7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 rot="2246053">
            <a:off x="8317723" y="149185"/>
            <a:ext cx="4386826" cy="3241846"/>
            <a:chOff x="3899413" y="2063665"/>
            <a:chExt cx="4386826" cy="3241846"/>
          </a:xfrm>
        </p:grpSpPr>
        <p:sp>
          <p:nvSpPr>
            <p:cNvPr id="149" name="iṩľiďé"/>
            <p:cNvSpPr/>
            <p:nvPr/>
          </p:nvSpPr>
          <p:spPr bwMode="auto">
            <a:xfrm>
              <a:off x="3899413" y="3852269"/>
              <a:ext cx="4386826" cy="1453242"/>
            </a:xfrm>
            <a:custGeom>
              <a:avLst/>
              <a:gdLst>
                <a:gd name="T0" fmla="*/ 610 w 623"/>
                <a:gd name="T1" fmla="*/ 81 h 207"/>
                <a:gd name="T2" fmla="*/ 595 w 623"/>
                <a:gd name="T3" fmla="*/ 83 h 207"/>
                <a:gd name="T4" fmla="*/ 610 w 623"/>
                <a:gd name="T5" fmla="*/ 68 h 207"/>
                <a:gd name="T6" fmla="*/ 586 w 623"/>
                <a:gd name="T7" fmla="*/ 72 h 207"/>
                <a:gd name="T8" fmla="*/ 572 w 623"/>
                <a:gd name="T9" fmla="*/ 67 h 207"/>
                <a:gd name="T10" fmla="*/ 577 w 623"/>
                <a:gd name="T11" fmla="*/ 59 h 207"/>
                <a:gd name="T12" fmla="*/ 581 w 623"/>
                <a:gd name="T13" fmla="*/ 51 h 207"/>
                <a:gd name="T14" fmla="*/ 561 w 623"/>
                <a:gd name="T15" fmla="*/ 61 h 207"/>
                <a:gd name="T16" fmla="*/ 557 w 623"/>
                <a:gd name="T17" fmla="*/ 69 h 207"/>
                <a:gd name="T18" fmla="*/ 523 w 623"/>
                <a:gd name="T19" fmla="*/ 82 h 207"/>
                <a:gd name="T20" fmla="*/ 500 w 623"/>
                <a:gd name="T21" fmla="*/ 72 h 207"/>
                <a:gd name="T22" fmla="*/ 456 w 623"/>
                <a:gd name="T23" fmla="*/ 64 h 207"/>
                <a:gd name="T24" fmla="*/ 411 w 623"/>
                <a:gd name="T25" fmla="*/ 12 h 207"/>
                <a:gd name="T26" fmla="*/ 349 w 623"/>
                <a:gd name="T27" fmla="*/ 1 h 207"/>
                <a:gd name="T28" fmla="*/ 259 w 623"/>
                <a:gd name="T29" fmla="*/ 5 h 207"/>
                <a:gd name="T30" fmla="*/ 218 w 623"/>
                <a:gd name="T31" fmla="*/ 6 h 207"/>
                <a:gd name="T32" fmla="*/ 179 w 623"/>
                <a:gd name="T33" fmla="*/ 6 h 207"/>
                <a:gd name="T34" fmla="*/ 158 w 623"/>
                <a:gd name="T35" fmla="*/ 31 h 207"/>
                <a:gd name="T36" fmla="*/ 142 w 623"/>
                <a:gd name="T37" fmla="*/ 43 h 207"/>
                <a:gd name="T38" fmla="*/ 121 w 623"/>
                <a:gd name="T39" fmla="*/ 44 h 207"/>
                <a:gd name="T40" fmla="*/ 98 w 623"/>
                <a:gd name="T41" fmla="*/ 66 h 207"/>
                <a:gd name="T42" fmla="*/ 63 w 623"/>
                <a:gd name="T43" fmla="*/ 69 h 207"/>
                <a:gd name="T44" fmla="*/ 46 w 623"/>
                <a:gd name="T45" fmla="*/ 61 h 207"/>
                <a:gd name="T46" fmla="*/ 42 w 623"/>
                <a:gd name="T47" fmla="*/ 37 h 207"/>
                <a:gd name="T48" fmla="*/ 38 w 623"/>
                <a:gd name="T49" fmla="*/ 61 h 207"/>
                <a:gd name="T50" fmla="*/ 17 w 623"/>
                <a:gd name="T51" fmla="*/ 65 h 207"/>
                <a:gd name="T52" fmla="*/ 12 w 623"/>
                <a:gd name="T53" fmla="*/ 74 h 207"/>
                <a:gd name="T54" fmla="*/ 18 w 623"/>
                <a:gd name="T55" fmla="*/ 83 h 207"/>
                <a:gd name="T56" fmla="*/ 17 w 623"/>
                <a:gd name="T57" fmla="*/ 92 h 207"/>
                <a:gd name="T58" fmla="*/ 18 w 623"/>
                <a:gd name="T59" fmla="*/ 98 h 207"/>
                <a:gd name="T60" fmla="*/ 18 w 623"/>
                <a:gd name="T61" fmla="*/ 110 h 207"/>
                <a:gd name="T62" fmla="*/ 28 w 623"/>
                <a:gd name="T63" fmla="*/ 101 h 207"/>
                <a:gd name="T64" fmla="*/ 34 w 623"/>
                <a:gd name="T65" fmla="*/ 117 h 207"/>
                <a:gd name="T66" fmla="*/ 45 w 623"/>
                <a:gd name="T67" fmla="*/ 105 h 207"/>
                <a:gd name="T68" fmla="*/ 76 w 623"/>
                <a:gd name="T69" fmla="*/ 81 h 207"/>
                <a:gd name="T70" fmla="*/ 130 w 623"/>
                <a:gd name="T71" fmla="*/ 85 h 207"/>
                <a:gd name="T72" fmla="*/ 145 w 623"/>
                <a:gd name="T73" fmla="*/ 59 h 207"/>
                <a:gd name="T74" fmla="*/ 150 w 623"/>
                <a:gd name="T75" fmla="*/ 54 h 207"/>
                <a:gd name="T76" fmla="*/ 175 w 623"/>
                <a:gd name="T77" fmla="*/ 36 h 207"/>
                <a:gd name="T78" fmla="*/ 176 w 623"/>
                <a:gd name="T79" fmla="*/ 71 h 207"/>
                <a:gd name="T80" fmla="*/ 262 w 623"/>
                <a:gd name="T81" fmla="*/ 205 h 207"/>
                <a:gd name="T82" fmla="*/ 337 w 623"/>
                <a:gd name="T83" fmla="*/ 196 h 207"/>
                <a:gd name="T84" fmla="*/ 375 w 623"/>
                <a:gd name="T85" fmla="*/ 175 h 207"/>
                <a:gd name="T86" fmla="*/ 411 w 623"/>
                <a:gd name="T87" fmla="*/ 67 h 207"/>
                <a:gd name="T88" fmla="*/ 443 w 623"/>
                <a:gd name="T89" fmla="*/ 68 h 207"/>
                <a:gd name="T90" fmla="*/ 462 w 623"/>
                <a:gd name="T91" fmla="*/ 98 h 207"/>
                <a:gd name="T92" fmla="*/ 503 w 623"/>
                <a:gd name="T93" fmla="*/ 95 h 207"/>
                <a:gd name="T94" fmla="*/ 569 w 623"/>
                <a:gd name="T95" fmla="*/ 111 h 207"/>
                <a:gd name="T96" fmla="*/ 584 w 623"/>
                <a:gd name="T97" fmla="*/ 125 h 207"/>
                <a:gd name="T98" fmla="*/ 582 w 623"/>
                <a:gd name="T99" fmla="*/ 107 h 207"/>
                <a:gd name="T100" fmla="*/ 605 w 623"/>
                <a:gd name="T101" fmla="*/ 114 h 207"/>
                <a:gd name="T102" fmla="*/ 608 w 623"/>
                <a:gd name="T103" fmla="*/ 102 h 207"/>
                <a:gd name="T104" fmla="*/ 603 w 623"/>
                <a:gd name="T105" fmla="*/ 9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3" h="207">
                  <a:moveTo>
                    <a:pt x="614" y="81"/>
                  </a:moveTo>
                  <a:cubicBezTo>
                    <a:pt x="613" y="81"/>
                    <a:pt x="612" y="81"/>
                    <a:pt x="611" y="81"/>
                  </a:cubicBezTo>
                  <a:cubicBezTo>
                    <a:pt x="611" y="81"/>
                    <a:pt x="611" y="81"/>
                    <a:pt x="610" y="81"/>
                  </a:cubicBezTo>
                  <a:cubicBezTo>
                    <a:pt x="610" y="82"/>
                    <a:pt x="610" y="82"/>
                    <a:pt x="609" y="82"/>
                  </a:cubicBezTo>
                  <a:cubicBezTo>
                    <a:pt x="607" y="82"/>
                    <a:pt x="604" y="82"/>
                    <a:pt x="602" y="82"/>
                  </a:cubicBezTo>
                  <a:cubicBezTo>
                    <a:pt x="600" y="82"/>
                    <a:pt x="598" y="82"/>
                    <a:pt x="595" y="83"/>
                  </a:cubicBezTo>
                  <a:cubicBezTo>
                    <a:pt x="595" y="82"/>
                    <a:pt x="595" y="81"/>
                    <a:pt x="594" y="80"/>
                  </a:cubicBezTo>
                  <a:cubicBezTo>
                    <a:pt x="595" y="79"/>
                    <a:pt x="596" y="79"/>
                    <a:pt x="597" y="78"/>
                  </a:cubicBezTo>
                  <a:cubicBezTo>
                    <a:pt x="602" y="75"/>
                    <a:pt x="607" y="73"/>
                    <a:pt x="610" y="68"/>
                  </a:cubicBezTo>
                  <a:cubicBezTo>
                    <a:pt x="614" y="62"/>
                    <a:pt x="605" y="55"/>
                    <a:pt x="600" y="60"/>
                  </a:cubicBezTo>
                  <a:cubicBezTo>
                    <a:pt x="597" y="63"/>
                    <a:pt x="594" y="65"/>
                    <a:pt x="590" y="68"/>
                  </a:cubicBezTo>
                  <a:cubicBezTo>
                    <a:pt x="589" y="69"/>
                    <a:pt x="587" y="70"/>
                    <a:pt x="586" y="72"/>
                  </a:cubicBezTo>
                  <a:cubicBezTo>
                    <a:pt x="583" y="71"/>
                    <a:pt x="581" y="70"/>
                    <a:pt x="579" y="69"/>
                  </a:cubicBezTo>
                  <a:cubicBezTo>
                    <a:pt x="577" y="69"/>
                    <a:pt x="574" y="68"/>
                    <a:pt x="571" y="68"/>
                  </a:cubicBezTo>
                  <a:cubicBezTo>
                    <a:pt x="572" y="67"/>
                    <a:pt x="572" y="67"/>
                    <a:pt x="572" y="67"/>
                  </a:cubicBezTo>
                  <a:cubicBezTo>
                    <a:pt x="573" y="66"/>
                    <a:pt x="574" y="64"/>
                    <a:pt x="575" y="62"/>
                  </a:cubicBezTo>
                  <a:cubicBezTo>
                    <a:pt x="576" y="61"/>
                    <a:pt x="576" y="61"/>
                    <a:pt x="576" y="60"/>
                  </a:cubicBezTo>
                  <a:cubicBezTo>
                    <a:pt x="577" y="60"/>
                    <a:pt x="577" y="60"/>
                    <a:pt x="577" y="59"/>
                  </a:cubicBezTo>
                  <a:cubicBezTo>
                    <a:pt x="577" y="59"/>
                    <a:pt x="578" y="59"/>
                    <a:pt x="578" y="59"/>
                  </a:cubicBezTo>
                  <a:cubicBezTo>
                    <a:pt x="578" y="59"/>
                    <a:pt x="578" y="59"/>
                    <a:pt x="578" y="59"/>
                  </a:cubicBezTo>
                  <a:cubicBezTo>
                    <a:pt x="580" y="57"/>
                    <a:pt x="582" y="54"/>
                    <a:pt x="581" y="51"/>
                  </a:cubicBezTo>
                  <a:cubicBezTo>
                    <a:pt x="580" y="48"/>
                    <a:pt x="576" y="45"/>
                    <a:pt x="573" y="47"/>
                  </a:cubicBezTo>
                  <a:cubicBezTo>
                    <a:pt x="567" y="49"/>
                    <a:pt x="565" y="54"/>
                    <a:pt x="562" y="59"/>
                  </a:cubicBezTo>
                  <a:cubicBezTo>
                    <a:pt x="562" y="60"/>
                    <a:pt x="561" y="61"/>
                    <a:pt x="561" y="61"/>
                  </a:cubicBezTo>
                  <a:cubicBezTo>
                    <a:pt x="560" y="62"/>
                    <a:pt x="560" y="63"/>
                    <a:pt x="560" y="63"/>
                  </a:cubicBezTo>
                  <a:cubicBezTo>
                    <a:pt x="561" y="62"/>
                    <a:pt x="560" y="64"/>
                    <a:pt x="560" y="64"/>
                  </a:cubicBezTo>
                  <a:cubicBezTo>
                    <a:pt x="559" y="66"/>
                    <a:pt x="558" y="67"/>
                    <a:pt x="557" y="69"/>
                  </a:cubicBezTo>
                  <a:cubicBezTo>
                    <a:pt x="552" y="71"/>
                    <a:pt x="549" y="75"/>
                    <a:pt x="547" y="79"/>
                  </a:cubicBezTo>
                  <a:cubicBezTo>
                    <a:pt x="547" y="79"/>
                    <a:pt x="547" y="79"/>
                    <a:pt x="547" y="79"/>
                  </a:cubicBezTo>
                  <a:cubicBezTo>
                    <a:pt x="539" y="80"/>
                    <a:pt x="531" y="80"/>
                    <a:pt x="523" y="82"/>
                  </a:cubicBezTo>
                  <a:cubicBezTo>
                    <a:pt x="519" y="82"/>
                    <a:pt x="514" y="83"/>
                    <a:pt x="510" y="84"/>
                  </a:cubicBezTo>
                  <a:cubicBezTo>
                    <a:pt x="508" y="84"/>
                    <a:pt x="507" y="84"/>
                    <a:pt x="505" y="84"/>
                  </a:cubicBezTo>
                  <a:cubicBezTo>
                    <a:pt x="505" y="79"/>
                    <a:pt x="503" y="75"/>
                    <a:pt x="500" y="72"/>
                  </a:cubicBezTo>
                  <a:cubicBezTo>
                    <a:pt x="494" y="65"/>
                    <a:pt x="485" y="65"/>
                    <a:pt x="477" y="66"/>
                  </a:cubicBezTo>
                  <a:cubicBezTo>
                    <a:pt x="472" y="64"/>
                    <a:pt x="467" y="66"/>
                    <a:pt x="463" y="70"/>
                  </a:cubicBezTo>
                  <a:cubicBezTo>
                    <a:pt x="461" y="68"/>
                    <a:pt x="458" y="66"/>
                    <a:pt x="456" y="64"/>
                  </a:cubicBezTo>
                  <a:cubicBezTo>
                    <a:pt x="449" y="58"/>
                    <a:pt x="444" y="50"/>
                    <a:pt x="438" y="43"/>
                  </a:cubicBezTo>
                  <a:cubicBezTo>
                    <a:pt x="429" y="34"/>
                    <a:pt x="417" y="27"/>
                    <a:pt x="411" y="15"/>
                  </a:cubicBezTo>
                  <a:cubicBezTo>
                    <a:pt x="411" y="14"/>
                    <a:pt x="411" y="13"/>
                    <a:pt x="411" y="12"/>
                  </a:cubicBezTo>
                  <a:cubicBezTo>
                    <a:pt x="415" y="8"/>
                    <a:pt x="414" y="0"/>
                    <a:pt x="407" y="0"/>
                  </a:cubicBezTo>
                  <a:cubicBezTo>
                    <a:pt x="397" y="0"/>
                    <a:pt x="388" y="1"/>
                    <a:pt x="379" y="1"/>
                  </a:cubicBezTo>
                  <a:cubicBezTo>
                    <a:pt x="369" y="2"/>
                    <a:pt x="358" y="1"/>
                    <a:pt x="349" y="1"/>
                  </a:cubicBezTo>
                  <a:cubicBezTo>
                    <a:pt x="338" y="2"/>
                    <a:pt x="328" y="3"/>
                    <a:pt x="318" y="3"/>
                  </a:cubicBezTo>
                  <a:cubicBezTo>
                    <a:pt x="308" y="3"/>
                    <a:pt x="298" y="3"/>
                    <a:pt x="288" y="3"/>
                  </a:cubicBezTo>
                  <a:cubicBezTo>
                    <a:pt x="279" y="4"/>
                    <a:pt x="269" y="4"/>
                    <a:pt x="259" y="5"/>
                  </a:cubicBezTo>
                  <a:cubicBezTo>
                    <a:pt x="254" y="5"/>
                    <a:pt x="250" y="5"/>
                    <a:pt x="245" y="5"/>
                  </a:cubicBezTo>
                  <a:cubicBezTo>
                    <a:pt x="240" y="5"/>
                    <a:pt x="235" y="6"/>
                    <a:pt x="230" y="6"/>
                  </a:cubicBezTo>
                  <a:cubicBezTo>
                    <a:pt x="226" y="7"/>
                    <a:pt x="222" y="6"/>
                    <a:pt x="218" y="6"/>
                  </a:cubicBezTo>
                  <a:cubicBezTo>
                    <a:pt x="214" y="6"/>
                    <a:pt x="210" y="7"/>
                    <a:pt x="205" y="7"/>
                  </a:cubicBezTo>
                  <a:cubicBezTo>
                    <a:pt x="198" y="7"/>
                    <a:pt x="190" y="6"/>
                    <a:pt x="182" y="5"/>
                  </a:cubicBezTo>
                  <a:cubicBezTo>
                    <a:pt x="181" y="5"/>
                    <a:pt x="180" y="5"/>
                    <a:pt x="179" y="6"/>
                  </a:cubicBezTo>
                  <a:cubicBezTo>
                    <a:pt x="177" y="10"/>
                    <a:pt x="176" y="14"/>
                    <a:pt x="176" y="18"/>
                  </a:cubicBezTo>
                  <a:cubicBezTo>
                    <a:pt x="173" y="21"/>
                    <a:pt x="169" y="24"/>
                    <a:pt x="165" y="26"/>
                  </a:cubicBezTo>
                  <a:cubicBezTo>
                    <a:pt x="162" y="28"/>
                    <a:pt x="160" y="30"/>
                    <a:pt x="158" y="31"/>
                  </a:cubicBezTo>
                  <a:cubicBezTo>
                    <a:pt x="160" y="30"/>
                    <a:pt x="158" y="32"/>
                    <a:pt x="157" y="32"/>
                  </a:cubicBezTo>
                  <a:cubicBezTo>
                    <a:pt x="156" y="33"/>
                    <a:pt x="155" y="33"/>
                    <a:pt x="155" y="34"/>
                  </a:cubicBezTo>
                  <a:cubicBezTo>
                    <a:pt x="150" y="37"/>
                    <a:pt x="146" y="40"/>
                    <a:pt x="142" y="43"/>
                  </a:cubicBezTo>
                  <a:cubicBezTo>
                    <a:pt x="141" y="44"/>
                    <a:pt x="138" y="46"/>
                    <a:pt x="136" y="48"/>
                  </a:cubicBezTo>
                  <a:cubicBezTo>
                    <a:pt x="132" y="45"/>
                    <a:pt x="128" y="44"/>
                    <a:pt x="124" y="44"/>
                  </a:cubicBezTo>
                  <a:cubicBezTo>
                    <a:pt x="123" y="44"/>
                    <a:pt x="122" y="44"/>
                    <a:pt x="121" y="44"/>
                  </a:cubicBezTo>
                  <a:cubicBezTo>
                    <a:pt x="120" y="43"/>
                    <a:pt x="119" y="43"/>
                    <a:pt x="118" y="43"/>
                  </a:cubicBezTo>
                  <a:cubicBezTo>
                    <a:pt x="110" y="42"/>
                    <a:pt x="102" y="50"/>
                    <a:pt x="99" y="58"/>
                  </a:cubicBezTo>
                  <a:cubicBezTo>
                    <a:pt x="98" y="60"/>
                    <a:pt x="98" y="63"/>
                    <a:pt x="98" y="66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5" y="67"/>
                    <a:pt x="80" y="67"/>
                    <a:pt x="75" y="67"/>
                  </a:cubicBezTo>
                  <a:cubicBezTo>
                    <a:pt x="71" y="68"/>
                    <a:pt x="67" y="69"/>
                    <a:pt x="63" y="69"/>
                  </a:cubicBezTo>
                  <a:cubicBezTo>
                    <a:pt x="62" y="69"/>
                    <a:pt x="62" y="69"/>
                    <a:pt x="61" y="69"/>
                  </a:cubicBezTo>
                  <a:cubicBezTo>
                    <a:pt x="58" y="66"/>
                    <a:pt x="54" y="64"/>
                    <a:pt x="51" y="62"/>
                  </a:cubicBezTo>
                  <a:cubicBezTo>
                    <a:pt x="49" y="62"/>
                    <a:pt x="48" y="61"/>
                    <a:pt x="46" y="61"/>
                  </a:cubicBezTo>
                  <a:cubicBezTo>
                    <a:pt x="46" y="59"/>
                    <a:pt x="46" y="56"/>
                    <a:pt x="47" y="53"/>
                  </a:cubicBezTo>
                  <a:cubicBezTo>
                    <a:pt x="47" y="50"/>
                    <a:pt x="48" y="45"/>
                    <a:pt x="48" y="41"/>
                  </a:cubicBezTo>
                  <a:cubicBezTo>
                    <a:pt x="48" y="39"/>
                    <a:pt x="45" y="36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39" y="38"/>
                    <a:pt x="38" y="41"/>
                    <a:pt x="39" y="43"/>
                  </a:cubicBezTo>
                  <a:cubicBezTo>
                    <a:pt x="38" y="48"/>
                    <a:pt x="36" y="55"/>
                    <a:pt x="38" y="61"/>
                  </a:cubicBezTo>
                  <a:cubicBezTo>
                    <a:pt x="32" y="62"/>
                    <a:pt x="27" y="64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1" y="67"/>
                    <a:pt x="19" y="65"/>
                    <a:pt x="17" y="65"/>
                  </a:cubicBezTo>
                  <a:cubicBezTo>
                    <a:pt x="14" y="64"/>
                    <a:pt x="10" y="62"/>
                    <a:pt x="7" y="63"/>
                  </a:cubicBezTo>
                  <a:cubicBezTo>
                    <a:pt x="5" y="63"/>
                    <a:pt x="4" y="65"/>
                    <a:pt x="3" y="66"/>
                  </a:cubicBezTo>
                  <a:cubicBezTo>
                    <a:pt x="2" y="72"/>
                    <a:pt x="8" y="72"/>
                    <a:pt x="12" y="74"/>
                  </a:cubicBezTo>
                  <a:cubicBezTo>
                    <a:pt x="14" y="74"/>
                    <a:pt x="17" y="76"/>
                    <a:pt x="20" y="77"/>
                  </a:cubicBezTo>
                  <a:cubicBezTo>
                    <a:pt x="19" y="79"/>
                    <a:pt x="19" y="81"/>
                    <a:pt x="19" y="83"/>
                  </a:cubicBezTo>
                  <a:cubicBezTo>
                    <a:pt x="19" y="83"/>
                    <a:pt x="18" y="83"/>
                    <a:pt x="18" y="83"/>
                  </a:cubicBezTo>
                  <a:cubicBezTo>
                    <a:pt x="14" y="82"/>
                    <a:pt x="10" y="82"/>
                    <a:pt x="7" y="83"/>
                  </a:cubicBezTo>
                  <a:cubicBezTo>
                    <a:pt x="0" y="83"/>
                    <a:pt x="0" y="92"/>
                    <a:pt x="7" y="92"/>
                  </a:cubicBezTo>
                  <a:cubicBezTo>
                    <a:pt x="10" y="92"/>
                    <a:pt x="14" y="92"/>
                    <a:pt x="17" y="92"/>
                  </a:cubicBezTo>
                  <a:cubicBezTo>
                    <a:pt x="18" y="92"/>
                    <a:pt x="19" y="92"/>
                    <a:pt x="21" y="91"/>
                  </a:cubicBezTo>
                  <a:cubicBezTo>
                    <a:pt x="21" y="93"/>
                    <a:pt x="22" y="94"/>
                    <a:pt x="23" y="95"/>
                  </a:cubicBezTo>
                  <a:cubicBezTo>
                    <a:pt x="21" y="96"/>
                    <a:pt x="19" y="97"/>
                    <a:pt x="18" y="98"/>
                  </a:cubicBezTo>
                  <a:cubicBezTo>
                    <a:pt x="14" y="102"/>
                    <a:pt x="7" y="104"/>
                    <a:pt x="7" y="110"/>
                  </a:cubicBezTo>
                  <a:cubicBezTo>
                    <a:pt x="7" y="113"/>
                    <a:pt x="11" y="116"/>
                    <a:pt x="14" y="114"/>
                  </a:cubicBezTo>
                  <a:cubicBezTo>
                    <a:pt x="16" y="113"/>
                    <a:pt x="17" y="111"/>
                    <a:pt x="18" y="110"/>
                  </a:cubicBezTo>
                  <a:cubicBezTo>
                    <a:pt x="20" y="109"/>
                    <a:pt x="22" y="107"/>
                    <a:pt x="24" y="106"/>
                  </a:cubicBezTo>
                  <a:cubicBezTo>
                    <a:pt x="25" y="104"/>
                    <a:pt x="27" y="103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1" y="103"/>
                    <a:pt x="33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4" y="109"/>
                    <a:pt x="33" y="113"/>
                    <a:pt x="34" y="117"/>
                  </a:cubicBezTo>
                  <a:cubicBezTo>
                    <a:pt x="35" y="121"/>
                    <a:pt x="40" y="120"/>
                    <a:pt x="42" y="117"/>
                  </a:cubicBezTo>
                  <a:cubicBezTo>
                    <a:pt x="43" y="114"/>
                    <a:pt x="43" y="111"/>
                    <a:pt x="44" y="108"/>
                  </a:cubicBezTo>
                  <a:cubicBezTo>
                    <a:pt x="44" y="107"/>
                    <a:pt x="45" y="106"/>
                    <a:pt x="45" y="105"/>
                  </a:cubicBezTo>
                  <a:cubicBezTo>
                    <a:pt x="46" y="105"/>
                    <a:pt x="48" y="104"/>
                    <a:pt x="49" y="104"/>
                  </a:cubicBezTo>
                  <a:cubicBezTo>
                    <a:pt x="58" y="100"/>
                    <a:pt x="65" y="92"/>
                    <a:pt x="65" y="82"/>
                  </a:cubicBezTo>
                  <a:cubicBezTo>
                    <a:pt x="69" y="82"/>
                    <a:pt x="72" y="82"/>
                    <a:pt x="76" y="81"/>
                  </a:cubicBezTo>
                  <a:cubicBezTo>
                    <a:pt x="84" y="79"/>
                    <a:pt x="93" y="80"/>
                    <a:pt x="101" y="77"/>
                  </a:cubicBezTo>
                  <a:cubicBezTo>
                    <a:pt x="102" y="78"/>
                    <a:pt x="103" y="80"/>
                    <a:pt x="105" y="82"/>
                  </a:cubicBezTo>
                  <a:cubicBezTo>
                    <a:pt x="111" y="89"/>
                    <a:pt x="121" y="89"/>
                    <a:pt x="130" y="85"/>
                  </a:cubicBezTo>
                  <a:cubicBezTo>
                    <a:pt x="139" y="81"/>
                    <a:pt x="144" y="70"/>
                    <a:pt x="142" y="60"/>
                  </a:cubicBezTo>
                  <a:cubicBezTo>
                    <a:pt x="143" y="60"/>
                    <a:pt x="143" y="60"/>
                    <a:pt x="143" y="60"/>
                  </a:cubicBezTo>
                  <a:cubicBezTo>
                    <a:pt x="143" y="60"/>
                    <a:pt x="147" y="56"/>
                    <a:pt x="145" y="59"/>
                  </a:cubicBezTo>
                  <a:cubicBezTo>
                    <a:pt x="145" y="58"/>
                    <a:pt x="146" y="57"/>
                    <a:pt x="146" y="57"/>
                  </a:cubicBezTo>
                  <a:cubicBezTo>
                    <a:pt x="147" y="56"/>
                    <a:pt x="148" y="56"/>
                    <a:pt x="149" y="55"/>
                  </a:cubicBezTo>
                  <a:cubicBezTo>
                    <a:pt x="149" y="55"/>
                    <a:pt x="149" y="54"/>
                    <a:pt x="150" y="54"/>
                  </a:cubicBezTo>
                  <a:cubicBezTo>
                    <a:pt x="150" y="54"/>
                    <a:pt x="151" y="53"/>
                    <a:pt x="151" y="53"/>
                  </a:cubicBezTo>
                  <a:cubicBezTo>
                    <a:pt x="155" y="50"/>
                    <a:pt x="159" y="47"/>
                    <a:pt x="163" y="44"/>
                  </a:cubicBezTo>
                  <a:cubicBezTo>
                    <a:pt x="167" y="41"/>
                    <a:pt x="171" y="39"/>
                    <a:pt x="175" y="36"/>
                  </a:cubicBezTo>
                  <a:cubicBezTo>
                    <a:pt x="175" y="36"/>
                    <a:pt x="176" y="35"/>
                    <a:pt x="176" y="35"/>
                  </a:cubicBezTo>
                  <a:cubicBezTo>
                    <a:pt x="176" y="36"/>
                    <a:pt x="176" y="37"/>
                    <a:pt x="176" y="38"/>
                  </a:cubicBezTo>
                  <a:cubicBezTo>
                    <a:pt x="176" y="49"/>
                    <a:pt x="177" y="60"/>
                    <a:pt x="176" y="71"/>
                  </a:cubicBezTo>
                  <a:cubicBezTo>
                    <a:pt x="176" y="91"/>
                    <a:pt x="175" y="112"/>
                    <a:pt x="182" y="132"/>
                  </a:cubicBezTo>
                  <a:cubicBezTo>
                    <a:pt x="187" y="150"/>
                    <a:pt x="199" y="166"/>
                    <a:pt x="212" y="179"/>
                  </a:cubicBezTo>
                  <a:cubicBezTo>
                    <a:pt x="226" y="192"/>
                    <a:pt x="243" y="202"/>
                    <a:pt x="262" y="205"/>
                  </a:cubicBezTo>
                  <a:cubicBezTo>
                    <a:pt x="275" y="207"/>
                    <a:pt x="288" y="207"/>
                    <a:pt x="301" y="205"/>
                  </a:cubicBezTo>
                  <a:cubicBezTo>
                    <a:pt x="308" y="204"/>
                    <a:pt x="315" y="203"/>
                    <a:pt x="322" y="201"/>
                  </a:cubicBezTo>
                  <a:cubicBezTo>
                    <a:pt x="327" y="200"/>
                    <a:pt x="332" y="199"/>
                    <a:pt x="337" y="196"/>
                  </a:cubicBezTo>
                  <a:cubicBezTo>
                    <a:pt x="340" y="197"/>
                    <a:pt x="343" y="197"/>
                    <a:pt x="346" y="195"/>
                  </a:cubicBezTo>
                  <a:cubicBezTo>
                    <a:pt x="350" y="194"/>
                    <a:pt x="354" y="192"/>
                    <a:pt x="357" y="190"/>
                  </a:cubicBezTo>
                  <a:cubicBezTo>
                    <a:pt x="364" y="186"/>
                    <a:pt x="370" y="181"/>
                    <a:pt x="375" y="175"/>
                  </a:cubicBezTo>
                  <a:cubicBezTo>
                    <a:pt x="380" y="170"/>
                    <a:pt x="384" y="163"/>
                    <a:pt x="387" y="156"/>
                  </a:cubicBezTo>
                  <a:cubicBezTo>
                    <a:pt x="392" y="146"/>
                    <a:pt x="395" y="136"/>
                    <a:pt x="399" y="126"/>
                  </a:cubicBezTo>
                  <a:cubicBezTo>
                    <a:pt x="405" y="107"/>
                    <a:pt x="408" y="87"/>
                    <a:pt x="411" y="67"/>
                  </a:cubicBezTo>
                  <a:cubicBezTo>
                    <a:pt x="413" y="56"/>
                    <a:pt x="413" y="46"/>
                    <a:pt x="413" y="35"/>
                  </a:cubicBezTo>
                  <a:cubicBezTo>
                    <a:pt x="417" y="40"/>
                    <a:pt x="421" y="44"/>
                    <a:pt x="426" y="48"/>
                  </a:cubicBezTo>
                  <a:cubicBezTo>
                    <a:pt x="432" y="54"/>
                    <a:pt x="437" y="62"/>
                    <a:pt x="443" y="68"/>
                  </a:cubicBezTo>
                  <a:cubicBezTo>
                    <a:pt x="446" y="71"/>
                    <a:pt x="448" y="74"/>
                    <a:pt x="451" y="76"/>
                  </a:cubicBezTo>
                  <a:cubicBezTo>
                    <a:pt x="453" y="79"/>
                    <a:pt x="454" y="82"/>
                    <a:pt x="457" y="84"/>
                  </a:cubicBezTo>
                  <a:cubicBezTo>
                    <a:pt x="457" y="89"/>
                    <a:pt x="459" y="94"/>
                    <a:pt x="462" y="98"/>
                  </a:cubicBezTo>
                  <a:cubicBezTo>
                    <a:pt x="467" y="105"/>
                    <a:pt x="476" y="110"/>
                    <a:pt x="484" y="109"/>
                  </a:cubicBezTo>
                  <a:cubicBezTo>
                    <a:pt x="492" y="108"/>
                    <a:pt x="500" y="103"/>
                    <a:pt x="503" y="95"/>
                  </a:cubicBezTo>
                  <a:cubicBezTo>
                    <a:pt x="503" y="95"/>
                    <a:pt x="503" y="95"/>
                    <a:pt x="503" y="95"/>
                  </a:cubicBezTo>
                  <a:cubicBezTo>
                    <a:pt x="509" y="96"/>
                    <a:pt x="515" y="95"/>
                    <a:pt x="521" y="95"/>
                  </a:cubicBezTo>
                  <a:cubicBezTo>
                    <a:pt x="529" y="94"/>
                    <a:pt x="537" y="93"/>
                    <a:pt x="545" y="93"/>
                  </a:cubicBezTo>
                  <a:cubicBezTo>
                    <a:pt x="547" y="104"/>
                    <a:pt x="558" y="111"/>
                    <a:pt x="569" y="111"/>
                  </a:cubicBezTo>
                  <a:cubicBezTo>
                    <a:pt x="571" y="111"/>
                    <a:pt x="572" y="111"/>
                    <a:pt x="573" y="110"/>
                  </a:cubicBezTo>
                  <a:cubicBezTo>
                    <a:pt x="574" y="112"/>
                    <a:pt x="575" y="114"/>
                    <a:pt x="577" y="116"/>
                  </a:cubicBezTo>
                  <a:cubicBezTo>
                    <a:pt x="579" y="119"/>
                    <a:pt x="581" y="123"/>
                    <a:pt x="584" y="125"/>
                  </a:cubicBezTo>
                  <a:cubicBezTo>
                    <a:pt x="590" y="128"/>
                    <a:pt x="597" y="120"/>
                    <a:pt x="592" y="115"/>
                  </a:cubicBezTo>
                  <a:cubicBezTo>
                    <a:pt x="589" y="113"/>
                    <a:pt x="587" y="112"/>
                    <a:pt x="585" y="110"/>
                  </a:cubicBezTo>
                  <a:cubicBezTo>
                    <a:pt x="584" y="109"/>
                    <a:pt x="583" y="108"/>
                    <a:pt x="582" y="107"/>
                  </a:cubicBezTo>
                  <a:cubicBezTo>
                    <a:pt x="583" y="107"/>
                    <a:pt x="584" y="106"/>
                    <a:pt x="585" y="106"/>
                  </a:cubicBezTo>
                  <a:cubicBezTo>
                    <a:pt x="587" y="107"/>
                    <a:pt x="590" y="108"/>
                    <a:pt x="591" y="109"/>
                  </a:cubicBezTo>
                  <a:cubicBezTo>
                    <a:pt x="595" y="112"/>
                    <a:pt x="600" y="114"/>
                    <a:pt x="605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7" y="115"/>
                    <a:pt x="609" y="115"/>
                    <a:pt x="611" y="113"/>
                  </a:cubicBezTo>
                  <a:cubicBezTo>
                    <a:pt x="615" y="109"/>
                    <a:pt x="613" y="103"/>
                    <a:pt x="608" y="102"/>
                  </a:cubicBezTo>
                  <a:cubicBezTo>
                    <a:pt x="603" y="100"/>
                    <a:pt x="598" y="99"/>
                    <a:pt x="594" y="98"/>
                  </a:cubicBezTo>
                  <a:cubicBezTo>
                    <a:pt x="594" y="96"/>
                    <a:pt x="595" y="95"/>
                    <a:pt x="596" y="94"/>
                  </a:cubicBezTo>
                  <a:cubicBezTo>
                    <a:pt x="598" y="94"/>
                    <a:pt x="601" y="94"/>
                    <a:pt x="603" y="94"/>
                  </a:cubicBezTo>
                  <a:cubicBezTo>
                    <a:pt x="607" y="95"/>
                    <a:pt x="614" y="95"/>
                    <a:pt x="617" y="93"/>
                  </a:cubicBezTo>
                  <a:cubicBezTo>
                    <a:pt x="623" y="90"/>
                    <a:pt x="621" y="81"/>
                    <a:pt x="614" y="8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0" name="îṡľíde"/>
            <p:cNvSpPr/>
            <p:nvPr/>
          </p:nvSpPr>
          <p:spPr bwMode="auto">
            <a:xfrm>
              <a:off x="4786941" y="2063665"/>
              <a:ext cx="2300120" cy="1788604"/>
            </a:xfrm>
            <a:custGeom>
              <a:avLst/>
              <a:gdLst>
                <a:gd name="T0" fmla="*/ 8 w 327"/>
                <a:gd name="T1" fmla="*/ 222 h 254"/>
                <a:gd name="T2" fmla="*/ 12 w 327"/>
                <a:gd name="T3" fmla="*/ 224 h 254"/>
                <a:gd name="T4" fmla="*/ 36 w 327"/>
                <a:gd name="T5" fmla="*/ 206 h 254"/>
                <a:gd name="T6" fmla="*/ 49 w 327"/>
                <a:gd name="T7" fmla="*/ 205 h 254"/>
                <a:gd name="T8" fmla="*/ 49 w 327"/>
                <a:gd name="T9" fmla="*/ 227 h 254"/>
                <a:gd name="T10" fmla="*/ 57 w 327"/>
                <a:gd name="T11" fmla="*/ 249 h 254"/>
                <a:gd name="T12" fmla="*/ 80 w 327"/>
                <a:gd name="T13" fmla="*/ 252 h 254"/>
                <a:gd name="T14" fmla="*/ 135 w 327"/>
                <a:gd name="T15" fmla="*/ 254 h 254"/>
                <a:gd name="T16" fmla="*/ 221 w 327"/>
                <a:gd name="T17" fmla="*/ 252 h 254"/>
                <a:gd name="T18" fmla="*/ 262 w 327"/>
                <a:gd name="T19" fmla="*/ 250 h 254"/>
                <a:gd name="T20" fmla="*/ 277 w 327"/>
                <a:gd name="T21" fmla="*/ 248 h 254"/>
                <a:gd name="T22" fmla="*/ 285 w 327"/>
                <a:gd name="T23" fmla="*/ 245 h 254"/>
                <a:gd name="T24" fmla="*/ 285 w 327"/>
                <a:gd name="T25" fmla="*/ 241 h 254"/>
                <a:gd name="T26" fmla="*/ 284 w 327"/>
                <a:gd name="T27" fmla="*/ 200 h 254"/>
                <a:gd name="T28" fmla="*/ 290 w 327"/>
                <a:gd name="T29" fmla="*/ 199 h 254"/>
                <a:gd name="T30" fmla="*/ 308 w 327"/>
                <a:gd name="T31" fmla="*/ 216 h 254"/>
                <a:gd name="T32" fmla="*/ 325 w 327"/>
                <a:gd name="T33" fmla="*/ 198 h 254"/>
                <a:gd name="T34" fmla="*/ 327 w 327"/>
                <a:gd name="T35" fmla="*/ 164 h 254"/>
                <a:gd name="T36" fmla="*/ 313 w 327"/>
                <a:gd name="T37" fmla="*/ 142 h 254"/>
                <a:gd name="T38" fmla="*/ 300 w 327"/>
                <a:gd name="T39" fmla="*/ 143 h 254"/>
                <a:gd name="T40" fmla="*/ 292 w 327"/>
                <a:gd name="T41" fmla="*/ 157 h 254"/>
                <a:gd name="T42" fmla="*/ 277 w 327"/>
                <a:gd name="T43" fmla="*/ 157 h 254"/>
                <a:gd name="T44" fmla="*/ 267 w 327"/>
                <a:gd name="T45" fmla="*/ 148 h 254"/>
                <a:gd name="T46" fmla="*/ 236 w 327"/>
                <a:gd name="T47" fmla="*/ 113 h 254"/>
                <a:gd name="T48" fmla="*/ 197 w 327"/>
                <a:gd name="T49" fmla="*/ 96 h 254"/>
                <a:gd name="T50" fmla="*/ 169 w 327"/>
                <a:gd name="T51" fmla="*/ 92 h 254"/>
                <a:gd name="T52" fmla="*/ 164 w 327"/>
                <a:gd name="T53" fmla="*/ 63 h 254"/>
                <a:gd name="T54" fmla="*/ 125 w 327"/>
                <a:gd name="T55" fmla="*/ 17 h 254"/>
                <a:gd name="T56" fmla="*/ 94 w 327"/>
                <a:gd name="T57" fmla="*/ 6 h 254"/>
                <a:gd name="T58" fmla="*/ 105 w 327"/>
                <a:gd name="T59" fmla="*/ 45 h 254"/>
                <a:gd name="T60" fmla="*/ 133 w 327"/>
                <a:gd name="T61" fmla="*/ 32 h 254"/>
                <a:gd name="T62" fmla="*/ 154 w 327"/>
                <a:gd name="T63" fmla="*/ 64 h 254"/>
                <a:gd name="T64" fmla="*/ 159 w 327"/>
                <a:gd name="T65" fmla="*/ 90 h 254"/>
                <a:gd name="T66" fmla="*/ 140 w 327"/>
                <a:gd name="T67" fmla="*/ 94 h 254"/>
                <a:gd name="T68" fmla="*/ 60 w 327"/>
                <a:gd name="T69" fmla="*/ 152 h 254"/>
                <a:gd name="T70" fmla="*/ 55 w 327"/>
                <a:gd name="T71" fmla="*/ 162 h 254"/>
                <a:gd name="T72" fmla="*/ 22 w 327"/>
                <a:gd name="T73" fmla="*/ 141 h 254"/>
                <a:gd name="T74" fmla="*/ 5 w 327"/>
                <a:gd name="T75" fmla="*/ 150 h 254"/>
                <a:gd name="T76" fmla="*/ 2 w 327"/>
                <a:gd name="T77" fmla="*/ 159 h 254"/>
                <a:gd name="T78" fmla="*/ 0 w 327"/>
                <a:gd name="T79" fmla="*/ 19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54">
                  <a:moveTo>
                    <a:pt x="1" y="209"/>
                  </a:moveTo>
                  <a:cubicBezTo>
                    <a:pt x="1" y="215"/>
                    <a:pt x="2" y="220"/>
                    <a:pt x="8" y="222"/>
                  </a:cubicBezTo>
                  <a:cubicBezTo>
                    <a:pt x="8" y="222"/>
                    <a:pt x="9" y="222"/>
                    <a:pt x="9" y="222"/>
                  </a:cubicBezTo>
                  <a:cubicBezTo>
                    <a:pt x="10" y="223"/>
                    <a:pt x="11" y="224"/>
                    <a:pt x="12" y="224"/>
                  </a:cubicBezTo>
                  <a:cubicBezTo>
                    <a:pt x="17" y="225"/>
                    <a:pt x="22" y="225"/>
                    <a:pt x="27" y="221"/>
                  </a:cubicBezTo>
                  <a:cubicBezTo>
                    <a:pt x="33" y="218"/>
                    <a:pt x="35" y="212"/>
                    <a:pt x="36" y="206"/>
                  </a:cubicBezTo>
                  <a:cubicBezTo>
                    <a:pt x="39" y="206"/>
                    <a:pt x="41" y="205"/>
                    <a:pt x="44" y="205"/>
                  </a:cubicBezTo>
                  <a:cubicBezTo>
                    <a:pt x="45" y="205"/>
                    <a:pt x="47" y="205"/>
                    <a:pt x="49" y="205"/>
                  </a:cubicBezTo>
                  <a:cubicBezTo>
                    <a:pt x="49" y="207"/>
                    <a:pt x="48" y="208"/>
                    <a:pt x="48" y="210"/>
                  </a:cubicBezTo>
                  <a:cubicBezTo>
                    <a:pt x="48" y="216"/>
                    <a:pt x="48" y="221"/>
                    <a:pt x="49" y="227"/>
                  </a:cubicBezTo>
                  <a:cubicBezTo>
                    <a:pt x="49" y="233"/>
                    <a:pt x="49" y="240"/>
                    <a:pt x="50" y="246"/>
                  </a:cubicBezTo>
                  <a:cubicBezTo>
                    <a:pt x="51" y="250"/>
                    <a:pt x="55" y="250"/>
                    <a:pt x="57" y="249"/>
                  </a:cubicBezTo>
                  <a:cubicBezTo>
                    <a:pt x="60" y="250"/>
                    <a:pt x="63" y="250"/>
                    <a:pt x="66" y="251"/>
                  </a:cubicBezTo>
                  <a:cubicBezTo>
                    <a:pt x="70" y="251"/>
                    <a:pt x="75" y="252"/>
                    <a:pt x="80" y="252"/>
                  </a:cubicBezTo>
                  <a:cubicBezTo>
                    <a:pt x="89" y="253"/>
                    <a:pt x="98" y="253"/>
                    <a:pt x="107" y="253"/>
                  </a:cubicBezTo>
                  <a:cubicBezTo>
                    <a:pt x="117" y="254"/>
                    <a:pt x="126" y="254"/>
                    <a:pt x="135" y="254"/>
                  </a:cubicBezTo>
                  <a:cubicBezTo>
                    <a:pt x="145" y="254"/>
                    <a:pt x="155" y="254"/>
                    <a:pt x="164" y="253"/>
                  </a:cubicBezTo>
                  <a:cubicBezTo>
                    <a:pt x="183" y="253"/>
                    <a:pt x="202" y="253"/>
                    <a:pt x="221" y="252"/>
                  </a:cubicBezTo>
                  <a:cubicBezTo>
                    <a:pt x="230" y="251"/>
                    <a:pt x="239" y="251"/>
                    <a:pt x="248" y="250"/>
                  </a:cubicBezTo>
                  <a:cubicBezTo>
                    <a:pt x="253" y="250"/>
                    <a:pt x="258" y="250"/>
                    <a:pt x="262" y="250"/>
                  </a:cubicBezTo>
                  <a:cubicBezTo>
                    <a:pt x="267" y="249"/>
                    <a:pt x="271" y="249"/>
                    <a:pt x="275" y="247"/>
                  </a:cubicBezTo>
                  <a:cubicBezTo>
                    <a:pt x="276" y="248"/>
                    <a:pt x="277" y="248"/>
                    <a:pt x="277" y="248"/>
                  </a:cubicBezTo>
                  <a:cubicBezTo>
                    <a:pt x="277" y="248"/>
                    <a:pt x="278" y="248"/>
                    <a:pt x="278" y="248"/>
                  </a:cubicBezTo>
                  <a:cubicBezTo>
                    <a:pt x="281" y="249"/>
                    <a:pt x="283" y="248"/>
                    <a:pt x="285" y="245"/>
                  </a:cubicBezTo>
                  <a:cubicBezTo>
                    <a:pt x="285" y="244"/>
                    <a:pt x="285" y="244"/>
                    <a:pt x="285" y="244"/>
                  </a:cubicBezTo>
                  <a:cubicBezTo>
                    <a:pt x="285" y="243"/>
                    <a:pt x="285" y="242"/>
                    <a:pt x="285" y="241"/>
                  </a:cubicBezTo>
                  <a:cubicBezTo>
                    <a:pt x="286" y="234"/>
                    <a:pt x="286" y="227"/>
                    <a:pt x="286" y="220"/>
                  </a:cubicBezTo>
                  <a:cubicBezTo>
                    <a:pt x="286" y="213"/>
                    <a:pt x="285" y="207"/>
                    <a:pt x="284" y="200"/>
                  </a:cubicBezTo>
                  <a:cubicBezTo>
                    <a:pt x="285" y="200"/>
                    <a:pt x="286" y="199"/>
                    <a:pt x="287" y="199"/>
                  </a:cubicBezTo>
                  <a:cubicBezTo>
                    <a:pt x="288" y="199"/>
                    <a:pt x="289" y="199"/>
                    <a:pt x="290" y="199"/>
                  </a:cubicBezTo>
                  <a:cubicBezTo>
                    <a:pt x="291" y="202"/>
                    <a:pt x="291" y="206"/>
                    <a:pt x="293" y="210"/>
                  </a:cubicBezTo>
                  <a:cubicBezTo>
                    <a:pt x="295" y="215"/>
                    <a:pt x="302" y="219"/>
                    <a:pt x="308" y="216"/>
                  </a:cubicBezTo>
                  <a:cubicBezTo>
                    <a:pt x="309" y="216"/>
                    <a:pt x="309" y="216"/>
                    <a:pt x="310" y="217"/>
                  </a:cubicBezTo>
                  <a:cubicBezTo>
                    <a:pt x="321" y="219"/>
                    <a:pt x="325" y="207"/>
                    <a:pt x="325" y="198"/>
                  </a:cubicBezTo>
                  <a:cubicBezTo>
                    <a:pt x="325" y="193"/>
                    <a:pt x="325" y="187"/>
                    <a:pt x="325" y="181"/>
                  </a:cubicBezTo>
                  <a:cubicBezTo>
                    <a:pt x="325" y="176"/>
                    <a:pt x="326" y="170"/>
                    <a:pt x="327" y="164"/>
                  </a:cubicBezTo>
                  <a:cubicBezTo>
                    <a:pt x="327" y="158"/>
                    <a:pt x="326" y="153"/>
                    <a:pt x="323" y="148"/>
                  </a:cubicBezTo>
                  <a:cubicBezTo>
                    <a:pt x="321" y="145"/>
                    <a:pt x="317" y="143"/>
                    <a:pt x="313" y="142"/>
                  </a:cubicBezTo>
                  <a:cubicBezTo>
                    <a:pt x="309" y="141"/>
                    <a:pt x="305" y="141"/>
                    <a:pt x="301" y="142"/>
                  </a:cubicBezTo>
                  <a:cubicBezTo>
                    <a:pt x="301" y="142"/>
                    <a:pt x="300" y="143"/>
                    <a:pt x="300" y="143"/>
                  </a:cubicBezTo>
                  <a:cubicBezTo>
                    <a:pt x="298" y="142"/>
                    <a:pt x="296" y="143"/>
                    <a:pt x="295" y="144"/>
                  </a:cubicBezTo>
                  <a:cubicBezTo>
                    <a:pt x="293" y="148"/>
                    <a:pt x="292" y="153"/>
                    <a:pt x="292" y="157"/>
                  </a:cubicBezTo>
                  <a:cubicBezTo>
                    <a:pt x="289" y="157"/>
                    <a:pt x="287" y="157"/>
                    <a:pt x="284" y="157"/>
                  </a:cubicBezTo>
                  <a:cubicBezTo>
                    <a:pt x="282" y="157"/>
                    <a:pt x="280" y="157"/>
                    <a:pt x="277" y="157"/>
                  </a:cubicBezTo>
                  <a:cubicBezTo>
                    <a:pt x="276" y="157"/>
                    <a:pt x="274" y="157"/>
                    <a:pt x="272" y="157"/>
                  </a:cubicBezTo>
                  <a:cubicBezTo>
                    <a:pt x="270" y="154"/>
                    <a:pt x="269" y="151"/>
                    <a:pt x="267" y="148"/>
                  </a:cubicBezTo>
                  <a:cubicBezTo>
                    <a:pt x="263" y="142"/>
                    <a:pt x="258" y="136"/>
                    <a:pt x="252" y="130"/>
                  </a:cubicBezTo>
                  <a:cubicBezTo>
                    <a:pt x="247" y="124"/>
                    <a:pt x="242" y="118"/>
                    <a:pt x="236" y="113"/>
                  </a:cubicBezTo>
                  <a:cubicBezTo>
                    <a:pt x="231" y="109"/>
                    <a:pt x="224" y="105"/>
                    <a:pt x="218" y="102"/>
                  </a:cubicBezTo>
                  <a:cubicBezTo>
                    <a:pt x="212" y="99"/>
                    <a:pt x="204" y="96"/>
                    <a:pt x="197" y="96"/>
                  </a:cubicBezTo>
                  <a:cubicBezTo>
                    <a:pt x="193" y="94"/>
                    <a:pt x="188" y="93"/>
                    <a:pt x="184" y="93"/>
                  </a:cubicBezTo>
                  <a:cubicBezTo>
                    <a:pt x="179" y="92"/>
                    <a:pt x="174" y="92"/>
                    <a:pt x="169" y="92"/>
                  </a:cubicBezTo>
                  <a:cubicBezTo>
                    <a:pt x="169" y="89"/>
                    <a:pt x="169" y="87"/>
                    <a:pt x="169" y="85"/>
                  </a:cubicBezTo>
                  <a:cubicBezTo>
                    <a:pt x="168" y="77"/>
                    <a:pt x="166" y="70"/>
                    <a:pt x="164" y="63"/>
                  </a:cubicBezTo>
                  <a:cubicBezTo>
                    <a:pt x="162" y="53"/>
                    <a:pt x="158" y="42"/>
                    <a:pt x="152" y="33"/>
                  </a:cubicBezTo>
                  <a:cubicBezTo>
                    <a:pt x="146" y="26"/>
                    <a:pt x="135" y="17"/>
                    <a:pt x="125" y="17"/>
                  </a:cubicBezTo>
                  <a:cubicBezTo>
                    <a:pt x="123" y="11"/>
                    <a:pt x="119" y="5"/>
                    <a:pt x="113" y="3"/>
                  </a:cubicBezTo>
                  <a:cubicBezTo>
                    <a:pt x="107" y="0"/>
                    <a:pt x="98" y="0"/>
                    <a:pt x="94" y="6"/>
                  </a:cubicBezTo>
                  <a:cubicBezTo>
                    <a:pt x="87" y="10"/>
                    <a:pt x="81" y="17"/>
                    <a:pt x="80" y="26"/>
                  </a:cubicBezTo>
                  <a:cubicBezTo>
                    <a:pt x="79" y="40"/>
                    <a:pt x="93" y="48"/>
                    <a:pt x="105" y="45"/>
                  </a:cubicBezTo>
                  <a:cubicBezTo>
                    <a:pt x="113" y="43"/>
                    <a:pt x="121" y="36"/>
                    <a:pt x="124" y="28"/>
                  </a:cubicBezTo>
                  <a:cubicBezTo>
                    <a:pt x="127" y="30"/>
                    <a:pt x="130" y="31"/>
                    <a:pt x="133" y="32"/>
                  </a:cubicBezTo>
                  <a:cubicBezTo>
                    <a:pt x="137" y="34"/>
                    <a:pt x="140" y="37"/>
                    <a:pt x="143" y="41"/>
                  </a:cubicBezTo>
                  <a:cubicBezTo>
                    <a:pt x="148" y="47"/>
                    <a:pt x="151" y="56"/>
                    <a:pt x="154" y="64"/>
                  </a:cubicBezTo>
                  <a:cubicBezTo>
                    <a:pt x="155" y="70"/>
                    <a:pt x="157" y="75"/>
                    <a:pt x="158" y="81"/>
                  </a:cubicBezTo>
                  <a:cubicBezTo>
                    <a:pt x="159" y="84"/>
                    <a:pt x="159" y="87"/>
                    <a:pt x="159" y="90"/>
                  </a:cubicBezTo>
                  <a:cubicBezTo>
                    <a:pt x="159" y="91"/>
                    <a:pt x="159" y="91"/>
                    <a:pt x="160" y="92"/>
                  </a:cubicBezTo>
                  <a:cubicBezTo>
                    <a:pt x="153" y="92"/>
                    <a:pt x="146" y="93"/>
                    <a:pt x="140" y="94"/>
                  </a:cubicBezTo>
                  <a:cubicBezTo>
                    <a:pt x="123" y="97"/>
                    <a:pt x="108" y="104"/>
                    <a:pt x="94" y="113"/>
                  </a:cubicBezTo>
                  <a:cubicBezTo>
                    <a:pt x="79" y="123"/>
                    <a:pt x="68" y="136"/>
                    <a:pt x="60" y="152"/>
                  </a:cubicBezTo>
                  <a:cubicBezTo>
                    <a:pt x="59" y="155"/>
                    <a:pt x="58" y="159"/>
                    <a:pt x="57" y="162"/>
                  </a:cubicBezTo>
                  <a:cubicBezTo>
                    <a:pt x="56" y="162"/>
                    <a:pt x="55" y="162"/>
                    <a:pt x="55" y="162"/>
                  </a:cubicBezTo>
                  <a:cubicBezTo>
                    <a:pt x="50" y="161"/>
                    <a:pt x="45" y="162"/>
                    <a:pt x="40" y="163"/>
                  </a:cubicBezTo>
                  <a:cubicBezTo>
                    <a:pt x="40" y="152"/>
                    <a:pt x="33" y="142"/>
                    <a:pt x="22" y="141"/>
                  </a:cubicBezTo>
                  <a:cubicBezTo>
                    <a:pt x="18" y="140"/>
                    <a:pt x="13" y="140"/>
                    <a:pt x="9" y="143"/>
                  </a:cubicBezTo>
                  <a:cubicBezTo>
                    <a:pt x="7" y="145"/>
                    <a:pt x="5" y="147"/>
                    <a:pt x="5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3" y="153"/>
                    <a:pt x="2" y="156"/>
                    <a:pt x="2" y="159"/>
                  </a:cubicBezTo>
                  <a:cubicBezTo>
                    <a:pt x="2" y="162"/>
                    <a:pt x="1" y="166"/>
                    <a:pt x="1" y="170"/>
                  </a:cubicBezTo>
                  <a:cubicBezTo>
                    <a:pt x="0" y="177"/>
                    <a:pt x="0" y="184"/>
                    <a:pt x="0" y="191"/>
                  </a:cubicBezTo>
                  <a:cubicBezTo>
                    <a:pt x="0" y="197"/>
                    <a:pt x="1" y="203"/>
                    <a:pt x="1" y="20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1" name="íšľiḓe"/>
            <p:cNvSpPr/>
            <p:nvPr/>
          </p:nvSpPr>
          <p:spPr bwMode="auto">
            <a:xfrm>
              <a:off x="5210378" y="3950506"/>
              <a:ext cx="1510829" cy="1256766"/>
            </a:xfrm>
            <a:custGeom>
              <a:avLst/>
              <a:gdLst>
                <a:gd name="T0" fmla="*/ 213 w 215"/>
                <a:gd name="T1" fmla="*/ 44 h 179"/>
                <a:gd name="T2" fmla="*/ 213 w 215"/>
                <a:gd name="T3" fmla="*/ 44 h 179"/>
                <a:gd name="T4" fmla="*/ 208 w 215"/>
                <a:gd name="T5" fmla="*/ 73 h 179"/>
                <a:gd name="T6" fmla="*/ 202 w 215"/>
                <a:gd name="T7" fmla="*/ 103 h 179"/>
                <a:gd name="T8" fmla="*/ 192 w 215"/>
                <a:gd name="T9" fmla="*/ 130 h 179"/>
                <a:gd name="T10" fmla="*/ 180 w 215"/>
                <a:gd name="T11" fmla="*/ 150 h 179"/>
                <a:gd name="T12" fmla="*/ 165 w 215"/>
                <a:gd name="T13" fmla="*/ 164 h 179"/>
                <a:gd name="T14" fmla="*/ 156 w 215"/>
                <a:gd name="T15" fmla="*/ 169 h 179"/>
                <a:gd name="T16" fmla="*/ 153 w 215"/>
                <a:gd name="T17" fmla="*/ 171 h 179"/>
                <a:gd name="T18" fmla="*/ 138 w 215"/>
                <a:gd name="T19" fmla="*/ 172 h 179"/>
                <a:gd name="T20" fmla="*/ 122 w 215"/>
                <a:gd name="T21" fmla="*/ 176 h 179"/>
                <a:gd name="T22" fmla="*/ 92 w 215"/>
                <a:gd name="T23" fmla="*/ 179 h 179"/>
                <a:gd name="T24" fmla="*/ 42 w 215"/>
                <a:gd name="T25" fmla="*/ 162 h 179"/>
                <a:gd name="T26" fmla="*/ 9 w 215"/>
                <a:gd name="T27" fmla="*/ 119 h 179"/>
                <a:gd name="T28" fmla="*/ 2 w 215"/>
                <a:gd name="T29" fmla="*/ 59 h 179"/>
                <a:gd name="T30" fmla="*/ 2 w 215"/>
                <a:gd name="T31" fmla="*/ 25 h 179"/>
                <a:gd name="T32" fmla="*/ 1 w 215"/>
                <a:gd name="T33" fmla="*/ 9 h 179"/>
                <a:gd name="T34" fmla="*/ 1 w 215"/>
                <a:gd name="T35" fmla="*/ 3 h 179"/>
                <a:gd name="T36" fmla="*/ 0 w 215"/>
                <a:gd name="T37" fmla="*/ 2 h 179"/>
                <a:gd name="T38" fmla="*/ 0 w 215"/>
                <a:gd name="T39" fmla="*/ 1 h 179"/>
                <a:gd name="T40" fmla="*/ 16 w 215"/>
                <a:gd name="T41" fmla="*/ 4 h 179"/>
                <a:gd name="T42" fmla="*/ 40 w 215"/>
                <a:gd name="T43" fmla="*/ 5 h 179"/>
                <a:gd name="T44" fmla="*/ 54 w 215"/>
                <a:gd name="T45" fmla="*/ 4 h 179"/>
                <a:gd name="T46" fmla="*/ 69 w 215"/>
                <a:gd name="T47" fmla="*/ 4 h 179"/>
                <a:gd name="T48" fmla="*/ 100 w 215"/>
                <a:gd name="T49" fmla="*/ 2 h 179"/>
                <a:gd name="T50" fmla="*/ 160 w 215"/>
                <a:gd name="T51" fmla="*/ 1 h 179"/>
                <a:gd name="T52" fmla="*/ 190 w 215"/>
                <a:gd name="T53" fmla="*/ 1 h 179"/>
                <a:gd name="T54" fmla="*/ 214 w 215"/>
                <a:gd name="T55" fmla="*/ 0 h 179"/>
                <a:gd name="T56" fmla="*/ 214 w 215"/>
                <a:gd name="T57" fmla="*/ 14 h 179"/>
                <a:gd name="T58" fmla="*/ 213 w 215"/>
                <a:gd name="T59" fmla="*/ 44 h 179"/>
                <a:gd name="T60" fmla="*/ 195 w 215"/>
                <a:gd name="T61" fmla="*/ 15 h 179"/>
                <a:gd name="T62" fmla="*/ 170 w 215"/>
                <a:gd name="T63" fmla="*/ 14 h 179"/>
                <a:gd name="T64" fmla="*/ 144 w 215"/>
                <a:gd name="T65" fmla="*/ 14 h 179"/>
                <a:gd name="T66" fmla="*/ 93 w 215"/>
                <a:gd name="T67" fmla="*/ 14 h 179"/>
                <a:gd name="T68" fmla="*/ 68 w 215"/>
                <a:gd name="T69" fmla="*/ 14 h 179"/>
                <a:gd name="T70" fmla="*/ 43 w 215"/>
                <a:gd name="T71" fmla="*/ 14 h 179"/>
                <a:gd name="T72" fmla="*/ 24 w 215"/>
                <a:gd name="T73" fmla="*/ 17 h 179"/>
                <a:gd name="T74" fmla="*/ 20 w 215"/>
                <a:gd name="T75" fmla="*/ 30 h 179"/>
                <a:gd name="T76" fmla="*/ 20 w 215"/>
                <a:gd name="T77" fmla="*/ 30 h 179"/>
                <a:gd name="T78" fmla="*/ 19 w 215"/>
                <a:gd name="T79" fmla="*/ 40 h 179"/>
                <a:gd name="T80" fmla="*/ 20 w 215"/>
                <a:gd name="T81" fmla="*/ 58 h 179"/>
                <a:gd name="T82" fmla="*/ 20 w 215"/>
                <a:gd name="T83" fmla="*/ 76 h 179"/>
                <a:gd name="T84" fmla="*/ 20 w 215"/>
                <a:gd name="T85" fmla="*/ 89 h 179"/>
                <a:gd name="T86" fmla="*/ 20 w 215"/>
                <a:gd name="T87" fmla="*/ 93 h 179"/>
                <a:gd name="T88" fmla="*/ 39 w 215"/>
                <a:gd name="T89" fmla="*/ 97 h 179"/>
                <a:gd name="T90" fmla="*/ 60 w 215"/>
                <a:gd name="T91" fmla="*/ 97 h 179"/>
                <a:gd name="T92" fmla="*/ 106 w 215"/>
                <a:gd name="T93" fmla="*/ 97 h 179"/>
                <a:gd name="T94" fmla="*/ 129 w 215"/>
                <a:gd name="T95" fmla="*/ 96 h 179"/>
                <a:gd name="T96" fmla="*/ 153 w 215"/>
                <a:gd name="T97" fmla="*/ 96 h 179"/>
                <a:gd name="T98" fmla="*/ 177 w 215"/>
                <a:gd name="T99" fmla="*/ 95 h 179"/>
                <a:gd name="T100" fmla="*/ 197 w 215"/>
                <a:gd name="T101" fmla="*/ 90 h 179"/>
                <a:gd name="T102" fmla="*/ 198 w 215"/>
                <a:gd name="T103" fmla="*/ 88 h 179"/>
                <a:gd name="T104" fmla="*/ 200 w 215"/>
                <a:gd name="T105" fmla="*/ 82 h 179"/>
                <a:gd name="T106" fmla="*/ 200 w 215"/>
                <a:gd name="T107" fmla="*/ 72 h 179"/>
                <a:gd name="T108" fmla="*/ 200 w 215"/>
                <a:gd name="T109" fmla="*/ 62 h 179"/>
                <a:gd name="T110" fmla="*/ 200 w 215"/>
                <a:gd name="T111" fmla="*/ 52 h 179"/>
                <a:gd name="T112" fmla="*/ 201 w 215"/>
                <a:gd name="T113" fmla="*/ 33 h 179"/>
                <a:gd name="T114" fmla="*/ 198 w 215"/>
                <a:gd name="T115" fmla="*/ 15 h 179"/>
                <a:gd name="T116" fmla="*/ 195 w 215"/>
                <a:gd name="T117" fmla="*/ 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5" h="179">
                  <a:moveTo>
                    <a:pt x="213" y="44"/>
                  </a:moveTo>
                  <a:cubicBezTo>
                    <a:pt x="213" y="44"/>
                    <a:pt x="213" y="44"/>
                    <a:pt x="213" y="44"/>
                  </a:cubicBezTo>
                  <a:cubicBezTo>
                    <a:pt x="212" y="54"/>
                    <a:pt x="210" y="64"/>
                    <a:pt x="208" y="73"/>
                  </a:cubicBezTo>
                  <a:cubicBezTo>
                    <a:pt x="207" y="83"/>
                    <a:pt x="205" y="93"/>
                    <a:pt x="202" y="103"/>
                  </a:cubicBezTo>
                  <a:cubicBezTo>
                    <a:pt x="199" y="112"/>
                    <a:pt x="196" y="121"/>
                    <a:pt x="192" y="130"/>
                  </a:cubicBezTo>
                  <a:cubicBezTo>
                    <a:pt x="188" y="137"/>
                    <a:pt x="185" y="144"/>
                    <a:pt x="180" y="150"/>
                  </a:cubicBezTo>
                  <a:cubicBezTo>
                    <a:pt x="176" y="156"/>
                    <a:pt x="171" y="160"/>
                    <a:pt x="165" y="164"/>
                  </a:cubicBezTo>
                  <a:cubicBezTo>
                    <a:pt x="162" y="166"/>
                    <a:pt x="159" y="168"/>
                    <a:pt x="156" y="169"/>
                  </a:cubicBezTo>
                  <a:cubicBezTo>
                    <a:pt x="155" y="170"/>
                    <a:pt x="154" y="170"/>
                    <a:pt x="153" y="171"/>
                  </a:cubicBezTo>
                  <a:cubicBezTo>
                    <a:pt x="148" y="170"/>
                    <a:pt x="143" y="171"/>
                    <a:pt x="138" y="172"/>
                  </a:cubicBezTo>
                  <a:cubicBezTo>
                    <a:pt x="133" y="174"/>
                    <a:pt x="128" y="175"/>
                    <a:pt x="122" y="176"/>
                  </a:cubicBezTo>
                  <a:cubicBezTo>
                    <a:pt x="112" y="178"/>
                    <a:pt x="102" y="179"/>
                    <a:pt x="92" y="179"/>
                  </a:cubicBezTo>
                  <a:cubicBezTo>
                    <a:pt x="74" y="179"/>
                    <a:pt x="56" y="173"/>
                    <a:pt x="42" y="162"/>
                  </a:cubicBezTo>
                  <a:cubicBezTo>
                    <a:pt x="28" y="150"/>
                    <a:pt x="16" y="136"/>
                    <a:pt x="9" y="119"/>
                  </a:cubicBezTo>
                  <a:cubicBezTo>
                    <a:pt x="2" y="100"/>
                    <a:pt x="2" y="79"/>
                    <a:pt x="2" y="59"/>
                  </a:cubicBezTo>
                  <a:cubicBezTo>
                    <a:pt x="3" y="48"/>
                    <a:pt x="2" y="37"/>
                    <a:pt x="2" y="25"/>
                  </a:cubicBezTo>
                  <a:cubicBezTo>
                    <a:pt x="1" y="20"/>
                    <a:pt x="1" y="15"/>
                    <a:pt x="1" y="9"/>
                  </a:cubicBezTo>
                  <a:cubicBezTo>
                    <a:pt x="1" y="7"/>
                    <a:pt x="1" y="5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3"/>
                    <a:pt x="11" y="4"/>
                    <a:pt x="16" y="4"/>
                  </a:cubicBezTo>
                  <a:cubicBezTo>
                    <a:pt x="24" y="4"/>
                    <a:pt x="32" y="4"/>
                    <a:pt x="40" y="5"/>
                  </a:cubicBezTo>
                  <a:cubicBezTo>
                    <a:pt x="45" y="5"/>
                    <a:pt x="50" y="5"/>
                    <a:pt x="54" y="4"/>
                  </a:cubicBezTo>
                  <a:cubicBezTo>
                    <a:pt x="59" y="4"/>
                    <a:pt x="64" y="4"/>
                    <a:pt x="69" y="4"/>
                  </a:cubicBezTo>
                  <a:cubicBezTo>
                    <a:pt x="79" y="4"/>
                    <a:pt x="90" y="3"/>
                    <a:pt x="100" y="2"/>
                  </a:cubicBezTo>
                  <a:cubicBezTo>
                    <a:pt x="120" y="2"/>
                    <a:pt x="140" y="2"/>
                    <a:pt x="160" y="1"/>
                  </a:cubicBezTo>
                  <a:cubicBezTo>
                    <a:pt x="170" y="1"/>
                    <a:pt x="180" y="1"/>
                    <a:pt x="190" y="1"/>
                  </a:cubicBezTo>
                  <a:cubicBezTo>
                    <a:pt x="198" y="0"/>
                    <a:pt x="206" y="0"/>
                    <a:pt x="214" y="0"/>
                  </a:cubicBezTo>
                  <a:cubicBezTo>
                    <a:pt x="213" y="4"/>
                    <a:pt x="213" y="9"/>
                    <a:pt x="214" y="14"/>
                  </a:cubicBezTo>
                  <a:cubicBezTo>
                    <a:pt x="215" y="24"/>
                    <a:pt x="214" y="34"/>
                    <a:pt x="213" y="44"/>
                  </a:cubicBezTo>
                  <a:close/>
                  <a:moveTo>
                    <a:pt x="195" y="15"/>
                  </a:moveTo>
                  <a:cubicBezTo>
                    <a:pt x="187" y="15"/>
                    <a:pt x="178" y="14"/>
                    <a:pt x="170" y="14"/>
                  </a:cubicBezTo>
                  <a:cubicBezTo>
                    <a:pt x="161" y="13"/>
                    <a:pt x="153" y="13"/>
                    <a:pt x="144" y="14"/>
                  </a:cubicBezTo>
                  <a:cubicBezTo>
                    <a:pt x="127" y="14"/>
                    <a:pt x="110" y="14"/>
                    <a:pt x="93" y="14"/>
                  </a:cubicBezTo>
                  <a:cubicBezTo>
                    <a:pt x="85" y="15"/>
                    <a:pt x="76" y="14"/>
                    <a:pt x="68" y="14"/>
                  </a:cubicBezTo>
                  <a:cubicBezTo>
                    <a:pt x="60" y="14"/>
                    <a:pt x="51" y="14"/>
                    <a:pt x="43" y="14"/>
                  </a:cubicBezTo>
                  <a:cubicBezTo>
                    <a:pt x="37" y="14"/>
                    <a:pt x="30" y="14"/>
                    <a:pt x="24" y="17"/>
                  </a:cubicBezTo>
                  <a:cubicBezTo>
                    <a:pt x="20" y="20"/>
                    <a:pt x="18" y="25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3"/>
                    <a:pt x="19" y="36"/>
                    <a:pt x="19" y="40"/>
                  </a:cubicBezTo>
                  <a:cubicBezTo>
                    <a:pt x="19" y="46"/>
                    <a:pt x="19" y="52"/>
                    <a:pt x="20" y="58"/>
                  </a:cubicBezTo>
                  <a:cubicBezTo>
                    <a:pt x="20" y="64"/>
                    <a:pt x="20" y="70"/>
                    <a:pt x="20" y="76"/>
                  </a:cubicBezTo>
                  <a:cubicBezTo>
                    <a:pt x="20" y="80"/>
                    <a:pt x="19" y="85"/>
                    <a:pt x="20" y="89"/>
                  </a:cubicBezTo>
                  <a:cubicBezTo>
                    <a:pt x="19" y="90"/>
                    <a:pt x="19" y="92"/>
                    <a:pt x="20" y="93"/>
                  </a:cubicBezTo>
                  <a:cubicBezTo>
                    <a:pt x="25" y="97"/>
                    <a:pt x="33" y="97"/>
                    <a:pt x="39" y="97"/>
                  </a:cubicBezTo>
                  <a:cubicBezTo>
                    <a:pt x="46" y="96"/>
                    <a:pt x="52" y="97"/>
                    <a:pt x="60" y="97"/>
                  </a:cubicBezTo>
                  <a:cubicBezTo>
                    <a:pt x="75" y="98"/>
                    <a:pt x="90" y="98"/>
                    <a:pt x="106" y="97"/>
                  </a:cubicBezTo>
                  <a:cubicBezTo>
                    <a:pt x="114" y="97"/>
                    <a:pt x="121" y="97"/>
                    <a:pt x="129" y="96"/>
                  </a:cubicBezTo>
                  <a:cubicBezTo>
                    <a:pt x="137" y="96"/>
                    <a:pt x="145" y="96"/>
                    <a:pt x="153" y="96"/>
                  </a:cubicBezTo>
                  <a:cubicBezTo>
                    <a:pt x="161" y="97"/>
                    <a:pt x="169" y="96"/>
                    <a:pt x="177" y="95"/>
                  </a:cubicBezTo>
                  <a:cubicBezTo>
                    <a:pt x="184" y="94"/>
                    <a:pt x="192" y="95"/>
                    <a:pt x="197" y="90"/>
                  </a:cubicBezTo>
                  <a:cubicBezTo>
                    <a:pt x="198" y="90"/>
                    <a:pt x="198" y="89"/>
                    <a:pt x="198" y="88"/>
                  </a:cubicBezTo>
                  <a:cubicBezTo>
                    <a:pt x="200" y="87"/>
                    <a:pt x="200" y="84"/>
                    <a:pt x="200" y="82"/>
                  </a:cubicBezTo>
                  <a:cubicBezTo>
                    <a:pt x="200" y="79"/>
                    <a:pt x="200" y="75"/>
                    <a:pt x="200" y="72"/>
                  </a:cubicBezTo>
                  <a:cubicBezTo>
                    <a:pt x="201" y="68"/>
                    <a:pt x="200" y="65"/>
                    <a:pt x="200" y="62"/>
                  </a:cubicBezTo>
                  <a:cubicBezTo>
                    <a:pt x="200" y="58"/>
                    <a:pt x="200" y="55"/>
                    <a:pt x="200" y="52"/>
                  </a:cubicBezTo>
                  <a:cubicBezTo>
                    <a:pt x="201" y="45"/>
                    <a:pt x="201" y="39"/>
                    <a:pt x="201" y="33"/>
                  </a:cubicBezTo>
                  <a:cubicBezTo>
                    <a:pt x="202" y="27"/>
                    <a:pt x="202" y="20"/>
                    <a:pt x="198" y="15"/>
                  </a:cubicBezTo>
                  <a:cubicBezTo>
                    <a:pt x="198" y="15"/>
                    <a:pt x="196" y="14"/>
                    <a:pt x="195" y="15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2" name="iṡ1îďè"/>
            <p:cNvSpPr/>
            <p:nvPr/>
          </p:nvSpPr>
          <p:spPr bwMode="auto">
            <a:xfrm>
              <a:off x="5210378" y="3957281"/>
              <a:ext cx="491190" cy="1229666"/>
            </a:xfrm>
            <a:custGeom>
              <a:avLst/>
              <a:gdLst>
                <a:gd name="T0" fmla="*/ 70 w 70"/>
                <a:gd name="T1" fmla="*/ 175 h 175"/>
                <a:gd name="T2" fmla="*/ 42 w 70"/>
                <a:gd name="T3" fmla="*/ 161 h 175"/>
                <a:gd name="T4" fmla="*/ 9 w 70"/>
                <a:gd name="T5" fmla="*/ 118 h 175"/>
                <a:gd name="T6" fmla="*/ 2 w 70"/>
                <a:gd name="T7" fmla="*/ 58 h 175"/>
                <a:gd name="T8" fmla="*/ 2 w 70"/>
                <a:gd name="T9" fmla="*/ 24 h 175"/>
                <a:gd name="T10" fmla="*/ 1 w 70"/>
                <a:gd name="T11" fmla="*/ 8 h 175"/>
                <a:gd name="T12" fmla="*/ 1 w 70"/>
                <a:gd name="T13" fmla="*/ 2 h 175"/>
                <a:gd name="T14" fmla="*/ 0 w 70"/>
                <a:gd name="T15" fmla="*/ 1 h 175"/>
                <a:gd name="T16" fmla="*/ 0 w 70"/>
                <a:gd name="T17" fmla="*/ 0 h 175"/>
                <a:gd name="T18" fmla="*/ 7 w 70"/>
                <a:gd name="T19" fmla="*/ 2 h 175"/>
                <a:gd name="T20" fmla="*/ 70 w 70"/>
                <a:gd name="T21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175">
                  <a:moveTo>
                    <a:pt x="70" y="175"/>
                  </a:moveTo>
                  <a:cubicBezTo>
                    <a:pt x="60" y="173"/>
                    <a:pt x="50" y="168"/>
                    <a:pt x="42" y="161"/>
                  </a:cubicBezTo>
                  <a:cubicBezTo>
                    <a:pt x="28" y="149"/>
                    <a:pt x="16" y="135"/>
                    <a:pt x="9" y="118"/>
                  </a:cubicBezTo>
                  <a:cubicBezTo>
                    <a:pt x="2" y="99"/>
                    <a:pt x="2" y="78"/>
                    <a:pt x="2" y="58"/>
                  </a:cubicBezTo>
                  <a:cubicBezTo>
                    <a:pt x="3" y="47"/>
                    <a:pt x="2" y="36"/>
                    <a:pt x="2" y="24"/>
                  </a:cubicBezTo>
                  <a:cubicBezTo>
                    <a:pt x="1" y="19"/>
                    <a:pt x="1" y="14"/>
                    <a:pt x="1" y="8"/>
                  </a:cubicBezTo>
                  <a:cubicBezTo>
                    <a:pt x="1" y="6"/>
                    <a:pt x="1" y="4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5" y="2"/>
                    <a:pt x="7" y="2"/>
                  </a:cubicBezTo>
                  <a:cubicBezTo>
                    <a:pt x="5" y="41"/>
                    <a:pt x="5" y="152"/>
                    <a:pt x="7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3" name="îṧ1íḑè"/>
            <p:cNvSpPr/>
            <p:nvPr/>
          </p:nvSpPr>
          <p:spPr bwMode="auto">
            <a:xfrm>
              <a:off x="6067419" y="3950506"/>
              <a:ext cx="653790" cy="1236441"/>
            </a:xfrm>
            <a:custGeom>
              <a:avLst/>
              <a:gdLst>
                <a:gd name="T0" fmla="*/ 91 w 93"/>
                <a:gd name="T1" fmla="*/ 44 h 176"/>
                <a:gd name="T2" fmla="*/ 91 w 93"/>
                <a:gd name="T3" fmla="*/ 44 h 176"/>
                <a:gd name="T4" fmla="*/ 86 w 93"/>
                <a:gd name="T5" fmla="*/ 73 h 176"/>
                <a:gd name="T6" fmla="*/ 80 w 93"/>
                <a:gd name="T7" fmla="*/ 103 h 176"/>
                <a:gd name="T8" fmla="*/ 70 w 93"/>
                <a:gd name="T9" fmla="*/ 130 h 176"/>
                <a:gd name="T10" fmla="*/ 58 w 93"/>
                <a:gd name="T11" fmla="*/ 150 h 176"/>
                <a:gd name="T12" fmla="*/ 43 w 93"/>
                <a:gd name="T13" fmla="*/ 164 h 176"/>
                <a:gd name="T14" fmla="*/ 34 w 93"/>
                <a:gd name="T15" fmla="*/ 169 h 176"/>
                <a:gd name="T16" fmla="*/ 31 w 93"/>
                <a:gd name="T17" fmla="*/ 171 h 176"/>
                <a:gd name="T18" fmla="*/ 16 w 93"/>
                <a:gd name="T19" fmla="*/ 172 h 176"/>
                <a:gd name="T20" fmla="*/ 0 w 93"/>
                <a:gd name="T21" fmla="*/ 176 h 176"/>
                <a:gd name="T22" fmla="*/ 54 w 93"/>
                <a:gd name="T23" fmla="*/ 95 h 176"/>
                <a:gd name="T24" fmla="*/ 55 w 93"/>
                <a:gd name="T25" fmla="*/ 95 h 176"/>
                <a:gd name="T26" fmla="*/ 75 w 93"/>
                <a:gd name="T27" fmla="*/ 90 h 176"/>
                <a:gd name="T28" fmla="*/ 76 w 93"/>
                <a:gd name="T29" fmla="*/ 88 h 176"/>
                <a:gd name="T30" fmla="*/ 78 w 93"/>
                <a:gd name="T31" fmla="*/ 82 h 176"/>
                <a:gd name="T32" fmla="*/ 78 w 93"/>
                <a:gd name="T33" fmla="*/ 72 h 176"/>
                <a:gd name="T34" fmla="*/ 78 w 93"/>
                <a:gd name="T35" fmla="*/ 62 h 176"/>
                <a:gd name="T36" fmla="*/ 78 w 93"/>
                <a:gd name="T37" fmla="*/ 52 h 176"/>
                <a:gd name="T38" fmla="*/ 79 w 93"/>
                <a:gd name="T39" fmla="*/ 33 h 176"/>
                <a:gd name="T40" fmla="*/ 76 w 93"/>
                <a:gd name="T41" fmla="*/ 15 h 176"/>
                <a:gd name="T42" fmla="*/ 73 w 93"/>
                <a:gd name="T43" fmla="*/ 15 h 176"/>
                <a:gd name="T44" fmla="*/ 67 w 93"/>
                <a:gd name="T45" fmla="*/ 15 h 176"/>
                <a:gd name="T46" fmla="*/ 67 w 93"/>
                <a:gd name="T47" fmla="*/ 1 h 176"/>
                <a:gd name="T48" fmla="*/ 68 w 93"/>
                <a:gd name="T49" fmla="*/ 1 h 176"/>
                <a:gd name="T50" fmla="*/ 92 w 93"/>
                <a:gd name="T51" fmla="*/ 0 h 176"/>
                <a:gd name="T52" fmla="*/ 92 w 93"/>
                <a:gd name="T53" fmla="*/ 14 h 176"/>
                <a:gd name="T54" fmla="*/ 91 w 93"/>
                <a:gd name="T55" fmla="*/ 4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76">
                  <a:moveTo>
                    <a:pt x="91" y="44"/>
                  </a:moveTo>
                  <a:cubicBezTo>
                    <a:pt x="91" y="44"/>
                    <a:pt x="91" y="44"/>
                    <a:pt x="91" y="44"/>
                  </a:cubicBezTo>
                  <a:cubicBezTo>
                    <a:pt x="90" y="54"/>
                    <a:pt x="88" y="64"/>
                    <a:pt x="86" y="73"/>
                  </a:cubicBezTo>
                  <a:cubicBezTo>
                    <a:pt x="85" y="83"/>
                    <a:pt x="83" y="93"/>
                    <a:pt x="80" y="103"/>
                  </a:cubicBezTo>
                  <a:cubicBezTo>
                    <a:pt x="77" y="112"/>
                    <a:pt x="74" y="121"/>
                    <a:pt x="70" y="130"/>
                  </a:cubicBezTo>
                  <a:cubicBezTo>
                    <a:pt x="66" y="137"/>
                    <a:pt x="63" y="144"/>
                    <a:pt x="58" y="150"/>
                  </a:cubicBezTo>
                  <a:cubicBezTo>
                    <a:pt x="54" y="156"/>
                    <a:pt x="49" y="160"/>
                    <a:pt x="43" y="164"/>
                  </a:cubicBezTo>
                  <a:cubicBezTo>
                    <a:pt x="40" y="166"/>
                    <a:pt x="37" y="168"/>
                    <a:pt x="34" y="169"/>
                  </a:cubicBezTo>
                  <a:cubicBezTo>
                    <a:pt x="33" y="170"/>
                    <a:pt x="32" y="170"/>
                    <a:pt x="31" y="171"/>
                  </a:cubicBezTo>
                  <a:cubicBezTo>
                    <a:pt x="26" y="170"/>
                    <a:pt x="21" y="171"/>
                    <a:pt x="16" y="172"/>
                  </a:cubicBezTo>
                  <a:cubicBezTo>
                    <a:pt x="11" y="174"/>
                    <a:pt x="6" y="175"/>
                    <a:pt x="0" y="176"/>
                  </a:cubicBezTo>
                  <a:cubicBezTo>
                    <a:pt x="28" y="155"/>
                    <a:pt x="44" y="125"/>
                    <a:pt x="54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62" y="94"/>
                    <a:pt x="70" y="95"/>
                    <a:pt x="75" y="90"/>
                  </a:cubicBezTo>
                  <a:cubicBezTo>
                    <a:pt x="76" y="90"/>
                    <a:pt x="76" y="89"/>
                    <a:pt x="76" y="88"/>
                  </a:cubicBezTo>
                  <a:cubicBezTo>
                    <a:pt x="78" y="87"/>
                    <a:pt x="78" y="84"/>
                    <a:pt x="78" y="82"/>
                  </a:cubicBezTo>
                  <a:cubicBezTo>
                    <a:pt x="78" y="79"/>
                    <a:pt x="78" y="75"/>
                    <a:pt x="78" y="72"/>
                  </a:cubicBezTo>
                  <a:cubicBezTo>
                    <a:pt x="79" y="68"/>
                    <a:pt x="78" y="65"/>
                    <a:pt x="78" y="62"/>
                  </a:cubicBezTo>
                  <a:cubicBezTo>
                    <a:pt x="78" y="58"/>
                    <a:pt x="78" y="55"/>
                    <a:pt x="78" y="52"/>
                  </a:cubicBezTo>
                  <a:cubicBezTo>
                    <a:pt x="79" y="45"/>
                    <a:pt x="79" y="39"/>
                    <a:pt x="79" y="33"/>
                  </a:cubicBezTo>
                  <a:cubicBezTo>
                    <a:pt x="80" y="27"/>
                    <a:pt x="80" y="20"/>
                    <a:pt x="76" y="15"/>
                  </a:cubicBezTo>
                  <a:cubicBezTo>
                    <a:pt x="76" y="15"/>
                    <a:pt x="74" y="14"/>
                    <a:pt x="73" y="15"/>
                  </a:cubicBezTo>
                  <a:cubicBezTo>
                    <a:pt x="71" y="15"/>
                    <a:pt x="69" y="15"/>
                    <a:pt x="67" y="15"/>
                  </a:cubicBezTo>
                  <a:cubicBezTo>
                    <a:pt x="67" y="10"/>
                    <a:pt x="67" y="5"/>
                    <a:pt x="67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76" y="0"/>
                    <a:pt x="84" y="0"/>
                    <a:pt x="92" y="0"/>
                  </a:cubicBezTo>
                  <a:cubicBezTo>
                    <a:pt x="91" y="4"/>
                    <a:pt x="91" y="9"/>
                    <a:pt x="92" y="14"/>
                  </a:cubicBezTo>
                  <a:cubicBezTo>
                    <a:pt x="93" y="24"/>
                    <a:pt x="92" y="34"/>
                    <a:pt x="91" y="44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4" name="iṥlïḓè"/>
            <p:cNvSpPr/>
            <p:nvPr/>
          </p:nvSpPr>
          <p:spPr bwMode="auto">
            <a:xfrm>
              <a:off x="5210378" y="2781817"/>
              <a:ext cx="1490504" cy="992541"/>
            </a:xfrm>
            <a:custGeom>
              <a:avLst/>
              <a:gdLst>
                <a:gd name="T0" fmla="*/ 24 w 212"/>
                <a:gd name="T1" fmla="*/ 35 h 141"/>
                <a:gd name="T2" fmla="*/ 24 w 212"/>
                <a:gd name="T3" fmla="*/ 35 h 141"/>
                <a:gd name="T4" fmla="*/ 116 w 212"/>
                <a:gd name="T5" fmla="*/ 1 h 141"/>
                <a:gd name="T6" fmla="*/ 135 w 212"/>
                <a:gd name="T7" fmla="*/ 1 h 141"/>
                <a:gd name="T8" fmla="*/ 150 w 212"/>
                <a:gd name="T9" fmla="*/ 10 h 141"/>
                <a:gd name="T10" fmla="*/ 167 w 212"/>
                <a:gd name="T11" fmla="*/ 21 h 141"/>
                <a:gd name="T12" fmla="*/ 182 w 212"/>
                <a:gd name="T13" fmla="*/ 36 h 141"/>
                <a:gd name="T14" fmla="*/ 195 w 212"/>
                <a:gd name="T15" fmla="*/ 53 h 141"/>
                <a:gd name="T16" fmla="*/ 209 w 212"/>
                <a:gd name="T17" fmla="*/ 95 h 141"/>
                <a:gd name="T18" fmla="*/ 212 w 212"/>
                <a:gd name="T19" fmla="*/ 118 h 141"/>
                <a:gd name="T20" fmla="*/ 212 w 212"/>
                <a:gd name="T21" fmla="*/ 134 h 141"/>
                <a:gd name="T22" fmla="*/ 202 w 212"/>
                <a:gd name="T23" fmla="*/ 135 h 141"/>
                <a:gd name="T24" fmla="*/ 188 w 212"/>
                <a:gd name="T25" fmla="*/ 135 h 141"/>
                <a:gd name="T26" fmla="*/ 161 w 212"/>
                <a:gd name="T27" fmla="*/ 137 h 141"/>
                <a:gd name="T28" fmla="*/ 104 w 212"/>
                <a:gd name="T29" fmla="*/ 138 h 141"/>
                <a:gd name="T30" fmla="*/ 76 w 212"/>
                <a:gd name="T31" fmla="*/ 140 h 141"/>
                <a:gd name="T32" fmla="*/ 49 w 212"/>
                <a:gd name="T33" fmla="*/ 139 h 141"/>
                <a:gd name="T34" fmla="*/ 21 w 212"/>
                <a:gd name="T35" fmla="*/ 140 h 141"/>
                <a:gd name="T36" fmla="*/ 7 w 212"/>
                <a:gd name="T37" fmla="*/ 141 h 141"/>
                <a:gd name="T38" fmla="*/ 0 w 212"/>
                <a:gd name="T39" fmla="*/ 141 h 141"/>
                <a:gd name="T40" fmla="*/ 0 w 212"/>
                <a:gd name="T41" fmla="*/ 114 h 141"/>
                <a:gd name="T42" fmla="*/ 0 w 212"/>
                <a:gd name="T43" fmla="*/ 101 h 141"/>
                <a:gd name="T44" fmla="*/ 1 w 212"/>
                <a:gd name="T45" fmla="*/ 96 h 141"/>
                <a:gd name="T46" fmla="*/ 2 w 212"/>
                <a:gd name="T47" fmla="*/ 85 h 141"/>
                <a:gd name="T48" fmla="*/ 24 w 212"/>
                <a:gd name="T49" fmla="*/ 3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2" h="141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46" y="9"/>
                    <a:pt x="82" y="0"/>
                    <a:pt x="116" y="1"/>
                  </a:cubicBezTo>
                  <a:cubicBezTo>
                    <a:pt x="122" y="1"/>
                    <a:pt x="129" y="2"/>
                    <a:pt x="135" y="1"/>
                  </a:cubicBezTo>
                  <a:cubicBezTo>
                    <a:pt x="139" y="5"/>
                    <a:pt x="145" y="7"/>
                    <a:pt x="150" y="10"/>
                  </a:cubicBezTo>
                  <a:cubicBezTo>
                    <a:pt x="156" y="13"/>
                    <a:pt x="162" y="17"/>
                    <a:pt x="167" y="21"/>
                  </a:cubicBezTo>
                  <a:cubicBezTo>
                    <a:pt x="172" y="26"/>
                    <a:pt x="177" y="31"/>
                    <a:pt x="182" y="36"/>
                  </a:cubicBezTo>
                  <a:cubicBezTo>
                    <a:pt x="187" y="42"/>
                    <a:pt x="191" y="47"/>
                    <a:pt x="195" y="53"/>
                  </a:cubicBezTo>
                  <a:cubicBezTo>
                    <a:pt x="204" y="66"/>
                    <a:pt x="206" y="80"/>
                    <a:pt x="209" y="95"/>
                  </a:cubicBezTo>
                  <a:cubicBezTo>
                    <a:pt x="211" y="102"/>
                    <a:pt x="212" y="110"/>
                    <a:pt x="212" y="118"/>
                  </a:cubicBezTo>
                  <a:cubicBezTo>
                    <a:pt x="212" y="123"/>
                    <a:pt x="212" y="129"/>
                    <a:pt x="212" y="134"/>
                  </a:cubicBezTo>
                  <a:cubicBezTo>
                    <a:pt x="209" y="134"/>
                    <a:pt x="206" y="134"/>
                    <a:pt x="202" y="135"/>
                  </a:cubicBezTo>
                  <a:cubicBezTo>
                    <a:pt x="198" y="135"/>
                    <a:pt x="193" y="135"/>
                    <a:pt x="188" y="135"/>
                  </a:cubicBezTo>
                  <a:cubicBezTo>
                    <a:pt x="179" y="136"/>
                    <a:pt x="170" y="136"/>
                    <a:pt x="161" y="137"/>
                  </a:cubicBezTo>
                  <a:cubicBezTo>
                    <a:pt x="142" y="138"/>
                    <a:pt x="123" y="138"/>
                    <a:pt x="104" y="138"/>
                  </a:cubicBezTo>
                  <a:cubicBezTo>
                    <a:pt x="95" y="139"/>
                    <a:pt x="86" y="140"/>
                    <a:pt x="76" y="140"/>
                  </a:cubicBezTo>
                  <a:cubicBezTo>
                    <a:pt x="67" y="140"/>
                    <a:pt x="58" y="140"/>
                    <a:pt x="49" y="139"/>
                  </a:cubicBezTo>
                  <a:cubicBezTo>
                    <a:pt x="39" y="139"/>
                    <a:pt x="30" y="140"/>
                    <a:pt x="21" y="140"/>
                  </a:cubicBezTo>
                  <a:cubicBezTo>
                    <a:pt x="16" y="140"/>
                    <a:pt x="12" y="140"/>
                    <a:pt x="7" y="141"/>
                  </a:cubicBezTo>
                  <a:cubicBezTo>
                    <a:pt x="5" y="141"/>
                    <a:pt x="2" y="141"/>
                    <a:pt x="0" y="141"/>
                  </a:cubicBezTo>
                  <a:cubicBezTo>
                    <a:pt x="0" y="132"/>
                    <a:pt x="0" y="123"/>
                    <a:pt x="0" y="114"/>
                  </a:cubicBezTo>
                  <a:cubicBezTo>
                    <a:pt x="0" y="109"/>
                    <a:pt x="0" y="105"/>
                    <a:pt x="0" y="101"/>
                  </a:cubicBezTo>
                  <a:cubicBezTo>
                    <a:pt x="1" y="99"/>
                    <a:pt x="1" y="97"/>
                    <a:pt x="1" y="96"/>
                  </a:cubicBezTo>
                  <a:cubicBezTo>
                    <a:pt x="1" y="92"/>
                    <a:pt x="1" y="88"/>
                    <a:pt x="2" y="85"/>
                  </a:cubicBezTo>
                  <a:cubicBezTo>
                    <a:pt x="5" y="67"/>
                    <a:pt x="12" y="49"/>
                    <a:pt x="24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5" name="íṡľiḋê"/>
            <p:cNvSpPr/>
            <p:nvPr/>
          </p:nvSpPr>
          <p:spPr bwMode="auto">
            <a:xfrm>
              <a:off x="5969180" y="2788592"/>
              <a:ext cx="731702" cy="941727"/>
            </a:xfrm>
            <a:custGeom>
              <a:avLst/>
              <a:gdLst>
                <a:gd name="T0" fmla="*/ 0 w 104"/>
                <a:gd name="T1" fmla="*/ 0 h 134"/>
                <a:gd name="T2" fmla="*/ 8 w 104"/>
                <a:gd name="T3" fmla="*/ 0 h 134"/>
                <a:gd name="T4" fmla="*/ 27 w 104"/>
                <a:gd name="T5" fmla="*/ 0 h 134"/>
                <a:gd name="T6" fmla="*/ 42 w 104"/>
                <a:gd name="T7" fmla="*/ 9 h 134"/>
                <a:gd name="T8" fmla="*/ 59 w 104"/>
                <a:gd name="T9" fmla="*/ 20 h 134"/>
                <a:gd name="T10" fmla="*/ 74 w 104"/>
                <a:gd name="T11" fmla="*/ 35 h 134"/>
                <a:gd name="T12" fmla="*/ 87 w 104"/>
                <a:gd name="T13" fmla="*/ 52 h 134"/>
                <a:gd name="T14" fmla="*/ 101 w 104"/>
                <a:gd name="T15" fmla="*/ 94 h 134"/>
                <a:gd name="T16" fmla="*/ 104 w 104"/>
                <a:gd name="T17" fmla="*/ 117 h 134"/>
                <a:gd name="T18" fmla="*/ 104 w 104"/>
                <a:gd name="T19" fmla="*/ 133 h 134"/>
                <a:gd name="T20" fmla="*/ 94 w 104"/>
                <a:gd name="T21" fmla="*/ 134 h 134"/>
                <a:gd name="T22" fmla="*/ 81 w 104"/>
                <a:gd name="T23" fmla="*/ 134 h 134"/>
                <a:gd name="T24" fmla="*/ 0 w 104"/>
                <a:gd name="T2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34">
                  <a:moveTo>
                    <a:pt x="0" y="0"/>
                  </a:moveTo>
                  <a:cubicBezTo>
                    <a:pt x="3" y="0"/>
                    <a:pt x="5" y="0"/>
                    <a:pt x="8" y="0"/>
                  </a:cubicBezTo>
                  <a:cubicBezTo>
                    <a:pt x="14" y="0"/>
                    <a:pt x="21" y="1"/>
                    <a:pt x="27" y="0"/>
                  </a:cubicBezTo>
                  <a:cubicBezTo>
                    <a:pt x="31" y="4"/>
                    <a:pt x="37" y="6"/>
                    <a:pt x="42" y="9"/>
                  </a:cubicBezTo>
                  <a:cubicBezTo>
                    <a:pt x="48" y="12"/>
                    <a:pt x="54" y="16"/>
                    <a:pt x="59" y="20"/>
                  </a:cubicBezTo>
                  <a:cubicBezTo>
                    <a:pt x="64" y="25"/>
                    <a:pt x="69" y="30"/>
                    <a:pt x="74" y="35"/>
                  </a:cubicBezTo>
                  <a:cubicBezTo>
                    <a:pt x="79" y="41"/>
                    <a:pt x="83" y="46"/>
                    <a:pt x="87" y="52"/>
                  </a:cubicBezTo>
                  <a:cubicBezTo>
                    <a:pt x="96" y="65"/>
                    <a:pt x="98" y="79"/>
                    <a:pt x="101" y="94"/>
                  </a:cubicBezTo>
                  <a:cubicBezTo>
                    <a:pt x="103" y="101"/>
                    <a:pt x="104" y="109"/>
                    <a:pt x="104" y="117"/>
                  </a:cubicBezTo>
                  <a:cubicBezTo>
                    <a:pt x="104" y="122"/>
                    <a:pt x="104" y="128"/>
                    <a:pt x="104" y="133"/>
                  </a:cubicBezTo>
                  <a:cubicBezTo>
                    <a:pt x="101" y="133"/>
                    <a:pt x="98" y="133"/>
                    <a:pt x="94" y="134"/>
                  </a:cubicBezTo>
                  <a:cubicBezTo>
                    <a:pt x="90" y="134"/>
                    <a:pt x="86" y="134"/>
                    <a:pt x="81" y="134"/>
                  </a:cubicBezTo>
                  <a:cubicBezTo>
                    <a:pt x="88" y="2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6" name="îṧḻíḓé"/>
            <p:cNvSpPr/>
            <p:nvPr/>
          </p:nvSpPr>
          <p:spPr bwMode="auto">
            <a:xfrm>
              <a:off x="4786941" y="2063665"/>
              <a:ext cx="2300120" cy="1788604"/>
            </a:xfrm>
            <a:custGeom>
              <a:avLst/>
              <a:gdLst>
                <a:gd name="T0" fmla="*/ 12 w 327"/>
                <a:gd name="T1" fmla="*/ 224 h 254"/>
                <a:gd name="T2" fmla="*/ 49 w 327"/>
                <a:gd name="T3" fmla="*/ 205 h 254"/>
                <a:gd name="T4" fmla="*/ 57 w 327"/>
                <a:gd name="T5" fmla="*/ 249 h 254"/>
                <a:gd name="T6" fmla="*/ 135 w 327"/>
                <a:gd name="T7" fmla="*/ 254 h 254"/>
                <a:gd name="T8" fmla="*/ 262 w 327"/>
                <a:gd name="T9" fmla="*/ 250 h 254"/>
                <a:gd name="T10" fmla="*/ 285 w 327"/>
                <a:gd name="T11" fmla="*/ 245 h 254"/>
                <a:gd name="T12" fmla="*/ 284 w 327"/>
                <a:gd name="T13" fmla="*/ 200 h 254"/>
                <a:gd name="T14" fmla="*/ 308 w 327"/>
                <a:gd name="T15" fmla="*/ 216 h 254"/>
                <a:gd name="T16" fmla="*/ 327 w 327"/>
                <a:gd name="T17" fmla="*/ 164 h 254"/>
                <a:gd name="T18" fmla="*/ 300 w 327"/>
                <a:gd name="T19" fmla="*/ 143 h 254"/>
                <a:gd name="T20" fmla="*/ 277 w 327"/>
                <a:gd name="T21" fmla="*/ 157 h 254"/>
                <a:gd name="T22" fmla="*/ 236 w 327"/>
                <a:gd name="T23" fmla="*/ 113 h 254"/>
                <a:gd name="T24" fmla="*/ 169 w 327"/>
                <a:gd name="T25" fmla="*/ 92 h 254"/>
                <a:gd name="T26" fmla="*/ 125 w 327"/>
                <a:gd name="T27" fmla="*/ 17 h 254"/>
                <a:gd name="T28" fmla="*/ 105 w 327"/>
                <a:gd name="T29" fmla="*/ 45 h 254"/>
                <a:gd name="T30" fmla="*/ 154 w 327"/>
                <a:gd name="T31" fmla="*/ 64 h 254"/>
                <a:gd name="T32" fmla="*/ 140 w 327"/>
                <a:gd name="T33" fmla="*/ 94 h 254"/>
                <a:gd name="T34" fmla="*/ 55 w 327"/>
                <a:gd name="T35" fmla="*/ 162 h 254"/>
                <a:gd name="T36" fmla="*/ 5 w 327"/>
                <a:gd name="T37" fmla="*/ 150 h 254"/>
                <a:gd name="T38" fmla="*/ 0 w 327"/>
                <a:gd name="T39" fmla="*/ 191 h 254"/>
                <a:gd name="T40" fmla="*/ 91 w 327"/>
                <a:gd name="T41" fmla="*/ 25 h 254"/>
                <a:gd name="T42" fmla="*/ 103 w 327"/>
                <a:gd name="T43" fmla="*/ 34 h 254"/>
                <a:gd name="T44" fmla="*/ 305 w 327"/>
                <a:gd name="T45" fmla="*/ 204 h 254"/>
                <a:gd name="T46" fmla="*/ 312 w 327"/>
                <a:gd name="T47" fmla="*/ 155 h 254"/>
                <a:gd name="T48" fmla="*/ 305 w 327"/>
                <a:gd name="T49" fmla="*/ 152 h 254"/>
                <a:gd name="T50" fmla="*/ 312 w 327"/>
                <a:gd name="T51" fmla="*/ 155 h 254"/>
                <a:gd name="T52" fmla="*/ 312 w 327"/>
                <a:gd name="T53" fmla="*/ 196 h 254"/>
                <a:gd name="T54" fmla="*/ 310 w 327"/>
                <a:gd name="T55" fmla="*/ 205 h 254"/>
                <a:gd name="T56" fmla="*/ 304 w 327"/>
                <a:gd name="T57" fmla="*/ 200 h 254"/>
                <a:gd name="T58" fmla="*/ 304 w 327"/>
                <a:gd name="T59" fmla="*/ 170 h 254"/>
                <a:gd name="T60" fmla="*/ 283 w 327"/>
                <a:gd name="T61" fmla="*/ 168 h 254"/>
                <a:gd name="T62" fmla="*/ 290 w 327"/>
                <a:gd name="T63" fmla="*/ 188 h 254"/>
                <a:gd name="T64" fmla="*/ 283 w 327"/>
                <a:gd name="T65" fmla="*/ 168 h 254"/>
                <a:gd name="T66" fmla="*/ 195 w 327"/>
                <a:gd name="T67" fmla="*/ 103 h 254"/>
                <a:gd name="T68" fmla="*/ 255 w 327"/>
                <a:gd name="T69" fmla="*/ 155 h 254"/>
                <a:gd name="T70" fmla="*/ 262 w 327"/>
                <a:gd name="T71" fmla="*/ 237 h 254"/>
                <a:gd name="T72" fmla="*/ 136 w 327"/>
                <a:gd name="T73" fmla="*/ 242 h 254"/>
                <a:gd name="T74" fmla="*/ 60 w 327"/>
                <a:gd name="T75" fmla="*/ 243 h 254"/>
                <a:gd name="T76" fmla="*/ 62 w 327"/>
                <a:gd name="T77" fmla="*/ 187 h 254"/>
                <a:gd name="T78" fmla="*/ 50 w 327"/>
                <a:gd name="T79" fmla="*/ 193 h 254"/>
                <a:gd name="T80" fmla="*/ 40 w 327"/>
                <a:gd name="T81" fmla="*/ 172 h 254"/>
                <a:gd name="T82" fmla="*/ 18 w 327"/>
                <a:gd name="T83" fmla="*/ 152 h 254"/>
                <a:gd name="T84" fmla="*/ 24 w 327"/>
                <a:gd name="T85" fmla="*/ 155 h 254"/>
                <a:gd name="T86" fmla="*/ 25 w 327"/>
                <a:gd name="T87" fmla="*/ 183 h 254"/>
                <a:gd name="T88" fmla="*/ 20 w 327"/>
                <a:gd name="T89" fmla="*/ 210 h 254"/>
                <a:gd name="T90" fmla="*/ 14 w 327"/>
                <a:gd name="T91" fmla="*/ 211 h 254"/>
                <a:gd name="T92" fmla="*/ 13 w 327"/>
                <a:gd name="T93" fmla="*/ 168 h 254"/>
                <a:gd name="T94" fmla="*/ 17 w 327"/>
                <a:gd name="T95" fmla="*/ 152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7" h="254">
                  <a:moveTo>
                    <a:pt x="1" y="209"/>
                  </a:moveTo>
                  <a:cubicBezTo>
                    <a:pt x="1" y="215"/>
                    <a:pt x="2" y="220"/>
                    <a:pt x="8" y="222"/>
                  </a:cubicBezTo>
                  <a:cubicBezTo>
                    <a:pt x="8" y="222"/>
                    <a:pt x="9" y="222"/>
                    <a:pt x="9" y="222"/>
                  </a:cubicBezTo>
                  <a:cubicBezTo>
                    <a:pt x="10" y="223"/>
                    <a:pt x="11" y="224"/>
                    <a:pt x="12" y="224"/>
                  </a:cubicBezTo>
                  <a:cubicBezTo>
                    <a:pt x="17" y="225"/>
                    <a:pt x="22" y="225"/>
                    <a:pt x="27" y="221"/>
                  </a:cubicBezTo>
                  <a:cubicBezTo>
                    <a:pt x="33" y="218"/>
                    <a:pt x="35" y="212"/>
                    <a:pt x="36" y="206"/>
                  </a:cubicBezTo>
                  <a:cubicBezTo>
                    <a:pt x="39" y="206"/>
                    <a:pt x="41" y="205"/>
                    <a:pt x="44" y="205"/>
                  </a:cubicBezTo>
                  <a:cubicBezTo>
                    <a:pt x="45" y="205"/>
                    <a:pt x="47" y="205"/>
                    <a:pt x="49" y="205"/>
                  </a:cubicBezTo>
                  <a:cubicBezTo>
                    <a:pt x="49" y="207"/>
                    <a:pt x="48" y="208"/>
                    <a:pt x="48" y="210"/>
                  </a:cubicBezTo>
                  <a:cubicBezTo>
                    <a:pt x="48" y="216"/>
                    <a:pt x="48" y="221"/>
                    <a:pt x="49" y="227"/>
                  </a:cubicBezTo>
                  <a:cubicBezTo>
                    <a:pt x="49" y="233"/>
                    <a:pt x="49" y="240"/>
                    <a:pt x="50" y="246"/>
                  </a:cubicBezTo>
                  <a:cubicBezTo>
                    <a:pt x="51" y="250"/>
                    <a:pt x="55" y="250"/>
                    <a:pt x="57" y="249"/>
                  </a:cubicBezTo>
                  <a:cubicBezTo>
                    <a:pt x="60" y="250"/>
                    <a:pt x="63" y="250"/>
                    <a:pt x="66" y="251"/>
                  </a:cubicBezTo>
                  <a:cubicBezTo>
                    <a:pt x="70" y="251"/>
                    <a:pt x="75" y="252"/>
                    <a:pt x="80" y="252"/>
                  </a:cubicBezTo>
                  <a:cubicBezTo>
                    <a:pt x="89" y="253"/>
                    <a:pt x="98" y="253"/>
                    <a:pt x="107" y="253"/>
                  </a:cubicBezTo>
                  <a:cubicBezTo>
                    <a:pt x="117" y="254"/>
                    <a:pt x="126" y="254"/>
                    <a:pt x="135" y="254"/>
                  </a:cubicBezTo>
                  <a:cubicBezTo>
                    <a:pt x="145" y="254"/>
                    <a:pt x="155" y="254"/>
                    <a:pt x="164" y="253"/>
                  </a:cubicBezTo>
                  <a:cubicBezTo>
                    <a:pt x="183" y="253"/>
                    <a:pt x="202" y="253"/>
                    <a:pt x="221" y="252"/>
                  </a:cubicBezTo>
                  <a:cubicBezTo>
                    <a:pt x="230" y="251"/>
                    <a:pt x="239" y="251"/>
                    <a:pt x="248" y="250"/>
                  </a:cubicBezTo>
                  <a:cubicBezTo>
                    <a:pt x="253" y="250"/>
                    <a:pt x="258" y="250"/>
                    <a:pt x="262" y="250"/>
                  </a:cubicBezTo>
                  <a:cubicBezTo>
                    <a:pt x="267" y="249"/>
                    <a:pt x="271" y="249"/>
                    <a:pt x="275" y="247"/>
                  </a:cubicBezTo>
                  <a:cubicBezTo>
                    <a:pt x="276" y="248"/>
                    <a:pt x="277" y="248"/>
                    <a:pt x="277" y="248"/>
                  </a:cubicBezTo>
                  <a:cubicBezTo>
                    <a:pt x="277" y="248"/>
                    <a:pt x="278" y="248"/>
                    <a:pt x="278" y="248"/>
                  </a:cubicBezTo>
                  <a:cubicBezTo>
                    <a:pt x="281" y="249"/>
                    <a:pt x="283" y="248"/>
                    <a:pt x="285" y="245"/>
                  </a:cubicBezTo>
                  <a:cubicBezTo>
                    <a:pt x="285" y="244"/>
                    <a:pt x="285" y="244"/>
                    <a:pt x="285" y="244"/>
                  </a:cubicBezTo>
                  <a:cubicBezTo>
                    <a:pt x="285" y="243"/>
                    <a:pt x="285" y="242"/>
                    <a:pt x="285" y="241"/>
                  </a:cubicBezTo>
                  <a:cubicBezTo>
                    <a:pt x="286" y="234"/>
                    <a:pt x="286" y="227"/>
                    <a:pt x="286" y="220"/>
                  </a:cubicBezTo>
                  <a:cubicBezTo>
                    <a:pt x="286" y="213"/>
                    <a:pt x="285" y="207"/>
                    <a:pt x="284" y="200"/>
                  </a:cubicBezTo>
                  <a:cubicBezTo>
                    <a:pt x="285" y="200"/>
                    <a:pt x="286" y="199"/>
                    <a:pt x="287" y="199"/>
                  </a:cubicBezTo>
                  <a:cubicBezTo>
                    <a:pt x="288" y="199"/>
                    <a:pt x="289" y="199"/>
                    <a:pt x="290" y="199"/>
                  </a:cubicBezTo>
                  <a:cubicBezTo>
                    <a:pt x="291" y="202"/>
                    <a:pt x="291" y="206"/>
                    <a:pt x="293" y="210"/>
                  </a:cubicBezTo>
                  <a:cubicBezTo>
                    <a:pt x="295" y="215"/>
                    <a:pt x="302" y="219"/>
                    <a:pt x="308" y="216"/>
                  </a:cubicBezTo>
                  <a:cubicBezTo>
                    <a:pt x="309" y="216"/>
                    <a:pt x="309" y="216"/>
                    <a:pt x="310" y="217"/>
                  </a:cubicBezTo>
                  <a:cubicBezTo>
                    <a:pt x="321" y="219"/>
                    <a:pt x="325" y="207"/>
                    <a:pt x="325" y="198"/>
                  </a:cubicBezTo>
                  <a:cubicBezTo>
                    <a:pt x="325" y="193"/>
                    <a:pt x="325" y="187"/>
                    <a:pt x="325" y="181"/>
                  </a:cubicBezTo>
                  <a:cubicBezTo>
                    <a:pt x="325" y="176"/>
                    <a:pt x="326" y="170"/>
                    <a:pt x="327" y="164"/>
                  </a:cubicBezTo>
                  <a:cubicBezTo>
                    <a:pt x="327" y="158"/>
                    <a:pt x="326" y="153"/>
                    <a:pt x="323" y="148"/>
                  </a:cubicBezTo>
                  <a:cubicBezTo>
                    <a:pt x="321" y="145"/>
                    <a:pt x="317" y="143"/>
                    <a:pt x="313" y="142"/>
                  </a:cubicBezTo>
                  <a:cubicBezTo>
                    <a:pt x="309" y="141"/>
                    <a:pt x="305" y="141"/>
                    <a:pt x="301" y="142"/>
                  </a:cubicBezTo>
                  <a:cubicBezTo>
                    <a:pt x="301" y="142"/>
                    <a:pt x="300" y="143"/>
                    <a:pt x="300" y="143"/>
                  </a:cubicBezTo>
                  <a:cubicBezTo>
                    <a:pt x="298" y="142"/>
                    <a:pt x="296" y="143"/>
                    <a:pt x="295" y="144"/>
                  </a:cubicBezTo>
                  <a:cubicBezTo>
                    <a:pt x="293" y="148"/>
                    <a:pt x="292" y="153"/>
                    <a:pt x="292" y="157"/>
                  </a:cubicBezTo>
                  <a:cubicBezTo>
                    <a:pt x="289" y="157"/>
                    <a:pt x="287" y="157"/>
                    <a:pt x="284" y="157"/>
                  </a:cubicBezTo>
                  <a:cubicBezTo>
                    <a:pt x="282" y="157"/>
                    <a:pt x="280" y="157"/>
                    <a:pt x="277" y="157"/>
                  </a:cubicBezTo>
                  <a:cubicBezTo>
                    <a:pt x="276" y="157"/>
                    <a:pt x="274" y="157"/>
                    <a:pt x="272" y="157"/>
                  </a:cubicBezTo>
                  <a:cubicBezTo>
                    <a:pt x="270" y="154"/>
                    <a:pt x="269" y="151"/>
                    <a:pt x="267" y="148"/>
                  </a:cubicBezTo>
                  <a:cubicBezTo>
                    <a:pt x="263" y="142"/>
                    <a:pt x="258" y="136"/>
                    <a:pt x="252" y="130"/>
                  </a:cubicBezTo>
                  <a:cubicBezTo>
                    <a:pt x="247" y="124"/>
                    <a:pt x="242" y="118"/>
                    <a:pt x="236" y="113"/>
                  </a:cubicBezTo>
                  <a:cubicBezTo>
                    <a:pt x="231" y="109"/>
                    <a:pt x="224" y="105"/>
                    <a:pt x="218" y="102"/>
                  </a:cubicBezTo>
                  <a:cubicBezTo>
                    <a:pt x="212" y="99"/>
                    <a:pt x="204" y="96"/>
                    <a:pt x="197" y="96"/>
                  </a:cubicBezTo>
                  <a:cubicBezTo>
                    <a:pt x="193" y="94"/>
                    <a:pt x="188" y="93"/>
                    <a:pt x="184" y="93"/>
                  </a:cubicBezTo>
                  <a:cubicBezTo>
                    <a:pt x="179" y="92"/>
                    <a:pt x="174" y="92"/>
                    <a:pt x="169" y="92"/>
                  </a:cubicBezTo>
                  <a:cubicBezTo>
                    <a:pt x="169" y="89"/>
                    <a:pt x="169" y="87"/>
                    <a:pt x="169" y="85"/>
                  </a:cubicBezTo>
                  <a:cubicBezTo>
                    <a:pt x="168" y="77"/>
                    <a:pt x="166" y="70"/>
                    <a:pt x="164" y="63"/>
                  </a:cubicBezTo>
                  <a:cubicBezTo>
                    <a:pt x="162" y="53"/>
                    <a:pt x="158" y="42"/>
                    <a:pt x="152" y="33"/>
                  </a:cubicBezTo>
                  <a:cubicBezTo>
                    <a:pt x="146" y="26"/>
                    <a:pt x="135" y="17"/>
                    <a:pt x="125" y="17"/>
                  </a:cubicBezTo>
                  <a:cubicBezTo>
                    <a:pt x="123" y="11"/>
                    <a:pt x="119" y="5"/>
                    <a:pt x="113" y="3"/>
                  </a:cubicBezTo>
                  <a:cubicBezTo>
                    <a:pt x="107" y="0"/>
                    <a:pt x="98" y="0"/>
                    <a:pt x="94" y="6"/>
                  </a:cubicBezTo>
                  <a:cubicBezTo>
                    <a:pt x="87" y="10"/>
                    <a:pt x="81" y="17"/>
                    <a:pt x="80" y="26"/>
                  </a:cubicBezTo>
                  <a:cubicBezTo>
                    <a:pt x="79" y="40"/>
                    <a:pt x="93" y="48"/>
                    <a:pt x="105" y="45"/>
                  </a:cubicBezTo>
                  <a:cubicBezTo>
                    <a:pt x="113" y="43"/>
                    <a:pt x="121" y="36"/>
                    <a:pt x="124" y="28"/>
                  </a:cubicBezTo>
                  <a:cubicBezTo>
                    <a:pt x="127" y="30"/>
                    <a:pt x="130" y="31"/>
                    <a:pt x="133" y="32"/>
                  </a:cubicBezTo>
                  <a:cubicBezTo>
                    <a:pt x="137" y="34"/>
                    <a:pt x="140" y="37"/>
                    <a:pt x="143" y="41"/>
                  </a:cubicBezTo>
                  <a:cubicBezTo>
                    <a:pt x="148" y="47"/>
                    <a:pt x="151" y="56"/>
                    <a:pt x="154" y="64"/>
                  </a:cubicBezTo>
                  <a:cubicBezTo>
                    <a:pt x="155" y="70"/>
                    <a:pt x="157" y="75"/>
                    <a:pt x="158" y="81"/>
                  </a:cubicBezTo>
                  <a:cubicBezTo>
                    <a:pt x="159" y="84"/>
                    <a:pt x="159" y="87"/>
                    <a:pt x="159" y="90"/>
                  </a:cubicBezTo>
                  <a:cubicBezTo>
                    <a:pt x="159" y="91"/>
                    <a:pt x="159" y="91"/>
                    <a:pt x="160" y="92"/>
                  </a:cubicBezTo>
                  <a:cubicBezTo>
                    <a:pt x="153" y="92"/>
                    <a:pt x="146" y="93"/>
                    <a:pt x="140" y="94"/>
                  </a:cubicBezTo>
                  <a:cubicBezTo>
                    <a:pt x="123" y="97"/>
                    <a:pt x="108" y="104"/>
                    <a:pt x="94" y="113"/>
                  </a:cubicBezTo>
                  <a:cubicBezTo>
                    <a:pt x="79" y="123"/>
                    <a:pt x="68" y="136"/>
                    <a:pt x="60" y="152"/>
                  </a:cubicBezTo>
                  <a:cubicBezTo>
                    <a:pt x="59" y="155"/>
                    <a:pt x="58" y="159"/>
                    <a:pt x="57" y="162"/>
                  </a:cubicBezTo>
                  <a:cubicBezTo>
                    <a:pt x="56" y="162"/>
                    <a:pt x="55" y="162"/>
                    <a:pt x="55" y="162"/>
                  </a:cubicBezTo>
                  <a:cubicBezTo>
                    <a:pt x="50" y="161"/>
                    <a:pt x="45" y="162"/>
                    <a:pt x="40" y="163"/>
                  </a:cubicBezTo>
                  <a:cubicBezTo>
                    <a:pt x="40" y="152"/>
                    <a:pt x="33" y="142"/>
                    <a:pt x="22" y="141"/>
                  </a:cubicBezTo>
                  <a:cubicBezTo>
                    <a:pt x="18" y="140"/>
                    <a:pt x="13" y="140"/>
                    <a:pt x="9" y="143"/>
                  </a:cubicBezTo>
                  <a:cubicBezTo>
                    <a:pt x="7" y="145"/>
                    <a:pt x="5" y="147"/>
                    <a:pt x="5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3" y="153"/>
                    <a:pt x="2" y="156"/>
                    <a:pt x="2" y="159"/>
                  </a:cubicBezTo>
                  <a:cubicBezTo>
                    <a:pt x="2" y="162"/>
                    <a:pt x="1" y="166"/>
                    <a:pt x="1" y="170"/>
                  </a:cubicBezTo>
                  <a:cubicBezTo>
                    <a:pt x="0" y="177"/>
                    <a:pt x="0" y="184"/>
                    <a:pt x="0" y="191"/>
                  </a:cubicBezTo>
                  <a:cubicBezTo>
                    <a:pt x="0" y="197"/>
                    <a:pt x="1" y="203"/>
                    <a:pt x="1" y="209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3" y="34"/>
                  </a:cubicBezTo>
                  <a:cubicBezTo>
                    <a:pt x="97" y="36"/>
                    <a:pt x="90" y="32"/>
                    <a:pt x="91" y="25"/>
                  </a:cubicBezTo>
                  <a:cubicBezTo>
                    <a:pt x="91" y="21"/>
                    <a:pt x="93" y="16"/>
                    <a:pt x="97" y="13"/>
                  </a:cubicBezTo>
                  <a:cubicBezTo>
                    <a:pt x="100" y="14"/>
                    <a:pt x="104" y="13"/>
                    <a:pt x="107" y="14"/>
                  </a:cubicBezTo>
                  <a:cubicBezTo>
                    <a:pt x="110" y="15"/>
                    <a:pt x="113" y="18"/>
                    <a:pt x="113" y="20"/>
                  </a:cubicBezTo>
                  <a:cubicBezTo>
                    <a:pt x="114" y="26"/>
                    <a:pt x="108" y="32"/>
                    <a:pt x="103" y="34"/>
                  </a:cubicBezTo>
                  <a:close/>
                  <a:moveTo>
                    <a:pt x="305" y="204"/>
                  </a:moveTo>
                  <a:cubicBezTo>
                    <a:pt x="305" y="204"/>
                    <a:pt x="305" y="204"/>
                    <a:pt x="305" y="204"/>
                  </a:cubicBezTo>
                  <a:cubicBezTo>
                    <a:pt x="305" y="204"/>
                    <a:pt x="305" y="204"/>
                    <a:pt x="305" y="204"/>
                  </a:cubicBezTo>
                  <a:cubicBezTo>
                    <a:pt x="305" y="204"/>
                    <a:pt x="305" y="204"/>
                    <a:pt x="305" y="204"/>
                  </a:cubicBezTo>
                  <a:close/>
                  <a:moveTo>
                    <a:pt x="312" y="155"/>
                  </a:move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lose/>
                  <a:moveTo>
                    <a:pt x="304" y="152"/>
                  </a:moveTo>
                  <a:cubicBezTo>
                    <a:pt x="304" y="152"/>
                    <a:pt x="304" y="152"/>
                    <a:pt x="304" y="152"/>
                  </a:cubicBezTo>
                  <a:cubicBezTo>
                    <a:pt x="305" y="152"/>
                    <a:pt x="305" y="152"/>
                    <a:pt x="305" y="152"/>
                  </a:cubicBezTo>
                  <a:cubicBezTo>
                    <a:pt x="305" y="152"/>
                    <a:pt x="305" y="152"/>
                    <a:pt x="305" y="152"/>
                  </a:cubicBezTo>
                  <a:cubicBezTo>
                    <a:pt x="308" y="153"/>
                    <a:pt x="309" y="153"/>
                    <a:pt x="311" y="154"/>
                  </a:cubicBezTo>
                  <a:cubicBezTo>
                    <a:pt x="312" y="154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3" y="156"/>
                    <a:pt x="313" y="158"/>
                    <a:pt x="313" y="159"/>
                  </a:cubicBezTo>
                  <a:cubicBezTo>
                    <a:pt x="314" y="162"/>
                    <a:pt x="313" y="166"/>
                    <a:pt x="313" y="169"/>
                  </a:cubicBezTo>
                  <a:cubicBezTo>
                    <a:pt x="311" y="178"/>
                    <a:pt x="312" y="187"/>
                    <a:pt x="312" y="196"/>
                  </a:cubicBezTo>
                  <a:cubicBezTo>
                    <a:pt x="312" y="199"/>
                    <a:pt x="311" y="201"/>
                    <a:pt x="311" y="203"/>
                  </a:cubicBezTo>
                  <a:cubicBezTo>
                    <a:pt x="311" y="203"/>
                    <a:pt x="311" y="204"/>
                    <a:pt x="311" y="204"/>
                  </a:cubicBezTo>
                  <a:cubicBezTo>
                    <a:pt x="311" y="203"/>
                    <a:pt x="310" y="205"/>
                    <a:pt x="311" y="204"/>
                  </a:cubicBezTo>
                  <a:cubicBezTo>
                    <a:pt x="310" y="205"/>
                    <a:pt x="310" y="205"/>
                    <a:pt x="310" y="205"/>
                  </a:cubicBezTo>
                  <a:cubicBezTo>
                    <a:pt x="309" y="204"/>
                    <a:pt x="307" y="203"/>
                    <a:pt x="305" y="203"/>
                  </a:cubicBezTo>
                  <a:cubicBezTo>
                    <a:pt x="305" y="203"/>
                    <a:pt x="305" y="203"/>
                    <a:pt x="305" y="203"/>
                  </a:cubicBezTo>
                  <a:cubicBezTo>
                    <a:pt x="304" y="202"/>
                    <a:pt x="304" y="201"/>
                    <a:pt x="304" y="201"/>
                  </a:cubicBezTo>
                  <a:cubicBezTo>
                    <a:pt x="304" y="200"/>
                    <a:pt x="304" y="200"/>
                    <a:pt x="304" y="200"/>
                  </a:cubicBezTo>
                  <a:cubicBezTo>
                    <a:pt x="304" y="200"/>
                    <a:pt x="304" y="199"/>
                    <a:pt x="304" y="199"/>
                  </a:cubicBezTo>
                  <a:cubicBezTo>
                    <a:pt x="304" y="198"/>
                    <a:pt x="304" y="196"/>
                    <a:pt x="304" y="195"/>
                  </a:cubicBezTo>
                  <a:cubicBezTo>
                    <a:pt x="303" y="193"/>
                    <a:pt x="304" y="191"/>
                    <a:pt x="304" y="189"/>
                  </a:cubicBezTo>
                  <a:cubicBezTo>
                    <a:pt x="304" y="183"/>
                    <a:pt x="304" y="177"/>
                    <a:pt x="304" y="170"/>
                  </a:cubicBezTo>
                  <a:cubicBezTo>
                    <a:pt x="304" y="166"/>
                    <a:pt x="304" y="161"/>
                    <a:pt x="304" y="157"/>
                  </a:cubicBezTo>
                  <a:cubicBezTo>
                    <a:pt x="304" y="155"/>
                    <a:pt x="304" y="154"/>
                    <a:pt x="304" y="152"/>
                  </a:cubicBezTo>
                  <a:cubicBezTo>
                    <a:pt x="304" y="152"/>
                    <a:pt x="304" y="152"/>
                    <a:pt x="304" y="152"/>
                  </a:cubicBezTo>
                  <a:close/>
                  <a:moveTo>
                    <a:pt x="283" y="168"/>
                  </a:moveTo>
                  <a:cubicBezTo>
                    <a:pt x="283" y="168"/>
                    <a:pt x="283" y="168"/>
                    <a:pt x="283" y="168"/>
                  </a:cubicBezTo>
                  <a:cubicBezTo>
                    <a:pt x="286" y="168"/>
                    <a:pt x="289" y="168"/>
                    <a:pt x="292" y="168"/>
                  </a:cubicBezTo>
                  <a:cubicBezTo>
                    <a:pt x="291" y="170"/>
                    <a:pt x="291" y="172"/>
                    <a:pt x="291" y="174"/>
                  </a:cubicBezTo>
                  <a:cubicBezTo>
                    <a:pt x="291" y="179"/>
                    <a:pt x="291" y="183"/>
                    <a:pt x="290" y="188"/>
                  </a:cubicBezTo>
                  <a:cubicBezTo>
                    <a:pt x="289" y="188"/>
                    <a:pt x="287" y="188"/>
                    <a:pt x="285" y="188"/>
                  </a:cubicBezTo>
                  <a:cubicBezTo>
                    <a:pt x="284" y="188"/>
                    <a:pt x="283" y="188"/>
                    <a:pt x="281" y="188"/>
                  </a:cubicBezTo>
                  <a:cubicBezTo>
                    <a:pt x="280" y="181"/>
                    <a:pt x="278" y="174"/>
                    <a:pt x="276" y="167"/>
                  </a:cubicBezTo>
                  <a:cubicBezTo>
                    <a:pt x="278" y="167"/>
                    <a:pt x="281" y="168"/>
                    <a:pt x="283" y="168"/>
                  </a:cubicBezTo>
                  <a:close/>
                  <a:moveTo>
                    <a:pt x="84" y="137"/>
                  </a:moveTo>
                  <a:cubicBezTo>
                    <a:pt x="84" y="137"/>
                    <a:pt x="84" y="137"/>
                    <a:pt x="84" y="137"/>
                  </a:cubicBezTo>
                  <a:cubicBezTo>
                    <a:pt x="106" y="111"/>
                    <a:pt x="142" y="102"/>
                    <a:pt x="176" y="103"/>
                  </a:cubicBezTo>
                  <a:cubicBezTo>
                    <a:pt x="182" y="103"/>
                    <a:pt x="189" y="104"/>
                    <a:pt x="195" y="103"/>
                  </a:cubicBezTo>
                  <a:cubicBezTo>
                    <a:pt x="199" y="107"/>
                    <a:pt x="205" y="109"/>
                    <a:pt x="210" y="112"/>
                  </a:cubicBezTo>
                  <a:cubicBezTo>
                    <a:pt x="216" y="115"/>
                    <a:pt x="222" y="119"/>
                    <a:pt x="227" y="123"/>
                  </a:cubicBezTo>
                  <a:cubicBezTo>
                    <a:pt x="232" y="128"/>
                    <a:pt x="237" y="133"/>
                    <a:pt x="242" y="138"/>
                  </a:cubicBezTo>
                  <a:cubicBezTo>
                    <a:pt x="247" y="144"/>
                    <a:pt x="251" y="149"/>
                    <a:pt x="255" y="155"/>
                  </a:cubicBezTo>
                  <a:cubicBezTo>
                    <a:pt x="264" y="168"/>
                    <a:pt x="266" y="182"/>
                    <a:pt x="269" y="197"/>
                  </a:cubicBezTo>
                  <a:cubicBezTo>
                    <a:pt x="271" y="204"/>
                    <a:pt x="272" y="212"/>
                    <a:pt x="272" y="220"/>
                  </a:cubicBezTo>
                  <a:cubicBezTo>
                    <a:pt x="272" y="225"/>
                    <a:pt x="272" y="231"/>
                    <a:pt x="272" y="236"/>
                  </a:cubicBezTo>
                  <a:cubicBezTo>
                    <a:pt x="269" y="236"/>
                    <a:pt x="266" y="236"/>
                    <a:pt x="262" y="237"/>
                  </a:cubicBezTo>
                  <a:cubicBezTo>
                    <a:pt x="258" y="237"/>
                    <a:pt x="253" y="237"/>
                    <a:pt x="248" y="237"/>
                  </a:cubicBezTo>
                  <a:cubicBezTo>
                    <a:pt x="239" y="238"/>
                    <a:pt x="230" y="238"/>
                    <a:pt x="221" y="239"/>
                  </a:cubicBezTo>
                  <a:cubicBezTo>
                    <a:pt x="202" y="240"/>
                    <a:pt x="183" y="240"/>
                    <a:pt x="164" y="240"/>
                  </a:cubicBezTo>
                  <a:cubicBezTo>
                    <a:pt x="155" y="241"/>
                    <a:pt x="146" y="242"/>
                    <a:pt x="136" y="242"/>
                  </a:cubicBezTo>
                  <a:cubicBezTo>
                    <a:pt x="127" y="242"/>
                    <a:pt x="118" y="242"/>
                    <a:pt x="109" y="241"/>
                  </a:cubicBezTo>
                  <a:cubicBezTo>
                    <a:pt x="99" y="241"/>
                    <a:pt x="90" y="242"/>
                    <a:pt x="81" y="242"/>
                  </a:cubicBezTo>
                  <a:cubicBezTo>
                    <a:pt x="76" y="242"/>
                    <a:pt x="72" y="242"/>
                    <a:pt x="67" y="243"/>
                  </a:cubicBezTo>
                  <a:cubicBezTo>
                    <a:pt x="65" y="243"/>
                    <a:pt x="62" y="243"/>
                    <a:pt x="60" y="243"/>
                  </a:cubicBezTo>
                  <a:cubicBezTo>
                    <a:pt x="60" y="234"/>
                    <a:pt x="60" y="225"/>
                    <a:pt x="60" y="216"/>
                  </a:cubicBezTo>
                  <a:cubicBezTo>
                    <a:pt x="60" y="211"/>
                    <a:pt x="60" y="207"/>
                    <a:pt x="60" y="203"/>
                  </a:cubicBezTo>
                  <a:cubicBezTo>
                    <a:pt x="61" y="201"/>
                    <a:pt x="61" y="199"/>
                    <a:pt x="61" y="198"/>
                  </a:cubicBezTo>
                  <a:cubicBezTo>
                    <a:pt x="61" y="194"/>
                    <a:pt x="61" y="190"/>
                    <a:pt x="62" y="187"/>
                  </a:cubicBezTo>
                  <a:cubicBezTo>
                    <a:pt x="65" y="169"/>
                    <a:pt x="72" y="151"/>
                    <a:pt x="84" y="137"/>
                  </a:cubicBezTo>
                  <a:close/>
                  <a:moveTo>
                    <a:pt x="53" y="173"/>
                  </a:moveTo>
                  <a:cubicBezTo>
                    <a:pt x="53" y="173"/>
                    <a:pt x="53" y="173"/>
                    <a:pt x="53" y="173"/>
                  </a:cubicBezTo>
                  <a:cubicBezTo>
                    <a:pt x="51" y="180"/>
                    <a:pt x="50" y="186"/>
                    <a:pt x="50" y="193"/>
                  </a:cubicBezTo>
                  <a:cubicBezTo>
                    <a:pt x="47" y="193"/>
                    <a:pt x="45" y="193"/>
                    <a:pt x="43" y="194"/>
                  </a:cubicBezTo>
                  <a:cubicBezTo>
                    <a:pt x="42" y="194"/>
                    <a:pt x="40" y="194"/>
                    <a:pt x="37" y="195"/>
                  </a:cubicBezTo>
                  <a:cubicBezTo>
                    <a:pt x="38" y="191"/>
                    <a:pt x="38" y="187"/>
                    <a:pt x="38" y="183"/>
                  </a:cubicBezTo>
                  <a:cubicBezTo>
                    <a:pt x="39" y="179"/>
                    <a:pt x="39" y="176"/>
                    <a:pt x="40" y="172"/>
                  </a:cubicBezTo>
                  <a:cubicBezTo>
                    <a:pt x="44" y="173"/>
                    <a:pt x="49" y="173"/>
                    <a:pt x="53" y="173"/>
                  </a:cubicBezTo>
                  <a:close/>
                  <a:moveTo>
                    <a:pt x="17" y="152"/>
                  </a:moveTo>
                  <a:cubicBezTo>
                    <a:pt x="17" y="152"/>
                    <a:pt x="17" y="152"/>
                    <a:pt x="17" y="152"/>
                  </a:cubicBezTo>
                  <a:cubicBezTo>
                    <a:pt x="17" y="152"/>
                    <a:pt x="18" y="152"/>
                    <a:pt x="18" y="152"/>
                  </a:cubicBezTo>
                  <a:cubicBezTo>
                    <a:pt x="18" y="152"/>
                    <a:pt x="18" y="152"/>
                    <a:pt x="18" y="153"/>
                  </a:cubicBezTo>
                  <a:cubicBezTo>
                    <a:pt x="19" y="153"/>
                    <a:pt x="20" y="153"/>
                    <a:pt x="21" y="153"/>
                  </a:cubicBezTo>
                  <a:cubicBezTo>
                    <a:pt x="22" y="154"/>
                    <a:pt x="22" y="154"/>
                    <a:pt x="24" y="155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4" y="155"/>
                    <a:pt x="25" y="156"/>
                    <a:pt x="25" y="156"/>
                  </a:cubicBezTo>
                  <a:cubicBezTo>
                    <a:pt x="27" y="159"/>
                    <a:pt x="27" y="165"/>
                    <a:pt x="27" y="168"/>
                  </a:cubicBezTo>
                  <a:cubicBezTo>
                    <a:pt x="26" y="173"/>
                    <a:pt x="25" y="178"/>
                    <a:pt x="25" y="183"/>
                  </a:cubicBezTo>
                  <a:cubicBezTo>
                    <a:pt x="24" y="188"/>
                    <a:pt x="24" y="194"/>
                    <a:pt x="23" y="200"/>
                  </a:cubicBezTo>
                  <a:cubicBezTo>
                    <a:pt x="23" y="202"/>
                    <a:pt x="23" y="204"/>
                    <a:pt x="22" y="207"/>
                  </a:cubicBezTo>
                  <a:cubicBezTo>
                    <a:pt x="22" y="208"/>
                    <a:pt x="21" y="209"/>
                    <a:pt x="20" y="210"/>
                  </a:cubicBezTo>
                  <a:cubicBezTo>
                    <a:pt x="20" y="210"/>
                    <a:pt x="20" y="210"/>
                    <a:pt x="20" y="210"/>
                  </a:cubicBezTo>
                  <a:cubicBezTo>
                    <a:pt x="20" y="210"/>
                    <a:pt x="20" y="210"/>
                    <a:pt x="19" y="210"/>
                  </a:cubicBezTo>
                  <a:cubicBezTo>
                    <a:pt x="19" y="211"/>
                    <a:pt x="19" y="211"/>
                    <a:pt x="17" y="211"/>
                  </a:cubicBezTo>
                  <a:cubicBezTo>
                    <a:pt x="16" y="211"/>
                    <a:pt x="15" y="212"/>
                    <a:pt x="14" y="212"/>
                  </a:cubicBezTo>
                  <a:cubicBezTo>
                    <a:pt x="14" y="212"/>
                    <a:pt x="14" y="211"/>
                    <a:pt x="14" y="211"/>
                  </a:cubicBezTo>
                  <a:cubicBezTo>
                    <a:pt x="14" y="211"/>
                    <a:pt x="14" y="210"/>
                    <a:pt x="13" y="209"/>
                  </a:cubicBezTo>
                  <a:cubicBezTo>
                    <a:pt x="13" y="207"/>
                    <a:pt x="13" y="205"/>
                    <a:pt x="13" y="202"/>
                  </a:cubicBezTo>
                  <a:cubicBezTo>
                    <a:pt x="13" y="197"/>
                    <a:pt x="12" y="191"/>
                    <a:pt x="12" y="186"/>
                  </a:cubicBezTo>
                  <a:cubicBezTo>
                    <a:pt x="12" y="180"/>
                    <a:pt x="13" y="174"/>
                    <a:pt x="13" y="168"/>
                  </a:cubicBezTo>
                  <a:cubicBezTo>
                    <a:pt x="12" y="164"/>
                    <a:pt x="13" y="159"/>
                    <a:pt x="12" y="154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3" y="153"/>
                    <a:pt x="13" y="153"/>
                    <a:pt x="14" y="153"/>
                  </a:cubicBezTo>
                  <a:cubicBezTo>
                    <a:pt x="15" y="152"/>
                    <a:pt x="16" y="152"/>
                    <a:pt x="17" y="15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îṧḻïḓê"/>
            <p:cNvSpPr/>
            <p:nvPr/>
          </p:nvSpPr>
          <p:spPr bwMode="auto">
            <a:xfrm>
              <a:off x="5420404" y="3401730"/>
              <a:ext cx="1063678" cy="335364"/>
            </a:xfrm>
            <a:custGeom>
              <a:avLst/>
              <a:gdLst>
                <a:gd name="T0" fmla="*/ 1 w 151"/>
                <a:gd name="T1" fmla="*/ 42 h 48"/>
                <a:gd name="T2" fmla="*/ 10 w 151"/>
                <a:gd name="T3" fmla="*/ 46 h 48"/>
                <a:gd name="T4" fmla="*/ 38 w 151"/>
                <a:gd name="T5" fmla="*/ 46 h 48"/>
                <a:gd name="T6" fmla="*/ 76 w 151"/>
                <a:gd name="T7" fmla="*/ 48 h 48"/>
                <a:gd name="T8" fmla="*/ 113 w 151"/>
                <a:gd name="T9" fmla="*/ 46 h 48"/>
                <a:gd name="T10" fmla="*/ 149 w 151"/>
                <a:gd name="T11" fmla="*/ 43 h 48"/>
                <a:gd name="T12" fmla="*/ 151 w 151"/>
                <a:gd name="T13" fmla="*/ 33 h 48"/>
                <a:gd name="T14" fmla="*/ 150 w 151"/>
                <a:gd name="T15" fmla="*/ 13 h 48"/>
                <a:gd name="T16" fmla="*/ 148 w 151"/>
                <a:gd name="T17" fmla="*/ 4 h 48"/>
                <a:gd name="T18" fmla="*/ 117 w 151"/>
                <a:gd name="T19" fmla="*/ 1 h 48"/>
                <a:gd name="T20" fmla="*/ 78 w 151"/>
                <a:gd name="T21" fmla="*/ 2 h 48"/>
                <a:gd name="T22" fmla="*/ 21 w 151"/>
                <a:gd name="T23" fmla="*/ 2 h 48"/>
                <a:gd name="T24" fmla="*/ 3 w 151"/>
                <a:gd name="T25" fmla="*/ 4 h 48"/>
                <a:gd name="T26" fmla="*/ 1 w 151"/>
                <a:gd name="T27" fmla="*/ 7 h 48"/>
                <a:gd name="T28" fmla="*/ 0 w 151"/>
                <a:gd name="T29" fmla="*/ 28 h 48"/>
                <a:gd name="T30" fmla="*/ 1 w 151"/>
                <a:gd name="T31" fmla="*/ 42 h 48"/>
                <a:gd name="T32" fmla="*/ 102 w 151"/>
                <a:gd name="T33" fmla="*/ 37 h 48"/>
                <a:gd name="T34" fmla="*/ 101 w 151"/>
                <a:gd name="T35" fmla="*/ 25 h 48"/>
                <a:gd name="T36" fmla="*/ 110 w 151"/>
                <a:gd name="T37" fmla="*/ 8 h 48"/>
                <a:gd name="T38" fmla="*/ 111 w 151"/>
                <a:gd name="T39" fmla="*/ 37 h 48"/>
                <a:gd name="T40" fmla="*/ 142 w 151"/>
                <a:gd name="T41" fmla="*/ 9 h 48"/>
                <a:gd name="T42" fmla="*/ 142 w 151"/>
                <a:gd name="T43" fmla="*/ 15 h 48"/>
                <a:gd name="T44" fmla="*/ 144 w 151"/>
                <a:gd name="T45" fmla="*/ 32 h 48"/>
                <a:gd name="T46" fmla="*/ 130 w 151"/>
                <a:gd name="T47" fmla="*/ 38 h 48"/>
                <a:gd name="T48" fmla="*/ 129 w 151"/>
                <a:gd name="T49" fmla="*/ 36 h 48"/>
                <a:gd name="T50" fmla="*/ 129 w 151"/>
                <a:gd name="T51" fmla="*/ 9 h 48"/>
                <a:gd name="T52" fmla="*/ 125 w 151"/>
                <a:gd name="T53" fmla="*/ 9 h 48"/>
                <a:gd name="T54" fmla="*/ 124 w 151"/>
                <a:gd name="T55" fmla="*/ 27 h 48"/>
                <a:gd name="T56" fmla="*/ 124 w 151"/>
                <a:gd name="T57" fmla="*/ 38 h 48"/>
                <a:gd name="T58" fmla="*/ 116 w 151"/>
                <a:gd name="T59" fmla="*/ 23 h 48"/>
                <a:gd name="T60" fmla="*/ 125 w 151"/>
                <a:gd name="T61" fmla="*/ 9 h 48"/>
                <a:gd name="T62" fmla="*/ 96 w 151"/>
                <a:gd name="T63" fmla="*/ 8 h 48"/>
                <a:gd name="T64" fmla="*/ 96 w 151"/>
                <a:gd name="T65" fmla="*/ 38 h 48"/>
                <a:gd name="T66" fmla="*/ 81 w 151"/>
                <a:gd name="T67" fmla="*/ 39 h 48"/>
                <a:gd name="T68" fmla="*/ 81 w 151"/>
                <a:gd name="T69" fmla="*/ 26 h 48"/>
                <a:gd name="T70" fmla="*/ 82 w 151"/>
                <a:gd name="T71" fmla="*/ 9 h 48"/>
                <a:gd name="T72" fmla="*/ 96 w 151"/>
                <a:gd name="T73" fmla="*/ 8 h 48"/>
                <a:gd name="T74" fmla="*/ 72 w 151"/>
                <a:gd name="T75" fmla="*/ 10 h 48"/>
                <a:gd name="T76" fmla="*/ 77 w 151"/>
                <a:gd name="T77" fmla="*/ 14 h 48"/>
                <a:gd name="T78" fmla="*/ 76 w 151"/>
                <a:gd name="T79" fmla="*/ 36 h 48"/>
                <a:gd name="T80" fmla="*/ 75 w 151"/>
                <a:gd name="T81" fmla="*/ 39 h 48"/>
                <a:gd name="T82" fmla="*/ 63 w 151"/>
                <a:gd name="T83" fmla="*/ 32 h 48"/>
                <a:gd name="T84" fmla="*/ 61 w 151"/>
                <a:gd name="T85" fmla="*/ 9 h 48"/>
                <a:gd name="T86" fmla="*/ 57 w 151"/>
                <a:gd name="T87" fmla="*/ 9 h 48"/>
                <a:gd name="T88" fmla="*/ 57 w 151"/>
                <a:gd name="T89" fmla="*/ 22 h 48"/>
                <a:gd name="T90" fmla="*/ 58 w 151"/>
                <a:gd name="T91" fmla="*/ 37 h 48"/>
                <a:gd name="T92" fmla="*/ 40 w 151"/>
                <a:gd name="T93" fmla="*/ 37 h 48"/>
                <a:gd name="T94" fmla="*/ 41 w 151"/>
                <a:gd name="T95" fmla="*/ 31 h 48"/>
                <a:gd name="T96" fmla="*/ 41 w 151"/>
                <a:gd name="T97" fmla="*/ 8 h 48"/>
                <a:gd name="T98" fmla="*/ 37 w 151"/>
                <a:gd name="T99" fmla="*/ 8 h 48"/>
                <a:gd name="T100" fmla="*/ 37 w 151"/>
                <a:gd name="T101" fmla="*/ 21 h 48"/>
                <a:gd name="T102" fmla="*/ 37 w 151"/>
                <a:gd name="T103" fmla="*/ 37 h 48"/>
                <a:gd name="T104" fmla="*/ 25 w 151"/>
                <a:gd name="T105" fmla="*/ 38 h 48"/>
                <a:gd name="T106" fmla="*/ 24 w 151"/>
                <a:gd name="T107" fmla="*/ 27 h 48"/>
                <a:gd name="T108" fmla="*/ 34 w 151"/>
                <a:gd name="T109" fmla="*/ 8 h 48"/>
                <a:gd name="T110" fmla="*/ 15 w 151"/>
                <a:gd name="T111" fmla="*/ 9 h 48"/>
                <a:gd name="T112" fmla="*/ 18 w 151"/>
                <a:gd name="T113" fmla="*/ 9 h 48"/>
                <a:gd name="T114" fmla="*/ 20 w 151"/>
                <a:gd name="T115" fmla="*/ 37 h 48"/>
                <a:gd name="T116" fmla="*/ 11 w 151"/>
                <a:gd name="T117" fmla="*/ 38 h 48"/>
                <a:gd name="T118" fmla="*/ 7 w 151"/>
                <a:gd name="T119" fmla="*/ 37 h 48"/>
                <a:gd name="T120" fmla="*/ 7 w 151"/>
                <a:gd name="T121" fmla="*/ 18 h 48"/>
                <a:gd name="T122" fmla="*/ 6 w 151"/>
                <a:gd name="T123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48"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2" y="44"/>
                    <a:pt x="2" y="44"/>
                  </a:cubicBezTo>
                  <a:cubicBezTo>
                    <a:pt x="5" y="46"/>
                    <a:pt x="7" y="46"/>
                    <a:pt x="10" y="46"/>
                  </a:cubicBezTo>
                  <a:cubicBezTo>
                    <a:pt x="13" y="46"/>
                    <a:pt x="16" y="45"/>
                    <a:pt x="19" y="46"/>
                  </a:cubicBezTo>
                  <a:cubicBezTo>
                    <a:pt x="25" y="46"/>
                    <a:pt x="32" y="46"/>
                    <a:pt x="38" y="46"/>
                  </a:cubicBezTo>
                  <a:cubicBezTo>
                    <a:pt x="44" y="46"/>
                    <a:pt x="51" y="46"/>
                    <a:pt x="57" y="46"/>
                  </a:cubicBezTo>
                  <a:cubicBezTo>
                    <a:pt x="63" y="46"/>
                    <a:pt x="70" y="47"/>
                    <a:pt x="76" y="48"/>
                  </a:cubicBezTo>
                  <a:cubicBezTo>
                    <a:pt x="82" y="48"/>
                    <a:pt x="88" y="48"/>
                    <a:pt x="94" y="47"/>
                  </a:cubicBezTo>
                  <a:cubicBezTo>
                    <a:pt x="100" y="46"/>
                    <a:pt x="106" y="46"/>
                    <a:pt x="113" y="46"/>
                  </a:cubicBezTo>
                  <a:cubicBezTo>
                    <a:pt x="119" y="47"/>
                    <a:pt x="125" y="47"/>
                    <a:pt x="131" y="46"/>
                  </a:cubicBezTo>
                  <a:cubicBezTo>
                    <a:pt x="137" y="46"/>
                    <a:pt x="143" y="46"/>
                    <a:pt x="149" y="43"/>
                  </a:cubicBezTo>
                  <a:cubicBezTo>
                    <a:pt x="150" y="42"/>
                    <a:pt x="150" y="41"/>
                    <a:pt x="150" y="39"/>
                  </a:cubicBezTo>
                  <a:cubicBezTo>
                    <a:pt x="150" y="37"/>
                    <a:pt x="151" y="35"/>
                    <a:pt x="151" y="33"/>
                  </a:cubicBezTo>
                  <a:cubicBezTo>
                    <a:pt x="151" y="30"/>
                    <a:pt x="151" y="27"/>
                    <a:pt x="151" y="23"/>
                  </a:cubicBezTo>
                  <a:cubicBezTo>
                    <a:pt x="150" y="20"/>
                    <a:pt x="150" y="17"/>
                    <a:pt x="150" y="13"/>
                  </a:cubicBezTo>
                  <a:cubicBezTo>
                    <a:pt x="150" y="11"/>
                    <a:pt x="151" y="9"/>
                    <a:pt x="150" y="6"/>
                  </a:cubicBezTo>
                  <a:cubicBezTo>
                    <a:pt x="150" y="5"/>
                    <a:pt x="149" y="4"/>
                    <a:pt x="148" y="4"/>
                  </a:cubicBezTo>
                  <a:cubicBezTo>
                    <a:pt x="145" y="0"/>
                    <a:pt x="140" y="1"/>
                    <a:pt x="136" y="1"/>
                  </a:cubicBezTo>
                  <a:cubicBezTo>
                    <a:pt x="130" y="1"/>
                    <a:pt x="123" y="1"/>
                    <a:pt x="117" y="1"/>
                  </a:cubicBezTo>
                  <a:cubicBezTo>
                    <a:pt x="110" y="0"/>
                    <a:pt x="104" y="0"/>
                    <a:pt x="97" y="0"/>
                  </a:cubicBezTo>
                  <a:cubicBezTo>
                    <a:pt x="91" y="0"/>
                    <a:pt x="85" y="1"/>
                    <a:pt x="78" y="2"/>
                  </a:cubicBezTo>
                  <a:cubicBezTo>
                    <a:pt x="66" y="3"/>
                    <a:pt x="53" y="2"/>
                    <a:pt x="41" y="1"/>
                  </a:cubicBezTo>
                  <a:cubicBezTo>
                    <a:pt x="34" y="1"/>
                    <a:pt x="28" y="2"/>
                    <a:pt x="21" y="2"/>
                  </a:cubicBezTo>
                  <a:cubicBezTo>
                    <a:pt x="18" y="2"/>
                    <a:pt x="14" y="3"/>
                    <a:pt x="11" y="3"/>
                  </a:cubicBezTo>
                  <a:cubicBezTo>
                    <a:pt x="8" y="4"/>
                    <a:pt x="6" y="3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10"/>
                    <a:pt x="1" y="13"/>
                    <a:pt x="0" y="17"/>
                  </a:cubicBezTo>
                  <a:cubicBezTo>
                    <a:pt x="0" y="20"/>
                    <a:pt x="0" y="24"/>
                    <a:pt x="0" y="28"/>
                  </a:cubicBezTo>
                  <a:cubicBezTo>
                    <a:pt x="0" y="31"/>
                    <a:pt x="0" y="35"/>
                    <a:pt x="0" y="38"/>
                  </a:cubicBezTo>
                  <a:cubicBezTo>
                    <a:pt x="0" y="40"/>
                    <a:pt x="0" y="41"/>
                    <a:pt x="1" y="42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1" y="36"/>
                    <a:pt x="101" y="34"/>
                    <a:pt x="101" y="33"/>
                  </a:cubicBezTo>
                  <a:cubicBezTo>
                    <a:pt x="101" y="30"/>
                    <a:pt x="101" y="27"/>
                    <a:pt x="101" y="25"/>
                  </a:cubicBezTo>
                  <a:cubicBezTo>
                    <a:pt x="101" y="19"/>
                    <a:pt x="100" y="14"/>
                    <a:pt x="99" y="8"/>
                  </a:cubicBezTo>
                  <a:cubicBezTo>
                    <a:pt x="103" y="8"/>
                    <a:pt x="106" y="8"/>
                    <a:pt x="110" y="8"/>
                  </a:cubicBezTo>
                  <a:cubicBezTo>
                    <a:pt x="111" y="14"/>
                    <a:pt x="111" y="19"/>
                    <a:pt x="111" y="25"/>
                  </a:cubicBezTo>
                  <a:cubicBezTo>
                    <a:pt x="111" y="29"/>
                    <a:pt x="110" y="33"/>
                    <a:pt x="111" y="37"/>
                  </a:cubicBezTo>
                  <a:cubicBezTo>
                    <a:pt x="108" y="37"/>
                    <a:pt x="105" y="37"/>
                    <a:pt x="102" y="37"/>
                  </a:cubicBezTo>
                  <a:close/>
                  <a:moveTo>
                    <a:pt x="142" y="9"/>
                  </a:moveTo>
                  <a:cubicBezTo>
                    <a:pt x="142" y="9"/>
                    <a:pt x="142" y="9"/>
                    <a:pt x="142" y="9"/>
                  </a:cubicBezTo>
                  <a:cubicBezTo>
                    <a:pt x="143" y="11"/>
                    <a:pt x="142" y="13"/>
                    <a:pt x="142" y="15"/>
                  </a:cubicBezTo>
                  <a:cubicBezTo>
                    <a:pt x="142" y="18"/>
                    <a:pt x="142" y="20"/>
                    <a:pt x="143" y="23"/>
                  </a:cubicBezTo>
                  <a:cubicBezTo>
                    <a:pt x="143" y="26"/>
                    <a:pt x="143" y="29"/>
                    <a:pt x="144" y="32"/>
                  </a:cubicBezTo>
                  <a:cubicBezTo>
                    <a:pt x="144" y="33"/>
                    <a:pt x="144" y="36"/>
                    <a:pt x="145" y="38"/>
                  </a:cubicBezTo>
                  <a:cubicBezTo>
                    <a:pt x="140" y="37"/>
                    <a:pt x="135" y="38"/>
                    <a:pt x="130" y="38"/>
                  </a:cubicBezTo>
                  <a:cubicBezTo>
                    <a:pt x="130" y="38"/>
                    <a:pt x="129" y="38"/>
                    <a:pt x="129" y="38"/>
                  </a:cubicBezTo>
                  <a:cubicBezTo>
                    <a:pt x="129" y="37"/>
                    <a:pt x="129" y="37"/>
                    <a:pt x="129" y="36"/>
                  </a:cubicBezTo>
                  <a:cubicBezTo>
                    <a:pt x="129" y="33"/>
                    <a:pt x="129" y="30"/>
                    <a:pt x="129" y="27"/>
                  </a:cubicBezTo>
                  <a:cubicBezTo>
                    <a:pt x="129" y="21"/>
                    <a:pt x="129" y="15"/>
                    <a:pt x="129" y="9"/>
                  </a:cubicBezTo>
                  <a:cubicBezTo>
                    <a:pt x="134" y="9"/>
                    <a:pt x="138" y="9"/>
                    <a:pt x="142" y="9"/>
                  </a:cubicBezTo>
                  <a:close/>
                  <a:moveTo>
                    <a:pt x="125" y="9"/>
                  </a:moveTo>
                  <a:cubicBezTo>
                    <a:pt x="125" y="9"/>
                    <a:pt x="125" y="9"/>
                    <a:pt x="125" y="9"/>
                  </a:cubicBezTo>
                  <a:cubicBezTo>
                    <a:pt x="125" y="15"/>
                    <a:pt x="124" y="21"/>
                    <a:pt x="124" y="27"/>
                  </a:cubicBezTo>
                  <a:cubicBezTo>
                    <a:pt x="124" y="30"/>
                    <a:pt x="124" y="33"/>
                    <a:pt x="124" y="36"/>
                  </a:cubicBezTo>
                  <a:cubicBezTo>
                    <a:pt x="124" y="37"/>
                    <a:pt x="124" y="37"/>
                    <a:pt x="124" y="38"/>
                  </a:cubicBezTo>
                  <a:cubicBezTo>
                    <a:pt x="121" y="38"/>
                    <a:pt x="118" y="38"/>
                    <a:pt x="116" y="37"/>
                  </a:cubicBezTo>
                  <a:cubicBezTo>
                    <a:pt x="116" y="32"/>
                    <a:pt x="116" y="28"/>
                    <a:pt x="116" y="23"/>
                  </a:cubicBezTo>
                  <a:cubicBezTo>
                    <a:pt x="116" y="18"/>
                    <a:pt x="116" y="13"/>
                    <a:pt x="113" y="9"/>
                  </a:cubicBezTo>
                  <a:cubicBezTo>
                    <a:pt x="117" y="9"/>
                    <a:pt x="121" y="9"/>
                    <a:pt x="125" y="9"/>
                  </a:cubicBezTo>
                  <a:close/>
                  <a:moveTo>
                    <a:pt x="96" y="8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6" y="14"/>
                    <a:pt x="96" y="20"/>
                    <a:pt x="96" y="26"/>
                  </a:cubicBezTo>
                  <a:cubicBezTo>
                    <a:pt x="96" y="29"/>
                    <a:pt x="95" y="34"/>
                    <a:pt x="96" y="38"/>
                  </a:cubicBezTo>
                  <a:cubicBezTo>
                    <a:pt x="95" y="38"/>
                    <a:pt x="95" y="38"/>
                    <a:pt x="94" y="38"/>
                  </a:cubicBezTo>
                  <a:cubicBezTo>
                    <a:pt x="89" y="39"/>
                    <a:pt x="85" y="39"/>
                    <a:pt x="81" y="39"/>
                  </a:cubicBezTo>
                  <a:cubicBezTo>
                    <a:pt x="81" y="38"/>
                    <a:pt x="81" y="38"/>
                    <a:pt x="81" y="37"/>
                  </a:cubicBezTo>
                  <a:cubicBezTo>
                    <a:pt x="81" y="33"/>
                    <a:pt x="81" y="30"/>
                    <a:pt x="81" y="26"/>
                  </a:cubicBezTo>
                  <a:cubicBezTo>
                    <a:pt x="81" y="23"/>
                    <a:pt x="81" y="19"/>
                    <a:pt x="82" y="15"/>
                  </a:cubicBezTo>
                  <a:cubicBezTo>
                    <a:pt x="82" y="13"/>
                    <a:pt x="82" y="11"/>
                    <a:pt x="82" y="9"/>
                  </a:cubicBezTo>
                  <a:cubicBezTo>
                    <a:pt x="85" y="9"/>
                    <a:pt x="88" y="8"/>
                    <a:pt x="91" y="8"/>
                  </a:cubicBezTo>
                  <a:cubicBezTo>
                    <a:pt x="92" y="8"/>
                    <a:pt x="94" y="8"/>
                    <a:pt x="96" y="8"/>
                  </a:cubicBezTo>
                  <a:close/>
                  <a:moveTo>
                    <a:pt x="72" y="10"/>
                  </a:moveTo>
                  <a:cubicBezTo>
                    <a:pt x="72" y="10"/>
                    <a:pt x="72" y="10"/>
                    <a:pt x="72" y="10"/>
                  </a:cubicBezTo>
                  <a:cubicBezTo>
                    <a:pt x="74" y="10"/>
                    <a:pt x="75" y="10"/>
                    <a:pt x="77" y="10"/>
                  </a:cubicBezTo>
                  <a:cubicBezTo>
                    <a:pt x="77" y="11"/>
                    <a:pt x="77" y="13"/>
                    <a:pt x="77" y="14"/>
                  </a:cubicBezTo>
                  <a:cubicBezTo>
                    <a:pt x="77" y="18"/>
                    <a:pt x="77" y="21"/>
                    <a:pt x="76" y="25"/>
                  </a:cubicBezTo>
                  <a:cubicBezTo>
                    <a:pt x="76" y="28"/>
                    <a:pt x="76" y="32"/>
                    <a:pt x="76" y="36"/>
                  </a:cubicBezTo>
                  <a:cubicBezTo>
                    <a:pt x="76" y="37"/>
                    <a:pt x="76" y="38"/>
                    <a:pt x="76" y="39"/>
                  </a:cubicBezTo>
                  <a:cubicBezTo>
                    <a:pt x="76" y="39"/>
                    <a:pt x="75" y="39"/>
                    <a:pt x="75" y="39"/>
                  </a:cubicBezTo>
                  <a:cubicBezTo>
                    <a:pt x="71" y="38"/>
                    <a:pt x="67" y="38"/>
                    <a:pt x="63" y="38"/>
                  </a:cubicBezTo>
                  <a:cubicBezTo>
                    <a:pt x="63" y="36"/>
                    <a:pt x="63" y="34"/>
                    <a:pt x="63" y="32"/>
                  </a:cubicBezTo>
                  <a:cubicBezTo>
                    <a:pt x="62" y="28"/>
                    <a:pt x="62" y="24"/>
                    <a:pt x="62" y="20"/>
                  </a:cubicBezTo>
                  <a:cubicBezTo>
                    <a:pt x="62" y="16"/>
                    <a:pt x="62" y="13"/>
                    <a:pt x="61" y="9"/>
                  </a:cubicBezTo>
                  <a:cubicBezTo>
                    <a:pt x="65" y="10"/>
                    <a:pt x="68" y="10"/>
                    <a:pt x="72" y="10"/>
                  </a:cubicBezTo>
                  <a:close/>
                  <a:moveTo>
                    <a:pt x="57" y="9"/>
                  </a:moveTo>
                  <a:cubicBezTo>
                    <a:pt x="57" y="9"/>
                    <a:pt x="57" y="9"/>
                    <a:pt x="57" y="9"/>
                  </a:cubicBezTo>
                  <a:cubicBezTo>
                    <a:pt x="58" y="13"/>
                    <a:pt x="57" y="18"/>
                    <a:pt x="57" y="22"/>
                  </a:cubicBezTo>
                  <a:cubicBezTo>
                    <a:pt x="57" y="26"/>
                    <a:pt x="57" y="29"/>
                    <a:pt x="57" y="33"/>
                  </a:cubicBezTo>
                  <a:cubicBezTo>
                    <a:pt x="58" y="34"/>
                    <a:pt x="58" y="36"/>
                    <a:pt x="58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1" y="37"/>
                    <a:pt x="45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1" y="35"/>
                    <a:pt x="41" y="33"/>
                    <a:pt x="41" y="31"/>
                  </a:cubicBezTo>
                  <a:cubicBezTo>
                    <a:pt x="41" y="28"/>
                    <a:pt x="41" y="25"/>
                    <a:pt x="41" y="22"/>
                  </a:cubicBezTo>
                  <a:cubicBezTo>
                    <a:pt x="41" y="17"/>
                    <a:pt x="41" y="13"/>
                    <a:pt x="41" y="8"/>
                  </a:cubicBezTo>
                  <a:cubicBezTo>
                    <a:pt x="46" y="8"/>
                    <a:pt x="51" y="9"/>
                    <a:pt x="57" y="9"/>
                  </a:cubicBezTo>
                  <a:close/>
                  <a:moveTo>
                    <a:pt x="37" y="8"/>
                  </a:moveTo>
                  <a:cubicBezTo>
                    <a:pt x="37" y="8"/>
                    <a:pt x="37" y="8"/>
                    <a:pt x="37" y="8"/>
                  </a:cubicBezTo>
                  <a:cubicBezTo>
                    <a:pt x="36" y="12"/>
                    <a:pt x="37" y="16"/>
                    <a:pt x="37" y="21"/>
                  </a:cubicBezTo>
                  <a:cubicBezTo>
                    <a:pt x="36" y="24"/>
                    <a:pt x="37" y="27"/>
                    <a:pt x="37" y="30"/>
                  </a:cubicBezTo>
                  <a:cubicBezTo>
                    <a:pt x="37" y="32"/>
                    <a:pt x="36" y="35"/>
                    <a:pt x="37" y="37"/>
                  </a:cubicBezTo>
                  <a:cubicBezTo>
                    <a:pt x="38" y="37"/>
                    <a:pt x="38" y="37"/>
                    <a:pt x="38" y="38"/>
                  </a:cubicBezTo>
                  <a:cubicBezTo>
                    <a:pt x="33" y="38"/>
                    <a:pt x="29" y="38"/>
                    <a:pt x="25" y="38"/>
                  </a:cubicBezTo>
                  <a:cubicBezTo>
                    <a:pt x="24" y="37"/>
                    <a:pt x="24" y="36"/>
                    <a:pt x="24" y="35"/>
                  </a:cubicBezTo>
                  <a:cubicBezTo>
                    <a:pt x="24" y="32"/>
                    <a:pt x="24" y="30"/>
                    <a:pt x="24" y="27"/>
                  </a:cubicBezTo>
                  <a:cubicBezTo>
                    <a:pt x="23" y="21"/>
                    <a:pt x="22" y="15"/>
                    <a:pt x="22" y="9"/>
                  </a:cubicBezTo>
                  <a:cubicBezTo>
                    <a:pt x="26" y="8"/>
                    <a:pt x="30" y="8"/>
                    <a:pt x="34" y="8"/>
                  </a:cubicBezTo>
                  <a:cubicBezTo>
                    <a:pt x="35" y="8"/>
                    <a:pt x="36" y="8"/>
                    <a:pt x="37" y="8"/>
                  </a:cubicBezTo>
                  <a:close/>
                  <a:moveTo>
                    <a:pt x="15" y="9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7" y="9"/>
                    <a:pt x="18" y="9"/>
                  </a:cubicBezTo>
                  <a:cubicBezTo>
                    <a:pt x="18" y="15"/>
                    <a:pt x="19" y="21"/>
                    <a:pt x="19" y="27"/>
                  </a:cubicBezTo>
                  <a:cubicBezTo>
                    <a:pt x="19" y="30"/>
                    <a:pt x="19" y="33"/>
                    <a:pt x="20" y="37"/>
                  </a:cubicBezTo>
                  <a:cubicBezTo>
                    <a:pt x="20" y="37"/>
                    <a:pt x="20" y="37"/>
                    <a:pt x="20" y="38"/>
                  </a:cubicBezTo>
                  <a:cubicBezTo>
                    <a:pt x="17" y="38"/>
                    <a:pt x="14" y="38"/>
                    <a:pt x="11" y="38"/>
                  </a:cubicBezTo>
                  <a:cubicBezTo>
                    <a:pt x="10" y="38"/>
                    <a:pt x="9" y="39"/>
                    <a:pt x="7" y="39"/>
                  </a:cubicBezTo>
                  <a:cubicBezTo>
                    <a:pt x="8" y="38"/>
                    <a:pt x="8" y="38"/>
                    <a:pt x="7" y="37"/>
                  </a:cubicBezTo>
                  <a:cubicBezTo>
                    <a:pt x="7" y="34"/>
                    <a:pt x="8" y="31"/>
                    <a:pt x="7" y="28"/>
                  </a:cubicBezTo>
                  <a:cubicBezTo>
                    <a:pt x="7" y="25"/>
                    <a:pt x="7" y="21"/>
                    <a:pt x="7" y="18"/>
                  </a:cubicBezTo>
                  <a:cubicBezTo>
                    <a:pt x="6" y="15"/>
                    <a:pt x="6" y="12"/>
                    <a:pt x="5" y="8"/>
                  </a:cubicBezTo>
                  <a:cubicBezTo>
                    <a:pt x="5" y="8"/>
                    <a:pt x="5" y="8"/>
                    <a:pt x="6" y="9"/>
                  </a:cubicBezTo>
                  <a:cubicBezTo>
                    <a:pt x="9" y="9"/>
                    <a:pt x="12" y="9"/>
                    <a:pt x="15" y="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8" name="iṥľiḍe"/>
            <p:cNvSpPr/>
            <p:nvPr/>
          </p:nvSpPr>
          <p:spPr bwMode="auto">
            <a:xfrm>
              <a:off x="5518643" y="3120567"/>
              <a:ext cx="233739" cy="250676"/>
            </a:xfrm>
            <a:custGeom>
              <a:avLst/>
              <a:gdLst>
                <a:gd name="T0" fmla="*/ 30 w 33"/>
                <a:gd name="T1" fmla="*/ 11 h 36"/>
                <a:gd name="T2" fmla="*/ 17 w 33"/>
                <a:gd name="T3" fmla="*/ 1 h 36"/>
                <a:gd name="T4" fmla="*/ 11 w 33"/>
                <a:gd name="T5" fmla="*/ 2 h 36"/>
                <a:gd name="T6" fmla="*/ 2 w 33"/>
                <a:gd name="T7" fmla="*/ 8 h 36"/>
                <a:gd name="T8" fmla="*/ 3 w 33"/>
                <a:gd name="T9" fmla="*/ 23 h 36"/>
                <a:gd name="T10" fmla="*/ 30 w 33"/>
                <a:gd name="T1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6">
                  <a:moveTo>
                    <a:pt x="30" y="11"/>
                  </a:moveTo>
                  <a:cubicBezTo>
                    <a:pt x="29" y="5"/>
                    <a:pt x="23" y="0"/>
                    <a:pt x="17" y="1"/>
                  </a:cubicBezTo>
                  <a:cubicBezTo>
                    <a:pt x="15" y="1"/>
                    <a:pt x="12" y="1"/>
                    <a:pt x="11" y="2"/>
                  </a:cubicBezTo>
                  <a:cubicBezTo>
                    <a:pt x="7" y="3"/>
                    <a:pt x="4" y="5"/>
                    <a:pt x="2" y="8"/>
                  </a:cubicBezTo>
                  <a:cubicBezTo>
                    <a:pt x="0" y="12"/>
                    <a:pt x="0" y="18"/>
                    <a:pt x="3" y="23"/>
                  </a:cubicBezTo>
                  <a:cubicBezTo>
                    <a:pt x="11" y="36"/>
                    <a:pt x="33" y="26"/>
                    <a:pt x="30" y="1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9" name="îśḷiḍé"/>
            <p:cNvSpPr/>
            <p:nvPr/>
          </p:nvSpPr>
          <p:spPr bwMode="auto">
            <a:xfrm>
              <a:off x="6138556" y="3120567"/>
              <a:ext cx="240514" cy="210025"/>
            </a:xfrm>
            <a:custGeom>
              <a:avLst/>
              <a:gdLst>
                <a:gd name="T0" fmla="*/ 19 w 34"/>
                <a:gd name="T1" fmla="*/ 28 h 30"/>
                <a:gd name="T2" fmla="*/ 31 w 34"/>
                <a:gd name="T3" fmla="*/ 10 h 30"/>
                <a:gd name="T4" fmla="*/ 14 w 34"/>
                <a:gd name="T5" fmla="*/ 0 h 30"/>
                <a:gd name="T6" fmla="*/ 7 w 34"/>
                <a:gd name="T7" fmla="*/ 3 h 30"/>
                <a:gd name="T8" fmla="*/ 4 w 34"/>
                <a:gd name="T9" fmla="*/ 5 h 30"/>
                <a:gd name="T10" fmla="*/ 0 w 34"/>
                <a:gd name="T11" fmla="*/ 15 h 30"/>
                <a:gd name="T12" fmla="*/ 19 w 34"/>
                <a:gd name="T1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">
                  <a:moveTo>
                    <a:pt x="19" y="28"/>
                  </a:moveTo>
                  <a:cubicBezTo>
                    <a:pt x="27" y="27"/>
                    <a:pt x="34" y="18"/>
                    <a:pt x="31" y="10"/>
                  </a:cubicBezTo>
                  <a:cubicBezTo>
                    <a:pt x="29" y="3"/>
                    <a:pt x="20" y="0"/>
                    <a:pt x="14" y="0"/>
                  </a:cubicBezTo>
                  <a:cubicBezTo>
                    <a:pt x="11" y="0"/>
                    <a:pt x="8" y="1"/>
                    <a:pt x="7" y="3"/>
                  </a:cubicBezTo>
                  <a:cubicBezTo>
                    <a:pt x="6" y="3"/>
                    <a:pt x="5" y="4"/>
                    <a:pt x="4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4"/>
                    <a:pt x="11" y="30"/>
                    <a:pt x="19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0" name="ïṥliḑè"/>
            <p:cNvSpPr/>
            <p:nvPr/>
          </p:nvSpPr>
          <p:spPr bwMode="auto">
            <a:xfrm>
              <a:off x="5335717" y="4041970"/>
              <a:ext cx="1294029" cy="596201"/>
            </a:xfrm>
            <a:custGeom>
              <a:avLst/>
              <a:gdLst>
                <a:gd name="T0" fmla="*/ 177 w 184"/>
                <a:gd name="T1" fmla="*/ 2 h 85"/>
                <a:gd name="T2" fmla="*/ 152 w 184"/>
                <a:gd name="T3" fmla="*/ 1 h 85"/>
                <a:gd name="T4" fmla="*/ 126 w 184"/>
                <a:gd name="T5" fmla="*/ 1 h 85"/>
                <a:gd name="T6" fmla="*/ 75 w 184"/>
                <a:gd name="T7" fmla="*/ 1 h 85"/>
                <a:gd name="T8" fmla="*/ 50 w 184"/>
                <a:gd name="T9" fmla="*/ 1 h 85"/>
                <a:gd name="T10" fmla="*/ 25 w 184"/>
                <a:gd name="T11" fmla="*/ 1 h 85"/>
                <a:gd name="T12" fmla="*/ 6 w 184"/>
                <a:gd name="T13" fmla="*/ 4 h 85"/>
                <a:gd name="T14" fmla="*/ 2 w 184"/>
                <a:gd name="T15" fmla="*/ 17 h 85"/>
                <a:gd name="T16" fmla="*/ 2 w 184"/>
                <a:gd name="T17" fmla="*/ 17 h 85"/>
                <a:gd name="T18" fmla="*/ 1 w 184"/>
                <a:gd name="T19" fmla="*/ 27 h 85"/>
                <a:gd name="T20" fmla="*/ 2 w 184"/>
                <a:gd name="T21" fmla="*/ 45 h 85"/>
                <a:gd name="T22" fmla="*/ 2 w 184"/>
                <a:gd name="T23" fmla="*/ 63 h 85"/>
                <a:gd name="T24" fmla="*/ 2 w 184"/>
                <a:gd name="T25" fmla="*/ 76 h 85"/>
                <a:gd name="T26" fmla="*/ 2 w 184"/>
                <a:gd name="T27" fmla="*/ 80 h 85"/>
                <a:gd name="T28" fmla="*/ 21 w 184"/>
                <a:gd name="T29" fmla="*/ 84 h 85"/>
                <a:gd name="T30" fmla="*/ 42 w 184"/>
                <a:gd name="T31" fmla="*/ 84 h 85"/>
                <a:gd name="T32" fmla="*/ 88 w 184"/>
                <a:gd name="T33" fmla="*/ 84 h 85"/>
                <a:gd name="T34" fmla="*/ 111 w 184"/>
                <a:gd name="T35" fmla="*/ 83 h 85"/>
                <a:gd name="T36" fmla="*/ 135 w 184"/>
                <a:gd name="T37" fmla="*/ 83 h 85"/>
                <a:gd name="T38" fmla="*/ 159 w 184"/>
                <a:gd name="T39" fmla="*/ 82 h 85"/>
                <a:gd name="T40" fmla="*/ 179 w 184"/>
                <a:gd name="T41" fmla="*/ 77 h 85"/>
                <a:gd name="T42" fmla="*/ 180 w 184"/>
                <a:gd name="T43" fmla="*/ 75 h 85"/>
                <a:gd name="T44" fmla="*/ 182 w 184"/>
                <a:gd name="T45" fmla="*/ 69 h 85"/>
                <a:gd name="T46" fmla="*/ 182 w 184"/>
                <a:gd name="T47" fmla="*/ 59 h 85"/>
                <a:gd name="T48" fmla="*/ 182 w 184"/>
                <a:gd name="T49" fmla="*/ 49 h 85"/>
                <a:gd name="T50" fmla="*/ 182 w 184"/>
                <a:gd name="T51" fmla="*/ 39 h 85"/>
                <a:gd name="T52" fmla="*/ 183 w 184"/>
                <a:gd name="T53" fmla="*/ 20 h 85"/>
                <a:gd name="T54" fmla="*/ 180 w 184"/>
                <a:gd name="T55" fmla="*/ 2 h 85"/>
                <a:gd name="T56" fmla="*/ 177 w 184"/>
                <a:gd name="T57" fmla="*/ 2 h 85"/>
                <a:gd name="T58" fmla="*/ 155 w 184"/>
                <a:gd name="T59" fmla="*/ 73 h 85"/>
                <a:gd name="T60" fmla="*/ 155 w 184"/>
                <a:gd name="T61" fmla="*/ 73 h 85"/>
                <a:gd name="T62" fmla="*/ 132 w 184"/>
                <a:gd name="T63" fmla="*/ 75 h 85"/>
                <a:gd name="T64" fmla="*/ 110 w 184"/>
                <a:gd name="T65" fmla="*/ 75 h 85"/>
                <a:gd name="T66" fmla="*/ 88 w 184"/>
                <a:gd name="T67" fmla="*/ 76 h 85"/>
                <a:gd name="T68" fmla="*/ 44 w 184"/>
                <a:gd name="T69" fmla="*/ 76 h 85"/>
                <a:gd name="T70" fmla="*/ 24 w 184"/>
                <a:gd name="T71" fmla="*/ 75 h 85"/>
                <a:gd name="T72" fmla="*/ 14 w 184"/>
                <a:gd name="T73" fmla="*/ 76 h 85"/>
                <a:gd name="T74" fmla="*/ 9 w 184"/>
                <a:gd name="T75" fmla="*/ 76 h 85"/>
                <a:gd name="T76" fmla="*/ 10 w 184"/>
                <a:gd name="T77" fmla="*/ 63 h 85"/>
                <a:gd name="T78" fmla="*/ 8 w 184"/>
                <a:gd name="T79" fmla="*/ 45 h 85"/>
                <a:gd name="T80" fmla="*/ 7 w 184"/>
                <a:gd name="T81" fmla="*/ 27 h 85"/>
                <a:gd name="T82" fmla="*/ 6 w 184"/>
                <a:gd name="T83" fmla="*/ 20 h 85"/>
                <a:gd name="T84" fmla="*/ 7 w 184"/>
                <a:gd name="T85" fmla="*/ 19 h 85"/>
                <a:gd name="T86" fmla="*/ 9 w 184"/>
                <a:gd name="T87" fmla="*/ 12 h 85"/>
                <a:gd name="T88" fmla="*/ 9 w 184"/>
                <a:gd name="T89" fmla="*/ 11 h 85"/>
                <a:gd name="T90" fmla="*/ 10 w 184"/>
                <a:gd name="T91" fmla="*/ 11 h 85"/>
                <a:gd name="T92" fmla="*/ 10 w 184"/>
                <a:gd name="T93" fmla="*/ 11 h 85"/>
                <a:gd name="T94" fmla="*/ 14 w 184"/>
                <a:gd name="T95" fmla="*/ 10 h 85"/>
                <a:gd name="T96" fmla="*/ 36 w 184"/>
                <a:gd name="T97" fmla="*/ 10 h 85"/>
                <a:gd name="T98" fmla="*/ 83 w 184"/>
                <a:gd name="T99" fmla="*/ 10 h 85"/>
                <a:gd name="T100" fmla="*/ 130 w 184"/>
                <a:gd name="T101" fmla="*/ 9 h 85"/>
                <a:gd name="T102" fmla="*/ 174 w 184"/>
                <a:gd name="T103" fmla="*/ 7 h 85"/>
                <a:gd name="T104" fmla="*/ 175 w 184"/>
                <a:gd name="T105" fmla="*/ 7 h 85"/>
                <a:gd name="T106" fmla="*/ 176 w 184"/>
                <a:gd name="T107" fmla="*/ 13 h 85"/>
                <a:gd name="T108" fmla="*/ 175 w 184"/>
                <a:gd name="T109" fmla="*/ 22 h 85"/>
                <a:gd name="T110" fmla="*/ 174 w 184"/>
                <a:gd name="T111" fmla="*/ 41 h 85"/>
                <a:gd name="T112" fmla="*/ 174 w 184"/>
                <a:gd name="T113" fmla="*/ 62 h 85"/>
                <a:gd name="T114" fmla="*/ 173 w 184"/>
                <a:gd name="T115" fmla="*/ 72 h 85"/>
                <a:gd name="T116" fmla="*/ 155 w 184"/>
                <a:gd name="T117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4" h="85">
                  <a:moveTo>
                    <a:pt x="177" y="2"/>
                  </a:moveTo>
                  <a:cubicBezTo>
                    <a:pt x="169" y="2"/>
                    <a:pt x="160" y="1"/>
                    <a:pt x="152" y="1"/>
                  </a:cubicBezTo>
                  <a:cubicBezTo>
                    <a:pt x="143" y="0"/>
                    <a:pt x="135" y="0"/>
                    <a:pt x="126" y="1"/>
                  </a:cubicBezTo>
                  <a:cubicBezTo>
                    <a:pt x="109" y="1"/>
                    <a:pt x="92" y="1"/>
                    <a:pt x="75" y="1"/>
                  </a:cubicBezTo>
                  <a:cubicBezTo>
                    <a:pt x="67" y="2"/>
                    <a:pt x="58" y="1"/>
                    <a:pt x="50" y="1"/>
                  </a:cubicBezTo>
                  <a:cubicBezTo>
                    <a:pt x="42" y="1"/>
                    <a:pt x="33" y="1"/>
                    <a:pt x="25" y="1"/>
                  </a:cubicBezTo>
                  <a:cubicBezTo>
                    <a:pt x="19" y="1"/>
                    <a:pt x="12" y="1"/>
                    <a:pt x="6" y="4"/>
                  </a:cubicBezTo>
                  <a:cubicBezTo>
                    <a:pt x="2" y="7"/>
                    <a:pt x="0" y="12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20"/>
                    <a:pt x="1" y="23"/>
                    <a:pt x="1" y="27"/>
                  </a:cubicBezTo>
                  <a:cubicBezTo>
                    <a:pt x="1" y="33"/>
                    <a:pt x="1" y="39"/>
                    <a:pt x="2" y="45"/>
                  </a:cubicBezTo>
                  <a:cubicBezTo>
                    <a:pt x="2" y="51"/>
                    <a:pt x="2" y="57"/>
                    <a:pt x="2" y="63"/>
                  </a:cubicBezTo>
                  <a:cubicBezTo>
                    <a:pt x="2" y="67"/>
                    <a:pt x="1" y="72"/>
                    <a:pt x="2" y="76"/>
                  </a:cubicBezTo>
                  <a:cubicBezTo>
                    <a:pt x="1" y="77"/>
                    <a:pt x="1" y="79"/>
                    <a:pt x="2" y="80"/>
                  </a:cubicBezTo>
                  <a:cubicBezTo>
                    <a:pt x="7" y="84"/>
                    <a:pt x="15" y="84"/>
                    <a:pt x="21" y="84"/>
                  </a:cubicBezTo>
                  <a:cubicBezTo>
                    <a:pt x="28" y="83"/>
                    <a:pt x="34" y="84"/>
                    <a:pt x="42" y="84"/>
                  </a:cubicBezTo>
                  <a:cubicBezTo>
                    <a:pt x="57" y="85"/>
                    <a:pt x="72" y="85"/>
                    <a:pt x="88" y="84"/>
                  </a:cubicBezTo>
                  <a:cubicBezTo>
                    <a:pt x="96" y="84"/>
                    <a:pt x="103" y="84"/>
                    <a:pt x="111" y="83"/>
                  </a:cubicBezTo>
                  <a:cubicBezTo>
                    <a:pt x="119" y="83"/>
                    <a:pt x="127" y="83"/>
                    <a:pt x="135" y="83"/>
                  </a:cubicBezTo>
                  <a:cubicBezTo>
                    <a:pt x="143" y="84"/>
                    <a:pt x="151" y="83"/>
                    <a:pt x="159" y="82"/>
                  </a:cubicBezTo>
                  <a:cubicBezTo>
                    <a:pt x="165" y="81"/>
                    <a:pt x="174" y="82"/>
                    <a:pt x="179" y="77"/>
                  </a:cubicBezTo>
                  <a:cubicBezTo>
                    <a:pt x="180" y="77"/>
                    <a:pt x="180" y="76"/>
                    <a:pt x="180" y="75"/>
                  </a:cubicBezTo>
                  <a:cubicBezTo>
                    <a:pt x="182" y="74"/>
                    <a:pt x="182" y="71"/>
                    <a:pt x="182" y="69"/>
                  </a:cubicBezTo>
                  <a:cubicBezTo>
                    <a:pt x="182" y="66"/>
                    <a:pt x="182" y="62"/>
                    <a:pt x="182" y="59"/>
                  </a:cubicBezTo>
                  <a:cubicBezTo>
                    <a:pt x="183" y="55"/>
                    <a:pt x="182" y="52"/>
                    <a:pt x="182" y="49"/>
                  </a:cubicBezTo>
                  <a:cubicBezTo>
                    <a:pt x="182" y="45"/>
                    <a:pt x="182" y="42"/>
                    <a:pt x="182" y="39"/>
                  </a:cubicBezTo>
                  <a:cubicBezTo>
                    <a:pt x="183" y="32"/>
                    <a:pt x="183" y="26"/>
                    <a:pt x="183" y="20"/>
                  </a:cubicBezTo>
                  <a:cubicBezTo>
                    <a:pt x="184" y="14"/>
                    <a:pt x="184" y="7"/>
                    <a:pt x="180" y="2"/>
                  </a:cubicBezTo>
                  <a:cubicBezTo>
                    <a:pt x="180" y="2"/>
                    <a:pt x="178" y="1"/>
                    <a:pt x="177" y="2"/>
                  </a:cubicBezTo>
                  <a:close/>
                  <a:moveTo>
                    <a:pt x="155" y="73"/>
                  </a:moveTo>
                  <a:cubicBezTo>
                    <a:pt x="155" y="73"/>
                    <a:pt x="155" y="73"/>
                    <a:pt x="155" y="73"/>
                  </a:cubicBezTo>
                  <a:cubicBezTo>
                    <a:pt x="147" y="74"/>
                    <a:pt x="140" y="75"/>
                    <a:pt x="132" y="75"/>
                  </a:cubicBezTo>
                  <a:cubicBezTo>
                    <a:pt x="125" y="75"/>
                    <a:pt x="117" y="74"/>
                    <a:pt x="110" y="75"/>
                  </a:cubicBezTo>
                  <a:cubicBezTo>
                    <a:pt x="103" y="75"/>
                    <a:pt x="95" y="76"/>
                    <a:pt x="88" y="76"/>
                  </a:cubicBezTo>
                  <a:cubicBezTo>
                    <a:pt x="73" y="76"/>
                    <a:pt x="59" y="76"/>
                    <a:pt x="44" y="76"/>
                  </a:cubicBezTo>
                  <a:cubicBezTo>
                    <a:pt x="37" y="76"/>
                    <a:pt x="31" y="75"/>
                    <a:pt x="24" y="75"/>
                  </a:cubicBezTo>
                  <a:cubicBezTo>
                    <a:pt x="21" y="75"/>
                    <a:pt x="17" y="76"/>
                    <a:pt x="14" y="76"/>
                  </a:cubicBezTo>
                  <a:cubicBezTo>
                    <a:pt x="12" y="76"/>
                    <a:pt x="10" y="76"/>
                    <a:pt x="9" y="76"/>
                  </a:cubicBezTo>
                  <a:cubicBezTo>
                    <a:pt x="10" y="72"/>
                    <a:pt x="10" y="67"/>
                    <a:pt x="10" y="63"/>
                  </a:cubicBezTo>
                  <a:cubicBezTo>
                    <a:pt x="10" y="57"/>
                    <a:pt x="9" y="51"/>
                    <a:pt x="8" y="45"/>
                  </a:cubicBezTo>
                  <a:cubicBezTo>
                    <a:pt x="8" y="39"/>
                    <a:pt x="7" y="33"/>
                    <a:pt x="7" y="27"/>
                  </a:cubicBezTo>
                  <a:cubicBezTo>
                    <a:pt x="6" y="24"/>
                    <a:pt x="6" y="22"/>
                    <a:pt x="6" y="20"/>
                  </a:cubicBezTo>
                  <a:cubicBezTo>
                    <a:pt x="6" y="20"/>
                    <a:pt x="7" y="20"/>
                    <a:pt x="7" y="19"/>
                  </a:cubicBezTo>
                  <a:cubicBezTo>
                    <a:pt x="7" y="17"/>
                    <a:pt x="7" y="14"/>
                    <a:pt x="9" y="12"/>
                  </a:cubicBezTo>
                  <a:cubicBezTo>
                    <a:pt x="9" y="12"/>
                    <a:pt x="9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0"/>
                    <a:pt x="13" y="10"/>
                    <a:pt x="14" y="10"/>
                  </a:cubicBezTo>
                  <a:cubicBezTo>
                    <a:pt x="22" y="9"/>
                    <a:pt x="29" y="9"/>
                    <a:pt x="36" y="10"/>
                  </a:cubicBezTo>
                  <a:cubicBezTo>
                    <a:pt x="52" y="11"/>
                    <a:pt x="68" y="10"/>
                    <a:pt x="83" y="10"/>
                  </a:cubicBezTo>
                  <a:cubicBezTo>
                    <a:pt x="99" y="10"/>
                    <a:pt x="115" y="10"/>
                    <a:pt x="130" y="9"/>
                  </a:cubicBezTo>
                  <a:cubicBezTo>
                    <a:pt x="145" y="8"/>
                    <a:pt x="160" y="7"/>
                    <a:pt x="174" y="7"/>
                  </a:cubicBezTo>
                  <a:cubicBezTo>
                    <a:pt x="175" y="7"/>
                    <a:pt x="175" y="7"/>
                    <a:pt x="175" y="7"/>
                  </a:cubicBezTo>
                  <a:cubicBezTo>
                    <a:pt x="175" y="9"/>
                    <a:pt x="176" y="11"/>
                    <a:pt x="176" y="13"/>
                  </a:cubicBezTo>
                  <a:cubicBezTo>
                    <a:pt x="176" y="16"/>
                    <a:pt x="175" y="19"/>
                    <a:pt x="175" y="22"/>
                  </a:cubicBezTo>
                  <a:cubicBezTo>
                    <a:pt x="174" y="28"/>
                    <a:pt x="174" y="35"/>
                    <a:pt x="174" y="41"/>
                  </a:cubicBezTo>
                  <a:cubicBezTo>
                    <a:pt x="174" y="48"/>
                    <a:pt x="174" y="55"/>
                    <a:pt x="174" y="62"/>
                  </a:cubicBezTo>
                  <a:cubicBezTo>
                    <a:pt x="173" y="65"/>
                    <a:pt x="173" y="68"/>
                    <a:pt x="173" y="72"/>
                  </a:cubicBezTo>
                  <a:cubicBezTo>
                    <a:pt x="167" y="73"/>
                    <a:pt x="161" y="73"/>
                    <a:pt x="155" y="7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1" name="ïs1iďe"/>
            <p:cNvSpPr/>
            <p:nvPr/>
          </p:nvSpPr>
          <p:spPr bwMode="auto">
            <a:xfrm>
              <a:off x="5362817" y="4651721"/>
              <a:ext cx="64364" cy="162600"/>
            </a:xfrm>
            <a:custGeom>
              <a:avLst/>
              <a:gdLst>
                <a:gd name="T0" fmla="*/ 7 w 9"/>
                <a:gd name="T1" fmla="*/ 2 h 23"/>
                <a:gd name="T2" fmla="*/ 3 w 9"/>
                <a:gd name="T3" fmla="*/ 1 h 23"/>
                <a:gd name="T4" fmla="*/ 1 w 9"/>
                <a:gd name="T5" fmla="*/ 9 h 23"/>
                <a:gd name="T6" fmla="*/ 1 w 9"/>
                <a:gd name="T7" fmla="*/ 19 h 23"/>
                <a:gd name="T8" fmla="*/ 8 w 9"/>
                <a:gd name="T9" fmla="*/ 19 h 23"/>
                <a:gd name="T10" fmla="*/ 8 w 9"/>
                <a:gd name="T11" fmla="*/ 10 h 23"/>
                <a:gd name="T12" fmla="*/ 7 w 9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3">
                  <a:moveTo>
                    <a:pt x="7" y="2"/>
                  </a:moveTo>
                  <a:cubicBezTo>
                    <a:pt x="7" y="0"/>
                    <a:pt x="4" y="0"/>
                    <a:pt x="3" y="1"/>
                  </a:cubicBezTo>
                  <a:cubicBezTo>
                    <a:pt x="1" y="4"/>
                    <a:pt x="1" y="6"/>
                    <a:pt x="1" y="9"/>
                  </a:cubicBezTo>
                  <a:cubicBezTo>
                    <a:pt x="0" y="13"/>
                    <a:pt x="0" y="16"/>
                    <a:pt x="1" y="19"/>
                  </a:cubicBezTo>
                  <a:cubicBezTo>
                    <a:pt x="1" y="23"/>
                    <a:pt x="7" y="23"/>
                    <a:pt x="8" y="19"/>
                  </a:cubicBezTo>
                  <a:cubicBezTo>
                    <a:pt x="9" y="16"/>
                    <a:pt x="8" y="13"/>
                    <a:pt x="8" y="10"/>
                  </a:cubicBezTo>
                  <a:cubicBezTo>
                    <a:pt x="8" y="7"/>
                    <a:pt x="7" y="5"/>
                    <a:pt x="7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2" name="íṡ1îḓê"/>
            <p:cNvSpPr/>
            <p:nvPr/>
          </p:nvSpPr>
          <p:spPr bwMode="auto">
            <a:xfrm>
              <a:off x="5467829" y="4644946"/>
              <a:ext cx="64364" cy="169375"/>
            </a:xfrm>
            <a:custGeom>
              <a:avLst/>
              <a:gdLst>
                <a:gd name="T0" fmla="*/ 2 w 9"/>
                <a:gd name="T1" fmla="*/ 3 h 24"/>
                <a:gd name="T2" fmla="*/ 1 w 9"/>
                <a:gd name="T3" fmla="*/ 20 h 24"/>
                <a:gd name="T4" fmla="*/ 4 w 9"/>
                <a:gd name="T5" fmla="*/ 24 h 24"/>
                <a:gd name="T6" fmla="*/ 6 w 9"/>
                <a:gd name="T7" fmla="*/ 24 h 24"/>
                <a:gd name="T8" fmla="*/ 9 w 9"/>
                <a:gd name="T9" fmla="*/ 20 h 24"/>
                <a:gd name="T10" fmla="*/ 7 w 9"/>
                <a:gd name="T11" fmla="*/ 3 h 24"/>
                <a:gd name="T12" fmla="*/ 2 w 9"/>
                <a:gd name="T1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4">
                  <a:moveTo>
                    <a:pt x="2" y="3"/>
                  </a:moveTo>
                  <a:cubicBezTo>
                    <a:pt x="0" y="8"/>
                    <a:pt x="1" y="14"/>
                    <a:pt x="1" y="20"/>
                  </a:cubicBezTo>
                  <a:cubicBezTo>
                    <a:pt x="1" y="21"/>
                    <a:pt x="2" y="23"/>
                    <a:pt x="4" y="24"/>
                  </a:cubicBezTo>
                  <a:cubicBezTo>
                    <a:pt x="5" y="24"/>
                    <a:pt x="5" y="24"/>
                    <a:pt x="6" y="24"/>
                  </a:cubicBezTo>
                  <a:cubicBezTo>
                    <a:pt x="8" y="23"/>
                    <a:pt x="9" y="21"/>
                    <a:pt x="9" y="20"/>
                  </a:cubicBezTo>
                  <a:cubicBezTo>
                    <a:pt x="9" y="14"/>
                    <a:pt x="9" y="8"/>
                    <a:pt x="7" y="3"/>
                  </a:cubicBezTo>
                  <a:cubicBezTo>
                    <a:pt x="6" y="0"/>
                    <a:pt x="3" y="0"/>
                    <a:pt x="2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3" name="íśḷíḓe"/>
            <p:cNvSpPr/>
            <p:nvPr/>
          </p:nvSpPr>
          <p:spPr bwMode="auto">
            <a:xfrm>
              <a:off x="5596554" y="4644946"/>
              <a:ext cx="64364" cy="176150"/>
            </a:xfrm>
            <a:custGeom>
              <a:avLst/>
              <a:gdLst>
                <a:gd name="T0" fmla="*/ 6 w 9"/>
                <a:gd name="T1" fmla="*/ 3 h 25"/>
                <a:gd name="T2" fmla="*/ 2 w 9"/>
                <a:gd name="T3" fmla="*/ 3 h 25"/>
                <a:gd name="T4" fmla="*/ 1 w 9"/>
                <a:gd name="T5" fmla="*/ 13 h 25"/>
                <a:gd name="T6" fmla="*/ 3 w 9"/>
                <a:gd name="T7" fmla="*/ 23 h 25"/>
                <a:gd name="T8" fmla="*/ 9 w 9"/>
                <a:gd name="T9" fmla="*/ 21 h 25"/>
                <a:gd name="T10" fmla="*/ 9 w 9"/>
                <a:gd name="T11" fmla="*/ 13 h 25"/>
                <a:gd name="T12" fmla="*/ 6 w 9"/>
                <a:gd name="T13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5">
                  <a:moveTo>
                    <a:pt x="6" y="3"/>
                  </a:moveTo>
                  <a:cubicBezTo>
                    <a:pt x="6" y="0"/>
                    <a:pt x="2" y="0"/>
                    <a:pt x="2" y="3"/>
                  </a:cubicBezTo>
                  <a:cubicBezTo>
                    <a:pt x="1" y="6"/>
                    <a:pt x="1" y="9"/>
                    <a:pt x="1" y="13"/>
                  </a:cubicBezTo>
                  <a:cubicBezTo>
                    <a:pt x="0" y="16"/>
                    <a:pt x="0" y="20"/>
                    <a:pt x="3" y="23"/>
                  </a:cubicBezTo>
                  <a:cubicBezTo>
                    <a:pt x="5" y="25"/>
                    <a:pt x="8" y="24"/>
                    <a:pt x="9" y="21"/>
                  </a:cubicBezTo>
                  <a:cubicBezTo>
                    <a:pt x="9" y="18"/>
                    <a:pt x="9" y="15"/>
                    <a:pt x="9" y="13"/>
                  </a:cubicBezTo>
                  <a:cubicBezTo>
                    <a:pt x="9" y="9"/>
                    <a:pt x="7" y="6"/>
                    <a:pt x="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4" name="ïśḻíḍê"/>
            <p:cNvSpPr/>
            <p:nvPr/>
          </p:nvSpPr>
          <p:spPr bwMode="auto">
            <a:xfrm>
              <a:off x="6453595" y="4651721"/>
              <a:ext cx="115175" cy="84689"/>
            </a:xfrm>
            <a:custGeom>
              <a:avLst/>
              <a:gdLst>
                <a:gd name="T0" fmla="*/ 8 w 16"/>
                <a:gd name="T1" fmla="*/ 0 h 12"/>
                <a:gd name="T2" fmla="*/ 8 w 16"/>
                <a:gd name="T3" fmla="*/ 12 h 12"/>
                <a:gd name="T4" fmla="*/ 8 w 1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cubicBezTo>
                    <a:pt x="0" y="0"/>
                    <a:pt x="0" y="12"/>
                    <a:pt x="8" y="12"/>
                  </a:cubicBezTo>
                  <a:cubicBezTo>
                    <a:pt x="16" y="12"/>
                    <a:pt x="16" y="0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5" name="iŝľíḑè"/>
            <p:cNvSpPr/>
            <p:nvPr/>
          </p:nvSpPr>
          <p:spPr bwMode="auto">
            <a:xfrm>
              <a:off x="6341806" y="4651721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6" name="íṣ1íďé"/>
            <p:cNvSpPr/>
            <p:nvPr/>
          </p:nvSpPr>
          <p:spPr bwMode="auto">
            <a:xfrm>
              <a:off x="6185981" y="4651721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7" name="ïşḷíḓe"/>
            <p:cNvSpPr/>
            <p:nvPr/>
          </p:nvSpPr>
          <p:spPr bwMode="auto">
            <a:xfrm>
              <a:off x="3899413" y="3852269"/>
              <a:ext cx="4386826" cy="1453242"/>
            </a:xfrm>
            <a:custGeom>
              <a:avLst/>
              <a:gdLst>
                <a:gd name="T0" fmla="*/ 609 w 623"/>
                <a:gd name="T1" fmla="*/ 82 h 207"/>
                <a:gd name="T2" fmla="*/ 597 w 623"/>
                <a:gd name="T3" fmla="*/ 78 h 207"/>
                <a:gd name="T4" fmla="*/ 586 w 623"/>
                <a:gd name="T5" fmla="*/ 72 h 207"/>
                <a:gd name="T6" fmla="*/ 575 w 623"/>
                <a:gd name="T7" fmla="*/ 62 h 207"/>
                <a:gd name="T8" fmla="*/ 578 w 623"/>
                <a:gd name="T9" fmla="*/ 59 h 207"/>
                <a:gd name="T10" fmla="*/ 561 w 623"/>
                <a:gd name="T11" fmla="*/ 61 h 207"/>
                <a:gd name="T12" fmla="*/ 547 w 623"/>
                <a:gd name="T13" fmla="*/ 79 h 207"/>
                <a:gd name="T14" fmla="*/ 505 w 623"/>
                <a:gd name="T15" fmla="*/ 84 h 207"/>
                <a:gd name="T16" fmla="*/ 456 w 623"/>
                <a:gd name="T17" fmla="*/ 64 h 207"/>
                <a:gd name="T18" fmla="*/ 407 w 623"/>
                <a:gd name="T19" fmla="*/ 0 h 207"/>
                <a:gd name="T20" fmla="*/ 288 w 623"/>
                <a:gd name="T21" fmla="*/ 3 h 207"/>
                <a:gd name="T22" fmla="*/ 218 w 623"/>
                <a:gd name="T23" fmla="*/ 6 h 207"/>
                <a:gd name="T24" fmla="*/ 176 w 623"/>
                <a:gd name="T25" fmla="*/ 18 h 207"/>
                <a:gd name="T26" fmla="*/ 155 w 623"/>
                <a:gd name="T27" fmla="*/ 34 h 207"/>
                <a:gd name="T28" fmla="*/ 121 w 623"/>
                <a:gd name="T29" fmla="*/ 44 h 207"/>
                <a:gd name="T30" fmla="*/ 91 w 623"/>
                <a:gd name="T31" fmla="*/ 66 h 207"/>
                <a:gd name="T32" fmla="*/ 51 w 623"/>
                <a:gd name="T33" fmla="*/ 62 h 207"/>
                <a:gd name="T34" fmla="*/ 42 w 623"/>
                <a:gd name="T35" fmla="*/ 37 h 207"/>
                <a:gd name="T36" fmla="*/ 24 w 623"/>
                <a:gd name="T37" fmla="*/ 68 h 207"/>
                <a:gd name="T38" fmla="*/ 3 w 623"/>
                <a:gd name="T39" fmla="*/ 66 h 207"/>
                <a:gd name="T40" fmla="*/ 18 w 623"/>
                <a:gd name="T41" fmla="*/ 83 h 207"/>
                <a:gd name="T42" fmla="*/ 21 w 623"/>
                <a:gd name="T43" fmla="*/ 91 h 207"/>
                <a:gd name="T44" fmla="*/ 14 w 623"/>
                <a:gd name="T45" fmla="*/ 114 h 207"/>
                <a:gd name="T46" fmla="*/ 28 w 623"/>
                <a:gd name="T47" fmla="*/ 101 h 207"/>
                <a:gd name="T48" fmla="*/ 42 w 623"/>
                <a:gd name="T49" fmla="*/ 117 h 207"/>
                <a:gd name="T50" fmla="*/ 65 w 623"/>
                <a:gd name="T51" fmla="*/ 82 h 207"/>
                <a:gd name="T52" fmla="*/ 130 w 623"/>
                <a:gd name="T53" fmla="*/ 85 h 207"/>
                <a:gd name="T54" fmla="*/ 146 w 623"/>
                <a:gd name="T55" fmla="*/ 57 h 207"/>
                <a:gd name="T56" fmla="*/ 163 w 623"/>
                <a:gd name="T57" fmla="*/ 44 h 207"/>
                <a:gd name="T58" fmla="*/ 176 w 623"/>
                <a:gd name="T59" fmla="*/ 71 h 207"/>
                <a:gd name="T60" fmla="*/ 301 w 623"/>
                <a:gd name="T61" fmla="*/ 205 h 207"/>
                <a:gd name="T62" fmla="*/ 357 w 623"/>
                <a:gd name="T63" fmla="*/ 190 h 207"/>
                <a:gd name="T64" fmla="*/ 411 w 623"/>
                <a:gd name="T65" fmla="*/ 67 h 207"/>
                <a:gd name="T66" fmla="*/ 451 w 623"/>
                <a:gd name="T67" fmla="*/ 76 h 207"/>
                <a:gd name="T68" fmla="*/ 503 w 623"/>
                <a:gd name="T69" fmla="*/ 95 h 207"/>
                <a:gd name="T70" fmla="*/ 569 w 623"/>
                <a:gd name="T71" fmla="*/ 111 h 207"/>
                <a:gd name="T72" fmla="*/ 592 w 623"/>
                <a:gd name="T73" fmla="*/ 115 h 207"/>
                <a:gd name="T74" fmla="*/ 591 w 623"/>
                <a:gd name="T75" fmla="*/ 109 h 207"/>
                <a:gd name="T76" fmla="*/ 608 w 623"/>
                <a:gd name="T77" fmla="*/ 102 h 207"/>
                <a:gd name="T78" fmla="*/ 617 w 623"/>
                <a:gd name="T79" fmla="*/ 93 h 207"/>
                <a:gd name="T80" fmla="*/ 49 w 623"/>
                <a:gd name="T81" fmla="*/ 88 h 207"/>
                <a:gd name="T82" fmla="*/ 33 w 623"/>
                <a:gd name="T83" fmla="*/ 74 h 207"/>
                <a:gd name="T84" fmla="*/ 128 w 623"/>
                <a:gd name="T85" fmla="*/ 68 h 207"/>
                <a:gd name="T86" fmla="*/ 120 w 623"/>
                <a:gd name="T87" fmla="*/ 55 h 207"/>
                <a:gd name="T88" fmla="*/ 399 w 623"/>
                <a:gd name="T89" fmla="*/ 58 h 207"/>
                <a:gd name="T90" fmla="*/ 378 w 623"/>
                <a:gd name="T91" fmla="*/ 144 h 207"/>
                <a:gd name="T92" fmla="*/ 339 w 623"/>
                <a:gd name="T93" fmla="*/ 185 h 207"/>
                <a:gd name="T94" fmla="*/ 228 w 623"/>
                <a:gd name="T95" fmla="*/ 176 h 207"/>
                <a:gd name="T96" fmla="*/ 187 w 623"/>
                <a:gd name="T97" fmla="*/ 23 h 207"/>
                <a:gd name="T98" fmla="*/ 202 w 623"/>
                <a:gd name="T99" fmla="*/ 18 h 207"/>
                <a:gd name="T100" fmla="*/ 286 w 623"/>
                <a:gd name="T101" fmla="*/ 16 h 207"/>
                <a:gd name="T102" fmla="*/ 400 w 623"/>
                <a:gd name="T103" fmla="*/ 28 h 207"/>
                <a:gd name="T104" fmla="*/ 475 w 623"/>
                <a:gd name="T105" fmla="*/ 93 h 207"/>
                <a:gd name="T106" fmla="*/ 492 w 623"/>
                <a:gd name="T107" fmla="*/ 86 h 207"/>
                <a:gd name="T108" fmla="*/ 570 w 623"/>
                <a:gd name="T109" fmla="*/ 97 h 207"/>
                <a:gd name="T110" fmla="*/ 561 w 623"/>
                <a:gd name="T111" fmla="*/ 95 h 207"/>
                <a:gd name="T112" fmla="*/ 579 w 623"/>
                <a:gd name="T113" fmla="*/ 84 h 207"/>
                <a:gd name="T114" fmla="*/ 583 w 623"/>
                <a:gd name="T115" fmla="*/ 88 h 207"/>
                <a:gd name="T116" fmla="*/ 582 w 623"/>
                <a:gd name="T117" fmla="*/ 90 h 207"/>
                <a:gd name="T118" fmla="*/ 579 w 623"/>
                <a:gd name="T119" fmla="*/ 94 h 207"/>
                <a:gd name="T120" fmla="*/ 571 w 623"/>
                <a:gd name="T121" fmla="*/ 9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23" h="207">
                  <a:moveTo>
                    <a:pt x="614" y="81"/>
                  </a:moveTo>
                  <a:cubicBezTo>
                    <a:pt x="613" y="81"/>
                    <a:pt x="612" y="81"/>
                    <a:pt x="611" y="81"/>
                  </a:cubicBezTo>
                  <a:cubicBezTo>
                    <a:pt x="611" y="81"/>
                    <a:pt x="611" y="81"/>
                    <a:pt x="610" y="81"/>
                  </a:cubicBezTo>
                  <a:cubicBezTo>
                    <a:pt x="610" y="82"/>
                    <a:pt x="610" y="82"/>
                    <a:pt x="609" y="82"/>
                  </a:cubicBezTo>
                  <a:cubicBezTo>
                    <a:pt x="607" y="82"/>
                    <a:pt x="604" y="82"/>
                    <a:pt x="602" y="82"/>
                  </a:cubicBezTo>
                  <a:cubicBezTo>
                    <a:pt x="600" y="82"/>
                    <a:pt x="598" y="82"/>
                    <a:pt x="595" y="83"/>
                  </a:cubicBezTo>
                  <a:cubicBezTo>
                    <a:pt x="595" y="82"/>
                    <a:pt x="595" y="81"/>
                    <a:pt x="594" y="80"/>
                  </a:cubicBezTo>
                  <a:cubicBezTo>
                    <a:pt x="595" y="79"/>
                    <a:pt x="596" y="79"/>
                    <a:pt x="597" y="78"/>
                  </a:cubicBezTo>
                  <a:cubicBezTo>
                    <a:pt x="602" y="75"/>
                    <a:pt x="607" y="73"/>
                    <a:pt x="610" y="68"/>
                  </a:cubicBezTo>
                  <a:cubicBezTo>
                    <a:pt x="614" y="62"/>
                    <a:pt x="605" y="55"/>
                    <a:pt x="600" y="60"/>
                  </a:cubicBezTo>
                  <a:cubicBezTo>
                    <a:pt x="597" y="63"/>
                    <a:pt x="594" y="65"/>
                    <a:pt x="590" y="68"/>
                  </a:cubicBezTo>
                  <a:cubicBezTo>
                    <a:pt x="589" y="69"/>
                    <a:pt x="587" y="70"/>
                    <a:pt x="586" y="72"/>
                  </a:cubicBezTo>
                  <a:cubicBezTo>
                    <a:pt x="583" y="71"/>
                    <a:pt x="581" y="70"/>
                    <a:pt x="579" y="69"/>
                  </a:cubicBezTo>
                  <a:cubicBezTo>
                    <a:pt x="577" y="69"/>
                    <a:pt x="574" y="68"/>
                    <a:pt x="571" y="68"/>
                  </a:cubicBezTo>
                  <a:cubicBezTo>
                    <a:pt x="572" y="67"/>
                    <a:pt x="572" y="67"/>
                    <a:pt x="572" y="67"/>
                  </a:cubicBezTo>
                  <a:cubicBezTo>
                    <a:pt x="573" y="66"/>
                    <a:pt x="574" y="64"/>
                    <a:pt x="575" y="62"/>
                  </a:cubicBezTo>
                  <a:cubicBezTo>
                    <a:pt x="576" y="61"/>
                    <a:pt x="576" y="61"/>
                    <a:pt x="576" y="60"/>
                  </a:cubicBezTo>
                  <a:cubicBezTo>
                    <a:pt x="577" y="60"/>
                    <a:pt x="577" y="60"/>
                    <a:pt x="577" y="59"/>
                  </a:cubicBezTo>
                  <a:cubicBezTo>
                    <a:pt x="577" y="59"/>
                    <a:pt x="578" y="59"/>
                    <a:pt x="578" y="59"/>
                  </a:cubicBezTo>
                  <a:cubicBezTo>
                    <a:pt x="578" y="59"/>
                    <a:pt x="578" y="59"/>
                    <a:pt x="578" y="59"/>
                  </a:cubicBezTo>
                  <a:cubicBezTo>
                    <a:pt x="580" y="57"/>
                    <a:pt x="582" y="54"/>
                    <a:pt x="581" y="51"/>
                  </a:cubicBezTo>
                  <a:cubicBezTo>
                    <a:pt x="580" y="48"/>
                    <a:pt x="576" y="45"/>
                    <a:pt x="573" y="47"/>
                  </a:cubicBezTo>
                  <a:cubicBezTo>
                    <a:pt x="567" y="49"/>
                    <a:pt x="565" y="54"/>
                    <a:pt x="562" y="59"/>
                  </a:cubicBezTo>
                  <a:cubicBezTo>
                    <a:pt x="562" y="60"/>
                    <a:pt x="561" y="61"/>
                    <a:pt x="561" y="61"/>
                  </a:cubicBezTo>
                  <a:cubicBezTo>
                    <a:pt x="560" y="62"/>
                    <a:pt x="560" y="63"/>
                    <a:pt x="560" y="63"/>
                  </a:cubicBezTo>
                  <a:cubicBezTo>
                    <a:pt x="561" y="62"/>
                    <a:pt x="560" y="64"/>
                    <a:pt x="560" y="64"/>
                  </a:cubicBezTo>
                  <a:cubicBezTo>
                    <a:pt x="559" y="66"/>
                    <a:pt x="558" y="67"/>
                    <a:pt x="557" y="69"/>
                  </a:cubicBezTo>
                  <a:cubicBezTo>
                    <a:pt x="552" y="71"/>
                    <a:pt x="549" y="75"/>
                    <a:pt x="547" y="79"/>
                  </a:cubicBezTo>
                  <a:cubicBezTo>
                    <a:pt x="547" y="79"/>
                    <a:pt x="547" y="79"/>
                    <a:pt x="547" y="79"/>
                  </a:cubicBezTo>
                  <a:cubicBezTo>
                    <a:pt x="539" y="80"/>
                    <a:pt x="531" y="80"/>
                    <a:pt x="523" y="82"/>
                  </a:cubicBezTo>
                  <a:cubicBezTo>
                    <a:pt x="519" y="82"/>
                    <a:pt x="514" y="83"/>
                    <a:pt x="510" y="84"/>
                  </a:cubicBezTo>
                  <a:cubicBezTo>
                    <a:pt x="508" y="84"/>
                    <a:pt x="507" y="84"/>
                    <a:pt x="505" y="84"/>
                  </a:cubicBezTo>
                  <a:cubicBezTo>
                    <a:pt x="505" y="79"/>
                    <a:pt x="503" y="75"/>
                    <a:pt x="500" y="72"/>
                  </a:cubicBezTo>
                  <a:cubicBezTo>
                    <a:pt x="494" y="65"/>
                    <a:pt x="485" y="65"/>
                    <a:pt x="477" y="66"/>
                  </a:cubicBezTo>
                  <a:cubicBezTo>
                    <a:pt x="472" y="64"/>
                    <a:pt x="467" y="66"/>
                    <a:pt x="463" y="70"/>
                  </a:cubicBezTo>
                  <a:cubicBezTo>
                    <a:pt x="461" y="68"/>
                    <a:pt x="458" y="66"/>
                    <a:pt x="456" y="64"/>
                  </a:cubicBezTo>
                  <a:cubicBezTo>
                    <a:pt x="449" y="58"/>
                    <a:pt x="444" y="50"/>
                    <a:pt x="438" y="43"/>
                  </a:cubicBezTo>
                  <a:cubicBezTo>
                    <a:pt x="429" y="34"/>
                    <a:pt x="417" y="27"/>
                    <a:pt x="411" y="15"/>
                  </a:cubicBezTo>
                  <a:cubicBezTo>
                    <a:pt x="411" y="14"/>
                    <a:pt x="411" y="13"/>
                    <a:pt x="411" y="12"/>
                  </a:cubicBezTo>
                  <a:cubicBezTo>
                    <a:pt x="415" y="8"/>
                    <a:pt x="414" y="0"/>
                    <a:pt x="407" y="0"/>
                  </a:cubicBezTo>
                  <a:cubicBezTo>
                    <a:pt x="397" y="0"/>
                    <a:pt x="388" y="1"/>
                    <a:pt x="379" y="1"/>
                  </a:cubicBezTo>
                  <a:cubicBezTo>
                    <a:pt x="369" y="2"/>
                    <a:pt x="358" y="1"/>
                    <a:pt x="349" y="1"/>
                  </a:cubicBezTo>
                  <a:cubicBezTo>
                    <a:pt x="338" y="2"/>
                    <a:pt x="328" y="3"/>
                    <a:pt x="318" y="3"/>
                  </a:cubicBezTo>
                  <a:cubicBezTo>
                    <a:pt x="308" y="3"/>
                    <a:pt x="298" y="3"/>
                    <a:pt x="288" y="3"/>
                  </a:cubicBezTo>
                  <a:cubicBezTo>
                    <a:pt x="279" y="4"/>
                    <a:pt x="269" y="4"/>
                    <a:pt x="259" y="5"/>
                  </a:cubicBezTo>
                  <a:cubicBezTo>
                    <a:pt x="254" y="5"/>
                    <a:pt x="250" y="5"/>
                    <a:pt x="245" y="5"/>
                  </a:cubicBezTo>
                  <a:cubicBezTo>
                    <a:pt x="240" y="5"/>
                    <a:pt x="235" y="6"/>
                    <a:pt x="230" y="6"/>
                  </a:cubicBezTo>
                  <a:cubicBezTo>
                    <a:pt x="226" y="7"/>
                    <a:pt x="222" y="6"/>
                    <a:pt x="218" y="6"/>
                  </a:cubicBezTo>
                  <a:cubicBezTo>
                    <a:pt x="214" y="6"/>
                    <a:pt x="210" y="7"/>
                    <a:pt x="205" y="7"/>
                  </a:cubicBezTo>
                  <a:cubicBezTo>
                    <a:pt x="198" y="7"/>
                    <a:pt x="190" y="6"/>
                    <a:pt x="182" y="5"/>
                  </a:cubicBezTo>
                  <a:cubicBezTo>
                    <a:pt x="181" y="5"/>
                    <a:pt x="180" y="5"/>
                    <a:pt x="179" y="6"/>
                  </a:cubicBezTo>
                  <a:cubicBezTo>
                    <a:pt x="177" y="10"/>
                    <a:pt x="176" y="14"/>
                    <a:pt x="176" y="18"/>
                  </a:cubicBezTo>
                  <a:cubicBezTo>
                    <a:pt x="173" y="21"/>
                    <a:pt x="169" y="24"/>
                    <a:pt x="165" y="26"/>
                  </a:cubicBezTo>
                  <a:cubicBezTo>
                    <a:pt x="162" y="28"/>
                    <a:pt x="160" y="30"/>
                    <a:pt x="158" y="31"/>
                  </a:cubicBezTo>
                  <a:cubicBezTo>
                    <a:pt x="160" y="30"/>
                    <a:pt x="158" y="32"/>
                    <a:pt x="157" y="32"/>
                  </a:cubicBezTo>
                  <a:cubicBezTo>
                    <a:pt x="156" y="33"/>
                    <a:pt x="155" y="33"/>
                    <a:pt x="155" y="34"/>
                  </a:cubicBezTo>
                  <a:cubicBezTo>
                    <a:pt x="150" y="37"/>
                    <a:pt x="146" y="40"/>
                    <a:pt x="142" y="43"/>
                  </a:cubicBezTo>
                  <a:cubicBezTo>
                    <a:pt x="141" y="44"/>
                    <a:pt x="138" y="46"/>
                    <a:pt x="136" y="48"/>
                  </a:cubicBezTo>
                  <a:cubicBezTo>
                    <a:pt x="132" y="45"/>
                    <a:pt x="128" y="44"/>
                    <a:pt x="124" y="44"/>
                  </a:cubicBezTo>
                  <a:cubicBezTo>
                    <a:pt x="123" y="44"/>
                    <a:pt x="122" y="44"/>
                    <a:pt x="121" y="44"/>
                  </a:cubicBezTo>
                  <a:cubicBezTo>
                    <a:pt x="120" y="43"/>
                    <a:pt x="119" y="43"/>
                    <a:pt x="118" y="43"/>
                  </a:cubicBezTo>
                  <a:cubicBezTo>
                    <a:pt x="110" y="42"/>
                    <a:pt x="102" y="50"/>
                    <a:pt x="99" y="58"/>
                  </a:cubicBezTo>
                  <a:cubicBezTo>
                    <a:pt x="98" y="60"/>
                    <a:pt x="98" y="63"/>
                    <a:pt x="98" y="66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5" y="67"/>
                    <a:pt x="80" y="67"/>
                    <a:pt x="75" y="67"/>
                  </a:cubicBezTo>
                  <a:cubicBezTo>
                    <a:pt x="71" y="68"/>
                    <a:pt x="67" y="69"/>
                    <a:pt x="63" y="69"/>
                  </a:cubicBezTo>
                  <a:cubicBezTo>
                    <a:pt x="62" y="69"/>
                    <a:pt x="62" y="69"/>
                    <a:pt x="61" y="69"/>
                  </a:cubicBezTo>
                  <a:cubicBezTo>
                    <a:pt x="58" y="66"/>
                    <a:pt x="54" y="64"/>
                    <a:pt x="51" y="62"/>
                  </a:cubicBezTo>
                  <a:cubicBezTo>
                    <a:pt x="49" y="62"/>
                    <a:pt x="48" y="61"/>
                    <a:pt x="46" y="61"/>
                  </a:cubicBezTo>
                  <a:cubicBezTo>
                    <a:pt x="46" y="59"/>
                    <a:pt x="46" y="56"/>
                    <a:pt x="47" y="53"/>
                  </a:cubicBezTo>
                  <a:cubicBezTo>
                    <a:pt x="47" y="50"/>
                    <a:pt x="48" y="45"/>
                    <a:pt x="48" y="41"/>
                  </a:cubicBezTo>
                  <a:cubicBezTo>
                    <a:pt x="48" y="39"/>
                    <a:pt x="45" y="36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39" y="38"/>
                    <a:pt x="38" y="41"/>
                    <a:pt x="39" y="43"/>
                  </a:cubicBezTo>
                  <a:cubicBezTo>
                    <a:pt x="38" y="48"/>
                    <a:pt x="36" y="55"/>
                    <a:pt x="38" y="61"/>
                  </a:cubicBezTo>
                  <a:cubicBezTo>
                    <a:pt x="32" y="62"/>
                    <a:pt x="27" y="64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1" y="67"/>
                    <a:pt x="19" y="65"/>
                    <a:pt x="17" y="65"/>
                  </a:cubicBezTo>
                  <a:cubicBezTo>
                    <a:pt x="14" y="64"/>
                    <a:pt x="10" y="62"/>
                    <a:pt x="7" y="63"/>
                  </a:cubicBezTo>
                  <a:cubicBezTo>
                    <a:pt x="5" y="63"/>
                    <a:pt x="4" y="65"/>
                    <a:pt x="3" y="66"/>
                  </a:cubicBezTo>
                  <a:cubicBezTo>
                    <a:pt x="2" y="72"/>
                    <a:pt x="8" y="72"/>
                    <a:pt x="12" y="74"/>
                  </a:cubicBezTo>
                  <a:cubicBezTo>
                    <a:pt x="14" y="74"/>
                    <a:pt x="17" y="76"/>
                    <a:pt x="20" y="77"/>
                  </a:cubicBezTo>
                  <a:cubicBezTo>
                    <a:pt x="19" y="79"/>
                    <a:pt x="19" y="81"/>
                    <a:pt x="19" y="83"/>
                  </a:cubicBezTo>
                  <a:cubicBezTo>
                    <a:pt x="19" y="83"/>
                    <a:pt x="18" y="83"/>
                    <a:pt x="18" y="83"/>
                  </a:cubicBezTo>
                  <a:cubicBezTo>
                    <a:pt x="14" y="82"/>
                    <a:pt x="10" y="82"/>
                    <a:pt x="7" y="83"/>
                  </a:cubicBezTo>
                  <a:cubicBezTo>
                    <a:pt x="0" y="83"/>
                    <a:pt x="0" y="92"/>
                    <a:pt x="7" y="92"/>
                  </a:cubicBezTo>
                  <a:cubicBezTo>
                    <a:pt x="10" y="92"/>
                    <a:pt x="14" y="92"/>
                    <a:pt x="17" y="92"/>
                  </a:cubicBezTo>
                  <a:cubicBezTo>
                    <a:pt x="18" y="92"/>
                    <a:pt x="19" y="92"/>
                    <a:pt x="21" y="91"/>
                  </a:cubicBezTo>
                  <a:cubicBezTo>
                    <a:pt x="21" y="93"/>
                    <a:pt x="22" y="94"/>
                    <a:pt x="23" y="95"/>
                  </a:cubicBezTo>
                  <a:cubicBezTo>
                    <a:pt x="21" y="96"/>
                    <a:pt x="19" y="97"/>
                    <a:pt x="18" y="98"/>
                  </a:cubicBezTo>
                  <a:cubicBezTo>
                    <a:pt x="14" y="102"/>
                    <a:pt x="7" y="104"/>
                    <a:pt x="7" y="110"/>
                  </a:cubicBezTo>
                  <a:cubicBezTo>
                    <a:pt x="7" y="113"/>
                    <a:pt x="11" y="116"/>
                    <a:pt x="14" y="114"/>
                  </a:cubicBezTo>
                  <a:cubicBezTo>
                    <a:pt x="16" y="113"/>
                    <a:pt x="17" y="111"/>
                    <a:pt x="18" y="110"/>
                  </a:cubicBezTo>
                  <a:cubicBezTo>
                    <a:pt x="20" y="109"/>
                    <a:pt x="22" y="107"/>
                    <a:pt x="24" y="106"/>
                  </a:cubicBezTo>
                  <a:cubicBezTo>
                    <a:pt x="25" y="104"/>
                    <a:pt x="27" y="103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1" y="103"/>
                    <a:pt x="33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4" y="109"/>
                    <a:pt x="33" y="113"/>
                    <a:pt x="34" y="117"/>
                  </a:cubicBezTo>
                  <a:cubicBezTo>
                    <a:pt x="35" y="121"/>
                    <a:pt x="40" y="120"/>
                    <a:pt x="42" y="117"/>
                  </a:cubicBezTo>
                  <a:cubicBezTo>
                    <a:pt x="43" y="114"/>
                    <a:pt x="43" y="111"/>
                    <a:pt x="44" y="108"/>
                  </a:cubicBezTo>
                  <a:cubicBezTo>
                    <a:pt x="44" y="107"/>
                    <a:pt x="45" y="106"/>
                    <a:pt x="45" y="105"/>
                  </a:cubicBezTo>
                  <a:cubicBezTo>
                    <a:pt x="46" y="105"/>
                    <a:pt x="48" y="104"/>
                    <a:pt x="49" y="104"/>
                  </a:cubicBezTo>
                  <a:cubicBezTo>
                    <a:pt x="58" y="100"/>
                    <a:pt x="65" y="92"/>
                    <a:pt x="65" y="82"/>
                  </a:cubicBezTo>
                  <a:cubicBezTo>
                    <a:pt x="69" y="82"/>
                    <a:pt x="72" y="82"/>
                    <a:pt x="76" y="81"/>
                  </a:cubicBezTo>
                  <a:cubicBezTo>
                    <a:pt x="84" y="79"/>
                    <a:pt x="93" y="80"/>
                    <a:pt x="101" y="77"/>
                  </a:cubicBezTo>
                  <a:cubicBezTo>
                    <a:pt x="102" y="78"/>
                    <a:pt x="103" y="80"/>
                    <a:pt x="105" y="82"/>
                  </a:cubicBezTo>
                  <a:cubicBezTo>
                    <a:pt x="111" y="89"/>
                    <a:pt x="121" y="89"/>
                    <a:pt x="130" y="85"/>
                  </a:cubicBezTo>
                  <a:cubicBezTo>
                    <a:pt x="139" y="81"/>
                    <a:pt x="144" y="70"/>
                    <a:pt x="142" y="60"/>
                  </a:cubicBezTo>
                  <a:cubicBezTo>
                    <a:pt x="143" y="60"/>
                    <a:pt x="143" y="60"/>
                    <a:pt x="143" y="60"/>
                  </a:cubicBezTo>
                  <a:cubicBezTo>
                    <a:pt x="143" y="60"/>
                    <a:pt x="147" y="56"/>
                    <a:pt x="145" y="59"/>
                  </a:cubicBezTo>
                  <a:cubicBezTo>
                    <a:pt x="145" y="58"/>
                    <a:pt x="146" y="57"/>
                    <a:pt x="146" y="57"/>
                  </a:cubicBezTo>
                  <a:cubicBezTo>
                    <a:pt x="147" y="56"/>
                    <a:pt x="148" y="56"/>
                    <a:pt x="149" y="55"/>
                  </a:cubicBezTo>
                  <a:cubicBezTo>
                    <a:pt x="149" y="55"/>
                    <a:pt x="149" y="54"/>
                    <a:pt x="150" y="54"/>
                  </a:cubicBezTo>
                  <a:cubicBezTo>
                    <a:pt x="150" y="54"/>
                    <a:pt x="151" y="53"/>
                    <a:pt x="151" y="53"/>
                  </a:cubicBezTo>
                  <a:cubicBezTo>
                    <a:pt x="155" y="50"/>
                    <a:pt x="159" y="47"/>
                    <a:pt x="163" y="44"/>
                  </a:cubicBezTo>
                  <a:cubicBezTo>
                    <a:pt x="167" y="41"/>
                    <a:pt x="171" y="39"/>
                    <a:pt x="175" y="36"/>
                  </a:cubicBezTo>
                  <a:cubicBezTo>
                    <a:pt x="175" y="36"/>
                    <a:pt x="176" y="35"/>
                    <a:pt x="176" y="35"/>
                  </a:cubicBezTo>
                  <a:cubicBezTo>
                    <a:pt x="176" y="36"/>
                    <a:pt x="176" y="37"/>
                    <a:pt x="176" y="38"/>
                  </a:cubicBezTo>
                  <a:cubicBezTo>
                    <a:pt x="176" y="49"/>
                    <a:pt x="177" y="60"/>
                    <a:pt x="176" y="71"/>
                  </a:cubicBezTo>
                  <a:cubicBezTo>
                    <a:pt x="176" y="91"/>
                    <a:pt x="175" y="112"/>
                    <a:pt x="182" y="132"/>
                  </a:cubicBezTo>
                  <a:cubicBezTo>
                    <a:pt x="187" y="150"/>
                    <a:pt x="199" y="166"/>
                    <a:pt x="212" y="179"/>
                  </a:cubicBezTo>
                  <a:cubicBezTo>
                    <a:pt x="226" y="192"/>
                    <a:pt x="243" y="202"/>
                    <a:pt x="262" y="205"/>
                  </a:cubicBezTo>
                  <a:cubicBezTo>
                    <a:pt x="275" y="207"/>
                    <a:pt x="288" y="207"/>
                    <a:pt x="301" y="205"/>
                  </a:cubicBezTo>
                  <a:cubicBezTo>
                    <a:pt x="308" y="204"/>
                    <a:pt x="315" y="203"/>
                    <a:pt x="322" y="201"/>
                  </a:cubicBezTo>
                  <a:cubicBezTo>
                    <a:pt x="327" y="200"/>
                    <a:pt x="332" y="199"/>
                    <a:pt x="337" y="196"/>
                  </a:cubicBezTo>
                  <a:cubicBezTo>
                    <a:pt x="340" y="197"/>
                    <a:pt x="343" y="197"/>
                    <a:pt x="346" y="195"/>
                  </a:cubicBezTo>
                  <a:cubicBezTo>
                    <a:pt x="350" y="194"/>
                    <a:pt x="354" y="192"/>
                    <a:pt x="357" y="190"/>
                  </a:cubicBezTo>
                  <a:cubicBezTo>
                    <a:pt x="364" y="186"/>
                    <a:pt x="370" y="181"/>
                    <a:pt x="375" y="175"/>
                  </a:cubicBezTo>
                  <a:cubicBezTo>
                    <a:pt x="380" y="170"/>
                    <a:pt x="384" y="163"/>
                    <a:pt x="387" y="156"/>
                  </a:cubicBezTo>
                  <a:cubicBezTo>
                    <a:pt x="392" y="146"/>
                    <a:pt x="395" y="136"/>
                    <a:pt x="399" y="126"/>
                  </a:cubicBezTo>
                  <a:cubicBezTo>
                    <a:pt x="405" y="107"/>
                    <a:pt x="408" y="87"/>
                    <a:pt x="411" y="67"/>
                  </a:cubicBezTo>
                  <a:cubicBezTo>
                    <a:pt x="413" y="56"/>
                    <a:pt x="413" y="46"/>
                    <a:pt x="413" y="35"/>
                  </a:cubicBezTo>
                  <a:cubicBezTo>
                    <a:pt x="417" y="40"/>
                    <a:pt x="421" y="44"/>
                    <a:pt x="426" y="48"/>
                  </a:cubicBezTo>
                  <a:cubicBezTo>
                    <a:pt x="432" y="54"/>
                    <a:pt x="437" y="62"/>
                    <a:pt x="443" y="68"/>
                  </a:cubicBezTo>
                  <a:cubicBezTo>
                    <a:pt x="446" y="71"/>
                    <a:pt x="448" y="74"/>
                    <a:pt x="451" y="76"/>
                  </a:cubicBezTo>
                  <a:cubicBezTo>
                    <a:pt x="453" y="79"/>
                    <a:pt x="454" y="82"/>
                    <a:pt x="457" y="84"/>
                  </a:cubicBezTo>
                  <a:cubicBezTo>
                    <a:pt x="457" y="89"/>
                    <a:pt x="459" y="94"/>
                    <a:pt x="462" y="98"/>
                  </a:cubicBezTo>
                  <a:cubicBezTo>
                    <a:pt x="467" y="105"/>
                    <a:pt x="476" y="110"/>
                    <a:pt x="484" y="109"/>
                  </a:cubicBezTo>
                  <a:cubicBezTo>
                    <a:pt x="492" y="108"/>
                    <a:pt x="500" y="103"/>
                    <a:pt x="503" y="95"/>
                  </a:cubicBezTo>
                  <a:cubicBezTo>
                    <a:pt x="503" y="95"/>
                    <a:pt x="503" y="95"/>
                    <a:pt x="503" y="95"/>
                  </a:cubicBezTo>
                  <a:cubicBezTo>
                    <a:pt x="509" y="96"/>
                    <a:pt x="515" y="95"/>
                    <a:pt x="521" y="95"/>
                  </a:cubicBezTo>
                  <a:cubicBezTo>
                    <a:pt x="529" y="94"/>
                    <a:pt x="537" y="93"/>
                    <a:pt x="545" y="93"/>
                  </a:cubicBezTo>
                  <a:cubicBezTo>
                    <a:pt x="547" y="104"/>
                    <a:pt x="558" y="111"/>
                    <a:pt x="569" y="111"/>
                  </a:cubicBezTo>
                  <a:cubicBezTo>
                    <a:pt x="571" y="111"/>
                    <a:pt x="572" y="111"/>
                    <a:pt x="573" y="110"/>
                  </a:cubicBezTo>
                  <a:cubicBezTo>
                    <a:pt x="574" y="112"/>
                    <a:pt x="575" y="114"/>
                    <a:pt x="577" y="116"/>
                  </a:cubicBezTo>
                  <a:cubicBezTo>
                    <a:pt x="579" y="119"/>
                    <a:pt x="581" y="123"/>
                    <a:pt x="584" y="125"/>
                  </a:cubicBezTo>
                  <a:cubicBezTo>
                    <a:pt x="590" y="128"/>
                    <a:pt x="597" y="120"/>
                    <a:pt x="592" y="115"/>
                  </a:cubicBezTo>
                  <a:cubicBezTo>
                    <a:pt x="589" y="113"/>
                    <a:pt x="587" y="112"/>
                    <a:pt x="585" y="110"/>
                  </a:cubicBezTo>
                  <a:cubicBezTo>
                    <a:pt x="584" y="109"/>
                    <a:pt x="583" y="108"/>
                    <a:pt x="582" y="107"/>
                  </a:cubicBezTo>
                  <a:cubicBezTo>
                    <a:pt x="583" y="107"/>
                    <a:pt x="584" y="106"/>
                    <a:pt x="585" y="106"/>
                  </a:cubicBezTo>
                  <a:cubicBezTo>
                    <a:pt x="587" y="107"/>
                    <a:pt x="590" y="108"/>
                    <a:pt x="591" y="109"/>
                  </a:cubicBezTo>
                  <a:cubicBezTo>
                    <a:pt x="595" y="112"/>
                    <a:pt x="600" y="114"/>
                    <a:pt x="605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7" y="115"/>
                    <a:pt x="609" y="115"/>
                    <a:pt x="611" y="113"/>
                  </a:cubicBezTo>
                  <a:cubicBezTo>
                    <a:pt x="615" y="109"/>
                    <a:pt x="613" y="103"/>
                    <a:pt x="608" y="102"/>
                  </a:cubicBezTo>
                  <a:cubicBezTo>
                    <a:pt x="603" y="100"/>
                    <a:pt x="598" y="99"/>
                    <a:pt x="594" y="98"/>
                  </a:cubicBezTo>
                  <a:cubicBezTo>
                    <a:pt x="594" y="96"/>
                    <a:pt x="595" y="95"/>
                    <a:pt x="596" y="94"/>
                  </a:cubicBezTo>
                  <a:cubicBezTo>
                    <a:pt x="598" y="94"/>
                    <a:pt x="601" y="94"/>
                    <a:pt x="603" y="94"/>
                  </a:cubicBezTo>
                  <a:cubicBezTo>
                    <a:pt x="607" y="95"/>
                    <a:pt x="614" y="95"/>
                    <a:pt x="617" y="93"/>
                  </a:cubicBezTo>
                  <a:cubicBezTo>
                    <a:pt x="623" y="90"/>
                    <a:pt x="621" y="81"/>
                    <a:pt x="614" y="81"/>
                  </a:cubicBezTo>
                  <a:close/>
                  <a:moveTo>
                    <a:pt x="51" y="85"/>
                  </a:moveTo>
                  <a:cubicBezTo>
                    <a:pt x="51" y="85"/>
                    <a:pt x="51" y="85"/>
                    <a:pt x="51" y="85"/>
                  </a:cubicBezTo>
                  <a:cubicBezTo>
                    <a:pt x="50" y="87"/>
                    <a:pt x="50" y="87"/>
                    <a:pt x="49" y="88"/>
                  </a:cubicBezTo>
                  <a:cubicBezTo>
                    <a:pt x="48" y="89"/>
                    <a:pt x="47" y="90"/>
                    <a:pt x="45" y="91"/>
                  </a:cubicBezTo>
                  <a:cubicBezTo>
                    <a:pt x="44" y="91"/>
                    <a:pt x="41" y="92"/>
                    <a:pt x="39" y="91"/>
                  </a:cubicBezTo>
                  <a:cubicBezTo>
                    <a:pt x="36" y="91"/>
                    <a:pt x="34" y="88"/>
                    <a:pt x="32" y="85"/>
                  </a:cubicBezTo>
                  <a:cubicBezTo>
                    <a:pt x="30" y="81"/>
                    <a:pt x="31" y="77"/>
                    <a:pt x="33" y="74"/>
                  </a:cubicBezTo>
                  <a:cubicBezTo>
                    <a:pt x="36" y="75"/>
                    <a:pt x="41" y="74"/>
                    <a:pt x="44" y="75"/>
                  </a:cubicBezTo>
                  <a:cubicBezTo>
                    <a:pt x="48" y="75"/>
                    <a:pt x="51" y="78"/>
                    <a:pt x="52" y="80"/>
                  </a:cubicBezTo>
                  <a:cubicBezTo>
                    <a:pt x="52" y="82"/>
                    <a:pt x="52" y="83"/>
                    <a:pt x="51" y="85"/>
                  </a:cubicBezTo>
                  <a:close/>
                  <a:moveTo>
                    <a:pt x="128" y="68"/>
                  </a:moveTo>
                  <a:cubicBezTo>
                    <a:pt x="128" y="68"/>
                    <a:pt x="128" y="68"/>
                    <a:pt x="128" y="68"/>
                  </a:cubicBezTo>
                  <a:cubicBezTo>
                    <a:pt x="126" y="74"/>
                    <a:pt x="120" y="76"/>
                    <a:pt x="115" y="73"/>
                  </a:cubicBezTo>
                  <a:cubicBezTo>
                    <a:pt x="110" y="70"/>
                    <a:pt x="111" y="62"/>
                    <a:pt x="114" y="59"/>
                  </a:cubicBezTo>
                  <a:cubicBezTo>
                    <a:pt x="116" y="57"/>
                    <a:pt x="118" y="56"/>
                    <a:pt x="120" y="55"/>
                  </a:cubicBezTo>
                  <a:cubicBezTo>
                    <a:pt x="122" y="55"/>
                    <a:pt x="124" y="56"/>
                    <a:pt x="125" y="56"/>
                  </a:cubicBezTo>
                  <a:cubicBezTo>
                    <a:pt x="126" y="57"/>
                    <a:pt x="128" y="58"/>
                    <a:pt x="129" y="60"/>
                  </a:cubicBezTo>
                  <a:cubicBezTo>
                    <a:pt x="130" y="61"/>
                    <a:pt x="129" y="65"/>
                    <a:pt x="128" y="68"/>
                  </a:cubicBezTo>
                  <a:close/>
                  <a:moveTo>
                    <a:pt x="399" y="58"/>
                  </a:moveTo>
                  <a:cubicBezTo>
                    <a:pt x="399" y="58"/>
                    <a:pt x="399" y="58"/>
                    <a:pt x="399" y="58"/>
                  </a:cubicBezTo>
                  <a:cubicBezTo>
                    <a:pt x="398" y="68"/>
                    <a:pt x="396" y="78"/>
                    <a:pt x="394" y="87"/>
                  </a:cubicBezTo>
                  <a:cubicBezTo>
                    <a:pt x="393" y="97"/>
                    <a:pt x="391" y="107"/>
                    <a:pt x="388" y="117"/>
                  </a:cubicBezTo>
                  <a:cubicBezTo>
                    <a:pt x="385" y="126"/>
                    <a:pt x="382" y="135"/>
                    <a:pt x="378" y="144"/>
                  </a:cubicBezTo>
                  <a:cubicBezTo>
                    <a:pt x="374" y="151"/>
                    <a:pt x="371" y="158"/>
                    <a:pt x="366" y="164"/>
                  </a:cubicBezTo>
                  <a:cubicBezTo>
                    <a:pt x="362" y="170"/>
                    <a:pt x="357" y="174"/>
                    <a:pt x="351" y="178"/>
                  </a:cubicBezTo>
                  <a:cubicBezTo>
                    <a:pt x="348" y="180"/>
                    <a:pt x="345" y="182"/>
                    <a:pt x="342" y="183"/>
                  </a:cubicBezTo>
                  <a:cubicBezTo>
                    <a:pt x="341" y="184"/>
                    <a:pt x="340" y="184"/>
                    <a:pt x="339" y="185"/>
                  </a:cubicBezTo>
                  <a:cubicBezTo>
                    <a:pt x="334" y="184"/>
                    <a:pt x="329" y="185"/>
                    <a:pt x="324" y="186"/>
                  </a:cubicBezTo>
                  <a:cubicBezTo>
                    <a:pt x="319" y="188"/>
                    <a:pt x="314" y="189"/>
                    <a:pt x="308" y="190"/>
                  </a:cubicBezTo>
                  <a:cubicBezTo>
                    <a:pt x="298" y="192"/>
                    <a:pt x="288" y="193"/>
                    <a:pt x="278" y="193"/>
                  </a:cubicBezTo>
                  <a:cubicBezTo>
                    <a:pt x="260" y="193"/>
                    <a:pt x="242" y="187"/>
                    <a:pt x="228" y="176"/>
                  </a:cubicBezTo>
                  <a:cubicBezTo>
                    <a:pt x="214" y="164"/>
                    <a:pt x="202" y="150"/>
                    <a:pt x="195" y="133"/>
                  </a:cubicBezTo>
                  <a:cubicBezTo>
                    <a:pt x="188" y="114"/>
                    <a:pt x="188" y="93"/>
                    <a:pt x="188" y="73"/>
                  </a:cubicBezTo>
                  <a:cubicBezTo>
                    <a:pt x="189" y="62"/>
                    <a:pt x="188" y="51"/>
                    <a:pt x="188" y="39"/>
                  </a:cubicBezTo>
                  <a:cubicBezTo>
                    <a:pt x="187" y="34"/>
                    <a:pt x="187" y="29"/>
                    <a:pt x="187" y="23"/>
                  </a:cubicBezTo>
                  <a:cubicBezTo>
                    <a:pt x="187" y="21"/>
                    <a:pt x="187" y="19"/>
                    <a:pt x="187" y="17"/>
                  </a:cubicBezTo>
                  <a:cubicBezTo>
                    <a:pt x="187" y="17"/>
                    <a:pt x="186" y="16"/>
                    <a:pt x="186" y="16"/>
                  </a:cubicBezTo>
                  <a:cubicBezTo>
                    <a:pt x="186" y="15"/>
                    <a:pt x="186" y="15"/>
                    <a:pt x="186" y="15"/>
                  </a:cubicBezTo>
                  <a:cubicBezTo>
                    <a:pt x="191" y="17"/>
                    <a:pt x="197" y="18"/>
                    <a:pt x="202" y="18"/>
                  </a:cubicBezTo>
                  <a:cubicBezTo>
                    <a:pt x="210" y="18"/>
                    <a:pt x="218" y="18"/>
                    <a:pt x="226" y="19"/>
                  </a:cubicBezTo>
                  <a:cubicBezTo>
                    <a:pt x="231" y="19"/>
                    <a:pt x="236" y="19"/>
                    <a:pt x="240" y="18"/>
                  </a:cubicBezTo>
                  <a:cubicBezTo>
                    <a:pt x="245" y="18"/>
                    <a:pt x="250" y="18"/>
                    <a:pt x="255" y="18"/>
                  </a:cubicBezTo>
                  <a:cubicBezTo>
                    <a:pt x="265" y="18"/>
                    <a:pt x="276" y="17"/>
                    <a:pt x="286" y="16"/>
                  </a:cubicBezTo>
                  <a:cubicBezTo>
                    <a:pt x="306" y="16"/>
                    <a:pt x="326" y="16"/>
                    <a:pt x="346" y="15"/>
                  </a:cubicBezTo>
                  <a:cubicBezTo>
                    <a:pt x="356" y="15"/>
                    <a:pt x="366" y="15"/>
                    <a:pt x="376" y="15"/>
                  </a:cubicBezTo>
                  <a:cubicBezTo>
                    <a:pt x="384" y="14"/>
                    <a:pt x="392" y="14"/>
                    <a:pt x="400" y="14"/>
                  </a:cubicBezTo>
                  <a:cubicBezTo>
                    <a:pt x="399" y="18"/>
                    <a:pt x="399" y="23"/>
                    <a:pt x="400" y="28"/>
                  </a:cubicBezTo>
                  <a:cubicBezTo>
                    <a:pt x="401" y="38"/>
                    <a:pt x="400" y="48"/>
                    <a:pt x="399" y="58"/>
                  </a:cubicBezTo>
                  <a:close/>
                  <a:moveTo>
                    <a:pt x="486" y="95"/>
                  </a:moveTo>
                  <a:cubicBezTo>
                    <a:pt x="486" y="95"/>
                    <a:pt x="486" y="95"/>
                    <a:pt x="486" y="95"/>
                  </a:cubicBezTo>
                  <a:cubicBezTo>
                    <a:pt x="483" y="97"/>
                    <a:pt x="478" y="95"/>
                    <a:pt x="475" y="93"/>
                  </a:cubicBezTo>
                  <a:cubicBezTo>
                    <a:pt x="472" y="91"/>
                    <a:pt x="469" y="87"/>
                    <a:pt x="470" y="83"/>
                  </a:cubicBezTo>
                  <a:cubicBezTo>
                    <a:pt x="470" y="81"/>
                    <a:pt x="471" y="80"/>
                    <a:pt x="471" y="79"/>
                  </a:cubicBezTo>
                  <a:cubicBezTo>
                    <a:pt x="474" y="80"/>
                    <a:pt x="478" y="79"/>
                    <a:pt x="480" y="79"/>
                  </a:cubicBezTo>
                  <a:cubicBezTo>
                    <a:pt x="486" y="78"/>
                    <a:pt x="491" y="80"/>
                    <a:pt x="492" y="86"/>
                  </a:cubicBezTo>
                  <a:cubicBezTo>
                    <a:pt x="492" y="89"/>
                    <a:pt x="489" y="93"/>
                    <a:pt x="486" y="95"/>
                  </a:cubicBezTo>
                  <a:close/>
                  <a:moveTo>
                    <a:pt x="570" y="97"/>
                  </a:moveTo>
                  <a:cubicBezTo>
                    <a:pt x="570" y="97"/>
                    <a:pt x="570" y="97"/>
                    <a:pt x="570" y="97"/>
                  </a:cubicBezTo>
                  <a:cubicBezTo>
                    <a:pt x="570" y="97"/>
                    <a:pt x="570" y="97"/>
                    <a:pt x="570" y="97"/>
                  </a:cubicBezTo>
                  <a:cubicBezTo>
                    <a:pt x="569" y="97"/>
                    <a:pt x="568" y="97"/>
                    <a:pt x="567" y="97"/>
                  </a:cubicBezTo>
                  <a:cubicBezTo>
                    <a:pt x="567" y="97"/>
                    <a:pt x="566" y="97"/>
                    <a:pt x="566" y="97"/>
                  </a:cubicBezTo>
                  <a:cubicBezTo>
                    <a:pt x="565" y="97"/>
                    <a:pt x="564" y="97"/>
                    <a:pt x="563" y="96"/>
                  </a:cubicBezTo>
                  <a:cubicBezTo>
                    <a:pt x="563" y="96"/>
                    <a:pt x="561" y="95"/>
                    <a:pt x="561" y="95"/>
                  </a:cubicBezTo>
                  <a:cubicBezTo>
                    <a:pt x="559" y="94"/>
                    <a:pt x="559" y="94"/>
                    <a:pt x="559" y="92"/>
                  </a:cubicBezTo>
                  <a:cubicBezTo>
                    <a:pt x="558" y="88"/>
                    <a:pt x="558" y="84"/>
                    <a:pt x="561" y="81"/>
                  </a:cubicBezTo>
                  <a:cubicBezTo>
                    <a:pt x="562" y="80"/>
                    <a:pt x="563" y="80"/>
                    <a:pt x="564" y="79"/>
                  </a:cubicBezTo>
                  <a:cubicBezTo>
                    <a:pt x="569" y="82"/>
                    <a:pt x="574" y="81"/>
                    <a:pt x="579" y="84"/>
                  </a:cubicBezTo>
                  <a:cubicBezTo>
                    <a:pt x="581" y="84"/>
                    <a:pt x="581" y="85"/>
                    <a:pt x="582" y="87"/>
                  </a:cubicBezTo>
                  <a:cubicBezTo>
                    <a:pt x="582" y="87"/>
                    <a:pt x="583" y="87"/>
                    <a:pt x="583" y="87"/>
                  </a:cubicBezTo>
                  <a:cubicBezTo>
                    <a:pt x="583" y="87"/>
                    <a:pt x="583" y="87"/>
                    <a:pt x="583" y="88"/>
                  </a:cubicBezTo>
                  <a:cubicBezTo>
                    <a:pt x="583" y="88"/>
                    <a:pt x="583" y="88"/>
                    <a:pt x="583" y="88"/>
                  </a:cubicBezTo>
                  <a:cubicBezTo>
                    <a:pt x="583" y="88"/>
                    <a:pt x="583" y="88"/>
                    <a:pt x="583" y="88"/>
                  </a:cubicBezTo>
                  <a:cubicBezTo>
                    <a:pt x="583" y="88"/>
                    <a:pt x="583" y="89"/>
                    <a:pt x="583" y="90"/>
                  </a:cubicBezTo>
                  <a:cubicBezTo>
                    <a:pt x="583" y="90"/>
                    <a:pt x="583" y="90"/>
                    <a:pt x="583" y="90"/>
                  </a:cubicBezTo>
                  <a:cubicBezTo>
                    <a:pt x="582" y="90"/>
                    <a:pt x="582" y="90"/>
                    <a:pt x="582" y="90"/>
                  </a:cubicBezTo>
                  <a:cubicBezTo>
                    <a:pt x="582" y="91"/>
                    <a:pt x="582" y="91"/>
                    <a:pt x="582" y="91"/>
                  </a:cubicBezTo>
                  <a:cubicBezTo>
                    <a:pt x="582" y="91"/>
                    <a:pt x="582" y="91"/>
                    <a:pt x="582" y="91"/>
                  </a:cubicBezTo>
                  <a:cubicBezTo>
                    <a:pt x="581" y="92"/>
                    <a:pt x="580" y="92"/>
                    <a:pt x="580" y="93"/>
                  </a:cubicBezTo>
                  <a:cubicBezTo>
                    <a:pt x="580" y="93"/>
                    <a:pt x="579" y="94"/>
                    <a:pt x="579" y="94"/>
                  </a:cubicBezTo>
                  <a:cubicBezTo>
                    <a:pt x="578" y="95"/>
                    <a:pt x="577" y="95"/>
                    <a:pt x="576" y="95"/>
                  </a:cubicBezTo>
                  <a:cubicBezTo>
                    <a:pt x="576" y="96"/>
                    <a:pt x="576" y="96"/>
                    <a:pt x="575" y="96"/>
                  </a:cubicBezTo>
                  <a:cubicBezTo>
                    <a:pt x="575" y="96"/>
                    <a:pt x="575" y="96"/>
                    <a:pt x="574" y="96"/>
                  </a:cubicBezTo>
                  <a:cubicBezTo>
                    <a:pt x="573" y="96"/>
                    <a:pt x="572" y="97"/>
                    <a:pt x="571" y="97"/>
                  </a:cubicBezTo>
                  <a:cubicBezTo>
                    <a:pt x="571" y="97"/>
                    <a:pt x="571" y="97"/>
                    <a:pt x="570" y="9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8" name="i$ļïḑe"/>
            <p:cNvSpPr/>
            <p:nvPr/>
          </p:nvSpPr>
          <p:spPr bwMode="auto">
            <a:xfrm>
              <a:off x="6185981" y="4651721"/>
              <a:ext cx="91464" cy="91464"/>
            </a:xfrm>
            <a:prstGeom prst="ellipse">
              <a:avLst/>
            </a:pr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9" name="ïṩḻidè"/>
            <p:cNvSpPr/>
            <p:nvPr/>
          </p:nvSpPr>
          <p:spPr bwMode="auto">
            <a:xfrm>
              <a:off x="6341806" y="4651721"/>
              <a:ext cx="91464" cy="91464"/>
            </a:xfrm>
            <a:prstGeom prst="ellipse">
              <a:avLst/>
            </a:pr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0" name="îṩḷide"/>
            <p:cNvSpPr/>
            <p:nvPr/>
          </p:nvSpPr>
          <p:spPr bwMode="auto">
            <a:xfrm>
              <a:off x="6453595" y="4651721"/>
              <a:ext cx="115175" cy="84689"/>
            </a:xfrm>
            <a:custGeom>
              <a:avLst/>
              <a:gdLst>
                <a:gd name="T0" fmla="*/ 8 w 16"/>
                <a:gd name="T1" fmla="*/ 0 h 12"/>
                <a:gd name="T2" fmla="*/ 8 w 16"/>
                <a:gd name="T3" fmla="*/ 12 h 12"/>
                <a:gd name="T4" fmla="*/ 8 w 1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cubicBezTo>
                    <a:pt x="0" y="0"/>
                    <a:pt x="0" y="12"/>
                    <a:pt x="8" y="12"/>
                  </a:cubicBezTo>
                  <a:cubicBezTo>
                    <a:pt x="16" y="12"/>
                    <a:pt x="16" y="0"/>
                    <a:pt x="8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1" name="ïšḷïḋe"/>
            <p:cNvSpPr/>
            <p:nvPr/>
          </p:nvSpPr>
          <p:spPr bwMode="auto">
            <a:xfrm>
              <a:off x="5376367" y="4089395"/>
              <a:ext cx="1199178" cy="484415"/>
            </a:xfrm>
            <a:custGeom>
              <a:avLst/>
              <a:gdLst>
                <a:gd name="T0" fmla="*/ 149 w 170"/>
                <a:gd name="T1" fmla="*/ 66 h 69"/>
                <a:gd name="T2" fmla="*/ 149 w 170"/>
                <a:gd name="T3" fmla="*/ 66 h 69"/>
                <a:gd name="T4" fmla="*/ 126 w 170"/>
                <a:gd name="T5" fmla="*/ 68 h 69"/>
                <a:gd name="T6" fmla="*/ 104 w 170"/>
                <a:gd name="T7" fmla="*/ 68 h 69"/>
                <a:gd name="T8" fmla="*/ 82 w 170"/>
                <a:gd name="T9" fmla="*/ 69 h 69"/>
                <a:gd name="T10" fmla="*/ 38 w 170"/>
                <a:gd name="T11" fmla="*/ 69 h 69"/>
                <a:gd name="T12" fmla="*/ 18 w 170"/>
                <a:gd name="T13" fmla="*/ 68 h 69"/>
                <a:gd name="T14" fmla="*/ 8 w 170"/>
                <a:gd name="T15" fmla="*/ 69 h 69"/>
                <a:gd name="T16" fmla="*/ 3 w 170"/>
                <a:gd name="T17" fmla="*/ 69 h 69"/>
                <a:gd name="T18" fmla="*/ 4 w 170"/>
                <a:gd name="T19" fmla="*/ 56 h 69"/>
                <a:gd name="T20" fmla="*/ 2 w 170"/>
                <a:gd name="T21" fmla="*/ 38 h 69"/>
                <a:gd name="T22" fmla="*/ 1 w 170"/>
                <a:gd name="T23" fmla="*/ 20 h 69"/>
                <a:gd name="T24" fmla="*/ 0 w 170"/>
                <a:gd name="T25" fmla="*/ 13 h 69"/>
                <a:gd name="T26" fmla="*/ 1 w 170"/>
                <a:gd name="T27" fmla="*/ 12 h 69"/>
                <a:gd name="T28" fmla="*/ 3 w 170"/>
                <a:gd name="T29" fmla="*/ 5 h 69"/>
                <a:gd name="T30" fmla="*/ 3 w 170"/>
                <a:gd name="T31" fmla="*/ 4 h 69"/>
                <a:gd name="T32" fmla="*/ 4 w 170"/>
                <a:gd name="T33" fmla="*/ 4 h 69"/>
                <a:gd name="T34" fmla="*/ 4 w 170"/>
                <a:gd name="T35" fmla="*/ 4 h 69"/>
                <a:gd name="T36" fmla="*/ 8 w 170"/>
                <a:gd name="T37" fmla="*/ 3 h 69"/>
                <a:gd name="T38" fmla="*/ 30 w 170"/>
                <a:gd name="T39" fmla="*/ 3 h 69"/>
                <a:gd name="T40" fmla="*/ 77 w 170"/>
                <a:gd name="T41" fmla="*/ 3 h 69"/>
                <a:gd name="T42" fmla="*/ 124 w 170"/>
                <a:gd name="T43" fmla="*/ 2 h 69"/>
                <a:gd name="T44" fmla="*/ 168 w 170"/>
                <a:gd name="T45" fmla="*/ 0 h 69"/>
                <a:gd name="T46" fmla="*/ 169 w 170"/>
                <a:gd name="T47" fmla="*/ 0 h 69"/>
                <a:gd name="T48" fmla="*/ 170 w 170"/>
                <a:gd name="T49" fmla="*/ 6 h 69"/>
                <a:gd name="T50" fmla="*/ 169 w 170"/>
                <a:gd name="T51" fmla="*/ 15 h 69"/>
                <a:gd name="T52" fmla="*/ 168 w 170"/>
                <a:gd name="T53" fmla="*/ 34 h 69"/>
                <a:gd name="T54" fmla="*/ 168 w 170"/>
                <a:gd name="T55" fmla="*/ 55 h 69"/>
                <a:gd name="T56" fmla="*/ 167 w 170"/>
                <a:gd name="T57" fmla="*/ 65 h 69"/>
                <a:gd name="T58" fmla="*/ 149 w 170"/>
                <a:gd name="T59" fmla="*/ 6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0" h="69">
                  <a:moveTo>
                    <a:pt x="149" y="66"/>
                  </a:moveTo>
                  <a:cubicBezTo>
                    <a:pt x="149" y="66"/>
                    <a:pt x="149" y="66"/>
                    <a:pt x="149" y="66"/>
                  </a:cubicBezTo>
                  <a:cubicBezTo>
                    <a:pt x="141" y="67"/>
                    <a:pt x="134" y="68"/>
                    <a:pt x="126" y="68"/>
                  </a:cubicBezTo>
                  <a:cubicBezTo>
                    <a:pt x="119" y="68"/>
                    <a:pt x="111" y="67"/>
                    <a:pt x="104" y="68"/>
                  </a:cubicBezTo>
                  <a:cubicBezTo>
                    <a:pt x="97" y="68"/>
                    <a:pt x="89" y="69"/>
                    <a:pt x="82" y="69"/>
                  </a:cubicBezTo>
                  <a:cubicBezTo>
                    <a:pt x="67" y="69"/>
                    <a:pt x="53" y="69"/>
                    <a:pt x="38" y="69"/>
                  </a:cubicBezTo>
                  <a:cubicBezTo>
                    <a:pt x="31" y="69"/>
                    <a:pt x="25" y="68"/>
                    <a:pt x="18" y="68"/>
                  </a:cubicBezTo>
                  <a:cubicBezTo>
                    <a:pt x="15" y="68"/>
                    <a:pt x="11" y="69"/>
                    <a:pt x="8" y="69"/>
                  </a:cubicBezTo>
                  <a:cubicBezTo>
                    <a:pt x="6" y="69"/>
                    <a:pt x="4" y="69"/>
                    <a:pt x="3" y="69"/>
                  </a:cubicBezTo>
                  <a:cubicBezTo>
                    <a:pt x="4" y="65"/>
                    <a:pt x="4" y="60"/>
                    <a:pt x="4" y="56"/>
                  </a:cubicBezTo>
                  <a:cubicBezTo>
                    <a:pt x="4" y="50"/>
                    <a:pt x="3" y="44"/>
                    <a:pt x="2" y="38"/>
                  </a:cubicBezTo>
                  <a:cubicBezTo>
                    <a:pt x="2" y="32"/>
                    <a:pt x="1" y="26"/>
                    <a:pt x="1" y="20"/>
                  </a:cubicBezTo>
                  <a:cubicBezTo>
                    <a:pt x="0" y="17"/>
                    <a:pt x="0" y="15"/>
                    <a:pt x="0" y="13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1" y="10"/>
                    <a:pt x="1" y="7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7" y="3"/>
                    <a:pt x="8" y="3"/>
                  </a:cubicBezTo>
                  <a:cubicBezTo>
                    <a:pt x="16" y="2"/>
                    <a:pt x="23" y="2"/>
                    <a:pt x="30" y="3"/>
                  </a:cubicBezTo>
                  <a:cubicBezTo>
                    <a:pt x="46" y="4"/>
                    <a:pt x="62" y="3"/>
                    <a:pt x="77" y="3"/>
                  </a:cubicBezTo>
                  <a:cubicBezTo>
                    <a:pt x="93" y="3"/>
                    <a:pt x="109" y="3"/>
                    <a:pt x="124" y="2"/>
                  </a:cubicBezTo>
                  <a:cubicBezTo>
                    <a:pt x="139" y="1"/>
                    <a:pt x="154" y="0"/>
                    <a:pt x="168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2"/>
                    <a:pt x="170" y="4"/>
                    <a:pt x="170" y="6"/>
                  </a:cubicBezTo>
                  <a:cubicBezTo>
                    <a:pt x="170" y="9"/>
                    <a:pt x="169" y="12"/>
                    <a:pt x="169" y="15"/>
                  </a:cubicBezTo>
                  <a:cubicBezTo>
                    <a:pt x="168" y="21"/>
                    <a:pt x="168" y="28"/>
                    <a:pt x="168" y="34"/>
                  </a:cubicBezTo>
                  <a:cubicBezTo>
                    <a:pt x="168" y="41"/>
                    <a:pt x="168" y="48"/>
                    <a:pt x="168" y="55"/>
                  </a:cubicBezTo>
                  <a:cubicBezTo>
                    <a:pt x="167" y="58"/>
                    <a:pt x="167" y="61"/>
                    <a:pt x="167" y="65"/>
                  </a:cubicBezTo>
                  <a:cubicBezTo>
                    <a:pt x="161" y="66"/>
                    <a:pt x="155" y="66"/>
                    <a:pt x="149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2" name="ïşliḍê"/>
            <p:cNvSpPr/>
            <p:nvPr/>
          </p:nvSpPr>
          <p:spPr bwMode="auto">
            <a:xfrm>
              <a:off x="6463757" y="4089395"/>
              <a:ext cx="111789" cy="464090"/>
            </a:xfrm>
            <a:custGeom>
              <a:avLst/>
              <a:gdLst>
                <a:gd name="T0" fmla="*/ 11 w 16"/>
                <a:gd name="T1" fmla="*/ 0 h 66"/>
                <a:gd name="T2" fmla="*/ 14 w 16"/>
                <a:gd name="T3" fmla="*/ 0 h 66"/>
                <a:gd name="T4" fmla="*/ 15 w 16"/>
                <a:gd name="T5" fmla="*/ 0 h 66"/>
                <a:gd name="T6" fmla="*/ 16 w 16"/>
                <a:gd name="T7" fmla="*/ 6 h 66"/>
                <a:gd name="T8" fmla="*/ 15 w 16"/>
                <a:gd name="T9" fmla="*/ 15 h 66"/>
                <a:gd name="T10" fmla="*/ 14 w 16"/>
                <a:gd name="T11" fmla="*/ 34 h 66"/>
                <a:gd name="T12" fmla="*/ 14 w 16"/>
                <a:gd name="T13" fmla="*/ 55 h 66"/>
                <a:gd name="T14" fmla="*/ 13 w 16"/>
                <a:gd name="T15" fmla="*/ 65 h 66"/>
                <a:gd name="T16" fmla="*/ 0 w 16"/>
                <a:gd name="T17" fmla="*/ 66 h 66"/>
                <a:gd name="T18" fmla="*/ 11 w 1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66">
                  <a:moveTo>
                    <a:pt x="11" y="0"/>
                  </a:move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2"/>
                    <a:pt x="16" y="4"/>
                    <a:pt x="16" y="6"/>
                  </a:cubicBezTo>
                  <a:cubicBezTo>
                    <a:pt x="16" y="9"/>
                    <a:pt x="15" y="12"/>
                    <a:pt x="15" y="15"/>
                  </a:cubicBezTo>
                  <a:cubicBezTo>
                    <a:pt x="14" y="21"/>
                    <a:pt x="14" y="28"/>
                    <a:pt x="14" y="34"/>
                  </a:cubicBezTo>
                  <a:cubicBezTo>
                    <a:pt x="14" y="41"/>
                    <a:pt x="14" y="48"/>
                    <a:pt x="14" y="55"/>
                  </a:cubicBezTo>
                  <a:cubicBezTo>
                    <a:pt x="13" y="58"/>
                    <a:pt x="13" y="61"/>
                    <a:pt x="13" y="65"/>
                  </a:cubicBezTo>
                  <a:cubicBezTo>
                    <a:pt x="9" y="65"/>
                    <a:pt x="5" y="66"/>
                    <a:pt x="0" y="66"/>
                  </a:cubicBezTo>
                  <a:cubicBezTo>
                    <a:pt x="7" y="42"/>
                    <a:pt x="10" y="18"/>
                    <a:pt x="11" y="0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3" name="íṣļïḍe"/>
            <p:cNvSpPr/>
            <p:nvPr/>
          </p:nvSpPr>
          <p:spPr bwMode="auto">
            <a:xfrm>
              <a:off x="6138556" y="3120567"/>
              <a:ext cx="240514" cy="210025"/>
            </a:xfrm>
            <a:custGeom>
              <a:avLst/>
              <a:gdLst>
                <a:gd name="T0" fmla="*/ 19 w 34"/>
                <a:gd name="T1" fmla="*/ 28 h 30"/>
                <a:gd name="T2" fmla="*/ 31 w 34"/>
                <a:gd name="T3" fmla="*/ 10 h 30"/>
                <a:gd name="T4" fmla="*/ 14 w 34"/>
                <a:gd name="T5" fmla="*/ 0 h 30"/>
                <a:gd name="T6" fmla="*/ 7 w 34"/>
                <a:gd name="T7" fmla="*/ 3 h 30"/>
                <a:gd name="T8" fmla="*/ 4 w 34"/>
                <a:gd name="T9" fmla="*/ 5 h 30"/>
                <a:gd name="T10" fmla="*/ 0 w 34"/>
                <a:gd name="T11" fmla="*/ 15 h 30"/>
                <a:gd name="T12" fmla="*/ 19 w 34"/>
                <a:gd name="T1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">
                  <a:moveTo>
                    <a:pt x="19" y="28"/>
                  </a:moveTo>
                  <a:cubicBezTo>
                    <a:pt x="27" y="27"/>
                    <a:pt x="34" y="18"/>
                    <a:pt x="31" y="10"/>
                  </a:cubicBezTo>
                  <a:cubicBezTo>
                    <a:pt x="29" y="3"/>
                    <a:pt x="20" y="0"/>
                    <a:pt x="14" y="0"/>
                  </a:cubicBezTo>
                  <a:cubicBezTo>
                    <a:pt x="11" y="0"/>
                    <a:pt x="8" y="1"/>
                    <a:pt x="7" y="3"/>
                  </a:cubicBezTo>
                  <a:cubicBezTo>
                    <a:pt x="6" y="3"/>
                    <a:pt x="5" y="4"/>
                    <a:pt x="4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4"/>
                    <a:pt x="11" y="30"/>
                    <a:pt x="19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4" name="íś1iḑe"/>
            <p:cNvSpPr/>
            <p:nvPr/>
          </p:nvSpPr>
          <p:spPr bwMode="auto">
            <a:xfrm>
              <a:off x="5518643" y="3120567"/>
              <a:ext cx="233739" cy="250676"/>
            </a:xfrm>
            <a:custGeom>
              <a:avLst/>
              <a:gdLst>
                <a:gd name="T0" fmla="*/ 30 w 33"/>
                <a:gd name="T1" fmla="*/ 11 h 36"/>
                <a:gd name="T2" fmla="*/ 17 w 33"/>
                <a:gd name="T3" fmla="*/ 1 h 36"/>
                <a:gd name="T4" fmla="*/ 11 w 33"/>
                <a:gd name="T5" fmla="*/ 2 h 36"/>
                <a:gd name="T6" fmla="*/ 2 w 33"/>
                <a:gd name="T7" fmla="*/ 8 h 36"/>
                <a:gd name="T8" fmla="*/ 3 w 33"/>
                <a:gd name="T9" fmla="*/ 23 h 36"/>
                <a:gd name="T10" fmla="*/ 30 w 33"/>
                <a:gd name="T1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6">
                  <a:moveTo>
                    <a:pt x="30" y="11"/>
                  </a:moveTo>
                  <a:cubicBezTo>
                    <a:pt x="29" y="5"/>
                    <a:pt x="23" y="0"/>
                    <a:pt x="17" y="1"/>
                  </a:cubicBezTo>
                  <a:cubicBezTo>
                    <a:pt x="15" y="1"/>
                    <a:pt x="12" y="1"/>
                    <a:pt x="11" y="2"/>
                  </a:cubicBezTo>
                  <a:cubicBezTo>
                    <a:pt x="7" y="3"/>
                    <a:pt x="4" y="5"/>
                    <a:pt x="2" y="8"/>
                  </a:cubicBezTo>
                  <a:cubicBezTo>
                    <a:pt x="0" y="12"/>
                    <a:pt x="0" y="18"/>
                    <a:pt x="3" y="23"/>
                  </a:cubicBezTo>
                  <a:cubicBezTo>
                    <a:pt x="11" y="36"/>
                    <a:pt x="33" y="26"/>
                    <a:pt x="30" y="1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5" name="íśľïďé"/>
            <p:cNvSpPr/>
            <p:nvPr/>
          </p:nvSpPr>
          <p:spPr bwMode="auto">
            <a:xfrm>
              <a:off x="5420404" y="3401730"/>
              <a:ext cx="1063678" cy="335364"/>
            </a:xfrm>
            <a:custGeom>
              <a:avLst/>
              <a:gdLst>
                <a:gd name="T0" fmla="*/ 1 w 151"/>
                <a:gd name="T1" fmla="*/ 42 h 48"/>
                <a:gd name="T2" fmla="*/ 1 w 151"/>
                <a:gd name="T3" fmla="*/ 42 h 48"/>
                <a:gd name="T4" fmla="*/ 2 w 151"/>
                <a:gd name="T5" fmla="*/ 44 h 48"/>
                <a:gd name="T6" fmla="*/ 10 w 151"/>
                <a:gd name="T7" fmla="*/ 46 h 48"/>
                <a:gd name="T8" fmla="*/ 19 w 151"/>
                <a:gd name="T9" fmla="*/ 46 h 48"/>
                <a:gd name="T10" fmla="*/ 38 w 151"/>
                <a:gd name="T11" fmla="*/ 46 h 48"/>
                <a:gd name="T12" fmla="*/ 57 w 151"/>
                <a:gd name="T13" fmla="*/ 46 h 48"/>
                <a:gd name="T14" fmla="*/ 76 w 151"/>
                <a:gd name="T15" fmla="*/ 48 h 48"/>
                <a:gd name="T16" fmla="*/ 94 w 151"/>
                <a:gd name="T17" fmla="*/ 47 h 48"/>
                <a:gd name="T18" fmla="*/ 113 w 151"/>
                <a:gd name="T19" fmla="*/ 46 h 48"/>
                <a:gd name="T20" fmla="*/ 131 w 151"/>
                <a:gd name="T21" fmla="*/ 46 h 48"/>
                <a:gd name="T22" fmla="*/ 149 w 151"/>
                <a:gd name="T23" fmla="*/ 43 h 48"/>
                <a:gd name="T24" fmla="*/ 150 w 151"/>
                <a:gd name="T25" fmla="*/ 39 h 48"/>
                <a:gd name="T26" fmla="*/ 151 w 151"/>
                <a:gd name="T27" fmla="*/ 33 h 48"/>
                <a:gd name="T28" fmla="*/ 151 w 151"/>
                <a:gd name="T29" fmla="*/ 23 h 48"/>
                <a:gd name="T30" fmla="*/ 150 w 151"/>
                <a:gd name="T31" fmla="*/ 13 h 48"/>
                <a:gd name="T32" fmla="*/ 150 w 151"/>
                <a:gd name="T33" fmla="*/ 6 h 48"/>
                <a:gd name="T34" fmla="*/ 148 w 151"/>
                <a:gd name="T35" fmla="*/ 4 h 48"/>
                <a:gd name="T36" fmla="*/ 136 w 151"/>
                <a:gd name="T37" fmla="*/ 1 h 48"/>
                <a:gd name="T38" fmla="*/ 117 w 151"/>
                <a:gd name="T39" fmla="*/ 1 h 48"/>
                <a:gd name="T40" fmla="*/ 97 w 151"/>
                <a:gd name="T41" fmla="*/ 0 h 48"/>
                <a:gd name="T42" fmla="*/ 78 w 151"/>
                <a:gd name="T43" fmla="*/ 2 h 48"/>
                <a:gd name="T44" fmla="*/ 41 w 151"/>
                <a:gd name="T45" fmla="*/ 1 h 48"/>
                <a:gd name="T46" fmla="*/ 21 w 151"/>
                <a:gd name="T47" fmla="*/ 2 h 48"/>
                <a:gd name="T48" fmla="*/ 11 w 151"/>
                <a:gd name="T49" fmla="*/ 3 h 48"/>
                <a:gd name="T50" fmla="*/ 3 w 151"/>
                <a:gd name="T51" fmla="*/ 4 h 48"/>
                <a:gd name="T52" fmla="*/ 2 w 151"/>
                <a:gd name="T53" fmla="*/ 5 h 48"/>
                <a:gd name="T54" fmla="*/ 1 w 151"/>
                <a:gd name="T55" fmla="*/ 7 h 48"/>
                <a:gd name="T56" fmla="*/ 0 w 151"/>
                <a:gd name="T57" fmla="*/ 17 h 48"/>
                <a:gd name="T58" fmla="*/ 0 w 151"/>
                <a:gd name="T59" fmla="*/ 28 h 48"/>
                <a:gd name="T60" fmla="*/ 0 w 151"/>
                <a:gd name="T61" fmla="*/ 38 h 48"/>
                <a:gd name="T62" fmla="*/ 1 w 151"/>
                <a:gd name="T63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48"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2" y="44"/>
                    <a:pt x="2" y="44"/>
                  </a:cubicBezTo>
                  <a:cubicBezTo>
                    <a:pt x="5" y="46"/>
                    <a:pt x="7" y="46"/>
                    <a:pt x="10" y="46"/>
                  </a:cubicBezTo>
                  <a:cubicBezTo>
                    <a:pt x="13" y="46"/>
                    <a:pt x="16" y="45"/>
                    <a:pt x="19" y="46"/>
                  </a:cubicBezTo>
                  <a:cubicBezTo>
                    <a:pt x="25" y="46"/>
                    <a:pt x="32" y="46"/>
                    <a:pt x="38" y="46"/>
                  </a:cubicBezTo>
                  <a:cubicBezTo>
                    <a:pt x="44" y="46"/>
                    <a:pt x="51" y="46"/>
                    <a:pt x="57" y="46"/>
                  </a:cubicBezTo>
                  <a:cubicBezTo>
                    <a:pt x="63" y="46"/>
                    <a:pt x="70" y="47"/>
                    <a:pt x="76" y="48"/>
                  </a:cubicBezTo>
                  <a:cubicBezTo>
                    <a:pt x="82" y="48"/>
                    <a:pt x="88" y="48"/>
                    <a:pt x="94" y="47"/>
                  </a:cubicBezTo>
                  <a:cubicBezTo>
                    <a:pt x="100" y="46"/>
                    <a:pt x="106" y="46"/>
                    <a:pt x="113" y="46"/>
                  </a:cubicBezTo>
                  <a:cubicBezTo>
                    <a:pt x="119" y="47"/>
                    <a:pt x="125" y="47"/>
                    <a:pt x="131" y="46"/>
                  </a:cubicBezTo>
                  <a:cubicBezTo>
                    <a:pt x="137" y="46"/>
                    <a:pt x="143" y="46"/>
                    <a:pt x="149" y="43"/>
                  </a:cubicBezTo>
                  <a:cubicBezTo>
                    <a:pt x="150" y="42"/>
                    <a:pt x="150" y="41"/>
                    <a:pt x="150" y="39"/>
                  </a:cubicBezTo>
                  <a:cubicBezTo>
                    <a:pt x="150" y="37"/>
                    <a:pt x="151" y="35"/>
                    <a:pt x="151" y="33"/>
                  </a:cubicBezTo>
                  <a:cubicBezTo>
                    <a:pt x="151" y="30"/>
                    <a:pt x="151" y="27"/>
                    <a:pt x="151" y="23"/>
                  </a:cubicBezTo>
                  <a:cubicBezTo>
                    <a:pt x="150" y="20"/>
                    <a:pt x="150" y="17"/>
                    <a:pt x="150" y="13"/>
                  </a:cubicBezTo>
                  <a:cubicBezTo>
                    <a:pt x="150" y="11"/>
                    <a:pt x="151" y="9"/>
                    <a:pt x="150" y="6"/>
                  </a:cubicBezTo>
                  <a:cubicBezTo>
                    <a:pt x="150" y="5"/>
                    <a:pt x="149" y="4"/>
                    <a:pt x="148" y="4"/>
                  </a:cubicBezTo>
                  <a:cubicBezTo>
                    <a:pt x="145" y="0"/>
                    <a:pt x="140" y="1"/>
                    <a:pt x="136" y="1"/>
                  </a:cubicBezTo>
                  <a:cubicBezTo>
                    <a:pt x="130" y="1"/>
                    <a:pt x="123" y="1"/>
                    <a:pt x="117" y="1"/>
                  </a:cubicBezTo>
                  <a:cubicBezTo>
                    <a:pt x="110" y="0"/>
                    <a:pt x="104" y="0"/>
                    <a:pt x="97" y="0"/>
                  </a:cubicBezTo>
                  <a:cubicBezTo>
                    <a:pt x="91" y="0"/>
                    <a:pt x="85" y="1"/>
                    <a:pt x="78" y="2"/>
                  </a:cubicBezTo>
                  <a:cubicBezTo>
                    <a:pt x="66" y="3"/>
                    <a:pt x="53" y="2"/>
                    <a:pt x="41" y="1"/>
                  </a:cubicBezTo>
                  <a:cubicBezTo>
                    <a:pt x="34" y="1"/>
                    <a:pt x="28" y="2"/>
                    <a:pt x="21" y="2"/>
                  </a:cubicBezTo>
                  <a:cubicBezTo>
                    <a:pt x="18" y="2"/>
                    <a:pt x="14" y="3"/>
                    <a:pt x="11" y="3"/>
                  </a:cubicBezTo>
                  <a:cubicBezTo>
                    <a:pt x="8" y="4"/>
                    <a:pt x="6" y="3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10"/>
                    <a:pt x="1" y="13"/>
                    <a:pt x="0" y="17"/>
                  </a:cubicBezTo>
                  <a:cubicBezTo>
                    <a:pt x="0" y="20"/>
                    <a:pt x="0" y="24"/>
                    <a:pt x="0" y="28"/>
                  </a:cubicBezTo>
                  <a:cubicBezTo>
                    <a:pt x="0" y="31"/>
                    <a:pt x="0" y="35"/>
                    <a:pt x="0" y="38"/>
                  </a:cubicBezTo>
                  <a:cubicBezTo>
                    <a:pt x="0" y="40"/>
                    <a:pt x="0" y="41"/>
                    <a:pt x="1" y="4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6" name="ïšḻíḑê"/>
            <p:cNvSpPr/>
            <p:nvPr/>
          </p:nvSpPr>
          <p:spPr bwMode="auto">
            <a:xfrm>
              <a:off x="4675152" y="2155127"/>
              <a:ext cx="2689683" cy="2378030"/>
            </a:xfrm>
            <a:custGeom>
              <a:avLst/>
              <a:gdLst>
                <a:gd name="T0" fmla="*/ 69 w 382"/>
                <a:gd name="T1" fmla="*/ 160 h 338"/>
                <a:gd name="T2" fmla="*/ 69 w 382"/>
                <a:gd name="T3" fmla="*/ 160 h 338"/>
                <a:gd name="T4" fmla="*/ 66 w 382"/>
                <a:gd name="T5" fmla="*/ 180 h 338"/>
                <a:gd name="T6" fmla="*/ 59 w 382"/>
                <a:gd name="T7" fmla="*/ 181 h 338"/>
                <a:gd name="T8" fmla="*/ 53 w 382"/>
                <a:gd name="T9" fmla="*/ 182 h 338"/>
                <a:gd name="T10" fmla="*/ 54 w 382"/>
                <a:gd name="T11" fmla="*/ 170 h 338"/>
                <a:gd name="T12" fmla="*/ 56 w 382"/>
                <a:gd name="T13" fmla="*/ 159 h 338"/>
                <a:gd name="T14" fmla="*/ 69 w 382"/>
                <a:gd name="T15" fmla="*/ 160 h 338"/>
                <a:gd name="T16" fmla="*/ 119 w 382"/>
                <a:gd name="T17" fmla="*/ 21 h 338"/>
                <a:gd name="T18" fmla="*/ 119 w 382"/>
                <a:gd name="T19" fmla="*/ 21 h 338"/>
                <a:gd name="T20" fmla="*/ 107 w 382"/>
                <a:gd name="T21" fmla="*/ 12 h 338"/>
                <a:gd name="T22" fmla="*/ 113 w 382"/>
                <a:gd name="T23" fmla="*/ 0 h 338"/>
                <a:gd name="T24" fmla="*/ 123 w 382"/>
                <a:gd name="T25" fmla="*/ 1 h 338"/>
                <a:gd name="T26" fmla="*/ 129 w 382"/>
                <a:gd name="T27" fmla="*/ 7 h 338"/>
                <a:gd name="T28" fmla="*/ 119 w 382"/>
                <a:gd name="T29" fmla="*/ 21 h 338"/>
                <a:gd name="T30" fmla="*/ 18 w 382"/>
                <a:gd name="T31" fmla="*/ 309 h 338"/>
                <a:gd name="T32" fmla="*/ 18 w 382"/>
                <a:gd name="T33" fmla="*/ 309 h 338"/>
                <a:gd name="T34" fmla="*/ 5 w 382"/>
                <a:gd name="T35" fmla="*/ 314 h 338"/>
                <a:gd name="T36" fmla="*/ 4 w 382"/>
                <a:gd name="T37" fmla="*/ 300 h 338"/>
                <a:gd name="T38" fmla="*/ 10 w 382"/>
                <a:gd name="T39" fmla="*/ 296 h 338"/>
                <a:gd name="T40" fmla="*/ 15 w 382"/>
                <a:gd name="T41" fmla="*/ 297 h 338"/>
                <a:gd name="T42" fmla="*/ 19 w 382"/>
                <a:gd name="T43" fmla="*/ 301 h 338"/>
                <a:gd name="T44" fmla="*/ 18 w 382"/>
                <a:gd name="T45" fmla="*/ 309 h 338"/>
                <a:gd name="T46" fmla="*/ 376 w 382"/>
                <a:gd name="T47" fmla="*/ 336 h 338"/>
                <a:gd name="T48" fmla="*/ 376 w 382"/>
                <a:gd name="T49" fmla="*/ 336 h 338"/>
                <a:gd name="T50" fmla="*/ 365 w 382"/>
                <a:gd name="T51" fmla="*/ 334 h 338"/>
                <a:gd name="T52" fmla="*/ 360 w 382"/>
                <a:gd name="T53" fmla="*/ 324 h 338"/>
                <a:gd name="T54" fmla="*/ 361 w 382"/>
                <a:gd name="T55" fmla="*/ 320 h 338"/>
                <a:gd name="T56" fmla="*/ 370 w 382"/>
                <a:gd name="T57" fmla="*/ 320 h 338"/>
                <a:gd name="T58" fmla="*/ 382 w 382"/>
                <a:gd name="T59" fmla="*/ 327 h 338"/>
                <a:gd name="T60" fmla="*/ 376 w 382"/>
                <a:gd name="T61" fmla="*/ 336 h 338"/>
                <a:gd name="T62" fmla="*/ 299 w 382"/>
                <a:gd name="T63" fmla="*/ 155 h 338"/>
                <a:gd name="T64" fmla="*/ 299 w 382"/>
                <a:gd name="T65" fmla="*/ 155 h 338"/>
                <a:gd name="T66" fmla="*/ 308 w 382"/>
                <a:gd name="T67" fmla="*/ 155 h 338"/>
                <a:gd name="T68" fmla="*/ 307 w 382"/>
                <a:gd name="T69" fmla="*/ 161 h 338"/>
                <a:gd name="T70" fmla="*/ 306 w 382"/>
                <a:gd name="T71" fmla="*/ 175 h 338"/>
                <a:gd name="T72" fmla="*/ 301 w 382"/>
                <a:gd name="T73" fmla="*/ 175 h 338"/>
                <a:gd name="T74" fmla="*/ 297 w 382"/>
                <a:gd name="T75" fmla="*/ 175 h 338"/>
                <a:gd name="T76" fmla="*/ 292 w 382"/>
                <a:gd name="T77" fmla="*/ 154 h 338"/>
                <a:gd name="T78" fmla="*/ 299 w 382"/>
                <a:gd name="T79" fmla="*/ 15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2" h="338">
                  <a:moveTo>
                    <a:pt x="69" y="160"/>
                  </a:moveTo>
                  <a:cubicBezTo>
                    <a:pt x="69" y="160"/>
                    <a:pt x="69" y="160"/>
                    <a:pt x="69" y="160"/>
                  </a:cubicBezTo>
                  <a:cubicBezTo>
                    <a:pt x="67" y="167"/>
                    <a:pt x="66" y="173"/>
                    <a:pt x="66" y="180"/>
                  </a:cubicBezTo>
                  <a:cubicBezTo>
                    <a:pt x="63" y="180"/>
                    <a:pt x="61" y="180"/>
                    <a:pt x="59" y="181"/>
                  </a:cubicBezTo>
                  <a:cubicBezTo>
                    <a:pt x="58" y="181"/>
                    <a:pt x="56" y="181"/>
                    <a:pt x="53" y="182"/>
                  </a:cubicBezTo>
                  <a:cubicBezTo>
                    <a:pt x="54" y="178"/>
                    <a:pt x="54" y="174"/>
                    <a:pt x="54" y="170"/>
                  </a:cubicBezTo>
                  <a:cubicBezTo>
                    <a:pt x="55" y="166"/>
                    <a:pt x="55" y="163"/>
                    <a:pt x="56" y="159"/>
                  </a:cubicBezTo>
                  <a:cubicBezTo>
                    <a:pt x="60" y="160"/>
                    <a:pt x="65" y="160"/>
                    <a:pt x="69" y="160"/>
                  </a:cubicBezTo>
                  <a:close/>
                  <a:moveTo>
                    <a:pt x="119" y="21"/>
                  </a:moveTo>
                  <a:cubicBezTo>
                    <a:pt x="119" y="21"/>
                    <a:pt x="119" y="21"/>
                    <a:pt x="119" y="21"/>
                  </a:cubicBezTo>
                  <a:cubicBezTo>
                    <a:pt x="113" y="23"/>
                    <a:pt x="106" y="19"/>
                    <a:pt x="107" y="12"/>
                  </a:cubicBezTo>
                  <a:cubicBezTo>
                    <a:pt x="107" y="8"/>
                    <a:pt x="109" y="3"/>
                    <a:pt x="113" y="0"/>
                  </a:cubicBezTo>
                  <a:cubicBezTo>
                    <a:pt x="116" y="1"/>
                    <a:pt x="120" y="0"/>
                    <a:pt x="123" y="1"/>
                  </a:cubicBezTo>
                  <a:cubicBezTo>
                    <a:pt x="126" y="2"/>
                    <a:pt x="129" y="5"/>
                    <a:pt x="129" y="7"/>
                  </a:cubicBezTo>
                  <a:cubicBezTo>
                    <a:pt x="130" y="13"/>
                    <a:pt x="124" y="19"/>
                    <a:pt x="119" y="21"/>
                  </a:cubicBezTo>
                  <a:close/>
                  <a:moveTo>
                    <a:pt x="18" y="309"/>
                  </a:moveTo>
                  <a:cubicBezTo>
                    <a:pt x="18" y="309"/>
                    <a:pt x="18" y="309"/>
                    <a:pt x="18" y="309"/>
                  </a:cubicBezTo>
                  <a:cubicBezTo>
                    <a:pt x="16" y="315"/>
                    <a:pt x="10" y="317"/>
                    <a:pt x="5" y="314"/>
                  </a:cubicBezTo>
                  <a:cubicBezTo>
                    <a:pt x="0" y="311"/>
                    <a:pt x="1" y="303"/>
                    <a:pt x="4" y="300"/>
                  </a:cubicBezTo>
                  <a:cubicBezTo>
                    <a:pt x="6" y="298"/>
                    <a:pt x="8" y="297"/>
                    <a:pt x="10" y="296"/>
                  </a:cubicBezTo>
                  <a:cubicBezTo>
                    <a:pt x="12" y="296"/>
                    <a:pt x="14" y="297"/>
                    <a:pt x="15" y="297"/>
                  </a:cubicBezTo>
                  <a:cubicBezTo>
                    <a:pt x="16" y="298"/>
                    <a:pt x="18" y="299"/>
                    <a:pt x="19" y="301"/>
                  </a:cubicBezTo>
                  <a:cubicBezTo>
                    <a:pt x="20" y="302"/>
                    <a:pt x="19" y="306"/>
                    <a:pt x="18" y="309"/>
                  </a:cubicBezTo>
                  <a:close/>
                  <a:moveTo>
                    <a:pt x="376" y="336"/>
                  </a:moveTo>
                  <a:cubicBezTo>
                    <a:pt x="376" y="336"/>
                    <a:pt x="376" y="336"/>
                    <a:pt x="376" y="336"/>
                  </a:cubicBezTo>
                  <a:cubicBezTo>
                    <a:pt x="373" y="338"/>
                    <a:pt x="368" y="336"/>
                    <a:pt x="365" y="334"/>
                  </a:cubicBezTo>
                  <a:cubicBezTo>
                    <a:pt x="362" y="332"/>
                    <a:pt x="359" y="328"/>
                    <a:pt x="360" y="324"/>
                  </a:cubicBezTo>
                  <a:cubicBezTo>
                    <a:pt x="360" y="322"/>
                    <a:pt x="361" y="321"/>
                    <a:pt x="361" y="320"/>
                  </a:cubicBezTo>
                  <a:cubicBezTo>
                    <a:pt x="364" y="321"/>
                    <a:pt x="368" y="320"/>
                    <a:pt x="370" y="320"/>
                  </a:cubicBezTo>
                  <a:cubicBezTo>
                    <a:pt x="376" y="319"/>
                    <a:pt x="381" y="321"/>
                    <a:pt x="382" y="327"/>
                  </a:cubicBezTo>
                  <a:cubicBezTo>
                    <a:pt x="382" y="330"/>
                    <a:pt x="379" y="334"/>
                    <a:pt x="376" y="336"/>
                  </a:cubicBezTo>
                  <a:close/>
                  <a:moveTo>
                    <a:pt x="299" y="155"/>
                  </a:moveTo>
                  <a:cubicBezTo>
                    <a:pt x="299" y="155"/>
                    <a:pt x="299" y="155"/>
                    <a:pt x="299" y="155"/>
                  </a:cubicBezTo>
                  <a:cubicBezTo>
                    <a:pt x="302" y="155"/>
                    <a:pt x="305" y="155"/>
                    <a:pt x="308" y="155"/>
                  </a:cubicBezTo>
                  <a:cubicBezTo>
                    <a:pt x="307" y="157"/>
                    <a:pt x="307" y="159"/>
                    <a:pt x="307" y="161"/>
                  </a:cubicBezTo>
                  <a:cubicBezTo>
                    <a:pt x="307" y="166"/>
                    <a:pt x="307" y="170"/>
                    <a:pt x="306" y="175"/>
                  </a:cubicBezTo>
                  <a:cubicBezTo>
                    <a:pt x="305" y="175"/>
                    <a:pt x="303" y="175"/>
                    <a:pt x="301" y="175"/>
                  </a:cubicBezTo>
                  <a:cubicBezTo>
                    <a:pt x="300" y="175"/>
                    <a:pt x="299" y="175"/>
                    <a:pt x="297" y="175"/>
                  </a:cubicBezTo>
                  <a:cubicBezTo>
                    <a:pt x="296" y="168"/>
                    <a:pt x="294" y="161"/>
                    <a:pt x="292" y="154"/>
                  </a:cubicBezTo>
                  <a:cubicBezTo>
                    <a:pt x="294" y="154"/>
                    <a:pt x="297" y="155"/>
                    <a:pt x="299" y="15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7" name="íś1ídé"/>
            <p:cNvSpPr/>
            <p:nvPr/>
          </p:nvSpPr>
          <p:spPr bwMode="auto">
            <a:xfrm>
              <a:off x="4109439" y="3134117"/>
              <a:ext cx="3895636" cy="1399042"/>
            </a:xfrm>
            <a:custGeom>
              <a:avLst/>
              <a:gdLst>
                <a:gd name="T0" fmla="*/ 400 w 553"/>
                <a:gd name="T1" fmla="*/ 0 h 199"/>
                <a:gd name="T2" fmla="*/ 401 w 553"/>
                <a:gd name="T3" fmla="*/ 0 h 199"/>
                <a:gd name="T4" fmla="*/ 408 w 553"/>
                <a:gd name="T5" fmla="*/ 3 h 199"/>
                <a:gd name="T6" fmla="*/ 408 w 553"/>
                <a:gd name="T7" fmla="*/ 3 h 199"/>
                <a:gd name="T8" fmla="*/ 409 w 553"/>
                <a:gd name="T9" fmla="*/ 17 h 199"/>
                <a:gd name="T10" fmla="*/ 407 w 553"/>
                <a:gd name="T11" fmla="*/ 51 h 199"/>
                <a:gd name="T12" fmla="*/ 407 w 553"/>
                <a:gd name="T13" fmla="*/ 52 h 199"/>
                <a:gd name="T14" fmla="*/ 401 w 553"/>
                <a:gd name="T15" fmla="*/ 51 h 199"/>
                <a:gd name="T16" fmla="*/ 400 w 553"/>
                <a:gd name="T17" fmla="*/ 49 h 199"/>
                <a:gd name="T18" fmla="*/ 400 w 553"/>
                <a:gd name="T19" fmla="*/ 47 h 199"/>
                <a:gd name="T20" fmla="*/ 400 w 553"/>
                <a:gd name="T21" fmla="*/ 37 h 199"/>
                <a:gd name="T22" fmla="*/ 400 w 553"/>
                <a:gd name="T23" fmla="*/ 5 h 199"/>
                <a:gd name="T24" fmla="*/ 400 w 553"/>
                <a:gd name="T25" fmla="*/ 0 h 199"/>
                <a:gd name="T26" fmla="*/ 540 w 553"/>
                <a:gd name="T27" fmla="*/ 199 h 199"/>
                <a:gd name="T28" fmla="*/ 537 w 553"/>
                <a:gd name="T29" fmla="*/ 199 h 199"/>
                <a:gd name="T30" fmla="*/ 533 w 553"/>
                <a:gd name="T31" fmla="*/ 198 h 199"/>
                <a:gd name="T32" fmla="*/ 529 w 553"/>
                <a:gd name="T33" fmla="*/ 194 h 199"/>
                <a:gd name="T34" fmla="*/ 534 w 553"/>
                <a:gd name="T35" fmla="*/ 181 h 199"/>
                <a:gd name="T36" fmla="*/ 552 w 553"/>
                <a:gd name="T37" fmla="*/ 189 h 199"/>
                <a:gd name="T38" fmla="*/ 553 w 553"/>
                <a:gd name="T39" fmla="*/ 190 h 199"/>
                <a:gd name="T40" fmla="*/ 553 w 553"/>
                <a:gd name="T41" fmla="*/ 190 h 199"/>
                <a:gd name="T42" fmla="*/ 553 w 553"/>
                <a:gd name="T43" fmla="*/ 192 h 199"/>
                <a:gd name="T44" fmla="*/ 552 w 553"/>
                <a:gd name="T45" fmla="*/ 193 h 199"/>
                <a:gd name="T46" fmla="*/ 550 w 553"/>
                <a:gd name="T47" fmla="*/ 195 h 199"/>
                <a:gd name="T48" fmla="*/ 546 w 553"/>
                <a:gd name="T49" fmla="*/ 197 h 199"/>
                <a:gd name="T50" fmla="*/ 544 w 553"/>
                <a:gd name="T51" fmla="*/ 198 h 199"/>
                <a:gd name="T52" fmla="*/ 540 w 553"/>
                <a:gd name="T53" fmla="*/ 199 h 199"/>
                <a:gd name="T54" fmla="*/ 21 w 553"/>
                <a:gd name="T55" fmla="*/ 187 h 199"/>
                <a:gd name="T56" fmla="*/ 15 w 553"/>
                <a:gd name="T57" fmla="*/ 193 h 199"/>
                <a:gd name="T58" fmla="*/ 2 w 553"/>
                <a:gd name="T59" fmla="*/ 187 h 199"/>
                <a:gd name="T60" fmla="*/ 14 w 553"/>
                <a:gd name="T61" fmla="*/ 177 h 199"/>
                <a:gd name="T62" fmla="*/ 21 w 553"/>
                <a:gd name="T63" fmla="*/ 187 h 199"/>
                <a:gd name="T64" fmla="*/ 113 w 553"/>
                <a:gd name="T65" fmla="*/ 0 h 199"/>
                <a:gd name="T66" fmla="*/ 114 w 553"/>
                <a:gd name="T67" fmla="*/ 1 h 199"/>
                <a:gd name="T68" fmla="*/ 120 w 553"/>
                <a:gd name="T69" fmla="*/ 3 h 199"/>
                <a:gd name="T70" fmla="*/ 120 w 553"/>
                <a:gd name="T71" fmla="*/ 3 h 199"/>
                <a:gd name="T72" fmla="*/ 123 w 553"/>
                <a:gd name="T73" fmla="*/ 16 h 199"/>
                <a:gd name="T74" fmla="*/ 119 w 553"/>
                <a:gd name="T75" fmla="*/ 48 h 199"/>
                <a:gd name="T76" fmla="*/ 116 w 553"/>
                <a:gd name="T77" fmla="*/ 58 h 199"/>
                <a:gd name="T78" fmla="*/ 115 w 553"/>
                <a:gd name="T79" fmla="*/ 58 h 199"/>
                <a:gd name="T80" fmla="*/ 110 w 553"/>
                <a:gd name="T81" fmla="*/ 60 h 199"/>
                <a:gd name="T82" fmla="*/ 109 w 553"/>
                <a:gd name="T83" fmla="*/ 57 h 199"/>
                <a:gd name="T84" fmla="*/ 108 w 553"/>
                <a:gd name="T85" fmla="*/ 34 h 199"/>
                <a:gd name="T86" fmla="*/ 108 w 553"/>
                <a:gd name="T87" fmla="*/ 2 h 199"/>
                <a:gd name="T88" fmla="*/ 110 w 553"/>
                <a:gd name="T89" fmla="*/ 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3" h="199">
                  <a:moveTo>
                    <a:pt x="400" y="0"/>
                  </a:moveTo>
                  <a:cubicBezTo>
                    <a:pt x="400" y="0"/>
                    <a:pt x="400" y="0"/>
                    <a:pt x="400" y="0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404" y="1"/>
                    <a:pt x="405" y="1"/>
                    <a:pt x="407" y="2"/>
                  </a:cubicBezTo>
                  <a:cubicBezTo>
                    <a:pt x="408" y="2"/>
                    <a:pt x="408" y="3"/>
                    <a:pt x="408" y="3"/>
                  </a:cubicBezTo>
                  <a:cubicBezTo>
                    <a:pt x="408" y="3"/>
                    <a:pt x="408" y="3"/>
                    <a:pt x="408" y="3"/>
                  </a:cubicBezTo>
                  <a:cubicBezTo>
                    <a:pt x="408" y="3"/>
                    <a:pt x="408" y="3"/>
                    <a:pt x="408" y="3"/>
                  </a:cubicBezTo>
                  <a:cubicBezTo>
                    <a:pt x="409" y="4"/>
                    <a:pt x="409" y="6"/>
                    <a:pt x="409" y="7"/>
                  </a:cubicBezTo>
                  <a:cubicBezTo>
                    <a:pt x="410" y="10"/>
                    <a:pt x="409" y="14"/>
                    <a:pt x="409" y="17"/>
                  </a:cubicBezTo>
                  <a:cubicBezTo>
                    <a:pt x="407" y="26"/>
                    <a:pt x="408" y="35"/>
                    <a:pt x="408" y="44"/>
                  </a:cubicBezTo>
                  <a:cubicBezTo>
                    <a:pt x="408" y="47"/>
                    <a:pt x="407" y="49"/>
                    <a:pt x="407" y="51"/>
                  </a:cubicBezTo>
                  <a:cubicBezTo>
                    <a:pt x="407" y="51"/>
                    <a:pt x="407" y="52"/>
                    <a:pt x="407" y="52"/>
                  </a:cubicBezTo>
                  <a:cubicBezTo>
                    <a:pt x="407" y="51"/>
                    <a:pt x="406" y="53"/>
                    <a:pt x="407" y="52"/>
                  </a:cubicBezTo>
                  <a:cubicBezTo>
                    <a:pt x="406" y="53"/>
                    <a:pt x="406" y="53"/>
                    <a:pt x="406" y="53"/>
                  </a:cubicBezTo>
                  <a:cubicBezTo>
                    <a:pt x="405" y="52"/>
                    <a:pt x="403" y="51"/>
                    <a:pt x="401" y="51"/>
                  </a:cubicBezTo>
                  <a:cubicBezTo>
                    <a:pt x="401" y="51"/>
                    <a:pt x="401" y="51"/>
                    <a:pt x="401" y="51"/>
                  </a:cubicBezTo>
                  <a:cubicBezTo>
                    <a:pt x="400" y="50"/>
                    <a:pt x="400" y="49"/>
                    <a:pt x="400" y="49"/>
                  </a:cubicBezTo>
                  <a:cubicBezTo>
                    <a:pt x="400" y="48"/>
                    <a:pt x="400" y="48"/>
                    <a:pt x="400" y="48"/>
                  </a:cubicBezTo>
                  <a:cubicBezTo>
                    <a:pt x="400" y="48"/>
                    <a:pt x="400" y="47"/>
                    <a:pt x="400" y="47"/>
                  </a:cubicBezTo>
                  <a:cubicBezTo>
                    <a:pt x="400" y="46"/>
                    <a:pt x="400" y="44"/>
                    <a:pt x="400" y="43"/>
                  </a:cubicBezTo>
                  <a:cubicBezTo>
                    <a:pt x="399" y="41"/>
                    <a:pt x="400" y="39"/>
                    <a:pt x="400" y="37"/>
                  </a:cubicBezTo>
                  <a:cubicBezTo>
                    <a:pt x="400" y="31"/>
                    <a:pt x="400" y="25"/>
                    <a:pt x="400" y="18"/>
                  </a:cubicBezTo>
                  <a:cubicBezTo>
                    <a:pt x="400" y="14"/>
                    <a:pt x="400" y="9"/>
                    <a:pt x="400" y="5"/>
                  </a:cubicBezTo>
                  <a:cubicBezTo>
                    <a:pt x="400" y="3"/>
                    <a:pt x="400" y="2"/>
                    <a:pt x="400" y="0"/>
                  </a:cubicBezTo>
                  <a:cubicBezTo>
                    <a:pt x="400" y="0"/>
                    <a:pt x="400" y="0"/>
                    <a:pt x="400" y="0"/>
                  </a:cubicBezTo>
                  <a:close/>
                  <a:moveTo>
                    <a:pt x="540" y="199"/>
                  </a:moveTo>
                  <a:cubicBezTo>
                    <a:pt x="540" y="199"/>
                    <a:pt x="540" y="199"/>
                    <a:pt x="540" y="199"/>
                  </a:cubicBezTo>
                  <a:cubicBezTo>
                    <a:pt x="540" y="199"/>
                    <a:pt x="540" y="199"/>
                    <a:pt x="540" y="199"/>
                  </a:cubicBezTo>
                  <a:cubicBezTo>
                    <a:pt x="539" y="199"/>
                    <a:pt x="538" y="199"/>
                    <a:pt x="537" y="199"/>
                  </a:cubicBezTo>
                  <a:cubicBezTo>
                    <a:pt x="537" y="199"/>
                    <a:pt x="536" y="199"/>
                    <a:pt x="536" y="199"/>
                  </a:cubicBezTo>
                  <a:cubicBezTo>
                    <a:pt x="535" y="199"/>
                    <a:pt x="534" y="199"/>
                    <a:pt x="533" y="198"/>
                  </a:cubicBezTo>
                  <a:cubicBezTo>
                    <a:pt x="533" y="198"/>
                    <a:pt x="531" y="197"/>
                    <a:pt x="531" y="197"/>
                  </a:cubicBezTo>
                  <a:cubicBezTo>
                    <a:pt x="529" y="196"/>
                    <a:pt x="529" y="196"/>
                    <a:pt x="529" y="194"/>
                  </a:cubicBezTo>
                  <a:cubicBezTo>
                    <a:pt x="528" y="190"/>
                    <a:pt x="528" y="186"/>
                    <a:pt x="531" y="183"/>
                  </a:cubicBezTo>
                  <a:cubicBezTo>
                    <a:pt x="532" y="182"/>
                    <a:pt x="533" y="182"/>
                    <a:pt x="534" y="181"/>
                  </a:cubicBezTo>
                  <a:cubicBezTo>
                    <a:pt x="539" y="184"/>
                    <a:pt x="544" y="183"/>
                    <a:pt x="549" y="186"/>
                  </a:cubicBezTo>
                  <a:cubicBezTo>
                    <a:pt x="551" y="186"/>
                    <a:pt x="551" y="187"/>
                    <a:pt x="552" y="189"/>
                  </a:cubicBezTo>
                  <a:cubicBezTo>
                    <a:pt x="552" y="189"/>
                    <a:pt x="553" y="189"/>
                    <a:pt x="553" y="189"/>
                  </a:cubicBezTo>
                  <a:cubicBezTo>
                    <a:pt x="553" y="189"/>
                    <a:pt x="553" y="189"/>
                    <a:pt x="553" y="190"/>
                  </a:cubicBezTo>
                  <a:cubicBezTo>
                    <a:pt x="553" y="190"/>
                    <a:pt x="553" y="190"/>
                    <a:pt x="553" y="190"/>
                  </a:cubicBezTo>
                  <a:cubicBezTo>
                    <a:pt x="553" y="190"/>
                    <a:pt x="553" y="190"/>
                    <a:pt x="553" y="190"/>
                  </a:cubicBezTo>
                  <a:cubicBezTo>
                    <a:pt x="553" y="190"/>
                    <a:pt x="553" y="191"/>
                    <a:pt x="553" y="192"/>
                  </a:cubicBezTo>
                  <a:cubicBezTo>
                    <a:pt x="553" y="192"/>
                    <a:pt x="553" y="192"/>
                    <a:pt x="553" y="192"/>
                  </a:cubicBezTo>
                  <a:cubicBezTo>
                    <a:pt x="552" y="192"/>
                    <a:pt x="552" y="192"/>
                    <a:pt x="552" y="192"/>
                  </a:cubicBezTo>
                  <a:cubicBezTo>
                    <a:pt x="552" y="193"/>
                    <a:pt x="552" y="193"/>
                    <a:pt x="552" y="193"/>
                  </a:cubicBezTo>
                  <a:cubicBezTo>
                    <a:pt x="552" y="193"/>
                    <a:pt x="552" y="193"/>
                    <a:pt x="552" y="193"/>
                  </a:cubicBezTo>
                  <a:cubicBezTo>
                    <a:pt x="551" y="194"/>
                    <a:pt x="550" y="194"/>
                    <a:pt x="550" y="195"/>
                  </a:cubicBezTo>
                  <a:cubicBezTo>
                    <a:pt x="550" y="195"/>
                    <a:pt x="549" y="196"/>
                    <a:pt x="549" y="196"/>
                  </a:cubicBezTo>
                  <a:cubicBezTo>
                    <a:pt x="548" y="197"/>
                    <a:pt x="547" y="197"/>
                    <a:pt x="546" y="197"/>
                  </a:cubicBezTo>
                  <a:cubicBezTo>
                    <a:pt x="546" y="198"/>
                    <a:pt x="546" y="198"/>
                    <a:pt x="545" y="198"/>
                  </a:cubicBezTo>
                  <a:cubicBezTo>
                    <a:pt x="545" y="198"/>
                    <a:pt x="545" y="198"/>
                    <a:pt x="544" y="198"/>
                  </a:cubicBezTo>
                  <a:cubicBezTo>
                    <a:pt x="543" y="198"/>
                    <a:pt x="542" y="199"/>
                    <a:pt x="541" y="199"/>
                  </a:cubicBezTo>
                  <a:cubicBezTo>
                    <a:pt x="541" y="199"/>
                    <a:pt x="541" y="199"/>
                    <a:pt x="540" y="199"/>
                  </a:cubicBezTo>
                  <a:close/>
                  <a:moveTo>
                    <a:pt x="21" y="187"/>
                  </a:moveTo>
                  <a:cubicBezTo>
                    <a:pt x="21" y="187"/>
                    <a:pt x="21" y="187"/>
                    <a:pt x="21" y="187"/>
                  </a:cubicBezTo>
                  <a:cubicBezTo>
                    <a:pt x="20" y="189"/>
                    <a:pt x="20" y="189"/>
                    <a:pt x="19" y="190"/>
                  </a:cubicBezTo>
                  <a:cubicBezTo>
                    <a:pt x="18" y="191"/>
                    <a:pt x="17" y="192"/>
                    <a:pt x="15" y="193"/>
                  </a:cubicBezTo>
                  <a:cubicBezTo>
                    <a:pt x="14" y="193"/>
                    <a:pt x="11" y="194"/>
                    <a:pt x="9" y="193"/>
                  </a:cubicBezTo>
                  <a:cubicBezTo>
                    <a:pt x="6" y="193"/>
                    <a:pt x="4" y="190"/>
                    <a:pt x="2" y="187"/>
                  </a:cubicBezTo>
                  <a:cubicBezTo>
                    <a:pt x="0" y="183"/>
                    <a:pt x="1" y="179"/>
                    <a:pt x="3" y="176"/>
                  </a:cubicBezTo>
                  <a:cubicBezTo>
                    <a:pt x="6" y="177"/>
                    <a:pt x="11" y="176"/>
                    <a:pt x="14" y="177"/>
                  </a:cubicBezTo>
                  <a:cubicBezTo>
                    <a:pt x="18" y="177"/>
                    <a:pt x="21" y="180"/>
                    <a:pt x="22" y="182"/>
                  </a:cubicBezTo>
                  <a:cubicBezTo>
                    <a:pt x="22" y="184"/>
                    <a:pt x="22" y="185"/>
                    <a:pt x="21" y="187"/>
                  </a:cubicBezTo>
                  <a:close/>
                  <a:moveTo>
                    <a:pt x="113" y="0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0"/>
                    <a:pt x="114" y="0"/>
                  </a:cubicBezTo>
                  <a:cubicBezTo>
                    <a:pt x="114" y="0"/>
                    <a:pt x="114" y="0"/>
                    <a:pt x="114" y="1"/>
                  </a:cubicBezTo>
                  <a:cubicBezTo>
                    <a:pt x="115" y="1"/>
                    <a:pt x="116" y="1"/>
                    <a:pt x="117" y="1"/>
                  </a:cubicBezTo>
                  <a:cubicBezTo>
                    <a:pt x="118" y="2"/>
                    <a:pt x="118" y="2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1" y="4"/>
                    <a:pt x="121" y="4"/>
                  </a:cubicBezTo>
                  <a:cubicBezTo>
                    <a:pt x="123" y="7"/>
                    <a:pt x="123" y="13"/>
                    <a:pt x="123" y="16"/>
                  </a:cubicBezTo>
                  <a:cubicBezTo>
                    <a:pt x="122" y="21"/>
                    <a:pt x="121" y="26"/>
                    <a:pt x="121" y="31"/>
                  </a:cubicBezTo>
                  <a:cubicBezTo>
                    <a:pt x="120" y="36"/>
                    <a:pt x="120" y="42"/>
                    <a:pt x="119" y="48"/>
                  </a:cubicBezTo>
                  <a:cubicBezTo>
                    <a:pt x="119" y="50"/>
                    <a:pt x="119" y="52"/>
                    <a:pt x="118" y="55"/>
                  </a:cubicBezTo>
                  <a:cubicBezTo>
                    <a:pt x="118" y="56"/>
                    <a:pt x="117" y="57"/>
                    <a:pt x="116" y="58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6" y="58"/>
                    <a:pt x="116" y="58"/>
                    <a:pt x="115" y="58"/>
                  </a:cubicBezTo>
                  <a:cubicBezTo>
                    <a:pt x="115" y="59"/>
                    <a:pt x="115" y="59"/>
                    <a:pt x="113" y="59"/>
                  </a:cubicBezTo>
                  <a:cubicBezTo>
                    <a:pt x="112" y="59"/>
                    <a:pt x="111" y="60"/>
                    <a:pt x="110" y="60"/>
                  </a:cubicBezTo>
                  <a:cubicBezTo>
                    <a:pt x="110" y="60"/>
                    <a:pt x="110" y="59"/>
                    <a:pt x="110" y="59"/>
                  </a:cubicBezTo>
                  <a:cubicBezTo>
                    <a:pt x="110" y="59"/>
                    <a:pt x="110" y="58"/>
                    <a:pt x="109" y="57"/>
                  </a:cubicBezTo>
                  <a:cubicBezTo>
                    <a:pt x="109" y="55"/>
                    <a:pt x="109" y="53"/>
                    <a:pt x="109" y="50"/>
                  </a:cubicBezTo>
                  <a:cubicBezTo>
                    <a:pt x="109" y="45"/>
                    <a:pt x="108" y="39"/>
                    <a:pt x="108" y="34"/>
                  </a:cubicBezTo>
                  <a:cubicBezTo>
                    <a:pt x="108" y="28"/>
                    <a:pt x="109" y="22"/>
                    <a:pt x="109" y="16"/>
                  </a:cubicBezTo>
                  <a:cubicBezTo>
                    <a:pt x="108" y="12"/>
                    <a:pt x="109" y="7"/>
                    <a:pt x="108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9" y="1"/>
                    <a:pt x="109" y="1"/>
                    <a:pt x="110" y="1"/>
                  </a:cubicBezTo>
                  <a:cubicBezTo>
                    <a:pt x="111" y="0"/>
                    <a:pt x="112" y="0"/>
                    <a:pt x="113" y="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8" name="ïṧ1iḑé"/>
            <p:cNvSpPr/>
            <p:nvPr/>
          </p:nvSpPr>
          <p:spPr bwMode="auto">
            <a:xfrm>
              <a:off x="5461054" y="4187631"/>
              <a:ext cx="1029803" cy="294714"/>
            </a:xfrm>
            <a:custGeom>
              <a:avLst/>
              <a:gdLst>
                <a:gd name="T0" fmla="*/ 40 w 146"/>
                <a:gd name="T1" fmla="*/ 4 h 42"/>
                <a:gd name="T2" fmla="*/ 35 w 146"/>
                <a:gd name="T3" fmla="*/ 4 h 42"/>
                <a:gd name="T4" fmla="*/ 34 w 146"/>
                <a:gd name="T5" fmla="*/ 21 h 42"/>
                <a:gd name="T6" fmla="*/ 36 w 146"/>
                <a:gd name="T7" fmla="*/ 39 h 42"/>
                <a:gd name="T8" fmla="*/ 42 w 146"/>
                <a:gd name="T9" fmla="*/ 36 h 42"/>
                <a:gd name="T10" fmla="*/ 42 w 146"/>
                <a:gd name="T11" fmla="*/ 21 h 42"/>
                <a:gd name="T12" fmla="*/ 40 w 146"/>
                <a:gd name="T13" fmla="*/ 4 h 42"/>
                <a:gd name="T14" fmla="*/ 110 w 146"/>
                <a:gd name="T15" fmla="*/ 5 h 42"/>
                <a:gd name="T16" fmla="*/ 106 w 146"/>
                <a:gd name="T17" fmla="*/ 3 h 42"/>
                <a:gd name="T18" fmla="*/ 104 w 146"/>
                <a:gd name="T19" fmla="*/ 17 h 42"/>
                <a:gd name="T20" fmla="*/ 104 w 146"/>
                <a:gd name="T21" fmla="*/ 35 h 42"/>
                <a:gd name="T22" fmla="*/ 111 w 146"/>
                <a:gd name="T23" fmla="*/ 35 h 42"/>
                <a:gd name="T24" fmla="*/ 111 w 146"/>
                <a:gd name="T25" fmla="*/ 18 h 42"/>
                <a:gd name="T26" fmla="*/ 110 w 146"/>
                <a:gd name="T27" fmla="*/ 5 h 42"/>
                <a:gd name="T28" fmla="*/ 121 w 146"/>
                <a:gd name="T29" fmla="*/ 4 h 42"/>
                <a:gd name="T30" fmla="*/ 119 w 146"/>
                <a:gd name="T31" fmla="*/ 33 h 42"/>
                <a:gd name="T32" fmla="*/ 122 w 146"/>
                <a:gd name="T33" fmla="*/ 40 h 42"/>
                <a:gd name="T34" fmla="*/ 124 w 146"/>
                <a:gd name="T35" fmla="*/ 40 h 42"/>
                <a:gd name="T36" fmla="*/ 127 w 146"/>
                <a:gd name="T37" fmla="*/ 33 h 42"/>
                <a:gd name="T38" fmla="*/ 125 w 146"/>
                <a:gd name="T39" fmla="*/ 4 h 42"/>
                <a:gd name="T40" fmla="*/ 121 w 146"/>
                <a:gd name="T41" fmla="*/ 4 h 42"/>
                <a:gd name="T42" fmla="*/ 143 w 146"/>
                <a:gd name="T43" fmla="*/ 4 h 42"/>
                <a:gd name="T44" fmla="*/ 138 w 146"/>
                <a:gd name="T45" fmla="*/ 4 h 42"/>
                <a:gd name="T46" fmla="*/ 137 w 146"/>
                <a:gd name="T47" fmla="*/ 21 h 42"/>
                <a:gd name="T48" fmla="*/ 139 w 146"/>
                <a:gd name="T49" fmla="*/ 39 h 42"/>
                <a:gd name="T50" fmla="*/ 145 w 146"/>
                <a:gd name="T51" fmla="*/ 36 h 42"/>
                <a:gd name="T52" fmla="*/ 145 w 146"/>
                <a:gd name="T53" fmla="*/ 21 h 42"/>
                <a:gd name="T54" fmla="*/ 143 w 146"/>
                <a:gd name="T55" fmla="*/ 4 h 42"/>
                <a:gd name="T56" fmla="*/ 59 w 146"/>
                <a:gd name="T57" fmla="*/ 5 h 42"/>
                <a:gd name="T58" fmla="*/ 55 w 146"/>
                <a:gd name="T59" fmla="*/ 3 h 42"/>
                <a:gd name="T60" fmla="*/ 52 w 146"/>
                <a:gd name="T61" fmla="*/ 17 h 42"/>
                <a:gd name="T62" fmla="*/ 52 w 146"/>
                <a:gd name="T63" fmla="*/ 35 h 42"/>
                <a:gd name="T64" fmla="*/ 60 w 146"/>
                <a:gd name="T65" fmla="*/ 35 h 42"/>
                <a:gd name="T66" fmla="*/ 60 w 146"/>
                <a:gd name="T67" fmla="*/ 18 h 42"/>
                <a:gd name="T68" fmla="*/ 59 w 146"/>
                <a:gd name="T69" fmla="*/ 5 h 42"/>
                <a:gd name="T70" fmla="*/ 69 w 146"/>
                <a:gd name="T71" fmla="*/ 4 h 42"/>
                <a:gd name="T72" fmla="*/ 68 w 146"/>
                <a:gd name="T73" fmla="*/ 33 h 42"/>
                <a:gd name="T74" fmla="*/ 71 w 146"/>
                <a:gd name="T75" fmla="*/ 40 h 42"/>
                <a:gd name="T76" fmla="*/ 73 w 146"/>
                <a:gd name="T77" fmla="*/ 40 h 42"/>
                <a:gd name="T78" fmla="*/ 76 w 146"/>
                <a:gd name="T79" fmla="*/ 33 h 42"/>
                <a:gd name="T80" fmla="*/ 74 w 146"/>
                <a:gd name="T81" fmla="*/ 4 h 42"/>
                <a:gd name="T82" fmla="*/ 69 w 146"/>
                <a:gd name="T83" fmla="*/ 4 h 42"/>
                <a:gd name="T84" fmla="*/ 91 w 146"/>
                <a:gd name="T85" fmla="*/ 4 h 42"/>
                <a:gd name="T86" fmla="*/ 87 w 146"/>
                <a:gd name="T87" fmla="*/ 4 h 42"/>
                <a:gd name="T88" fmla="*/ 86 w 146"/>
                <a:gd name="T89" fmla="*/ 21 h 42"/>
                <a:gd name="T90" fmla="*/ 88 w 146"/>
                <a:gd name="T91" fmla="*/ 39 h 42"/>
                <a:gd name="T92" fmla="*/ 94 w 146"/>
                <a:gd name="T93" fmla="*/ 36 h 42"/>
                <a:gd name="T94" fmla="*/ 94 w 146"/>
                <a:gd name="T95" fmla="*/ 21 h 42"/>
                <a:gd name="T96" fmla="*/ 91 w 146"/>
                <a:gd name="T97" fmla="*/ 4 h 42"/>
                <a:gd name="T98" fmla="*/ 7 w 146"/>
                <a:gd name="T99" fmla="*/ 5 h 42"/>
                <a:gd name="T100" fmla="*/ 3 w 146"/>
                <a:gd name="T101" fmla="*/ 3 h 42"/>
                <a:gd name="T102" fmla="*/ 1 w 146"/>
                <a:gd name="T103" fmla="*/ 17 h 42"/>
                <a:gd name="T104" fmla="*/ 1 w 146"/>
                <a:gd name="T105" fmla="*/ 35 h 42"/>
                <a:gd name="T106" fmla="*/ 9 w 146"/>
                <a:gd name="T107" fmla="*/ 35 h 42"/>
                <a:gd name="T108" fmla="*/ 9 w 146"/>
                <a:gd name="T109" fmla="*/ 18 h 42"/>
                <a:gd name="T110" fmla="*/ 7 w 146"/>
                <a:gd name="T111" fmla="*/ 5 h 42"/>
                <a:gd name="T112" fmla="*/ 18 w 146"/>
                <a:gd name="T113" fmla="*/ 4 h 42"/>
                <a:gd name="T114" fmla="*/ 16 w 146"/>
                <a:gd name="T115" fmla="*/ 33 h 42"/>
                <a:gd name="T116" fmla="*/ 19 w 146"/>
                <a:gd name="T117" fmla="*/ 40 h 42"/>
                <a:gd name="T118" fmla="*/ 22 w 146"/>
                <a:gd name="T119" fmla="*/ 40 h 42"/>
                <a:gd name="T120" fmla="*/ 25 w 146"/>
                <a:gd name="T121" fmla="*/ 33 h 42"/>
                <a:gd name="T122" fmla="*/ 23 w 146"/>
                <a:gd name="T123" fmla="*/ 4 h 42"/>
                <a:gd name="T124" fmla="*/ 18 w 146"/>
                <a:gd name="T125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6" h="42">
                  <a:moveTo>
                    <a:pt x="40" y="4"/>
                  </a:moveTo>
                  <a:cubicBezTo>
                    <a:pt x="40" y="0"/>
                    <a:pt x="36" y="0"/>
                    <a:pt x="35" y="4"/>
                  </a:cubicBezTo>
                  <a:cubicBezTo>
                    <a:pt x="35" y="10"/>
                    <a:pt x="35" y="15"/>
                    <a:pt x="34" y="21"/>
                  </a:cubicBezTo>
                  <a:cubicBezTo>
                    <a:pt x="34" y="28"/>
                    <a:pt x="34" y="34"/>
                    <a:pt x="36" y="39"/>
                  </a:cubicBezTo>
                  <a:cubicBezTo>
                    <a:pt x="38" y="42"/>
                    <a:pt x="41" y="40"/>
                    <a:pt x="42" y="36"/>
                  </a:cubicBezTo>
                  <a:cubicBezTo>
                    <a:pt x="43" y="31"/>
                    <a:pt x="42" y="26"/>
                    <a:pt x="42" y="21"/>
                  </a:cubicBezTo>
                  <a:cubicBezTo>
                    <a:pt x="42" y="15"/>
                    <a:pt x="41" y="10"/>
                    <a:pt x="40" y="4"/>
                  </a:cubicBezTo>
                  <a:close/>
                  <a:moveTo>
                    <a:pt x="110" y="5"/>
                  </a:moveTo>
                  <a:cubicBezTo>
                    <a:pt x="110" y="1"/>
                    <a:pt x="107" y="0"/>
                    <a:pt x="106" y="3"/>
                  </a:cubicBezTo>
                  <a:cubicBezTo>
                    <a:pt x="104" y="7"/>
                    <a:pt x="104" y="12"/>
                    <a:pt x="104" y="17"/>
                  </a:cubicBezTo>
                  <a:cubicBezTo>
                    <a:pt x="104" y="23"/>
                    <a:pt x="103" y="29"/>
                    <a:pt x="104" y="35"/>
                  </a:cubicBezTo>
                  <a:cubicBezTo>
                    <a:pt x="104" y="41"/>
                    <a:pt x="111" y="41"/>
                    <a:pt x="111" y="35"/>
                  </a:cubicBezTo>
                  <a:cubicBezTo>
                    <a:pt x="112" y="29"/>
                    <a:pt x="112" y="24"/>
                    <a:pt x="111" y="18"/>
                  </a:cubicBezTo>
                  <a:cubicBezTo>
                    <a:pt x="111" y="14"/>
                    <a:pt x="110" y="10"/>
                    <a:pt x="110" y="5"/>
                  </a:cubicBezTo>
                  <a:close/>
                  <a:moveTo>
                    <a:pt x="121" y="4"/>
                  </a:moveTo>
                  <a:cubicBezTo>
                    <a:pt x="119" y="13"/>
                    <a:pt x="119" y="24"/>
                    <a:pt x="119" y="33"/>
                  </a:cubicBezTo>
                  <a:cubicBezTo>
                    <a:pt x="119" y="36"/>
                    <a:pt x="120" y="39"/>
                    <a:pt x="122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6" y="39"/>
                    <a:pt x="127" y="36"/>
                    <a:pt x="127" y="33"/>
                  </a:cubicBezTo>
                  <a:cubicBezTo>
                    <a:pt x="128" y="24"/>
                    <a:pt x="127" y="13"/>
                    <a:pt x="125" y="4"/>
                  </a:cubicBezTo>
                  <a:cubicBezTo>
                    <a:pt x="125" y="0"/>
                    <a:pt x="122" y="0"/>
                    <a:pt x="121" y="4"/>
                  </a:cubicBezTo>
                  <a:close/>
                  <a:moveTo>
                    <a:pt x="143" y="4"/>
                  </a:moveTo>
                  <a:cubicBezTo>
                    <a:pt x="142" y="0"/>
                    <a:pt x="139" y="0"/>
                    <a:pt x="138" y="4"/>
                  </a:cubicBezTo>
                  <a:cubicBezTo>
                    <a:pt x="137" y="10"/>
                    <a:pt x="137" y="15"/>
                    <a:pt x="137" y="21"/>
                  </a:cubicBezTo>
                  <a:cubicBezTo>
                    <a:pt x="137" y="28"/>
                    <a:pt x="136" y="34"/>
                    <a:pt x="139" y="39"/>
                  </a:cubicBezTo>
                  <a:cubicBezTo>
                    <a:pt x="141" y="42"/>
                    <a:pt x="144" y="40"/>
                    <a:pt x="145" y="36"/>
                  </a:cubicBezTo>
                  <a:cubicBezTo>
                    <a:pt x="146" y="31"/>
                    <a:pt x="145" y="26"/>
                    <a:pt x="145" y="21"/>
                  </a:cubicBezTo>
                  <a:cubicBezTo>
                    <a:pt x="145" y="15"/>
                    <a:pt x="143" y="10"/>
                    <a:pt x="143" y="4"/>
                  </a:cubicBezTo>
                  <a:close/>
                  <a:moveTo>
                    <a:pt x="59" y="5"/>
                  </a:moveTo>
                  <a:cubicBezTo>
                    <a:pt x="59" y="1"/>
                    <a:pt x="56" y="0"/>
                    <a:pt x="55" y="3"/>
                  </a:cubicBezTo>
                  <a:cubicBezTo>
                    <a:pt x="53" y="7"/>
                    <a:pt x="53" y="12"/>
                    <a:pt x="52" y="17"/>
                  </a:cubicBezTo>
                  <a:cubicBezTo>
                    <a:pt x="52" y="23"/>
                    <a:pt x="52" y="29"/>
                    <a:pt x="52" y="35"/>
                  </a:cubicBezTo>
                  <a:cubicBezTo>
                    <a:pt x="53" y="41"/>
                    <a:pt x="59" y="41"/>
                    <a:pt x="60" y="35"/>
                  </a:cubicBezTo>
                  <a:cubicBezTo>
                    <a:pt x="61" y="29"/>
                    <a:pt x="60" y="24"/>
                    <a:pt x="60" y="18"/>
                  </a:cubicBezTo>
                  <a:cubicBezTo>
                    <a:pt x="60" y="14"/>
                    <a:pt x="59" y="10"/>
                    <a:pt x="59" y="5"/>
                  </a:cubicBezTo>
                  <a:close/>
                  <a:moveTo>
                    <a:pt x="69" y="4"/>
                  </a:moveTo>
                  <a:cubicBezTo>
                    <a:pt x="67" y="13"/>
                    <a:pt x="67" y="24"/>
                    <a:pt x="68" y="33"/>
                  </a:cubicBezTo>
                  <a:cubicBezTo>
                    <a:pt x="68" y="36"/>
                    <a:pt x="69" y="39"/>
                    <a:pt x="71" y="40"/>
                  </a:cubicBezTo>
                  <a:cubicBezTo>
                    <a:pt x="71" y="40"/>
                    <a:pt x="72" y="40"/>
                    <a:pt x="73" y="40"/>
                  </a:cubicBezTo>
                  <a:cubicBezTo>
                    <a:pt x="75" y="39"/>
                    <a:pt x="76" y="36"/>
                    <a:pt x="76" y="33"/>
                  </a:cubicBezTo>
                  <a:cubicBezTo>
                    <a:pt x="76" y="24"/>
                    <a:pt x="76" y="13"/>
                    <a:pt x="74" y="4"/>
                  </a:cubicBezTo>
                  <a:cubicBezTo>
                    <a:pt x="73" y="0"/>
                    <a:pt x="70" y="0"/>
                    <a:pt x="69" y="4"/>
                  </a:cubicBezTo>
                  <a:close/>
                  <a:moveTo>
                    <a:pt x="91" y="4"/>
                  </a:moveTo>
                  <a:cubicBezTo>
                    <a:pt x="91" y="0"/>
                    <a:pt x="87" y="0"/>
                    <a:pt x="87" y="4"/>
                  </a:cubicBezTo>
                  <a:cubicBezTo>
                    <a:pt x="86" y="10"/>
                    <a:pt x="86" y="15"/>
                    <a:pt x="86" y="21"/>
                  </a:cubicBezTo>
                  <a:cubicBezTo>
                    <a:pt x="85" y="28"/>
                    <a:pt x="85" y="34"/>
                    <a:pt x="88" y="39"/>
                  </a:cubicBezTo>
                  <a:cubicBezTo>
                    <a:pt x="90" y="42"/>
                    <a:pt x="93" y="40"/>
                    <a:pt x="94" y="36"/>
                  </a:cubicBezTo>
                  <a:cubicBezTo>
                    <a:pt x="94" y="31"/>
                    <a:pt x="94" y="26"/>
                    <a:pt x="94" y="21"/>
                  </a:cubicBezTo>
                  <a:cubicBezTo>
                    <a:pt x="94" y="15"/>
                    <a:pt x="92" y="10"/>
                    <a:pt x="91" y="4"/>
                  </a:cubicBezTo>
                  <a:close/>
                  <a:moveTo>
                    <a:pt x="7" y="5"/>
                  </a:moveTo>
                  <a:cubicBezTo>
                    <a:pt x="7" y="1"/>
                    <a:pt x="4" y="0"/>
                    <a:pt x="3" y="3"/>
                  </a:cubicBezTo>
                  <a:cubicBezTo>
                    <a:pt x="1" y="7"/>
                    <a:pt x="1" y="12"/>
                    <a:pt x="1" y="17"/>
                  </a:cubicBezTo>
                  <a:cubicBezTo>
                    <a:pt x="1" y="23"/>
                    <a:pt x="0" y="29"/>
                    <a:pt x="1" y="35"/>
                  </a:cubicBezTo>
                  <a:cubicBezTo>
                    <a:pt x="2" y="41"/>
                    <a:pt x="8" y="41"/>
                    <a:pt x="9" y="35"/>
                  </a:cubicBezTo>
                  <a:cubicBezTo>
                    <a:pt x="9" y="29"/>
                    <a:pt x="9" y="24"/>
                    <a:pt x="9" y="18"/>
                  </a:cubicBezTo>
                  <a:cubicBezTo>
                    <a:pt x="8" y="14"/>
                    <a:pt x="7" y="10"/>
                    <a:pt x="7" y="5"/>
                  </a:cubicBezTo>
                  <a:close/>
                  <a:moveTo>
                    <a:pt x="18" y="4"/>
                  </a:moveTo>
                  <a:cubicBezTo>
                    <a:pt x="16" y="13"/>
                    <a:pt x="16" y="24"/>
                    <a:pt x="16" y="33"/>
                  </a:cubicBezTo>
                  <a:cubicBezTo>
                    <a:pt x="16" y="36"/>
                    <a:pt x="18" y="39"/>
                    <a:pt x="19" y="40"/>
                  </a:cubicBezTo>
                  <a:cubicBezTo>
                    <a:pt x="20" y="40"/>
                    <a:pt x="21" y="40"/>
                    <a:pt x="22" y="40"/>
                  </a:cubicBezTo>
                  <a:cubicBezTo>
                    <a:pt x="23" y="39"/>
                    <a:pt x="25" y="36"/>
                    <a:pt x="25" y="33"/>
                  </a:cubicBezTo>
                  <a:cubicBezTo>
                    <a:pt x="25" y="24"/>
                    <a:pt x="25" y="13"/>
                    <a:pt x="23" y="4"/>
                  </a:cubicBezTo>
                  <a:cubicBezTo>
                    <a:pt x="22" y="0"/>
                    <a:pt x="19" y="0"/>
                    <a:pt x="18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9" name="ïŝ1îḑé"/>
            <p:cNvSpPr/>
            <p:nvPr/>
          </p:nvSpPr>
          <p:spPr bwMode="auto">
            <a:xfrm>
              <a:off x="5454279" y="3455930"/>
              <a:ext cx="108400" cy="220189"/>
            </a:xfrm>
            <a:custGeom>
              <a:avLst/>
              <a:gdLst>
                <a:gd name="T0" fmla="*/ 10 w 15"/>
                <a:gd name="T1" fmla="*/ 1 h 31"/>
                <a:gd name="T2" fmla="*/ 10 w 15"/>
                <a:gd name="T3" fmla="*/ 1 h 31"/>
                <a:gd name="T4" fmla="*/ 13 w 15"/>
                <a:gd name="T5" fmla="*/ 1 h 31"/>
                <a:gd name="T6" fmla="*/ 14 w 15"/>
                <a:gd name="T7" fmla="*/ 19 h 31"/>
                <a:gd name="T8" fmla="*/ 15 w 15"/>
                <a:gd name="T9" fmla="*/ 29 h 31"/>
                <a:gd name="T10" fmla="*/ 15 w 15"/>
                <a:gd name="T11" fmla="*/ 30 h 31"/>
                <a:gd name="T12" fmla="*/ 6 w 15"/>
                <a:gd name="T13" fmla="*/ 30 h 31"/>
                <a:gd name="T14" fmla="*/ 2 w 15"/>
                <a:gd name="T15" fmla="*/ 31 h 31"/>
                <a:gd name="T16" fmla="*/ 2 w 15"/>
                <a:gd name="T17" fmla="*/ 29 h 31"/>
                <a:gd name="T18" fmla="*/ 2 w 15"/>
                <a:gd name="T19" fmla="*/ 20 h 31"/>
                <a:gd name="T20" fmla="*/ 2 w 15"/>
                <a:gd name="T21" fmla="*/ 10 h 31"/>
                <a:gd name="T22" fmla="*/ 0 w 15"/>
                <a:gd name="T23" fmla="*/ 0 h 31"/>
                <a:gd name="T24" fmla="*/ 1 w 15"/>
                <a:gd name="T25" fmla="*/ 1 h 31"/>
                <a:gd name="T26" fmla="*/ 10 w 15"/>
                <a:gd name="T27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31">
                  <a:moveTo>
                    <a:pt x="1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2" y="1"/>
                    <a:pt x="13" y="1"/>
                  </a:cubicBezTo>
                  <a:cubicBezTo>
                    <a:pt x="13" y="7"/>
                    <a:pt x="14" y="13"/>
                    <a:pt x="14" y="19"/>
                  </a:cubicBezTo>
                  <a:cubicBezTo>
                    <a:pt x="14" y="22"/>
                    <a:pt x="14" y="25"/>
                    <a:pt x="15" y="29"/>
                  </a:cubicBezTo>
                  <a:cubicBezTo>
                    <a:pt x="15" y="29"/>
                    <a:pt x="15" y="29"/>
                    <a:pt x="15" y="30"/>
                  </a:cubicBezTo>
                  <a:cubicBezTo>
                    <a:pt x="12" y="30"/>
                    <a:pt x="9" y="30"/>
                    <a:pt x="6" y="30"/>
                  </a:cubicBezTo>
                  <a:cubicBezTo>
                    <a:pt x="5" y="30"/>
                    <a:pt x="4" y="31"/>
                    <a:pt x="2" y="31"/>
                  </a:cubicBezTo>
                  <a:cubicBezTo>
                    <a:pt x="3" y="30"/>
                    <a:pt x="3" y="30"/>
                    <a:pt x="2" y="29"/>
                  </a:cubicBezTo>
                  <a:cubicBezTo>
                    <a:pt x="2" y="26"/>
                    <a:pt x="3" y="23"/>
                    <a:pt x="2" y="20"/>
                  </a:cubicBezTo>
                  <a:cubicBezTo>
                    <a:pt x="2" y="17"/>
                    <a:pt x="2" y="13"/>
                    <a:pt x="2" y="10"/>
                  </a:cubicBezTo>
                  <a:cubicBezTo>
                    <a:pt x="1" y="7"/>
                    <a:pt x="1" y="4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4" y="1"/>
                    <a:pt x="7" y="1"/>
                    <a:pt x="10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0" name="iṥľîḍê"/>
            <p:cNvSpPr/>
            <p:nvPr/>
          </p:nvSpPr>
          <p:spPr bwMode="auto">
            <a:xfrm>
              <a:off x="5576229" y="3455930"/>
              <a:ext cx="111789" cy="213414"/>
            </a:xfrm>
            <a:custGeom>
              <a:avLst/>
              <a:gdLst>
                <a:gd name="T0" fmla="*/ 15 w 16"/>
                <a:gd name="T1" fmla="*/ 0 h 30"/>
                <a:gd name="T2" fmla="*/ 15 w 16"/>
                <a:gd name="T3" fmla="*/ 0 h 30"/>
                <a:gd name="T4" fmla="*/ 15 w 16"/>
                <a:gd name="T5" fmla="*/ 13 h 30"/>
                <a:gd name="T6" fmla="*/ 15 w 16"/>
                <a:gd name="T7" fmla="*/ 22 h 30"/>
                <a:gd name="T8" fmla="*/ 15 w 16"/>
                <a:gd name="T9" fmla="*/ 29 h 30"/>
                <a:gd name="T10" fmla="*/ 16 w 16"/>
                <a:gd name="T11" fmla="*/ 30 h 30"/>
                <a:gd name="T12" fmla="*/ 3 w 16"/>
                <a:gd name="T13" fmla="*/ 30 h 30"/>
                <a:gd name="T14" fmla="*/ 2 w 16"/>
                <a:gd name="T15" fmla="*/ 27 h 30"/>
                <a:gd name="T16" fmla="*/ 2 w 16"/>
                <a:gd name="T17" fmla="*/ 19 h 30"/>
                <a:gd name="T18" fmla="*/ 0 w 16"/>
                <a:gd name="T19" fmla="*/ 1 h 30"/>
                <a:gd name="T20" fmla="*/ 12 w 16"/>
                <a:gd name="T21" fmla="*/ 0 h 30"/>
                <a:gd name="T22" fmla="*/ 15 w 16"/>
                <a:gd name="T2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30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4" y="4"/>
                    <a:pt x="15" y="8"/>
                    <a:pt x="15" y="13"/>
                  </a:cubicBezTo>
                  <a:cubicBezTo>
                    <a:pt x="14" y="16"/>
                    <a:pt x="15" y="19"/>
                    <a:pt x="15" y="22"/>
                  </a:cubicBezTo>
                  <a:cubicBezTo>
                    <a:pt x="15" y="24"/>
                    <a:pt x="14" y="27"/>
                    <a:pt x="15" y="29"/>
                  </a:cubicBezTo>
                  <a:cubicBezTo>
                    <a:pt x="16" y="29"/>
                    <a:pt x="16" y="29"/>
                    <a:pt x="16" y="30"/>
                  </a:cubicBezTo>
                  <a:cubicBezTo>
                    <a:pt x="11" y="30"/>
                    <a:pt x="7" y="30"/>
                    <a:pt x="3" y="30"/>
                  </a:cubicBezTo>
                  <a:cubicBezTo>
                    <a:pt x="2" y="29"/>
                    <a:pt x="2" y="28"/>
                    <a:pt x="2" y="27"/>
                  </a:cubicBezTo>
                  <a:cubicBezTo>
                    <a:pt x="2" y="24"/>
                    <a:pt x="2" y="22"/>
                    <a:pt x="2" y="19"/>
                  </a:cubicBezTo>
                  <a:cubicBezTo>
                    <a:pt x="1" y="13"/>
                    <a:pt x="0" y="7"/>
                    <a:pt x="0" y="1"/>
                  </a:cubicBezTo>
                  <a:cubicBezTo>
                    <a:pt x="4" y="0"/>
                    <a:pt x="8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1" name="îşḻîdé"/>
            <p:cNvSpPr/>
            <p:nvPr/>
          </p:nvSpPr>
          <p:spPr bwMode="auto">
            <a:xfrm>
              <a:off x="5701568" y="3455930"/>
              <a:ext cx="125339" cy="206639"/>
            </a:xfrm>
            <a:custGeom>
              <a:avLst/>
              <a:gdLst>
                <a:gd name="T0" fmla="*/ 17 w 18"/>
                <a:gd name="T1" fmla="*/ 1 h 29"/>
                <a:gd name="T2" fmla="*/ 17 w 18"/>
                <a:gd name="T3" fmla="*/ 1 h 29"/>
                <a:gd name="T4" fmla="*/ 17 w 18"/>
                <a:gd name="T5" fmla="*/ 14 h 29"/>
                <a:gd name="T6" fmla="*/ 17 w 18"/>
                <a:gd name="T7" fmla="*/ 25 h 29"/>
                <a:gd name="T8" fmla="*/ 18 w 18"/>
                <a:gd name="T9" fmla="*/ 29 h 29"/>
                <a:gd name="T10" fmla="*/ 17 w 18"/>
                <a:gd name="T11" fmla="*/ 29 h 29"/>
                <a:gd name="T12" fmla="*/ 0 w 18"/>
                <a:gd name="T13" fmla="*/ 29 h 29"/>
                <a:gd name="T14" fmla="*/ 0 w 18"/>
                <a:gd name="T15" fmla="*/ 29 h 29"/>
                <a:gd name="T16" fmla="*/ 1 w 18"/>
                <a:gd name="T17" fmla="*/ 23 h 29"/>
                <a:gd name="T18" fmla="*/ 1 w 18"/>
                <a:gd name="T19" fmla="*/ 14 h 29"/>
                <a:gd name="T20" fmla="*/ 1 w 18"/>
                <a:gd name="T21" fmla="*/ 0 h 29"/>
                <a:gd name="T22" fmla="*/ 17 w 18"/>
                <a:gd name="T2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29">
                  <a:moveTo>
                    <a:pt x="17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8" y="5"/>
                    <a:pt x="17" y="10"/>
                    <a:pt x="17" y="14"/>
                  </a:cubicBezTo>
                  <a:cubicBezTo>
                    <a:pt x="17" y="18"/>
                    <a:pt x="17" y="21"/>
                    <a:pt x="17" y="25"/>
                  </a:cubicBezTo>
                  <a:cubicBezTo>
                    <a:pt x="18" y="26"/>
                    <a:pt x="18" y="28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1" y="29"/>
                    <a:pt x="5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27"/>
                    <a:pt x="1" y="25"/>
                    <a:pt x="1" y="23"/>
                  </a:cubicBezTo>
                  <a:cubicBezTo>
                    <a:pt x="1" y="20"/>
                    <a:pt x="1" y="17"/>
                    <a:pt x="1" y="14"/>
                  </a:cubicBezTo>
                  <a:cubicBezTo>
                    <a:pt x="1" y="9"/>
                    <a:pt x="1" y="5"/>
                    <a:pt x="1" y="0"/>
                  </a:cubicBezTo>
                  <a:cubicBezTo>
                    <a:pt x="6" y="0"/>
                    <a:pt x="11" y="1"/>
                    <a:pt x="17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2" name="ïş1îḍe"/>
            <p:cNvSpPr/>
            <p:nvPr/>
          </p:nvSpPr>
          <p:spPr bwMode="auto">
            <a:xfrm>
              <a:off x="5850619" y="3462705"/>
              <a:ext cx="111789" cy="213414"/>
            </a:xfrm>
            <a:custGeom>
              <a:avLst/>
              <a:gdLst>
                <a:gd name="T0" fmla="*/ 11 w 16"/>
                <a:gd name="T1" fmla="*/ 1 h 30"/>
                <a:gd name="T2" fmla="*/ 11 w 16"/>
                <a:gd name="T3" fmla="*/ 1 h 30"/>
                <a:gd name="T4" fmla="*/ 16 w 16"/>
                <a:gd name="T5" fmla="*/ 1 h 30"/>
                <a:gd name="T6" fmla="*/ 16 w 16"/>
                <a:gd name="T7" fmla="*/ 5 h 30"/>
                <a:gd name="T8" fmla="*/ 15 w 16"/>
                <a:gd name="T9" fmla="*/ 16 h 30"/>
                <a:gd name="T10" fmla="*/ 15 w 16"/>
                <a:gd name="T11" fmla="*/ 27 h 30"/>
                <a:gd name="T12" fmla="*/ 15 w 16"/>
                <a:gd name="T13" fmla="*/ 30 h 30"/>
                <a:gd name="T14" fmla="*/ 14 w 16"/>
                <a:gd name="T15" fmla="*/ 30 h 30"/>
                <a:gd name="T16" fmla="*/ 2 w 16"/>
                <a:gd name="T17" fmla="*/ 29 h 30"/>
                <a:gd name="T18" fmla="*/ 2 w 16"/>
                <a:gd name="T19" fmla="*/ 23 h 30"/>
                <a:gd name="T20" fmla="*/ 1 w 16"/>
                <a:gd name="T21" fmla="*/ 11 h 30"/>
                <a:gd name="T22" fmla="*/ 0 w 16"/>
                <a:gd name="T23" fmla="*/ 0 h 30"/>
                <a:gd name="T24" fmla="*/ 11 w 16"/>
                <a:gd name="T25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30"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4" y="1"/>
                    <a:pt x="16" y="1"/>
                  </a:cubicBezTo>
                  <a:cubicBezTo>
                    <a:pt x="16" y="2"/>
                    <a:pt x="16" y="4"/>
                    <a:pt x="16" y="5"/>
                  </a:cubicBezTo>
                  <a:cubicBezTo>
                    <a:pt x="16" y="9"/>
                    <a:pt x="16" y="12"/>
                    <a:pt x="15" y="16"/>
                  </a:cubicBezTo>
                  <a:cubicBezTo>
                    <a:pt x="15" y="19"/>
                    <a:pt x="15" y="23"/>
                    <a:pt x="15" y="27"/>
                  </a:cubicBezTo>
                  <a:cubicBezTo>
                    <a:pt x="15" y="28"/>
                    <a:pt x="15" y="29"/>
                    <a:pt x="15" y="30"/>
                  </a:cubicBezTo>
                  <a:cubicBezTo>
                    <a:pt x="15" y="30"/>
                    <a:pt x="14" y="30"/>
                    <a:pt x="14" y="30"/>
                  </a:cubicBezTo>
                  <a:cubicBezTo>
                    <a:pt x="10" y="29"/>
                    <a:pt x="6" y="29"/>
                    <a:pt x="2" y="29"/>
                  </a:cubicBezTo>
                  <a:cubicBezTo>
                    <a:pt x="2" y="27"/>
                    <a:pt x="2" y="25"/>
                    <a:pt x="2" y="23"/>
                  </a:cubicBezTo>
                  <a:cubicBezTo>
                    <a:pt x="1" y="19"/>
                    <a:pt x="1" y="15"/>
                    <a:pt x="1" y="11"/>
                  </a:cubicBezTo>
                  <a:cubicBezTo>
                    <a:pt x="1" y="7"/>
                    <a:pt x="1" y="4"/>
                    <a:pt x="0" y="0"/>
                  </a:cubicBezTo>
                  <a:cubicBezTo>
                    <a:pt x="4" y="1"/>
                    <a:pt x="7" y="1"/>
                    <a:pt x="11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3" name="işlíḋé"/>
            <p:cNvSpPr/>
            <p:nvPr/>
          </p:nvSpPr>
          <p:spPr bwMode="auto">
            <a:xfrm>
              <a:off x="5989505" y="3455930"/>
              <a:ext cx="105014" cy="220189"/>
            </a:xfrm>
            <a:custGeom>
              <a:avLst/>
              <a:gdLst>
                <a:gd name="T0" fmla="*/ 15 w 15"/>
                <a:gd name="T1" fmla="*/ 0 h 31"/>
                <a:gd name="T2" fmla="*/ 15 w 15"/>
                <a:gd name="T3" fmla="*/ 0 h 31"/>
                <a:gd name="T4" fmla="*/ 15 w 15"/>
                <a:gd name="T5" fmla="*/ 18 h 31"/>
                <a:gd name="T6" fmla="*/ 15 w 15"/>
                <a:gd name="T7" fmla="*/ 30 h 31"/>
                <a:gd name="T8" fmla="*/ 13 w 15"/>
                <a:gd name="T9" fmla="*/ 30 h 31"/>
                <a:gd name="T10" fmla="*/ 0 w 15"/>
                <a:gd name="T11" fmla="*/ 31 h 31"/>
                <a:gd name="T12" fmla="*/ 0 w 15"/>
                <a:gd name="T13" fmla="*/ 29 h 31"/>
                <a:gd name="T14" fmla="*/ 0 w 15"/>
                <a:gd name="T15" fmla="*/ 18 h 31"/>
                <a:gd name="T16" fmla="*/ 1 w 15"/>
                <a:gd name="T17" fmla="*/ 7 h 31"/>
                <a:gd name="T18" fmla="*/ 1 w 15"/>
                <a:gd name="T19" fmla="*/ 1 h 31"/>
                <a:gd name="T20" fmla="*/ 10 w 15"/>
                <a:gd name="T21" fmla="*/ 0 h 31"/>
                <a:gd name="T22" fmla="*/ 15 w 15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31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6"/>
                    <a:pt x="15" y="12"/>
                    <a:pt x="15" y="18"/>
                  </a:cubicBezTo>
                  <a:cubicBezTo>
                    <a:pt x="15" y="21"/>
                    <a:pt x="14" y="26"/>
                    <a:pt x="15" y="30"/>
                  </a:cubicBezTo>
                  <a:cubicBezTo>
                    <a:pt x="14" y="30"/>
                    <a:pt x="14" y="30"/>
                    <a:pt x="13" y="30"/>
                  </a:cubicBezTo>
                  <a:cubicBezTo>
                    <a:pt x="8" y="31"/>
                    <a:pt x="4" y="31"/>
                    <a:pt x="0" y="31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25"/>
                    <a:pt x="0" y="22"/>
                    <a:pt x="0" y="18"/>
                  </a:cubicBezTo>
                  <a:cubicBezTo>
                    <a:pt x="0" y="15"/>
                    <a:pt x="0" y="11"/>
                    <a:pt x="1" y="7"/>
                  </a:cubicBezTo>
                  <a:cubicBezTo>
                    <a:pt x="1" y="5"/>
                    <a:pt x="1" y="3"/>
                    <a:pt x="1" y="1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1" y="0"/>
                    <a:pt x="13" y="0"/>
                    <a:pt x="1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4" name="iśļïdè"/>
            <p:cNvSpPr/>
            <p:nvPr/>
          </p:nvSpPr>
          <p:spPr bwMode="auto">
            <a:xfrm>
              <a:off x="6216470" y="3462705"/>
              <a:ext cx="84689" cy="206639"/>
            </a:xfrm>
            <a:custGeom>
              <a:avLst/>
              <a:gdLst>
                <a:gd name="T0" fmla="*/ 12 w 12"/>
                <a:gd name="T1" fmla="*/ 0 h 29"/>
                <a:gd name="T2" fmla="*/ 12 w 12"/>
                <a:gd name="T3" fmla="*/ 0 h 29"/>
                <a:gd name="T4" fmla="*/ 11 w 12"/>
                <a:gd name="T5" fmla="*/ 18 h 29"/>
                <a:gd name="T6" fmla="*/ 11 w 12"/>
                <a:gd name="T7" fmla="*/ 27 h 29"/>
                <a:gd name="T8" fmla="*/ 11 w 12"/>
                <a:gd name="T9" fmla="*/ 29 h 29"/>
                <a:gd name="T10" fmla="*/ 3 w 12"/>
                <a:gd name="T11" fmla="*/ 28 h 29"/>
                <a:gd name="T12" fmla="*/ 3 w 12"/>
                <a:gd name="T13" fmla="*/ 14 h 29"/>
                <a:gd name="T14" fmla="*/ 0 w 12"/>
                <a:gd name="T15" fmla="*/ 0 h 29"/>
                <a:gd name="T16" fmla="*/ 12 w 12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9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6"/>
                    <a:pt x="11" y="12"/>
                    <a:pt x="11" y="18"/>
                  </a:cubicBezTo>
                  <a:cubicBezTo>
                    <a:pt x="11" y="21"/>
                    <a:pt x="11" y="24"/>
                    <a:pt x="11" y="27"/>
                  </a:cubicBezTo>
                  <a:cubicBezTo>
                    <a:pt x="11" y="28"/>
                    <a:pt x="11" y="28"/>
                    <a:pt x="11" y="29"/>
                  </a:cubicBezTo>
                  <a:cubicBezTo>
                    <a:pt x="8" y="29"/>
                    <a:pt x="5" y="29"/>
                    <a:pt x="3" y="28"/>
                  </a:cubicBezTo>
                  <a:cubicBezTo>
                    <a:pt x="3" y="23"/>
                    <a:pt x="3" y="19"/>
                    <a:pt x="3" y="14"/>
                  </a:cubicBezTo>
                  <a:cubicBezTo>
                    <a:pt x="3" y="9"/>
                    <a:pt x="3" y="4"/>
                    <a:pt x="0" y="0"/>
                  </a:cubicBezTo>
                  <a:cubicBezTo>
                    <a:pt x="4" y="0"/>
                    <a:pt x="8" y="0"/>
                    <a:pt x="12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5" name="íṩliḍê"/>
            <p:cNvSpPr/>
            <p:nvPr/>
          </p:nvSpPr>
          <p:spPr bwMode="auto">
            <a:xfrm>
              <a:off x="6328256" y="3462705"/>
              <a:ext cx="111789" cy="206639"/>
            </a:xfrm>
            <a:custGeom>
              <a:avLst/>
              <a:gdLst>
                <a:gd name="T0" fmla="*/ 13 w 16"/>
                <a:gd name="T1" fmla="*/ 0 h 29"/>
                <a:gd name="T2" fmla="*/ 13 w 16"/>
                <a:gd name="T3" fmla="*/ 0 h 29"/>
                <a:gd name="T4" fmla="*/ 13 w 16"/>
                <a:gd name="T5" fmla="*/ 6 h 29"/>
                <a:gd name="T6" fmla="*/ 14 w 16"/>
                <a:gd name="T7" fmla="*/ 14 h 29"/>
                <a:gd name="T8" fmla="*/ 15 w 16"/>
                <a:gd name="T9" fmla="*/ 23 h 29"/>
                <a:gd name="T10" fmla="*/ 16 w 16"/>
                <a:gd name="T11" fmla="*/ 29 h 29"/>
                <a:gd name="T12" fmla="*/ 1 w 16"/>
                <a:gd name="T13" fmla="*/ 29 h 29"/>
                <a:gd name="T14" fmla="*/ 0 w 16"/>
                <a:gd name="T15" fmla="*/ 29 h 29"/>
                <a:gd name="T16" fmla="*/ 0 w 16"/>
                <a:gd name="T17" fmla="*/ 27 h 29"/>
                <a:gd name="T18" fmla="*/ 0 w 16"/>
                <a:gd name="T19" fmla="*/ 18 h 29"/>
                <a:gd name="T20" fmla="*/ 0 w 16"/>
                <a:gd name="T21" fmla="*/ 0 h 29"/>
                <a:gd name="T22" fmla="*/ 13 w 16"/>
                <a:gd name="T2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29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4" y="2"/>
                    <a:pt x="13" y="4"/>
                    <a:pt x="13" y="6"/>
                  </a:cubicBezTo>
                  <a:cubicBezTo>
                    <a:pt x="13" y="9"/>
                    <a:pt x="13" y="11"/>
                    <a:pt x="14" y="14"/>
                  </a:cubicBezTo>
                  <a:cubicBezTo>
                    <a:pt x="14" y="17"/>
                    <a:pt x="14" y="20"/>
                    <a:pt x="15" y="23"/>
                  </a:cubicBezTo>
                  <a:cubicBezTo>
                    <a:pt x="15" y="24"/>
                    <a:pt x="15" y="27"/>
                    <a:pt x="16" y="29"/>
                  </a:cubicBezTo>
                  <a:cubicBezTo>
                    <a:pt x="11" y="28"/>
                    <a:pt x="6" y="29"/>
                    <a:pt x="1" y="29"/>
                  </a:cubicBezTo>
                  <a:cubicBezTo>
                    <a:pt x="1" y="29"/>
                    <a:pt x="0" y="29"/>
                    <a:pt x="0" y="29"/>
                  </a:cubicBezTo>
                  <a:cubicBezTo>
                    <a:pt x="0" y="28"/>
                    <a:pt x="0" y="28"/>
                    <a:pt x="0" y="27"/>
                  </a:cubicBezTo>
                  <a:cubicBezTo>
                    <a:pt x="0" y="24"/>
                    <a:pt x="0" y="21"/>
                    <a:pt x="0" y="18"/>
                  </a:cubicBezTo>
                  <a:cubicBezTo>
                    <a:pt x="0" y="12"/>
                    <a:pt x="0" y="6"/>
                    <a:pt x="0" y="0"/>
                  </a:cubicBezTo>
                  <a:cubicBezTo>
                    <a:pt x="5" y="0"/>
                    <a:pt x="9" y="0"/>
                    <a:pt x="13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6" name="îŝḻiḓe"/>
            <p:cNvSpPr/>
            <p:nvPr/>
          </p:nvSpPr>
          <p:spPr bwMode="auto">
            <a:xfrm>
              <a:off x="6118231" y="3455930"/>
              <a:ext cx="84689" cy="206639"/>
            </a:xfrm>
            <a:custGeom>
              <a:avLst/>
              <a:gdLst>
                <a:gd name="T0" fmla="*/ 3 w 12"/>
                <a:gd name="T1" fmla="*/ 29 h 29"/>
                <a:gd name="T2" fmla="*/ 3 w 12"/>
                <a:gd name="T3" fmla="*/ 29 h 29"/>
                <a:gd name="T4" fmla="*/ 2 w 12"/>
                <a:gd name="T5" fmla="*/ 25 h 29"/>
                <a:gd name="T6" fmla="*/ 2 w 12"/>
                <a:gd name="T7" fmla="*/ 17 h 29"/>
                <a:gd name="T8" fmla="*/ 0 w 12"/>
                <a:gd name="T9" fmla="*/ 0 h 29"/>
                <a:gd name="T10" fmla="*/ 11 w 12"/>
                <a:gd name="T11" fmla="*/ 0 h 29"/>
                <a:gd name="T12" fmla="*/ 12 w 12"/>
                <a:gd name="T13" fmla="*/ 17 h 29"/>
                <a:gd name="T14" fmla="*/ 12 w 12"/>
                <a:gd name="T15" fmla="*/ 29 h 29"/>
                <a:gd name="T16" fmla="*/ 3 w 12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9">
                  <a:moveTo>
                    <a:pt x="3" y="29"/>
                  </a:moveTo>
                  <a:cubicBezTo>
                    <a:pt x="3" y="29"/>
                    <a:pt x="3" y="29"/>
                    <a:pt x="3" y="29"/>
                  </a:cubicBezTo>
                  <a:cubicBezTo>
                    <a:pt x="2" y="28"/>
                    <a:pt x="2" y="26"/>
                    <a:pt x="2" y="25"/>
                  </a:cubicBezTo>
                  <a:cubicBezTo>
                    <a:pt x="2" y="22"/>
                    <a:pt x="2" y="19"/>
                    <a:pt x="2" y="17"/>
                  </a:cubicBezTo>
                  <a:cubicBezTo>
                    <a:pt x="2" y="11"/>
                    <a:pt x="1" y="6"/>
                    <a:pt x="0" y="0"/>
                  </a:cubicBezTo>
                  <a:cubicBezTo>
                    <a:pt x="4" y="0"/>
                    <a:pt x="7" y="0"/>
                    <a:pt x="11" y="0"/>
                  </a:cubicBezTo>
                  <a:cubicBezTo>
                    <a:pt x="12" y="6"/>
                    <a:pt x="12" y="11"/>
                    <a:pt x="12" y="17"/>
                  </a:cubicBezTo>
                  <a:cubicBezTo>
                    <a:pt x="12" y="21"/>
                    <a:pt x="11" y="25"/>
                    <a:pt x="12" y="29"/>
                  </a:cubicBezTo>
                  <a:cubicBezTo>
                    <a:pt x="9" y="29"/>
                    <a:pt x="6" y="29"/>
                    <a:pt x="3" y="29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187" name="矩形: 圆角 186"/>
          <p:cNvSpPr/>
          <p:nvPr userDrawn="1"/>
        </p:nvSpPr>
        <p:spPr>
          <a:xfrm>
            <a:off x="0" y="1800529"/>
            <a:ext cx="12192000" cy="3739164"/>
          </a:xfrm>
          <a:prstGeom prst="roundRect">
            <a:avLst>
              <a:gd name="adj" fmla="val 0"/>
            </a:avLst>
          </a:prstGeom>
          <a:solidFill>
            <a:schemeClr val="bg1">
              <a:alpha val="7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" name="cc47b233-5d22-45c3-93b3-14c33b9938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 rot="20436058">
            <a:off x="360198" y="1228979"/>
            <a:ext cx="3205278" cy="4424639"/>
            <a:chOff x="4414315" y="1367533"/>
            <a:chExt cx="3357022" cy="4634110"/>
          </a:xfrm>
        </p:grpSpPr>
        <p:sp>
          <p:nvSpPr>
            <p:cNvPr id="8" name="íšḻîḍê"/>
            <p:cNvSpPr/>
            <p:nvPr/>
          </p:nvSpPr>
          <p:spPr bwMode="auto">
            <a:xfrm>
              <a:off x="4414315" y="1367533"/>
              <a:ext cx="3357022" cy="4634110"/>
            </a:xfrm>
            <a:custGeom>
              <a:avLst/>
              <a:gdLst>
                <a:gd name="T0" fmla="*/ 39 w 477"/>
                <a:gd name="T1" fmla="*/ 374 h 659"/>
                <a:gd name="T2" fmla="*/ 79 w 477"/>
                <a:gd name="T3" fmla="*/ 378 h 659"/>
                <a:gd name="T4" fmla="*/ 109 w 477"/>
                <a:gd name="T5" fmla="*/ 376 h 659"/>
                <a:gd name="T6" fmla="*/ 152 w 477"/>
                <a:gd name="T7" fmla="*/ 335 h 659"/>
                <a:gd name="T8" fmla="*/ 219 w 477"/>
                <a:gd name="T9" fmla="*/ 260 h 659"/>
                <a:gd name="T10" fmla="*/ 250 w 477"/>
                <a:gd name="T11" fmla="*/ 251 h 659"/>
                <a:gd name="T12" fmla="*/ 186 w 477"/>
                <a:gd name="T13" fmla="*/ 245 h 659"/>
                <a:gd name="T14" fmla="*/ 172 w 477"/>
                <a:gd name="T15" fmla="*/ 244 h 659"/>
                <a:gd name="T16" fmla="*/ 157 w 477"/>
                <a:gd name="T17" fmla="*/ 228 h 659"/>
                <a:gd name="T18" fmla="*/ 151 w 477"/>
                <a:gd name="T19" fmla="*/ 148 h 659"/>
                <a:gd name="T20" fmla="*/ 113 w 477"/>
                <a:gd name="T21" fmla="*/ 122 h 659"/>
                <a:gd name="T22" fmla="*/ 142 w 477"/>
                <a:gd name="T23" fmla="*/ 133 h 659"/>
                <a:gd name="T24" fmla="*/ 231 w 477"/>
                <a:gd name="T25" fmla="*/ 14 h 659"/>
                <a:gd name="T26" fmla="*/ 399 w 477"/>
                <a:gd name="T27" fmla="*/ 133 h 659"/>
                <a:gd name="T28" fmla="*/ 441 w 477"/>
                <a:gd name="T29" fmla="*/ 119 h 659"/>
                <a:gd name="T30" fmla="*/ 460 w 477"/>
                <a:gd name="T31" fmla="*/ 162 h 659"/>
                <a:gd name="T32" fmla="*/ 400 w 477"/>
                <a:gd name="T33" fmla="*/ 148 h 659"/>
                <a:gd name="T34" fmla="*/ 401 w 477"/>
                <a:gd name="T35" fmla="*/ 230 h 659"/>
                <a:gd name="T36" fmla="*/ 334 w 477"/>
                <a:gd name="T37" fmla="*/ 247 h 659"/>
                <a:gd name="T38" fmla="*/ 314 w 477"/>
                <a:gd name="T39" fmla="*/ 259 h 659"/>
                <a:gd name="T40" fmla="*/ 351 w 477"/>
                <a:gd name="T41" fmla="*/ 270 h 659"/>
                <a:gd name="T42" fmla="*/ 447 w 477"/>
                <a:gd name="T43" fmla="*/ 404 h 659"/>
                <a:gd name="T44" fmla="*/ 449 w 477"/>
                <a:gd name="T45" fmla="*/ 493 h 659"/>
                <a:gd name="T46" fmla="*/ 441 w 477"/>
                <a:gd name="T47" fmla="*/ 532 h 659"/>
                <a:gd name="T48" fmla="*/ 425 w 477"/>
                <a:gd name="T49" fmla="*/ 581 h 659"/>
                <a:gd name="T50" fmla="*/ 419 w 477"/>
                <a:gd name="T51" fmla="*/ 567 h 659"/>
                <a:gd name="T52" fmla="*/ 399 w 477"/>
                <a:gd name="T53" fmla="*/ 577 h 659"/>
                <a:gd name="T54" fmla="*/ 400 w 477"/>
                <a:gd name="T55" fmla="*/ 559 h 659"/>
                <a:gd name="T56" fmla="*/ 377 w 477"/>
                <a:gd name="T57" fmla="*/ 569 h 659"/>
                <a:gd name="T58" fmla="*/ 369 w 477"/>
                <a:gd name="T59" fmla="*/ 572 h 659"/>
                <a:gd name="T60" fmla="*/ 368 w 477"/>
                <a:gd name="T61" fmla="*/ 560 h 659"/>
                <a:gd name="T62" fmla="*/ 373 w 477"/>
                <a:gd name="T63" fmla="*/ 547 h 659"/>
                <a:gd name="T64" fmla="*/ 350 w 477"/>
                <a:gd name="T65" fmla="*/ 551 h 659"/>
                <a:gd name="T66" fmla="*/ 355 w 477"/>
                <a:gd name="T67" fmla="*/ 532 h 659"/>
                <a:gd name="T68" fmla="*/ 349 w 477"/>
                <a:gd name="T69" fmla="*/ 519 h 659"/>
                <a:gd name="T70" fmla="*/ 378 w 477"/>
                <a:gd name="T71" fmla="*/ 469 h 659"/>
                <a:gd name="T72" fmla="*/ 390 w 477"/>
                <a:gd name="T73" fmla="*/ 430 h 659"/>
                <a:gd name="T74" fmla="*/ 344 w 477"/>
                <a:gd name="T75" fmla="*/ 335 h 659"/>
                <a:gd name="T76" fmla="*/ 341 w 477"/>
                <a:gd name="T77" fmla="*/ 430 h 659"/>
                <a:gd name="T78" fmla="*/ 296 w 477"/>
                <a:gd name="T79" fmla="*/ 462 h 659"/>
                <a:gd name="T80" fmla="*/ 299 w 477"/>
                <a:gd name="T81" fmla="*/ 557 h 659"/>
                <a:gd name="T82" fmla="*/ 303 w 477"/>
                <a:gd name="T83" fmla="*/ 619 h 659"/>
                <a:gd name="T84" fmla="*/ 240 w 477"/>
                <a:gd name="T85" fmla="*/ 616 h 659"/>
                <a:gd name="T86" fmla="*/ 254 w 477"/>
                <a:gd name="T87" fmla="*/ 556 h 659"/>
                <a:gd name="T88" fmla="*/ 251 w 477"/>
                <a:gd name="T89" fmla="*/ 482 h 659"/>
                <a:gd name="T90" fmla="*/ 213 w 477"/>
                <a:gd name="T91" fmla="*/ 454 h 659"/>
                <a:gd name="T92" fmla="*/ 210 w 477"/>
                <a:gd name="T93" fmla="*/ 378 h 659"/>
                <a:gd name="T94" fmla="*/ 201 w 477"/>
                <a:gd name="T95" fmla="*/ 377 h 659"/>
                <a:gd name="T96" fmla="*/ 130 w 477"/>
                <a:gd name="T97" fmla="*/ 426 h 659"/>
                <a:gd name="T98" fmla="*/ 97 w 477"/>
                <a:gd name="T99" fmla="*/ 441 h 659"/>
                <a:gd name="T100" fmla="*/ 48 w 477"/>
                <a:gd name="T101" fmla="*/ 458 h 659"/>
                <a:gd name="T102" fmla="*/ 35 w 477"/>
                <a:gd name="T103" fmla="*/ 449 h 659"/>
                <a:gd name="T104" fmla="*/ 21 w 477"/>
                <a:gd name="T105" fmla="*/ 435 h 659"/>
                <a:gd name="T106" fmla="*/ 32 w 477"/>
                <a:gd name="T107" fmla="*/ 425 h 659"/>
                <a:gd name="T108" fmla="*/ 26 w 477"/>
                <a:gd name="T109" fmla="*/ 414 h 659"/>
                <a:gd name="T110" fmla="*/ 28 w 477"/>
                <a:gd name="T111" fmla="*/ 407 h 659"/>
                <a:gd name="T112" fmla="*/ 18 w 477"/>
                <a:gd name="T113" fmla="*/ 394 h 659"/>
                <a:gd name="T114" fmla="*/ 25 w 477"/>
                <a:gd name="T115" fmla="*/ 395 h 659"/>
                <a:gd name="T116" fmla="*/ 7 w 477"/>
                <a:gd name="T117" fmla="*/ 3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7" h="659">
                  <a:moveTo>
                    <a:pt x="7" y="378"/>
                  </a:moveTo>
                  <a:cubicBezTo>
                    <a:pt x="10" y="377"/>
                    <a:pt x="13" y="377"/>
                    <a:pt x="17" y="376"/>
                  </a:cubicBezTo>
                  <a:cubicBezTo>
                    <a:pt x="20" y="376"/>
                    <a:pt x="24" y="375"/>
                    <a:pt x="28" y="375"/>
                  </a:cubicBezTo>
                  <a:cubicBezTo>
                    <a:pt x="31" y="375"/>
                    <a:pt x="35" y="374"/>
                    <a:pt x="39" y="374"/>
                  </a:cubicBezTo>
                  <a:cubicBezTo>
                    <a:pt x="41" y="373"/>
                    <a:pt x="43" y="373"/>
                    <a:pt x="45" y="372"/>
                  </a:cubicBezTo>
                  <a:cubicBezTo>
                    <a:pt x="51" y="371"/>
                    <a:pt x="56" y="371"/>
                    <a:pt x="62" y="372"/>
                  </a:cubicBezTo>
                  <a:cubicBezTo>
                    <a:pt x="67" y="373"/>
                    <a:pt x="71" y="373"/>
                    <a:pt x="75" y="375"/>
                  </a:cubicBezTo>
                  <a:cubicBezTo>
                    <a:pt x="77" y="376"/>
                    <a:pt x="78" y="377"/>
                    <a:pt x="79" y="378"/>
                  </a:cubicBezTo>
                  <a:cubicBezTo>
                    <a:pt x="79" y="377"/>
                    <a:pt x="79" y="377"/>
                    <a:pt x="79" y="376"/>
                  </a:cubicBezTo>
                  <a:cubicBezTo>
                    <a:pt x="81" y="369"/>
                    <a:pt x="87" y="363"/>
                    <a:pt x="95" y="363"/>
                  </a:cubicBezTo>
                  <a:cubicBezTo>
                    <a:pt x="101" y="363"/>
                    <a:pt x="104" y="366"/>
                    <a:pt x="105" y="371"/>
                  </a:cubicBezTo>
                  <a:cubicBezTo>
                    <a:pt x="107" y="372"/>
                    <a:pt x="108" y="374"/>
                    <a:pt x="109" y="376"/>
                  </a:cubicBezTo>
                  <a:cubicBezTo>
                    <a:pt x="111" y="375"/>
                    <a:pt x="114" y="375"/>
                    <a:pt x="117" y="374"/>
                  </a:cubicBezTo>
                  <a:cubicBezTo>
                    <a:pt x="121" y="373"/>
                    <a:pt x="125" y="372"/>
                    <a:pt x="129" y="371"/>
                  </a:cubicBezTo>
                  <a:cubicBezTo>
                    <a:pt x="135" y="369"/>
                    <a:pt x="142" y="365"/>
                    <a:pt x="146" y="359"/>
                  </a:cubicBezTo>
                  <a:cubicBezTo>
                    <a:pt x="150" y="352"/>
                    <a:pt x="151" y="343"/>
                    <a:pt x="152" y="335"/>
                  </a:cubicBezTo>
                  <a:cubicBezTo>
                    <a:pt x="153" y="326"/>
                    <a:pt x="155" y="318"/>
                    <a:pt x="159" y="310"/>
                  </a:cubicBezTo>
                  <a:cubicBezTo>
                    <a:pt x="162" y="302"/>
                    <a:pt x="167" y="295"/>
                    <a:pt x="172" y="288"/>
                  </a:cubicBezTo>
                  <a:cubicBezTo>
                    <a:pt x="178" y="282"/>
                    <a:pt x="185" y="277"/>
                    <a:pt x="193" y="272"/>
                  </a:cubicBezTo>
                  <a:cubicBezTo>
                    <a:pt x="201" y="267"/>
                    <a:pt x="210" y="262"/>
                    <a:pt x="219" y="260"/>
                  </a:cubicBezTo>
                  <a:cubicBezTo>
                    <a:pt x="222" y="260"/>
                    <a:pt x="224" y="260"/>
                    <a:pt x="227" y="259"/>
                  </a:cubicBezTo>
                  <a:cubicBezTo>
                    <a:pt x="231" y="257"/>
                    <a:pt x="236" y="256"/>
                    <a:pt x="240" y="256"/>
                  </a:cubicBezTo>
                  <a:cubicBezTo>
                    <a:pt x="243" y="256"/>
                    <a:pt x="246" y="256"/>
                    <a:pt x="249" y="257"/>
                  </a:cubicBezTo>
                  <a:cubicBezTo>
                    <a:pt x="250" y="255"/>
                    <a:pt x="250" y="253"/>
                    <a:pt x="250" y="251"/>
                  </a:cubicBezTo>
                  <a:cubicBezTo>
                    <a:pt x="251" y="250"/>
                    <a:pt x="251" y="248"/>
                    <a:pt x="251" y="247"/>
                  </a:cubicBezTo>
                  <a:cubicBezTo>
                    <a:pt x="246" y="247"/>
                    <a:pt x="240" y="247"/>
                    <a:pt x="235" y="247"/>
                  </a:cubicBezTo>
                  <a:cubicBezTo>
                    <a:pt x="224" y="247"/>
                    <a:pt x="213" y="248"/>
                    <a:pt x="202" y="247"/>
                  </a:cubicBezTo>
                  <a:cubicBezTo>
                    <a:pt x="196" y="247"/>
                    <a:pt x="191" y="246"/>
                    <a:pt x="186" y="245"/>
                  </a:cubicBezTo>
                  <a:cubicBezTo>
                    <a:pt x="183" y="245"/>
                    <a:pt x="181" y="245"/>
                    <a:pt x="179" y="244"/>
                  </a:cubicBezTo>
                  <a:cubicBezTo>
                    <a:pt x="177" y="244"/>
                    <a:pt x="176" y="244"/>
                    <a:pt x="174" y="244"/>
                  </a:cubicBezTo>
                  <a:cubicBezTo>
                    <a:pt x="174" y="244"/>
                    <a:pt x="170" y="243"/>
                    <a:pt x="171" y="243"/>
                  </a:cubicBezTo>
                  <a:cubicBezTo>
                    <a:pt x="171" y="243"/>
                    <a:pt x="171" y="243"/>
                    <a:pt x="172" y="244"/>
                  </a:cubicBezTo>
                  <a:cubicBezTo>
                    <a:pt x="171" y="243"/>
                    <a:pt x="171" y="243"/>
                    <a:pt x="171" y="243"/>
                  </a:cubicBezTo>
                  <a:cubicBezTo>
                    <a:pt x="168" y="243"/>
                    <a:pt x="164" y="243"/>
                    <a:pt x="161" y="241"/>
                  </a:cubicBezTo>
                  <a:cubicBezTo>
                    <a:pt x="157" y="239"/>
                    <a:pt x="156" y="233"/>
                    <a:pt x="157" y="229"/>
                  </a:cubicBezTo>
                  <a:cubicBezTo>
                    <a:pt x="157" y="229"/>
                    <a:pt x="157" y="229"/>
                    <a:pt x="157" y="228"/>
                  </a:cubicBezTo>
                  <a:cubicBezTo>
                    <a:pt x="155" y="217"/>
                    <a:pt x="156" y="206"/>
                    <a:pt x="155" y="194"/>
                  </a:cubicBezTo>
                  <a:cubicBezTo>
                    <a:pt x="155" y="183"/>
                    <a:pt x="154" y="171"/>
                    <a:pt x="154" y="160"/>
                  </a:cubicBezTo>
                  <a:cubicBezTo>
                    <a:pt x="154" y="156"/>
                    <a:pt x="154" y="152"/>
                    <a:pt x="154" y="147"/>
                  </a:cubicBezTo>
                  <a:cubicBezTo>
                    <a:pt x="153" y="148"/>
                    <a:pt x="152" y="148"/>
                    <a:pt x="151" y="148"/>
                  </a:cubicBezTo>
                  <a:cubicBezTo>
                    <a:pt x="148" y="148"/>
                    <a:pt x="145" y="148"/>
                    <a:pt x="142" y="148"/>
                  </a:cubicBezTo>
                  <a:cubicBezTo>
                    <a:pt x="140" y="155"/>
                    <a:pt x="134" y="160"/>
                    <a:pt x="128" y="162"/>
                  </a:cubicBezTo>
                  <a:cubicBezTo>
                    <a:pt x="107" y="170"/>
                    <a:pt x="87" y="145"/>
                    <a:pt x="102" y="128"/>
                  </a:cubicBezTo>
                  <a:cubicBezTo>
                    <a:pt x="105" y="125"/>
                    <a:pt x="109" y="123"/>
                    <a:pt x="113" y="122"/>
                  </a:cubicBezTo>
                  <a:cubicBezTo>
                    <a:pt x="117" y="121"/>
                    <a:pt x="124" y="120"/>
                    <a:pt x="128" y="122"/>
                  </a:cubicBezTo>
                  <a:cubicBezTo>
                    <a:pt x="128" y="122"/>
                    <a:pt x="128" y="122"/>
                    <a:pt x="128" y="122"/>
                  </a:cubicBezTo>
                  <a:cubicBezTo>
                    <a:pt x="134" y="122"/>
                    <a:pt x="138" y="127"/>
                    <a:pt x="141" y="133"/>
                  </a:cubicBezTo>
                  <a:cubicBezTo>
                    <a:pt x="141" y="133"/>
                    <a:pt x="142" y="133"/>
                    <a:pt x="142" y="133"/>
                  </a:cubicBezTo>
                  <a:cubicBezTo>
                    <a:pt x="145" y="133"/>
                    <a:pt x="147" y="133"/>
                    <a:pt x="150" y="133"/>
                  </a:cubicBezTo>
                  <a:cubicBezTo>
                    <a:pt x="152" y="133"/>
                    <a:pt x="154" y="133"/>
                    <a:pt x="155" y="133"/>
                  </a:cubicBezTo>
                  <a:cubicBezTo>
                    <a:pt x="156" y="119"/>
                    <a:pt x="158" y="105"/>
                    <a:pt x="162" y="91"/>
                  </a:cubicBezTo>
                  <a:cubicBezTo>
                    <a:pt x="172" y="56"/>
                    <a:pt x="197" y="28"/>
                    <a:pt x="231" y="14"/>
                  </a:cubicBezTo>
                  <a:cubicBezTo>
                    <a:pt x="256" y="3"/>
                    <a:pt x="283" y="0"/>
                    <a:pt x="309" y="6"/>
                  </a:cubicBezTo>
                  <a:cubicBezTo>
                    <a:pt x="333" y="11"/>
                    <a:pt x="355" y="26"/>
                    <a:pt x="368" y="47"/>
                  </a:cubicBezTo>
                  <a:cubicBezTo>
                    <a:pt x="380" y="54"/>
                    <a:pt x="387" y="69"/>
                    <a:pt x="392" y="81"/>
                  </a:cubicBezTo>
                  <a:cubicBezTo>
                    <a:pt x="398" y="97"/>
                    <a:pt x="397" y="115"/>
                    <a:pt x="399" y="133"/>
                  </a:cubicBezTo>
                  <a:cubicBezTo>
                    <a:pt x="399" y="133"/>
                    <a:pt x="399" y="133"/>
                    <a:pt x="399" y="133"/>
                  </a:cubicBezTo>
                  <a:cubicBezTo>
                    <a:pt x="404" y="133"/>
                    <a:pt x="409" y="133"/>
                    <a:pt x="414" y="133"/>
                  </a:cubicBezTo>
                  <a:cubicBezTo>
                    <a:pt x="417" y="133"/>
                    <a:pt x="421" y="133"/>
                    <a:pt x="424" y="133"/>
                  </a:cubicBezTo>
                  <a:cubicBezTo>
                    <a:pt x="428" y="127"/>
                    <a:pt x="434" y="122"/>
                    <a:pt x="441" y="119"/>
                  </a:cubicBezTo>
                  <a:cubicBezTo>
                    <a:pt x="449" y="116"/>
                    <a:pt x="463" y="117"/>
                    <a:pt x="466" y="125"/>
                  </a:cubicBezTo>
                  <a:cubicBezTo>
                    <a:pt x="467" y="126"/>
                    <a:pt x="467" y="127"/>
                    <a:pt x="467" y="127"/>
                  </a:cubicBezTo>
                  <a:cubicBezTo>
                    <a:pt x="473" y="133"/>
                    <a:pt x="477" y="140"/>
                    <a:pt x="475" y="148"/>
                  </a:cubicBezTo>
                  <a:cubicBezTo>
                    <a:pt x="473" y="155"/>
                    <a:pt x="467" y="160"/>
                    <a:pt x="460" y="162"/>
                  </a:cubicBezTo>
                  <a:cubicBezTo>
                    <a:pt x="454" y="165"/>
                    <a:pt x="447" y="164"/>
                    <a:pt x="441" y="162"/>
                  </a:cubicBezTo>
                  <a:cubicBezTo>
                    <a:pt x="434" y="160"/>
                    <a:pt x="427" y="155"/>
                    <a:pt x="424" y="149"/>
                  </a:cubicBezTo>
                  <a:cubicBezTo>
                    <a:pt x="421" y="149"/>
                    <a:pt x="418" y="149"/>
                    <a:pt x="415" y="149"/>
                  </a:cubicBezTo>
                  <a:cubicBezTo>
                    <a:pt x="410" y="148"/>
                    <a:pt x="405" y="148"/>
                    <a:pt x="400" y="148"/>
                  </a:cubicBezTo>
                  <a:cubicBezTo>
                    <a:pt x="401" y="161"/>
                    <a:pt x="402" y="173"/>
                    <a:pt x="402" y="186"/>
                  </a:cubicBezTo>
                  <a:cubicBezTo>
                    <a:pt x="403" y="194"/>
                    <a:pt x="403" y="203"/>
                    <a:pt x="402" y="211"/>
                  </a:cubicBezTo>
                  <a:cubicBezTo>
                    <a:pt x="402" y="215"/>
                    <a:pt x="401" y="219"/>
                    <a:pt x="401" y="223"/>
                  </a:cubicBezTo>
                  <a:cubicBezTo>
                    <a:pt x="401" y="225"/>
                    <a:pt x="401" y="228"/>
                    <a:pt x="401" y="230"/>
                  </a:cubicBezTo>
                  <a:cubicBezTo>
                    <a:pt x="402" y="232"/>
                    <a:pt x="402" y="235"/>
                    <a:pt x="401" y="237"/>
                  </a:cubicBezTo>
                  <a:cubicBezTo>
                    <a:pt x="401" y="240"/>
                    <a:pt x="400" y="241"/>
                    <a:pt x="398" y="242"/>
                  </a:cubicBezTo>
                  <a:cubicBezTo>
                    <a:pt x="388" y="246"/>
                    <a:pt x="377" y="246"/>
                    <a:pt x="367" y="247"/>
                  </a:cubicBezTo>
                  <a:cubicBezTo>
                    <a:pt x="356" y="247"/>
                    <a:pt x="345" y="247"/>
                    <a:pt x="334" y="247"/>
                  </a:cubicBezTo>
                  <a:cubicBezTo>
                    <a:pt x="326" y="247"/>
                    <a:pt x="318" y="246"/>
                    <a:pt x="310" y="246"/>
                  </a:cubicBezTo>
                  <a:cubicBezTo>
                    <a:pt x="310" y="248"/>
                    <a:pt x="310" y="250"/>
                    <a:pt x="310" y="252"/>
                  </a:cubicBezTo>
                  <a:cubicBezTo>
                    <a:pt x="311" y="254"/>
                    <a:pt x="311" y="257"/>
                    <a:pt x="312" y="259"/>
                  </a:cubicBezTo>
                  <a:cubicBezTo>
                    <a:pt x="312" y="259"/>
                    <a:pt x="313" y="259"/>
                    <a:pt x="314" y="259"/>
                  </a:cubicBezTo>
                  <a:cubicBezTo>
                    <a:pt x="315" y="259"/>
                    <a:pt x="316" y="260"/>
                    <a:pt x="318" y="260"/>
                  </a:cubicBezTo>
                  <a:cubicBezTo>
                    <a:pt x="318" y="260"/>
                    <a:pt x="318" y="260"/>
                    <a:pt x="318" y="260"/>
                  </a:cubicBezTo>
                  <a:cubicBezTo>
                    <a:pt x="324" y="259"/>
                    <a:pt x="329" y="260"/>
                    <a:pt x="334" y="262"/>
                  </a:cubicBezTo>
                  <a:cubicBezTo>
                    <a:pt x="340" y="264"/>
                    <a:pt x="346" y="267"/>
                    <a:pt x="351" y="270"/>
                  </a:cubicBezTo>
                  <a:cubicBezTo>
                    <a:pt x="361" y="275"/>
                    <a:pt x="370" y="281"/>
                    <a:pt x="379" y="288"/>
                  </a:cubicBezTo>
                  <a:cubicBezTo>
                    <a:pt x="397" y="301"/>
                    <a:pt x="412" y="318"/>
                    <a:pt x="422" y="338"/>
                  </a:cubicBezTo>
                  <a:cubicBezTo>
                    <a:pt x="427" y="349"/>
                    <a:pt x="431" y="359"/>
                    <a:pt x="434" y="370"/>
                  </a:cubicBezTo>
                  <a:cubicBezTo>
                    <a:pt x="438" y="381"/>
                    <a:pt x="443" y="392"/>
                    <a:pt x="447" y="404"/>
                  </a:cubicBezTo>
                  <a:cubicBezTo>
                    <a:pt x="450" y="415"/>
                    <a:pt x="453" y="427"/>
                    <a:pt x="453" y="439"/>
                  </a:cubicBezTo>
                  <a:cubicBezTo>
                    <a:pt x="454" y="452"/>
                    <a:pt x="452" y="464"/>
                    <a:pt x="449" y="476"/>
                  </a:cubicBezTo>
                  <a:cubicBezTo>
                    <a:pt x="448" y="480"/>
                    <a:pt x="447" y="485"/>
                    <a:pt x="445" y="488"/>
                  </a:cubicBezTo>
                  <a:cubicBezTo>
                    <a:pt x="446" y="490"/>
                    <a:pt x="448" y="491"/>
                    <a:pt x="449" y="493"/>
                  </a:cubicBezTo>
                  <a:cubicBezTo>
                    <a:pt x="450" y="494"/>
                    <a:pt x="452" y="495"/>
                    <a:pt x="453" y="497"/>
                  </a:cubicBezTo>
                  <a:cubicBezTo>
                    <a:pt x="455" y="501"/>
                    <a:pt x="455" y="506"/>
                    <a:pt x="454" y="511"/>
                  </a:cubicBezTo>
                  <a:cubicBezTo>
                    <a:pt x="453" y="517"/>
                    <a:pt x="446" y="522"/>
                    <a:pt x="439" y="523"/>
                  </a:cubicBezTo>
                  <a:cubicBezTo>
                    <a:pt x="440" y="526"/>
                    <a:pt x="441" y="528"/>
                    <a:pt x="441" y="532"/>
                  </a:cubicBezTo>
                  <a:cubicBezTo>
                    <a:pt x="442" y="538"/>
                    <a:pt x="442" y="544"/>
                    <a:pt x="440" y="550"/>
                  </a:cubicBezTo>
                  <a:cubicBezTo>
                    <a:pt x="439" y="555"/>
                    <a:pt x="437" y="563"/>
                    <a:pt x="432" y="565"/>
                  </a:cubicBezTo>
                  <a:cubicBezTo>
                    <a:pt x="432" y="568"/>
                    <a:pt x="431" y="571"/>
                    <a:pt x="430" y="573"/>
                  </a:cubicBezTo>
                  <a:cubicBezTo>
                    <a:pt x="428" y="576"/>
                    <a:pt x="426" y="578"/>
                    <a:pt x="425" y="581"/>
                  </a:cubicBezTo>
                  <a:cubicBezTo>
                    <a:pt x="423" y="584"/>
                    <a:pt x="421" y="587"/>
                    <a:pt x="419" y="590"/>
                  </a:cubicBezTo>
                  <a:cubicBezTo>
                    <a:pt x="416" y="594"/>
                    <a:pt x="408" y="590"/>
                    <a:pt x="409" y="585"/>
                  </a:cubicBezTo>
                  <a:cubicBezTo>
                    <a:pt x="409" y="579"/>
                    <a:pt x="414" y="573"/>
                    <a:pt x="418" y="569"/>
                  </a:cubicBezTo>
                  <a:cubicBezTo>
                    <a:pt x="419" y="568"/>
                    <a:pt x="419" y="567"/>
                    <a:pt x="419" y="567"/>
                  </a:cubicBezTo>
                  <a:cubicBezTo>
                    <a:pt x="417" y="566"/>
                    <a:pt x="415" y="565"/>
                    <a:pt x="413" y="564"/>
                  </a:cubicBezTo>
                  <a:cubicBezTo>
                    <a:pt x="411" y="564"/>
                    <a:pt x="410" y="563"/>
                    <a:pt x="408" y="562"/>
                  </a:cubicBezTo>
                  <a:cubicBezTo>
                    <a:pt x="408" y="564"/>
                    <a:pt x="407" y="566"/>
                    <a:pt x="406" y="567"/>
                  </a:cubicBezTo>
                  <a:cubicBezTo>
                    <a:pt x="405" y="571"/>
                    <a:pt x="402" y="574"/>
                    <a:pt x="399" y="577"/>
                  </a:cubicBezTo>
                  <a:cubicBezTo>
                    <a:pt x="395" y="579"/>
                    <a:pt x="391" y="575"/>
                    <a:pt x="392" y="571"/>
                  </a:cubicBezTo>
                  <a:cubicBezTo>
                    <a:pt x="393" y="567"/>
                    <a:pt x="397" y="564"/>
                    <a:pt x="399" y="561"/>
                  </a:cubicBezTo>
                  <a:cubicBezTo>
                    <a:pt x="400" y="560"/>
                    <a:pt x="400" y="560"/>
                    <a:pt x="400" y="559"/>
                  </a:cubicBezTo>
                  <a:cubicBezTo>
                    <a:pt x="400" y="559"/>
                    <a:pt x="400" y="559"/>
                    <a:pt x="400" y="559"/>
                  </a:cubicBezTo>
                  <a:cubicBezTo>
                    <a:pt x="396" y="558"/>
                    <a:pt x="392" y="556"/>
                    <a:pt x="389" y="555"/>
                  </a:cubicBezTo>
                  <a:cubicBezTo>
                    <a:pt x="388" y="555"/>
                    <a:pt x="388" y="555"/>
                    <a:pt x="388" y="555"/>
                  </a:cubicBezTo>
                  <a:cubicBezTo>
                    <a:pt x="386" y="558"/>
                    <a:pt x="385" y="560"/>
                    <a:pt x="383" y="562"/>
                  </a:cubicBezTo>
                  <a:cubicBezTo>
                    <a:pt x="381" y="564"/>
                    <a:pt x="379" y="567"/>
                    <a:pt x="377" y="569"/>
                  </a:cubicBezTo>
                  <a:cubicBezTo>
                    <a:pt x="376" y="570"/>
                    <a:pt x="375" y="570"/>
                    <a:pt x="374" y="571"/>
                  </a:cubicBezTo>
                  <a:cubicBezTo>
                    <a:pt x="373" y="572"/>
                    <a:pt x="372" y="572"/>
                    <a:pt x="371" y="572"/>
                  </a:cubicBezTo>
                  <a:cubicBezTo>
                    <a:pt x="371" y="572"/>
                    <a:pt x="369" y="572"/>
                    <a:pt x="368" y="572"/>
                  </a:cubicBezTo>
                  <a:cubicBezTo>
                    <a:pt x="369" y="572"/>
                    <a:pt x="369" y="572"/>
                    <a:pt x="369" y="572"/>
                  </a:cubicBezTo>
                  <a:cubicBezTo>
                    <a:pt x="368" y="572"/>
                    <a:pt x="368" y="572"/>
                    <a:pt x="368" y="572"/>
                  </a:cubicBezTo>
                  <a:cubicBezTo>
                    <a:pt x="364" y="571"/>
                    <a:pt x="362" y="567"/>
                    <a:pt x="365" y="563"/>
                  </a:cubicBezTo>
                  <a:cubicBezTo>
                    <a:pt x="364" y="564"/>
                    <a:pt x="365" y="562"/>
                    <a:pt x="366" y="562"/>
                  </a:cubicBezTo>
                  <a:cubicBezTo>
                    <a:pt x="366" y="561"/>
                    <a:pt x="367" y="561"/>
                    <a:pt x="368" y="560"/>
                  </a:cubicBezTo>
                  <a:cubicBezTo>
                    <a:pt x="369" y="560"/>
                    <a:pt x="369" y="559"/>
                    <a:pt x="370" y="558"/>
                  </a:cubicBezTo>
                  <a:cubicBezTo>
                    <a:pt x="373" y="555"/>
                    <a:pt x="375" y="553"/>
                    <a:pt x="378" y="550"/>
                  </a:cubicBezTo>
                  <a:cubicBezTo>
                    <a:pt x="378" y="550"/>
                    <a:pt x="378" y="550"/>
                    <a:pt x="378" y="550"/>
                  </a:cubicBezTo>
                  <a:cubicBezTo>
                    <a:pt x="376" y="549"/>
                    <a:pt x="375" y="548"/>
                    <a:pt x="373" y="547"/>
                  </a:cubicBezTo>
                  <a:cubicBezTo>
                    <a:pt x="372" y="546"/>
                    <a:pt x="371" y="545"/>
                    <a:pt x="370" y="544"/>
                  </a:cubicBezTo>
                  <a:cubicBezTo>
                    <a:pt x="369" y="546"/>
                    <a:pt x="368" y="547"/>
                    <a:pt x="368" y="548"/>
                  </a:cubicBezTo>
                  <a:cubicBezTo>
                    <a:pt x="365" y="553"/>
                    <a:pt x="361" y="557"/>
                    <a:pt x="356" y="560"/>
                  </a:cubicBezTo>
                  <a:cubicBezTo>
                    <a:pt x="351" y="562"/>
                    <a:pt x="347" y="555"/>
                    <a:pt x="350" y="551"/>
                  </a:cubicBezTo>
                  <a:cubicBezTo>
                    <a:pt x="352" y="548"/>
                    <a:pt x="355" y="545"/>
                    <a:pt x="358" y="542"/>
                  </a:cubicBezTo>
                  <a:cubicBezTo>
                    <a:pt x="359" y="541"/>
                    <a:pt x="360" y="539"/>
                    <a:pt x="361" y="538"/>
                  </a:cubicBezTo>
                  <a:cubicBezTo>
                    <a:pt x="360" y="537"/>
                    <a:pt x="358" y="536"/>
                    <a:pt x="357" y="535"/>
                  </a:cubicBezTo>
                  <a:cubicBezTo>
                    <a:pt x="356" y="534"/>
                    <a:pt x="356" y="533"/>
                    <a:pt x="355" y="532"/>
                  </a:cubicBezTo>
                  <a:cubicBezTo>
                    <a:pt x="352" y="536"/>
                    <a:pt x="348" y="541"/>
                    <a:pt x="344" y="544"/>
                  </a:cubicBezTo>
                  <a:cubicBezTo>
                    <a:pt x="337" y="548"/>
                    <a:pt x="329" y="538"/>
                    <a:pt x="335" y="533"/>
                  </a:cubicBezTo>
                  <a:cubicBezTo>
                    <a:pt x="340" y="529"/>
                    <a:pt x="344" y="525"/>
                    <a:pt x="349" y="520"/>
                  </a:cubicBezTo>
                  <a:cubicBezTo>
                    <a:pt x="349" y="520"/>
                    <a:pt x="349" y="520"/>
                    <a:pt x="349" y="519"/>
                  </a:cubicBezTo>
                  <a:cubicBezTo>
                    <a:pt x="351" y="511"/>
                    <a:pt x="356" y="502"/>
                    <a:pt x="363" y="496"/>
                  </a:cubicBezTo>
                  <a:cubicBezTo>
                    <a:pt x="366" y="493"/>
                    <a:pt x="370" y="492"/>
                    <a:pt x="374" y="491"/>
                  </a:cubicBezTo>
                  <a:cubicBezTo>
                    <a:pt x="374" y="489"/>
                    <a:pt x="373" y="488"/>
                    <a:pt x="374" y="487"/>
                  </a:cubicBezTo>
                  <a:cubicBezTo>
                    <a:pt x="371" y="481"/>
                    <a:pt x="373" y="474"/>
                    <a:pt x="378" y="469"/>
                  </a:cubicBezTo>
                  <a:cubicBezTo>
                    <a:pt x="381" y="465"/>
                    <a:pt x="386" y="464"/>
                    <a:pt x="390" y="464"/>
                  </a:cubicBezTo>
                  <a:cubicBezTo>
                    <a:pt x="390" y="463"/>
                    <a:pt x="390" y="463"/>
                    <a:pt x="390" y="462"/>
                  </a:cubicBezTo>
                  <a:cubicBezTo>
                    <a:pt x="391" y="459"/>
                    <a:pt x="391" y="455"/>
                    <a:pt x="391" y="452"/>
                  </a:cubicBezTo>
                  <a:cubicBezTo>
                    <a:pt x="392" y="444"/>
                    <a:pt x="391" y="437"/>
                    <a:pt x="390" y="430"/>
                  </a:cubicBezTo>
                  <a:cubicBezTo>
                    <a:pt x="388" y="415"/>
                    <a:pt x="384" y="401"/>
                    <a:pt x="379" y="387"/>
                  </a:cubicBezTo>
                  <a:cubicBezTo>
                    <a:pt x="374" y="375"/>
                    <a:pt x="368" y="363"/>
                    <a:pt x="360" y="352"/>
                  </a:cubicBezTo>
                  <a:cubicBezTo>
                    <a:pt x="357" y="347"/>
                    <a:pt x="353" y="342"/>
                    <a:pt x="348" y="338"/>
                  </a:cubicBezTo>
                  <a:cubicBezTo>
                    <a:pt x="347" y="337"/>
                    <a:pt x="346" y="336"/>
                    <a:pt x="344" y="335"/>
                  </a:cubicBezTo>
                  <a:cubicBezTo>
                    <a:pt x="344" y="339"/>
                    <a:pt x="344" y="343"/>
                    <a:pt x="343" y="347"/>
                  </a:cubicBezTo>
                  <a:cubicBezTo>
                    <a:pt x="343" y="363"/>
                    <a:pt x="342" y="379"/>
                    <a:pt x="341" y="395"/>
                  </a:cubicBezTo>
                  <a:cubicBezTo>
                    <a:pt x="341" y="403"/>
                    <a:pt x="341" y="411"/>
                    <a:pt x="341" y="418"/>
                  </a:cubicBezTo>
                  <a:cubicBezTo>
                    <a:pt x="341" y="422"/>
                    <a:pt x="341" y="426"/>
                    <a:pt x="341" y="430"/>
                  </a:cubicBezTo>
                  <a:cubicBezTo>
                    <a:pt x="341" y="434"/>
                    <a:pt x="342" y="438"/>
                    <a:pt x="341" y="441"/>
                  </a:cubicBezTo>
                  <a:cubicBezTo>
                    <a:pt x="343" y="447"/>
                    <a:pt x="342" y="453"/>
                    <a:pt x="338" y="457"/>
                  </a:cubicBezTo>
                  <a:cubicBezTo>
                    <a:pt x="331" y="465"/>
                    <a:pt x="319" y="463"/>
                    <a:pt x="309" y="462"/>
                  </a:cubicBezTo>
                  <a:cubicBezTo>
                    <a:pt x="305" y="462"/>
                    <a:pt x="300" y="462"/>
                    <a:pt x="296" y="462"/>
                  </a:cubicBezTo>
                  <a:cubicBezTo>
                    <a:pt x="297" y="468"/>
                    <a:pt x="296" y="475"/>
                    <a:pt x="296" y="481"/>
                  </a:cubicBezTo>
                  <a:cubicBezTo>
                    <a:pt x="296" y="490"/>
                    <a:pt x="296" y="499"/>
                    <a:pt x="296" y="509"/>
                  </a:cubicBezTo>
                  <a:cubicBezTo>
                    <a:pt x="296" y="518"/>
                    <a:pt x="297" y="527"/>
                    <a:pt x="297" y="536"/>
                  </a:cubicBezTo>
                  <a:cubicBezTo>
                    <a:pt x="298" y="543"/>
                    <a:pt x="300" y="550"/>
                    <a:pt x="299" y="557"/>
                  </a:cubicBezTo>
                  <a:cubicBezTo>
                    <a:pt x="301" y="558"/>
                    <a:pt x="304" y="559"/>
                    <a:pt x="305" y="561"/>
                  </a:cubicBezTo>
                  <a:cubicBezTo>
                    <a:pt x="310" y="564"/>
                    <a:pt x="315" y="569"/>
                    <a:pt x="319" y="574"/>
                  </a:cubicBezTo>
                  <a:cubicBezTo>
                    <a:pt x="325" y="583"/>
                    <a:pt x="333" y="600"/>
                    <a:pt x="326" y="611"/>
                  </a:cubicBezTo>
                  <a:cubicBezTo>
                    <a:pt x="321" y="617"/>
                    <a:pt x="312" y="619"/>
                    <a:pt x="303" y="619"/>
                  </a:cubicBezTo>
                  <a:cubicBezTo>
                    <a:pt x="303" y="619"/>
                    <a:pt x="303" y="619"/>
                    <a:pt x="303" y="619"/>
                  </a:cubicBezTo>
                  <a:cubicBezTo>
                    <a:pt x="304" y="623"/>
                    <a:pt x="303" y="628"/>
                    <a:pt x="301" y="632"/>
                  </a:cubicBezTo>
                  <a:cubicBezTo>
                    <a:pt x="298" y="642"/>
                    <a:pt x="290" y="650"/>
                    <a:pt x="280" y="652"/>
                  </a:cubicBezTo>
                  <a:cubicBezTo>
                    <a:pt x="258" y="659"/>
                    <a:pt x="244" y="634"/>
                    <a:pt x="240" y="616"/>
                  </a:cubicBezTo>
                  <a:cubicBezTo>
                    <a:pt x="235" y="617"/>
                    <a:pt x="229" y="613"/>
                    <a:pt x="226" y="609"/>
                  </a:cubicBezTo>
                  <a:cubicBezTo>
                    <a:pt x="222" y="603"/>
                    <a:pt x="224" y="593"/>
                    <a:pt x="225" y="586"/>
                  </a:cubicBezTo>
                  <a:cubicBezTo>
                    <a:pt x="227" y="579"/>
                    <a:pt x="231" y="572"/>
                    <a:pt x="237" y="567"/>
                  </a:cubicBezTo>
                  <a:cubicBezTo>
                    <a:pt x="242" y="562"/>
                    <a:pt x="248" y="559"/>
                    <a:pt x="254" y="556"/>
                  </a:cubicBezTo>
                  <a:cubicBezTo>
                    <a:pt x="253" y="554"/>
                    <a:pt x="253" y="551"/>
                    <a:pt x="253" y="549"/>
                  </a:cubicBezTo>
                  <a:cubicBezTo>
                    <a:pt x="253" y="544"/>
                    <a:pt x="253" y="540"/>
                    <a:pt x="253" y="536"/>
                  </a:cubicBezTo>
                  <a:cubicBezTo>
                    <a:pt x="253" y="527"/>
                    <a:pt x="253" y="518"/>
                    <a:pt x="252" y="509"/>
                  </a:cubicBezTo>
                  <a:cubicBezTo>
                    <a:pt x="252" y="500"/>
                    <a:pt x="251" y="491"/>
                    <a:pt x="251" y="482"/>
                  </a:cubicBezTo>
                  <a:cubicBezTo>
                    <a:pt x="251" y="475"/>
                    <a:pt x="250" y="468"/>
                    <a:pt x="251" y="461"/>
                  </a:cubicBezTo>
                  <a:cubicBezTo>
                    <a:pt x="249" y="461"/>
                    <a:pt x="247" y="461"/>
                    <a:pt x="245" y="461"/>
                  </a:cubicBezTo>
                  <a:cubicBezTo>
                    <a:pt x="240" y="461"/>
                    <a:pt x="234" y="461"/>
                    <a:pt x="229" y="461"/>
                  </a:cubicBezTo>
                  <a:cubicBezTo>
                    <a:pt x="223" y="460"/>
                    <a:pt x="216" y="459"/>
                    <a:pt x="213" y="454"/>
                  </a:cubicBezTo>
                  <a:cubicBezTo>
                    <a:pt x="210" y="451"/>
                    <a:pt x="209" y="448"/>
                    <a:pt x="210" y="445"/>
                  </a:cubicBezTo>
                  <a:cubicBezTo>
                    <a:pt x="209" y="444"/>
                    <a:pt x="209" y="443"/>
                    <a:pt x="210" y="441"/>
                  </a:cubicBezTo>
                  <a:cubicBezTo>
                    <a:pt x="212" y="431"/>
                    <a:pt x="211" y="421"/>
                    <a:pt x="210" y="411"/>
                  </a:cubicBezTo>
                  <a:cubicBezTo>
                    <a:pt x="210" y="400"/>
                    <a:pt x="210" y="389"/>
                    <a:pt x="210" y="378"/>
                  </a:cubicBezTo>
                  <a:cubicBezTo>
                    <a:pt x="210" y="364"/>
                    <a:pt x="210" y="350"/>
                    <a:pt x="210" y="336"/>
                  </a:cubicBezTo>
                  <a:cubicBezTo>
                    <a:pt x="210" y="337"/>
                    <a:pt x="210" y="337"/>
                    <a:pt x="209" y="338"/>
                  </a:cubicBezTo>
                  <a:cubicBezTo>
                    <a:pt x="207" y="344"/>
                    <a:pt x="206" y="351"/>
                    <a:pt x="205" y="358"/>
                  </a:cubicBezTo>
                  <a:cubicBezTo>
                    <a:pt x="204" y="364"/>
                    <a:pt x="203" y="370"/>
                    <a:pt x="201" y="377"/>
                  </a:cubicBezTo>
                  <a:cubicBezTo>
                    <a:pt x="199" y="383"/>
                    <a:pt x="195" y="388"/>
                    <a:pt x="191" y="393"/>
                  </a:cubicBezTo>
                  <a:cubicBezTo>
                    <a:pt x="183" y="404"/>
                    <a:pt x="172" y="411"/>
                    <a:pt x="161" y="417"/>
                  </a:cubicBezTo>
                  <a:cubicBezTo>
                    <a:pt x="154" y="419"/>
                    <a:pt x="148" y="422"/>
                    <a:pt x="141" y="423"/>
                  </a:cubicBezTo>
                  <a:cubicBezTo>
                    <a:pt x="137" y="425"/>
                    <a:pt x="134" y="425"/>
                    <a:pt x="130" y="426"/>
                  </a:cubicBezTo>
                  <a:cubicBezTo>
                    <a:pt x="126" y="427"/>
                    <a:pt x="122" y="428"/>
                    <a:pt x="118" y="427"/>
                  </a:cubicBezTo>
                  <a:cubicBezTo>
                    <a:pt x="118" y="428"/>
                    <a:pt x="118" y="430"/>
                    <a:pt x="117" y="432"/>
                  </a:cubicBezTo>
                  <a:cubicBezTo>
                    <a:pt x="114" y="439"/>
                    <a:pt x="106" y="445"/>
                    <a:pt x="98" y="442"/>
                  </a:cubicBezTo>
                  <a:cubicBezTo>
                    <a:pt x="98" y="442"/>
                    <a:pt x="97" y="441"/>
                    <a:pt x="97" y="441"/>
                  </a:cubicBezTo>
                  <a:cubicBezTo>
                    <a:pt x="95" y="445"/>
                    <a:pt x="92" y="448"/>
                    <a:pt x="89" y="451"/>
                  </a:cubicBezTo>
                  <a:cubicBezTo>
                    <a:pt x="84" y="455"/>
                    <a:pt x="78" y="455"/>
                    <a:pt x="72" y="456"/>
                  </a:cubicBezTo>
                  <a:cubicBezTo>
                    <a:pt x="66" y="457"/>
                    <a:pt x="59" y="459"/>
                    <a:pt x="53" y="459"/>
                  </a:cubicBezTo>
                  <a:cubicBezTo>
                    <a:pt x="51" y="460"/>
                    <a:pt x="49" y="459"/>
                    <a:pt x="48" y="458"/>
                  </a:cubicBezTo>
                  <a:cubicBezTo>
                    <a:pt x="47" y="459"/>
                    <a:pt x="46" y="459"/>
                    <a:pt x="46" y="459"/>
                  </a:cubicBezTo>
                  <a:cubicBezTo>
                    <a:pt x="39" y="461"/>
                    <a:pt x="31" y="465"/>
                    <a:pt x="25" y="463"/>
                  </a:cubicBezTo>
                  <a:cubicBezTo>
                    <a:pt x="18" y="461"/>
                    <a:pt x="19" y="453"/>
                    <a:pt x="25" y="451"/>
                  </a:cubicBezTo>
                  <a:cubicBezTo>
                    <a:pt x="28" y="449"/>
                    <a:pt x="31" y="450"/>
                    <a:pt x="35" y="449"/>
                  </a:cubicBezTo>
                  <a:cubicBezTo>
                    <a:pt x="36" y="449"/>
                    <a:pt x="38" y="448"/>
                    <a:pt x="39" y="448"/>
                  </a:cubicBezTo>
                  <a:cubicBezTo>
                    <a:pt x="39" y="447"/>
                    <a:pt x="38" y="445"/>
                    <a:pt x="38" y="444"/>
                  </a:cubicBezTo>
                  <a:cubicBezTo>
                    <a:pt x="34" y="445"/>
                    <a:pt x="30" y="445"/>
                    <a:pt x="26" y="446"/>
                  </a:cubicBezTo>
                  <a:cubicBezTo>
                    <a:pt x="19" y="448"/>
                    <a:pt x="15" y="438"/>
                    <a:pt x="21" y="435"/>
                  </a:cubicBezTo>
                  <a:cubicBezTo>
                    <a:pt x="25" y="434"/>
                    <a:pt x="29" y="434"/>
                    <a:pt x="33" y="434"/>
                  </a:cubicBezTo>
                  <a:cubicBezTo>
                    <a:pt x="34" y="434"/>
                    <a:pt x="34" y="434"/>
                    <a:pt x="35" y="434"/>
                  </a:cubicBezTo>
                  <a:cubicBezTo>
                    <a:pt x="35" y="432"/>
                    <a:pt x="34" y="429"/>
                    <a:pt x="33" y="427"/>
                  </a:cubicBezTo>
                  <a:cubicBezTo>
                    <a:pt x="33" y="426"/>
                    <a:pt x="33" y="426"/>
                    <a:pt x="32" y="425"/>
                  </a:cubicBezTo>
                  <a:cubicBezTo>
                    <a:pt x="31" y="425"/>
                    <a:pt x="29" y="426"/>
                    <a:pt x="27" y="426"/>
                  </a:cubicBezTo>
                  <a:cubicBezTo>
                    <a:pt x="22" y="427"/>
                    <a:pt x="17" y="430"/>
                    <a:pt x="11" y="427"/>
                  </a:cubicBezTo>
                  <a:cubicBezTo>
                    <a:pt x="8" y="426"/>
                    <a:pt x="8" y="421"/>
                    <a:pt x="10" y="418"/>
                  </a:cubicBezTo>
                  <a:cubicBezTo>
                    <a:pt x="14" y="415"/>
                    <a:pt x="21" y="414"/>
                    <a:pt x="26" y="414"/>
                  </a:cubicBezTo>
                  <a:cubicBezTo>
                    <a:pt x="27" y="414"/>
                    <a:pt x="29" y="413"/>
                    <a:pt x="30" y="413"/>
                  </a:cubicBezTo>
                  <a:cubicBezTo>
                    <a:pt x="30" y="413"/>
                    <a:pt x="30" y="412"/>
                    <a:pt x="30" y="412"/>
                  </a:cubicBezTo>
                  <a:cubicBezTo>
                    <a:pt x="30" y="410"/>
                    <a:pt x="30" y="408"/>
                    <a:pt x="29" y="406"/>
                  </a:cubicBezTo>
                  <a:cubicBezTo>
                    <a:pt x="29" y="406"/>
                    <a:pt x="28" y="406"/>
                    <a:pt x="28" y="407"/>
                  </a:cubicBezTo>
                  <a:cubicBezTo>
                    <a:pt x="25" y="407"/>
                    <a:pt x="22" y="407"/>
                    <a:pt x="20" y="407"/>
                  </a:cubicBezTo>
                  <a:cubicBezTo>
                    <a:pt x="17" y="407"/>
                    <a:pt x="15" y="408"/>
                    <a:pt x="12" y="407"/>
                  </a:cubicBezTo>
                  <a:cubicBezTo>
                    <a:pt x="8" y="407"/>
                    <a:pt x="7" y="402"/>
                    <a:pt x="9" y="398"/>
                  </a:cubicBezTo>
                  <a:cubicBezTo>
                    <a:pt x="10" y="395"/>
                    <a:pt x="14" y="394"/>
                    <a:pt x="18" y="394"/>
                  </a:cubicBezTo>
                  <a:cubicBezTo>
                    <a:pt x="20" y="394"/>
                    <a:pt x="21" y="394"/>
                    <a:pt x="23" y="395"/>
                  </a:cubicBezTo>
                  <a:cubicBezTo>
                    <a:pt x="23" y="395"/>
                    <a:pt x="24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6" y="395"/>
                    <a:pt x="27" y="395"/>
                    <a:pt x="28" y="394"/>
                  </a:cubicBezTo>
                  <a:cubicBezTo>
                    <a:pt x="27" y="392"/>
                    <a:pt x="27" y="390"/>
                    <a:pt x="27" y="388"/>
                  </a:cubicBezTo>
                  <a:cubicBezTo>
                    <a:pt x="21" y="390"/>
                    <a:pt x="15" y="391"/>
                    <a:pt x="9" y="391"/>
                  </a:cubicBezTo>
                  <a:cubicBezTo>
                    <a:pt x="0" y="391"/>
                    <a:pt x="0" y="380"/>
                    <a:pt x="7" y="37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" name="îṡḻiḓé"/>
            <p:cNvSpPr/>
            <p:nvPr/>
          </p:nvSpPr>
          <p:spPr bwMode="auto">
            <a:xfrm>
              <a:off x="5616882" y="3074837"/>
              <a:ext cx="6775" cy="67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" name="iṡḷïḑè"/>
            <p:cNvSpPr/>
            <p:nvPr/>
          </p:nvSpPr>
          <p:spPr bwMode="auto">
            <a:xfrm>
              <a:off x="6433270" y="2099235"/>
              <a:ext cx="220189" cy="189700"/>
            </a:xfrm>
            <a:custGeom>
              <a:avLst/>
              <a:gdLst>
                <a:gd name="T0" fmla="*/ 6 w 31"/>
                <a:gd name="T1" fmla="*/ 7 h 27"/>
                <a:gd name="T2" fmla="*/ 19 w 31"/>
                <a:gd name="T3" fmla="*/ 1 h 27"/>
                <a:gd name="T4" fmla="*/ 24 w 31"/>
                <a:gd name="T5" fmla="*/ 5 h 27"/>
                <a:gd name="T6" fmla="*/ 25 w 31"/>
                <a:gd name="T7" fmla="*/ 5 h 27"/>
                <a:gd name="T8" fmla="*/ 30 w 31"/>
                <a:gd name="T9" fmla="*/ 18 h 27"/>
                <a:gd name="T10" fmla="*/ 16 w 31"/>
                <a:gd name="T11" fmla="*/ 27 h 27"/>
                <a:gd name="T12" fmla="*/ 6 w 3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6" y="7"/>
                  </a:moveTo>
                  <a:cubicBezTo>
                    <a:pt x="9" y="2"/>
                    <a:pt x="14" y="0"/>
                    <a:pt x="19" y="1"/>
                  </a:cubicBezTo>
                  <a:cubicBezTo>
                    <a:pt x="21" y="2"/>
                    <a:pt x="23" y="3"/>
                    <a:pt x="24" y="5"/>
                  </a:cubicBezTo>
                  <a:cubicBezTo>
                    <a:pt x="24" y="5"/>
                    <a:pt x="24" y="5"/>
                    <a:pt x="25" y="5"/>
                  </a:cubicBezTo>
                  <a:cubicBezTo>
                    <a:pt x="29" y="8"/>
                    <a:pt x="31" y="13"/>
                    <a:pt x="30" y="18"/>
                  </a:cubicBezTo>
                  <a:cubicBezTo>
                    <a:pt x="29" y="24"/>
                    <a:pt x="22" y="27"/>
                    <a:pt x="16" y="27"/>
                  </a:cubicBezTo>
                  <a:cubicBezTo>
                    <a:pt x="6" y="27"/>
                    <a:pt x="0" y="15"/>
                    <a:pt x="6" y="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" name="îṥliḍe"/>
            <p:cNvSpPr/>
            <p:nvPr/>
          </p:nvSpPr>
          <p:spPr bwMode="auto">
            <a:xfrm>
              <a:off x="5813357" y="2092460"/>
              <a:ext cx="226964" cy="196475"/>
            </a:xfrm>
            <a:custGeom>
              <a:avLst/>
              <a:gdLst>
                <a:gd name="T0" fmla="*/ 16 w 32"/>
                <a:gd name="T1" fmla="*/ 28 h 28"/>
                <a:gd name="T2" fmla="*/ 4 w 32"/>
                <a:gd name="T3" fmla="*/ 10 h 28"/>
                <a:gd name="T4" fmla="*/ 13 w 32"/>
                <a:gd name="T5" fmla="*/ 1 h 28"/>
                <a:gd name="T6" fmla="*/ 25 w 32"/>
                <a:gd name="T7" fmla="*/ 3 h 28"/>
                <a:gd name="T8" fmla="*/ 28 w 32"/>
                <a:gd name="T9" fmla="*/ 5 h 28"/>
                <a:gd name="T10" fmla="*/ 32 w 32"/>
                <a:gd name="T11" fmla="*/ 14 h 28"/>
                <a:gd name="T12" fmla="*/ 16 w 3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8">
                  <a:moveTo>
                    <a:pt x="16" y="28"/>
                  </a:moveTo>
                  <a:cubicBezTo>
                    <a:pt x="7" y="27"/>
                    <a:pt x="0" y="19"/>
                    <a:pt x="4" y="10"/>
                  </a:cubicBezTo>
                  <a:cubicBezTo>
                    <a:pt x="6" y="5"/>
                    <a:pt x="9" y="3"/>
                    <a:pt x="13" y="1"/>
                  </a:cubicBezTo>
                  <a:cubicBezTo>
                    <a:pt x="16" y="0"/>
                    <a:pt x="22" y="1"/>
                    <a:pt x="25" y="3"/>
                  </a:cubicBezTo>
                  <a:cubicBezTo>
                    <a:pt x="26" y="4"/>
                    <a:pt x="27" y="4"/>
                    <a:pt x="28" y="5"/>
                  </a:cubicBezTo>
                  <a:cubicBezTo>
                    <a:pt x="31" y="7"/>
                    <a:pt x="32" y="11"/>
                    <a:pt x="32" y="14"/>
                  </a:cubicBezTo>
                  <a:cubicBezTo>
                    <a:pt x="31" y="22"/>
                    <a:pt x="25" y="28"/>
                    <a:pt x="16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" name="işḷîḑé"/>
            <p:cNvSpPr/>
            <p:nvPr/>
          </p:nvSpPr>
          <p:spPr bwMode="auto">
            <a:xfrm>
              <a:off x="6019994" y="2349910"/>
              <a:ext cx="399726" cy="149050"/>
            </a:xfrm>
            <a:custGeom>
              <a:avLst/>
              <a:gdLst>
                <a:gd name="T0" fmla="*/ 26 w 57"/>
                <a:gd name="T1" fmla="*/ 20 h 21"/>
                <a:gd name="T2" fmla="*/ 10 w 57"/>
                <a:gd name="T3" fmla="*/ 17 h 21"/>
                <a:gd name="T4" fmla="*/ 3 w 57"/>
                <a:gd name="T5" fmla="*/ 3 h 21"/>
                <a:gd name="T6" fmla="*/ 9 w 57"/>
                <a:gd name="T7" fmla="*/ 2 h 21"/>
                <a:gd name="T8" fmla="*/ 16 w 57"/>
                <a:gd name="T9" fmla="*/ 8 h 21"/>
                <a:gd name="T10" fmla="*/ 26 w 57"/>
                <a:gd name="T11" fmla="*/ 10 h 21"/>
                <a:gd name="T12" fmla="*/ 52 w 57"/>
                <a:gd name="T13" fmla="*/ 2 h 21"/>
                <a:gd name="T14" fmla="*/ 56 w 57"/>
                <a:gd name="T15" fmla="*/ 4 h 21"/>
                <a:gd name="T16" fmla="*/ 26 w 57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21">
                  <a:moveTo>
                    <a:pt x="26" y="20"/>
                  </a:moveTo>
                  <a:cubicBezTo>
                    <a:pt x="20" y="21"/>
                    <a:pt x="15" y="19"/>
                    <a:pt x="10" y="17"/>
                  </a:cubicBezTo>
                  <a:cubicBezTo>
                    <a:pt x="5" y="15"/>
                    <a:pt x="0" y="9"/>
                    <a:pt x="3" y="3"/>
                  </a:cubicBezTo>
                  <a:cubicBezTo>
                    <a:pt x="4" y="1"/>
                    <a:pt x="7" y="1"/>
                    <a:pt x="9" y="2"/>
                  </a:cubicBezTo>
                  <a:cubicBezTo>
                    <a:pt x="12" y="3"/>
                    <a:pt x="13" y="6"/>
                    <a:pt x="16" y="8"/>
                  </a:cubicBezTo>
                  <a:cubicBezTo>
                    <a:pt x="19" y="9"/>
                    <a:pt x="23" y="9"/>
                    <a:pt x="26" y="10"/>
                  </a:cubicBezTo>
                  <a:cubicBezTo>
                    <a:pt x="35" y="10"/>
                    <a:pt x="47" y="9"/>
                    <a:pt x="52" y="2"/>
                  </a:cubicBezTo>
                  <a:cubicBezTo>
                    <a:pt x="54" y="0"/>
                    <a:pt x="57" y="2"/>
                    <a:pt x="56" y="4"/>
                  </a:cubicBezTo>
                  <a:cubicBezTo>
                    <a:pt x="50" y="15"/>
                    <a:pt x="38" y="20"/>
                    <a:pt x="26" y="2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" name="î$ľidé"/>
            <p:cNvSpPr/>
            <p:nvPr/>
          </p:nvSpPr>
          <p:spPr bwMode="auto">
            <a:xfrm>
              <a:off x="6968496" y="1909534"/>
              <a:ext cx="57589" cy="40650"/>
            </a:xfrm>
            <a:custGeom>
              <a:avLst/>
              <a:gdLst>
                <a:gd name="T0" fmla="*/ 4 w 8"/>
                <a:gd name="T1" fmla="*/ 6 h 6"/>
                <a:gd name="T2" fmla="*/ 4 w 8"/>
                <a:gd name="T3" fmla="*/ 0 h 6"/>
                <a:gd name="T4" fmla="*/ 4 w 8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cubicBezTo>
                    <a:pt x="0" y="6"/>
                    <a:pt x="0" y="0"/>
                    <a:pt x="4" y="0"/>
                  </a:cubicBezTo>
                  <a:cubicBezTo>
                    <a:pt x="8" y="0"/>
                    <a:pt x="8" y="6"/>
                    <a:pt x="4" y="6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ïŝ1îḋé"/>
            <p:cNvSpPr/>
            <p:nvPr/>
          </p:nvSpPr>
          <p:spPr bwMode="auto">
            <a:xfrm>
              <a:off x="7012535" y="2055196"/>
              <a:ext cx="40650" cy="50814"/>
            </a:xfrm>
            <a:custGeom>
              <a:avLst/>
              <a:gdLst>
                <a:gd name="T0" fmla="*/ 5 w 6"/>
                <a:gd name="T1" fmla="*/ 5 h 7"/>
                <a:gd name="T2" fmla="*/ 1 w 6"/>
                <a:gd name="T3" fmla="*/ 5 h 7"/>
                <a:gd name="T4" fmla="*/ 0 w 6"/>
                <a:gd name="T5" fmla="*/ 4 h 7"/>
                <a:gd name="T6" fmla="*/ 0 w 6"/>
                <a:gd name="T7" fmla="*/ 1 h 7"/>
                <a:gd name="T8" fmla="*/ 3 w 6"/>
                <a:gd name="T9" fmla="*/ 0 h 7"/>
                <a:gd name="T10" fmla="*/ 5 w 6"/>
                <a:gd name="T11" fmla="*/ 1 h 7"/>
                <a:gd name="T12" fmla="*/ 5 w 6"/>
                <a:gd name="T13" fmla="*/ 4 h 7"/>
                <a:gd name="T14" fmla="*/ 5 w 6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5" y="5"/>
                  </a:moveTo>
                  <a:cubicBezTo>
                    <a:pt x="4" y="7"/>
                    <a:pt x="1" y="7"/>
                    <a:pt x="1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6" y="2"/>
                    <a:pt x="6" y="3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ïṥlïḑé"/>
            <p:cNvSpPr/>
            <p:nvPr/>
          </p:nvSpPr>
          <p:spPr bwMode="auto">
            <a:xfrm>
              <a:off x="7012535" y="2183921"/>
              <a:ext cx="33875" cy="47425"/>
            </a:xfrm>
            <a:custGeom>
              <a:avLst/>
              <a:gdLst>
                <a:gd name="T0" fmla="*/ 2 w 5"/>
                <a:gd name="T1" fmla="*/ 0 h 7"/>
                <a:gd name="T2" fmla="*/ 5 w 5"/>
                <a:gd name="T3" fmla="*/ 3 h 7"/>
                <a:gd name="T4" fmla="*/ 5 w 5"/>
                <a:gd name="T5" fmla="*/ 5 h 7"/>
                <a:gd name="T6" fmla="*/ 2 w 5"/>
                <a:gd name="T7" fmla="*/ 7 h 7"/>
                <a:gd name="T8" fmla="*/ 0 w 5"/>
                <a:gd name="T9" fmla="*/ 5 h 7"/>
                <a:gd name="T10" fmla="*/ 0 w 5"/>
                <a:gd name="T11" fmla="*/ 3 h 7"/>
                <a:gd name="T12" fmla="*/ 2 w 5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7">
                  <a:moveTo>
                    <a:pt x="2" y="0"/>
                  </a:moveTo>
                  <a:cubicBezTo>
                    <a:pt x="4" y="0"/>
                    <a:pt x="5" y="1"/>
                    <a:pt x="5" y="3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4" y="6"/>
                    <a:pt x="3" y="7"/>
                    <a:pt x="2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iṧľiḋê"/>
            <p:cNvSpPr/>
            <p:nvPr/>
          </p:nvSpPr>
          <p:spPr bwMode="auto">
            <a:xfrm>
              <a:off x="7019310" y="2434597"/>
              <a:ext cx="33875" cy="44039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íṡľïḑè"/>
            <p:cNvSpPr/>
            <p:nvPr/>
          </p:nvSpPr>
          <p:spPr bwMode="auto">
            <a:xfrm>
              <a:off x="7019310" y="2556547"/>
              <a:ext cx="40650" cy="47425"/>
            </a:xfrm>
            <a:custGeom>
              <a:avLst/>
              <a:gdLst>
                <a:gd name="T0" fmla="*/ 3 w 6"/>
                <a:gd name="T1" fmla="*/ 0 h 7"/>
                <a:gd name="T2" fmla="*/ 5 w 6"/>
                <a:gd name="T3" fmla="*/ 1 h 7"/>
                <a:gd name="T4" fmla="*/ 6 w 6"/>
                <a:gd name="T5" fmla="*/ 4 h 7"/>
                <a:gd name="T6" fmla="*/ 6 w 6"/>
                <a:gd name="T7" fmla="*/ 5 h 7"/>
                <a:gd name="T8" fmla="*/ 3 w 6"/>
                <a:gd name="T9" fmla="*/ 7 h 7"/>
                <a:gd name="T10" fmla="*/ 0 w 6"/>
                <a:gd name="T11" fmla="*/ 5 h 7"/>
                <a:gd name="T12" fmla="*/ 0 w 6"/>
                <a:gd name="T13" fmla="*/ 4 h 7"/>
                <a:gd name="T14" fmla="*/ 1 w 6"/>
                <a:gd name="T15" fmla="*/ 2 h 7"/>
                <a:gd name="T16" fmla="*/ 3 w 6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4" y="0"/>
                    <a:pt x="5" y="1"/>
                    <a:pt x="5" y="1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6"/>
                    <a:pt x="4" y="7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íSḷiḍè"/>
            <p:cNvSpPr/>
            <p:nvPr/>
          </p:nvSpPr>
          <p:spPr bwMode="auto">
            <a:xfrm>
              <a:off x="7026085" y="2695436"/>
              <a:ext cx="40650" cy="5081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íSlidê"/>
            <p:cNvSpPr/>
            <p:nvPr/>
          </p:nvSpPr>
          <p:spPr bwMode="auto">
            <a:xfrm>
              <a:off x="7019310" y="2813998"/>
              <a:ext cx="40650" cy="37264"/>
            </a:xfrm>
            <a:custGeom>
              <a:avLst/>
              <a:gdLst>
                <a:gd name="T0" fmla="*/ 1 w 6"/>
                <a:gd name="T1" fmla="*/ 0 h 5"/>
                <a:gd name="T2" fmla="*/ 3 w 6"/>
                <a:gd name="T3" fmla="*/ 0 h 5"/>
                <a:gd name="T4" fmla="*/ 3 w 6"/>
                <a:gd name="T5" fmla="*/ 0 h 5"/>
                <a:gd name="T6" fmla="*/ 4 w 6"/>
                <a:gd name="T7" fmla="*/ 0 h 5"/>
                <a:gd name="T8" fmla="*/ 6 w 6"/>
                <a:gd name="T9" fmla="*/ 0 h 5"/>
                <a:gd name="T10" fmla="*/ 6 w 6"/>
                <a:gd name="T11" fmla="*/ 2 h 5"/>
                <a:gd name="T12" fmla="*/ 6 w 6"/>
                <a:gd name="T13" fmla="*/ 4 h 5"/>
                <a:gd name="T14" fmla="*/ 4 w 6"/>
                <a:gd name="T15" fmla="*/ 5 h 5"/>
                <a:gd name="T16" fmla="*/ 3 w 6"/>
                <a:gd name="T17" fmla="*/ 5 h 5"/>
                <a:gd name="T18" fmla="*/ 3 w 6"/>
                <a:gd name="T19" fmla="*/ 5 h 5"/>
                <a:gd name="T20" fmla="*/ 1 w 6"/>
                <a:gd name="T21" fmla="*/ 4 h 5"/>
                <a:gd name="T22" fmla="*/ 1 w 6"/>
                <a:gd name="T23" fmla="*/ 4 h 5"/>
                <a:gd name="T24" fmla="*/ 0 w 6"/>
                <a:gd name="T25" fmla="*/ 2 h 5"/>
                <a:gd name="T26" fmla="*/ 1 w 6"/>
                <a:gd name="T27" fmla="*/ 0 h 5"/>
                <a:gd name="T28" fmla="*/ 1 w 6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5">
                  <a:moveTo>
                    <a:pt x="1" y="0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íšlîdê"/>
            <p:cNvSpPr/>
            <p:nvPr/>
          </p:nvSpPr>
          <p:spPr bwMode="auto">
            <a:xfrm>
              <a:off x="7032860" y="2922398"/>
              <a:ext cx="57589" cy="40650"/>
            </a:xfrm>
            <a:custGeom>
              <a:avLst/>
              <a:gdLst>
                <a:gd name="T0" fmla="*/ 4 w 8"/>
                <a:gd name="T1" fmla="*/ 0 h 6"/>
                <a:gd name="T2" fmla="*/ 4 w 8"/>
                <a:gd name="T3" fmla="*/ 6 h 6"/>
                <a:gd name="T4" fmla="*/ 4 w 8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4" y="0"/>
                  </a:moveTo>
                  <a:cubicBezTo>
                    <a:pt x="8" y="0"/>
                    <a:pt x="8" y="6"/>
                    <a:pt x="4" y="6"/>
                  </a:cubicBezTo>
                  <a:cubicBezTo>
                    <a:pt x="0" y="6"/>
                    <a:pt x="0" y="0"/>
                    <a:pt x="4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ïṩľiḑê"/>
            <p:cNvSpPr/>
            <p:nvPr/>
          </p:nvSpPr>
          <p:spPr bwMode="auto">
            <a:xfrm>
              <a:off x="7005760" y="5388503"/>
              <a:ext cx="67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íŝḻíḓê"/>
            <p:cNvSpPr/>
            <p:nvPr/>
          </p:nvSpPr>
          <p:spPr bwMode="auto">
            <a:xfrm>
              <a:off x="4414315" y="1367533"/>
              <a:ext cx="3357022" cy="4634110"/>
            </a:xfrm>
            <a:custGeom>
              <a:avLst/>
              <a:gdLst>
                <a:gd name="T0" fmla="*/ 109 w 477"/>
                <a:gd name="T1" fmla="*/ 376 h 659"/>
                <a:gd name="T2" fmla="*/ 250 w 477"/>
                <a:gd name="T3" fmla="*/ 251 h 659"/>
                <a:gd name="T4" fmla="*/ 154 w 477"/>
                <a:gd name="T5" fmla="*/ 160 h 659"/>
                <a:gd name="T6" fmla="*/ 155 w 477"/>
                <a:gd name="T7" fmla="*/ 133 h 659"/>
                <a:gd name="T8" fmla="*/ 467 w 477"/>
                <a:gd name="T9" fmla="*/ 127 h 659"/>
                <a:gd name="T10" fmla="*/ 398 w 477"/>
                <a:gd name="T11" fmla="*/ 242 h 659"/>
                <a:gd name="T12" fmla="*/ 422 w 477"/>
                <a:gd name="T13" fmla="*/ 338 h 659"/>
                <a:gd name="T14" fmla="*/ 432 w 477"/>
                <a:gd name="T15" fmla="*/ 565 h 659"/>
                <a:gd name="T16" fmla="*/ 399 w 477"/>
                <a:gd name="T17" fmla="*/ 561 h 659"/>
                <a:gd name="T18" fmla="*/ 368 w 477"/>
                <a:gd name="T19" fmla="*/ 560 h 659"/>
                <a:gd name="T20" fmla="*/ 355 w 477"/>
                <a:gd name="T21" fmla="*/ 532 h 659"/>
                <a:gd name="T22" fmla="*/ 390 w 477"/>
                <a:gd name="T23" fmla="*/ 430 h 659"/>
                <a:gd name="T24" fmla="*/ 296 w 477"/>
                <a:gd name="T25" fmla="*/ 462 h 659"/>
                <a:gd name="T26" fmla="*/ 240 w 477"/>
                <a:gd name="T27" fmla="*/ 616 h 659"/>
                <a:gd name="T28" fmla="*/ 213 w 477"/>
                <a:gd name="T29" fmla="*/ 454 h 659"/>
                <a:gd name="T30" fmla="*/ 130 w 477"/>
                <a:gd name="T31" fmla="*/ 426 h 659"/>
                <a:gd name="T32" fmla="*/ 35 w 477"/>
                <a:gd name="T33" fmla="*/ 449 h 659"/>
                <a:gd name="T34" fmla="*/ 26 w 477"/>
                <a:gd name="T35" fmla="*/ 414 h 659"/>
                <a:gd name="T36" fmla="*/ 25 w 477"/>
                <a:gd name="T37" fmla="*/ 395 h 659"/>
                <a:gd name="T38" fmla="*/ 112 w 477"/>
                <a:gd name="T39" fmla="*/ 141 h 659"/>
                <a:gd name="T40" fmla="*/ 450 w 477"/>
                <a:gd name="T41" fmla="*/ 149 h 659"/>
                <a:gd name="T42" fmla="*/ 439 w 477"/>
                <a:gd name="T43" fmla="*/ 144 h 659"/>
                <a:gd name="T44" fmla="*/ 333 w 477"/>
                <a:gd name="T45" fmla="*/ 307 h 659"/>
                <a:gd name="T46" fmla="*/ 319 w 477"/>
                <a:gd name="T47" fmla="*/ 289 h 659"/>
                <a:gd name="T48" fmla="*/ 232 w 477"/>
                <a:gd name="T49" fmla="*/ 303 h 659"/>
                <a:gd name="T50" fmla="*/ 228 w 477"/>
                <a:gd name="T51" fmla="*/ 346 h 659"/>
                <a:gd name="T52" fmla="*/ 282 w 477"/>
                <a:gd name="T53" fmla="*/ 434 h 659"/>
                <a:gd name="T54" fmla="*/ 283 w 477"/>
                <a:gd name="T55" fmla="*/ 270 h 659"/>
                <a:gd name="T56" fmla="*/ 238 w 477"/>
                <a:gd name="T57" fmla="*/ 343 h 659"/>
                <a:gd name="T58" fmla="*/ 225 w 477"/>
                <a:gd name="T59" fmla="*/ 300 h 659"/>
                <a:gd name="T60" fmla="*/ 365 w 477"/>
                <a:gd name="T61" fmla="*/ 61 h 659"/>
                <a:gd name="T62" fmla="*/ 388 w 477"/>
                <a:gd name="T63" fmla="*/ 229 h 659"/>
                <a:gd name="T64" fmla="*/ 385 w 477"/>
                <a:gd name="T65" fmla="*/ 232 h 659"/>
                <a:gd name="T66" fmla="*/ 342 w 477"/>
                <a:gd name="T67" fmla="*/ 35 h 659"/>
                <a:gd name="T68" fmla="*/ 276 w 477"/>
                <a:gd name="T69" fmla="*/ 231 h 659"/>
                <a:gd name="T70" fmla="*/ 345 w 477"/>
                <a:gd name="T71" fmla="*/ 281 h 659"/>
                <a:gd name="T72" fmla="*/ 418 w 477"/>
                <a:gd name="T73" fmla="*/ 365 h 659"/>
                <a:gd name="T74" fmla="*/ 437 w 477"/>
                <a:gd name="T75" fmla="*/ 420 h 659"/>
                <a:gd name="T76" fmla="*/ 440 w 477"/>
                <a:gd name="T77" fmla="*/ 449 h 659"/>
                <a:gd name="T78" fmla="*/ 437 w 477"/>
                <a:gd name="T79" fmla="*/ 468 h 659"/>
                <a:gd name="T80" fmla="*/ 427 w 477"/>
                <a:gd name="T81" fmla="*/ 524 h 659"/>
                <a:gd name="T82" fmla="*/ 433 w 477"/>
                <a:gd name="T83" fmla="*/ 505 h 659"/>
                <a:gd name="T84" fmla="*/ 428 w 477"/>
                <a:gd name="T85" fmla="*/ 479 h 659"/>
                <a:gd name="T86" fmla="*/ 404 w 477"/>
                <a:gd name="T87" fmla="*/ 396 h 659"/>
                <a:gd name="T88" fmla="*/ 389 w 477"/>
                <a:gd name="T89" fmla="*/ 346 h 659"/>
                <a:gd name="T90" fmla="*/ 363 w 477"/>
                <a:gd name="T91" fmla="*/ 292 h 659"/>
                <a:gd name="T92" fmla="*/ 265 w 477"/>
                <a:gd name="T93" fmla="*/ 539 h 659"/>
                <a:gd name="T94" fmla="*/ 264 w 477"/>
                <a:gd name="T95" fmla="*/ 507 h 659"/>
                <a:gd name="T96" fmla="*/ 285 w 477"/>
                <a:gd name="T97" fmla="*/ 558 h 659"/>
                <a:gd name="T98" fmla="*/ 263 w 477"/>
                <a:gd name="T99" fmla="*/ 479 h 659"/>
                <a:gd name="T100" fmla="*/ 239 w 477"/>
                <a:gd name="T101" fmla="*/ 600 h 659"/>
                <a:gd name="T102" fmla="*/ 285 w 477"/>
                <a:gd name="T103" fmla="*/ 570 h 659"/>
                <a:gd name="T104" fmla="*/ 261 w 477"/>
                <a:gd name="T105" fmla="*/ 461 h 659"/>
                <a:gd name="T106" fmla="*/ 281 w 477"/>
                <a:gd name="T107" fmla="*/ 440 h 659"/>
                <a:gd name="T108" fmla="*/ 193 w 477"/>
                <a:gd name="T109" fmla="*/ 289 h 659"/>
                <a:gd name="T110" fmla="*/ 194 w 477"/>
                <a:gd name="T111" fmla="*/ 345 h 659"/>
                <a:gd name="T112" fmla="*/ 193 w 477"/>
                <a:gd name="T113" fmla="*/ 351 h 659"/>
                <a:gd name="T114" fmla="*/ 118 w 477"/>
                <a:gd name="T115" fmla="*/ 413 h 659"/>
                <a:gd name="T116" fmla="*/ 138 w 477"/>
                <a:gd name="T117" fmla="*/ 407 h 659"/>
                <a:gd name="T118" fmla="*/ 94 w 477"/>
                <a:gd name="T119" fmla="*/ 375 h 659"/>
                <a:gd name="T120" fmla="*/ 81 w 477"/>
                <a:gd name="T121" fmla="*/ 39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7" h="659">
                  <a:moveTo>
                    <a:pt x="7" y="378"/>
                  </a:moveTo>
                  <a:cubicBezTo>
                    <a:pt x="10" y="377"/>
                    <a:pt x="13" y="377"/>
                    <a:pt x="17" y="376"/>
                  </a:cubicBezTo>
                  <a:cubicBezTo>
                    <a:pt x="20" y="376"/>
                    <a:pt x="24" y="375"/>
                    <a:pt x="28" y="375"/>
                  </a:cubicBezTo>
                  <a:cubicBezTo>
                    <a:pt x="31" y="375"/>
                    <a:pt x="35" y="374"/>
                    <a:pt x="39" y="374"/>
                  </a:cubicBezTo>
                  <a:cubicBezTo>
                    <a:pt x="41" y="373"/>
                    <a:pt x="43" y="373"/>
                    <a:pt x="45" y="372"/>
                  </a:cubicBezTo>
                  <a:cubicBezTo>
                    <a:pt x="51" y="371"/>
                    <a:pt x="56" y="371"/>
                    <a:pt x="62" y="372"/>
                  </a:cubicBezTo>
                  <a:cubicBezTo>
                    <a:pt x="67" y="373"/>
                    <a:pt x="71" y="373"/>
                    <a:pt x="75" y="375"/>
                  </a:cubicBezTo>
                  <a:cubicBezTo>
                    <a:pt x="77" y="376"/>
                    <a:pt x="78" y="377"/>
                    <a:pt x="79" y="378"/>
                  </a:cubicBezTo>
                  <a:cubicBezTo>
                    <a:pt x="79" y="377"/>
                    <a:pt x="79" y="377"/>
                    <a:pt x="79" y="376"/>
                  </a:cubicBezTo>
                  <a:cubicBezTo>
                    <a:pt x="81" y="369"/>
                    <a:pt x="87" y="363"/>
                    <a:pt x="95" y="363"/>
                  </a:cubicBezTo>
                  <a:cubicBezTo>
                    <a:pt x="101" y="363"/>
                    <a:pt x="104" y="366"/>
                    <a:pt x="105" y="371"/>
                  </a:cubicBezTo>
                  <a:cubicBezTo>
                    <a:pt x="107" y="372"/>
                    <a:pt x="108" y="374"/>
                    <a:pt x="109" y="376"/>
                  </a:cubicBezTo>
                  <a:cubicBezTo>
                    <a:pt x="111" y="375"/>
                    <a:pt x="114" y="375"/>
                    <a:pt x="117" y="374"/>
                  </a:cubicBezTo>
                  <a:cubicBezTo>
                    <a:pt x="121" y="373"/>
                    <a:pt x="125" y="372"/>
                    <a:pt x="129" y="371"/>
                  </a:cubicBezTo>
                  <a:cubicBezTo>
                    <a:pt x="135" y="369"/>
                    <a:pt x="142" y="365"/>
                    <a:pt x="146" y="359"/>
                  </a:cubicBezTo>
                  <a:cubicBezTo>
                    <a:pt x="150" y="352"/>
                    <a:pt x="151" y="343"/>
                    <a:pt x="152" y="335"/>
                  </a:cubicBezTo>
                  <a:cubicBezTo>
                    <a:pt x="153" y="326"/>
                    <a:pt x="155" y="318"/>
                    <a:pt x="159" y="310"/>
                  </a:cubicBezTo>
                  <a:cubicBezTo>
                    <a:pt x="162" y="302"/>
                    <a:pt x="167" y="295"/>
                    <a:pt x="172" y="288"/>
                  </a:cubicBezTo>
                  <a:cubicBezTo>
                    <a:pt x="178" y="282"/>
                    <a:pt x="185" y="277"/>
                    <a:pt x="193" y="272"/>
                  </a:cubicBezTo>
                  <a:cubicBezTo>
                    <a:pt x="201" y="267"/>
                    <a:pt x="210" y="262"/>
                    <a:pt x="219" y="260"/>
                  </a:cubicBezTo>
                  <a:cubicBezTo>
                    <a:pt x="222" y="260"/>
                    <a:pt x="224" y="260"/>
                    <a:pt x="227" y="259"/>
                  </a:cubicBezTo>
                  <a:cubicBezTo>
                    <a:pt x="231" y="257"/>
                    <a:pt x="236" y="256"/>
                    <a:pt x="240" y="256"/>
                  </a:cubicBezTo>
                  <a:cubicBezTo>
                    <a:pt x="243" y="256"/>
                    <a:pt x="246" y="256"/>
                    <a:pt x="249" y="257"/>
                  </a:cubicBezTo>
                  <a:cubicBezTo>
                    <a:pt x="250" y="255"/>
                    <a:pt x="250" y="253"/>
                    <a:pt x="250" y="251"/>
                  </a:cubicBezTo>
                  <a:cubicBezTo>
                    <a:pt x="251" y="250"/>
                    <a:pt x="251" y="248"/>
                    <a:pt x="251" y="247"/>
                  </a:cubicBezTo>
                  <a:cubicBezTo>
                    <a:pt x="246" y="247"/>
                    <a:pt x="240" y="247"/>
                    <a:pt x="235" y="247"/>
                  </a:cubicBezTo>
                  <a:cubicBezTo>
                    <a:pt x="224" y="247"/>
                    <a:pt x="213" y="248"/>
                    <a:pt x="202" y="247"/>
                  </a:cubicBezTo>
                  <a:cubicBezTo>
                    <a:pt x="196" y="247"/>
                    <a:pt x="191" y="246"/>
                    <a:pt x="186" y="245"/>
                  </a:cubicBezTo>
                  <a:cubicBezTo>
                    <a:pt x="183" y="245"/>
                    <a:pt x="181" y="245"/>
                    <a:pt x="179" y="244"/>
                  </a:cubicBezTo>
                  <a:cubicBezTo>
                    <a:pt x="177" y="244"/>
                    <a:pt x="176" y="244"/>
                    <a:pt x="174" y="244"/>
                  </a:cubicBezTo>
                  <a:cubicBezTo>
                    <a:pt x="174" y="244"/>
                    <a:pt x="170" y="243"/>
                    <a:pt x="171" y="243"/>
                  </a:cubicBezTo>
                  <a:cubicBezTo>
                    <a:pt x="168" y="243"/>
                    <a:pt x="164" y="243"/>
                    <a:pt x="161" y="241"/>
                  </a:cubicBezTo>
                  <a:cubicBezTo>
                    <a:pt x="157" y="239"/>
                    <a:pt x="156" y="233"/>
                    <a:pt x="157" y="229"/>
                  </a:cubicBezTo>
                  <a:cubicBezTo>
                    <a:pt x="157" y="229"/>
                    <a:pt x="157" y="229"/>
                    <a:pt x="157" y="228"/>
                  </a:cubicBezTo>
                  <a:cubicBezTo>
                    <a:pt x="155" y="217"/>
                    <a:pt x="156" y="206"/>
                    <a:pt x="155" y="194"/>
                  </a:cubicBezTo>
                  <a:cubicBezTo>
                    <a:pt x="155" y="183"/>
                    <a:pt x="154" y="171"/>
                    <a:pt x="154" y="160"/>
                  </a:cubicBezTo>
                  <a:cubicBezTo>
                    <a:pt x="154" y="156"/>
                    <a:pt x="154" y="152"/>
                    <a:pt x="154" y="147"/>
                  </a:cubicBezTo>
                  <a:cubicBezTo>
                    <a:pt x="153" y="148"/>
                    <a:pt x="152" y="148"/>
                    <a:pt x="151" y="148"/>
                  </a:cubicBezTo>
                  <a:cubicBezTo>
                    <a:pt x="148" y="148"/>
                    <a:pt x="145" y="148"/>
                    <a:pt x="142" y="148"/>
                  </a:cubicBezTo>
                  <a:cubicBezTo>
                    <a:pt x="140" y="155"/>
                    <a:pt x="134" y="160"/>
                    <a:pt x="128" y="162"/>
                  </a:cubicBezTo>
                  <a:cubicBezTo>
                    <a:pt x="107" y="170"/>
                    <a:pt x="87" y="145"/>
                    <a:pt x="102" y="128"/>
                  </a:cubicBezTo>
                  <a:cubicBezTo>
                    <a:pt x="105" y="125"/>
                    <a:pt x="109" y="123"/>
                    <a:pt x="113" y="122"/>
                  </a:cubicBezTo>
                  <a:cubicBezTo>
                    <a:pt x="117" y="121"/>
                    <a:pt x="124" y="120"/>
                    <a:pt x="128" y="122"/>
                  </a:cubicBezTo>
                  <a:cubicBezTo>
                    <a:pt x="128" y="122"/>
                    <a:pt x="128" y="122"/>
                    <a:pt x="128" y="122"/>
                  </a:cubicBezTo>
                  <a:cubicBezTo>
                    <a:pt x="134" y="122"/>
                    <a:pt x="138" y="127"/>
                    <a:pt x="141" y="133"/>
                  </a:cubicBezTo>
                  <a:cubicBezTo>
                    <a:pt x="141" y="133"/>
                    <a:pt x="142" y="133"/>
                    <a:pt x="142" y="133"/>
                  </a:cubicBezTo>
                  <a:cubicBezTo>
                    <a:pt x="145" y="133"/>
                    <a:pt x="147" y="133"/>
                    <a:pt x="150" y="133"/>
                  </a:cubicBezTo>
                  <a:cubicBezTo>
                    <a:pt x="152" y="133"/>
                    <a:pt x="154" y="133"/>
                    <a:pt x="155" y="133"/>
                  </a:cubicBezTo>
                  <a:cubicBezTo>
                    <a:pt x="156" y="119"/>
                    <a:pt x="158" y="105"/>
                    <a:pt x="162" y="91"/>
                  </a:cubicBezTo>
                  <a:cubicBezTo>
                    <a:pt x="172" y="56"/>
                    <a:pt x="197" y="28"/>
                    <a:pt x="231" y="14"/>
                  </a:cubicBezTo>
                  <a:cubicBezTo>
                    <a:pt x="256" y="3"/>
                    <a:pt x="283" y="0"/>
                    <a:pt x="309" y="6"/>
                  </a:cubicBezTo>
                  <a:cubicBezTo>
                    <a:pt x="333" y="11"/>
                    <a:pt x="355" y="26"/>
                    <a:pt x="368" y="47"/>
                  </a:cubicBezTo>
                  <a:cubicBezTo>
                    <a:pt x="380" y="54"/>
                    <a:pt x="387" y="69"/>
                    <a:pt x="392" y="81"/>
                  </a:cubicBezTo>
                  <a:cubicBezTo>
                    <a:pt x="398" y="97"/>
                    <a:pt x="397" y="115"/>
                    <a:pt x="399" y="133"/>
                  </a:cubicBezTo>
                  <a:cubicBezTo>
                    <a:pt x="399" y="133"/>
                    <a:pt x="399" y="133"/>
                    <a:pt x="399" y="133"/>
                  </a:cubicBezTo>
                  <a:cubicBezTo>
                    <a:pt x="404" y="133"/>
                    <a:pt x="409" y="133"/>
                    <a:pt x="414" y="133"/>
                  </a:cubicBezTo>
                  <a:cubicBezTo>
                    <a:pt x="417" y="133"/>
                    <a:pt x="421" y="133"/>
                    <a:pt x="424" y="133"/>
                  </a:cubicBezTo>
                  <a:cubicBezTo>
                    <a:pt x="428" y="127"/>
                    <a:pt x="434" y="122"/>
                    <a:pt x="441" y="119"/>
                  </a:cubicBezTo>
                  <a:cubicBezTo>
                    <a:pt x="449" y="116"/>
                    <a:pt x="463" y="117"/>
                    <a:pt x="466" y="125"/>
                  </a:cubicBezTo>
                  <a:cubicBezTo>
                    <a:pt x="467" y="126"/>
                    <a:pt x="467" y="127"/>
                    <a:pt x="467" y="127"/>
                  </a:cubicBezTo>
                  <a:cubicBezTo>
                    <a:pt x="473" y="133"/>
                    <a:pt x="477" y="140"/>
                    <a:pt x="475" y="148"/>
                  </a:cubicBezTo>
                  <a:cubicBezTo>
                    <a:pt x="473" y="155"/>
                    <a:pt x="467" y="160"/>
                    <a:pt x="460" y="162"/>
                  </a:cubicBezTo>
                  <a:cubicBezTo>
                    <a:pt x="454" y="165"/>
                    <a:pt x="447" y="164"/>
                    <a:pt x="441" y="162"/>
                  </a:cubicBezTo>
                  <a:cubicBezTo>
                    <a:pt x="434" y="160"/>
                    <a:pt x="427" y="155"/>
                    <a:pt x="424" y="149"/>
                  </a:cubicBezTo>
                  <a:cubicBezTo>
                    <a:pt x="421" y="149"/>
                    <a:pt x="418" y="149"/>
                    <a:pt x="415" y="149"/>
                  </a:cubicBezTo>
                  <a:cubicBezTo>
                    <a:pt x="410" y="148"/>
                    <a:pt x="405" y="148"/>
                    <a:pt x="400" y="148"/>
                  </a:cubicBezTo>
                  <a:cubicBezTo>
                    <a:pt x="401" y="161"/>
                    <a:pt x="402" y="173"/>
                    <a:pt x="402" y="186"/>
                  </a:cubicBezTo>
                  <a:cubicBezTo>
                    <a:pt x="403" y="194"/>
                    <a:pt x="403" y="203"/>
                    <a:pt x="402" y="211"/>
                  </a:cubicBezTo>
                  <a:cubicBezTo>
                    <a:pt x="402" y="215"/>
                    <a:pt x="401" y="219"/>
                    <a:pt x="401" y="223"/>
                  </a:cubicBezTo>
                  <a:cubicBezTo>
                    <a:pt x="401" y="225"/>
                    <a:pt x="401" y="228"/>
                    <a:pt x="401" y="230"/>
                  </a:cubicBezTo>
                  <a:cubicBezTo>
                    <a:pt x="402" y="232"/>
                    <a:pt x="402" y="235"/>
                    <a:pt x="401" y="237"/>
                  </a:cubicBezTo>
                  <a:cubicBezTo>
                    <a:pt x="401" y="240"/>
                    <a:pt x="400" y="241"/>
                    <a:pt x="398" y="242"/>
                  </a:cubicBezTo>
                  <a:cubicBezTo>
                    <a:pt x="388" y="246"/>
                    <a:pt x="377" y="246"/>
                    <a:pt x="367" y="247"/>
                  </a:cubicBezTo>
                  <a:cubicBezTo>
                    <a:pt x="356" y="247"/>
                    <a:pt x="345" y="247"/>
                    <a:pt x="334" y="247"/>
                  </a:cubicBezTo>
                  <a:cubicBezTo>
                    <a:pt x="326" y="247"/>
                    <a:pt x="318" y="246"/>
                    <a:pt x="310" y="246"/>
                  </a:cubicBezTo>
                  <a:cubicBezTo>
                    <a:pt x="310" y="248"/>
                    <a:pt x="310" y="250"/>
                    <a:pt x="310" y="252"/>
                  </a:cubicBezTo>
                  <a:cubicBezTo>
                    <a:pt x="311" y="254"/>
                    <a:pt x="311" y="257"/>
                    <a:pt x="312" y="259"/>
                  </a:cubicBezTo>
                  <a:cubicBezTo>
                    <a:pt x="312" y="259"/>
                    <a:pt x="313" y="259"/>
                    <a:pt x="314" y="259"/>
                  </a:cubicBezTo>
                  <a:cubicBezTo>
                    <a:pt x="315" y="259"/>
                    <a:pt x="316" y="260"/>
                    <a:pt x="318" y="260"/>
                  </a:cubicBezTo>
                  <a:cubicBezTo>
                    <a:pt x="318" y="260"/>
                    <a:pt x="318" y="260"/>
                    <a:pt x="318" y="260"/>
                  </a:cubicBezTo>
                  <a:cubicBezTo>
                    <a:pt x="324" y="259"/>
                    <a:pt x="329" y="260"/>
                    <a:pt x="334" y="262"/>
                  </a:cubicBezTo>
                  <a:cubicBezTo>
                    <a:pt x="340" y="264"/>
                    <a:pt x="346" y="267"/>
                    <a:pt x="351" y="270"/>
                  </a:cubicBezTo>
                  <a:cubicBezTo>
                    <a:pt x="361" y="275"/>
                    <a:pt x="370" y="281"/>
                    <a:pt x="379" y="288"/>
                  </a:cubicBezTo>
                  <a:cubicBezTo>
                    <a:pt x="397" y="301"/>
                    <a:pt x="412" y="318"/>
                    <a:pt x="422" y="338"/>
                  </a:cubicBezTo>
                  <a:cubicBezTo>
                    <a:pt x="427" y="349"/>
                    <a:pt x="431" y="359"/>
                    <a:pt x="434" y="370"/>
                  </a:cubicBezTo>
                  <a:cubicBezTo>
                    <a:pt x="438" y="381"/>
                    <a:pt x="443" y="392"/>
                    <a:pt x="447" y="404"/>
                  </a:cubicBezTo>
                  <a:cubicBezTo>
                    <a:pt x="450" y="415"/>
                    <a:pt x="453" y="427"/>
                    <a:pt x="453" y="439"/>
                  </a:cubicBezTo>
                  <a:cubicBezTo>
                    <a:pt x="454" y="452"/>
                    <a:pt x="452" y="464"/>
                    <a:pt x="449" y="476"/>
                  </a:cubicBezTo>
                  <a:cubicBezTo>
                    <a:pt x="448" y="480"/>
                    <a:pt x="447" y="485"/>
                    <a:pt x="445" y="488"/>
                  </a:cubicBezTo>
                  <a:cubicBezTo>
                    <a:pt x="446" y="490"/>
                    <a:pt x="448" y="491"/>
                    <a:pt x="449" y="493"/>
                  </a:cubicBezTo>
                  <a:cubicBezTo>
                    <a:pt x="450" y="494"/>
                    <a:pt x="452" y="495"/>
                    <a:pt x="453" y="497"/>
                  </a:cubicBezTo>
                  <a:cubicBezTo>
                    <a:pt x="455" y="501"/>
                    <a:pt x="455" y="506"/>
                    <a:pt x="454" y="511"/>
                  </a:cubicBezTo>
                  <a:cubicBezTo>
                    <a:pt x="453" y="517"/>
                    <a:pt x="446" y="522"/>
                    <a:pt x="439" y="523"/>
                  </a:cubicBezTo>
                  <a:cubicBezTo>
                    <a:pt x="440" y="526"/>
                    <a:pt x="441" y="528"/>
                    <a:pt x="441" y="532"/>
                  </a:cubicBezTo>
                  <a:cubicBezTo>
                    <a:pt x="442" y="538"/>
                    <a:pt x="442" y="544"/>
                    <a:pt x="440" y="550"/>
                  </a:cubicBezTo>
                  <a:cubicBezTo>
                    <a:pt x="439" y="555"/>
                    <a:pt x="437" y="563"/>
                    <a:pt x="432" y="565"/>
                  </a:cubicBezTo>
                  <a:cubicBezTo>
                    <a:pt x="432" y="568"/>
                    <a:pt x="431" y="571"/>
                    <a:pt x="430" y="573"/>
                  </a:cubicBezTo>
                  <a:cubicBezTo>
                    <a:pt x="428" y="576"/>
                    <a:pt x="426" y="578"/>
                    <a:pt x="425" y="581"/>
                  </a:cubicBezTo>
                  <a:cubicBezTo>
                    <a:pt x="423" y="584"/>
                    <a:pt x="421" y="587"/>
                    <a:pt x="419" y="590"/>
                  </a:cubicBezTo>
                  <a:cubicBezTo>
                    <a:pt x="416" y="594"/>
                    <a:pt x="408" y="590"/>
                    <a:pt x="409" y="585"/>
                  </a:cubicBezTo>
                  <a:cubicBezTo>
                    <a:pt x="409" y="579"/>
                    <a:pt x="414" y="573"/>
                    <a:pt x="418" y="569"/>
                  </a:cubicBezTo>
                  <a:cubicBezTo>
                    <a:pt x="419" y="568"/>
                    <a:pt x="419" y="567"/>
                    <a:pt x="419" y="567"/>
                  </a:cubicBezTo>
                  <a:cubicBezTo>
                    <a:pt x="417" y="566"/>
                    <a:pt x="415" y="565"/>
                    <a:pt x="413" y="564"/>
                  </a:cubicBezTo>
                  <a:cubicBezTo>
                    <a:pt x="411" y="564"/>
                    <a:pt x="410" y="563"/>
                    <a:pt x="408" y="562"/>
                  </a:cubicBezTo>
                  <a:cubicBezTo>
                    <a:pt x="408" y="564"/>
                    <a:pt x="407" y="566"/>
                    <a:pt x="406" y="567"/>
                  </a:cubicBezTo>
                  <a:cubicBezTo>
                    <a:pt x="405" y="571"/>
                    <a:pt x="402" y="574"/>
                    <a:pt x="399" y="577"/>
                  </a:cubicBezTo>
                  <a:cubicBezTo>
                    <a:pt x="395" y="579"/>
                    <a:pt x="391" y="575"/>
                    <a:pt x="392" y="571"/>
                  </a:cubicBezTo>
                  <a:cubicBezTo>
                    <a:pt x="393" y="567"/>
                    <a:pt x="397" y="564"/>
                    <a:pt x="399" y="561"/>
                  </a:cubicBezTo>
                  <a:cubicBezTo>
                    <a:pt x="400" y="560"/>
                    <a:pt x="400" y="560"/>
                    <a:pt x="400" y="559"/>
                  </a:cubicBezTo>
                  <a:cubicBezTo>
                    <a:pt x="400" y="559"/>
                    <a:pt x="400" y="559"/>
                    <a:pt x="400" y="559"/>
                  </a:cubicBezTo>
                  <a:cubicBezTo>
                    <a:pt x="396" y="558"/>
                    <a:pt x="392" y="556"/>
                    <a:pt x="389" y="555"/>
                  </a:cubicBezTo>
                  <a:cubicBezTo>
                    <a:pt x="388" y="555"/>
                    <a:pt x="388" y="555"/>
                    <a:pt x="388" y="555"/>
                  </a:cubicBezTo>
                  <a:cubicBezTo>
                    <a:pt x="386" y="558"/>
                    <a:pt x="385" y="560"/>
                    <a:pt x="383" y="562"/>
                  </a:cubicBezTo>
                  <a:cubicBezTo>
                    <a:pt x="381" y="564"/>
                    <a:pt x="379" y="567"/>
                    <a:pt x="377" y="569"/>
                  </a:cubicBezTo>
                  <a:cubicBezTo>
                    <a:pt x="376" y="570"/>
                    <a:pt x="375" y="570"/>
                    <a:pt x="374" y="571"/>
                  </a:cubicBezTo>
                  <a:cubicBezTo>
                    <a:pt x="373" y="572"/>
                    <a:pt x="372" y="572"/>
                    <a:pt x="371" y="572"/>
                  </a:cubicBezTo>
                  <a:cubicBezTo>
                    <a:pt x="371" y="572"/>
                    <a:pt x="369" y="572"/>
                    <a:pt x="368" y="572"/>
                  </a:cubicBezTo>
                  <a:cubicBezTo>
                    <a:pt x="364" y="571"/>
                    <a:pt x="362" y="567"/>
                    <a:pt x="365" y="563"/>
                  </a:cubicBezTo>
                  <a:cubicBezTo>
                    <a:pt x="364" y="564"/>
                    <a:pt x="365" y="562"/>
                    <a:pt x="366" y="562"/>
                  </a:cubicBezTo>
                  <a:cubicBezTo>
                    <a:pt x="366" y="561"/>
                    <a:pt x="367" y="561"/>
                    <a:pt x="368" y="560"/>
                  </a:cubicBezTo>
                  <a:cubicBezTo>
                    <a:pt x="369" y="560"/>
                    <a:pt x="369" y="559"/>
                    <a:pt x="370" y="558"/>
                  </a:cubicBezTo>
                  <a:cubicBezTo>
                    <a:pt x="373" y="555"/>
                    <a:pt x="375" y="553"/>
                    <a:pt x="378" y="550"/>
                  </a:cubicBezTo>
                  <a:cubicBezTo>
                    <a:pt x="378" y="550"/>
                    <a:pt x="378" y="550"/>
                    <a:pt x="378" y="550"/>
                  </a:cubicBezTo>
                  <a:cubicBezTo>
                    <a:pt x="376" y="549"/>
                    <a:pt x="375" y="548"/>
                    <a:pt x="373" y="547"/>
                  </a:cubicBezTo>
                  <a:cubicBezTo>
                    <a:pt x="372" y="546"/>
                    <a:pt x="371" y="545"/>
                    <a:pt x="370" y="544"/>
                  </a:cubicBezTo>
                  <a:cubicBezTo>
                    <a:pt x="369" y="546"/>
                    <a:pt x="368" y="547"/>
                    <a:pt x="368" y="548"/>
                  </a:cubicBezTo>
                  <a:cubicBezTo>
                    <a:pt x="365" y="553"/>
                    <a:pt x="361" y="557"/>
                    <a:pt x="356" y="560"/>
                  </a:cubicBezTo>
                  <a:cubicBezTo>
                    <a:pt x="351" y="562"/>
                    <a:pt x="347" y="555"/>
                    <a:pt x="350" y="551"/>
                  </a:cubicBezTo>
                  <a:cubicBezTo>
                    <a:pt x="352" y="548"/>
                    <a:pt x="355" y="545"/>
                    <a:pt x="358" y="542"/>
                  </a:cubicBezTo>
                  <a:cubicBezTo>
                    <a:pt x="359" y="541"/>
                    <a:pt x="360" y="539"/>
                    <a:pt x="361" y="538"/>
                  </a:cubicBezTo>
                  <a:cubicBezTo>
                    <a:pt x="360" y="537"/>
                    <a:pt x="358" y="536"/>
                    <a:pt x="357" y="535"/>
                  </a:cubicBezTo>
                  <a:cubicBezTo>
                    <a:pt x="356" y="534"/>
                    <a:pt x="356" y="533"/>
                    <a:pt x="355" y="532"/>
                  </a:cubicBezTo>
                  <a:cubicBezTo>
                    <a:pt x="352" y="536"/>
                    <a:pt x="348" y="541"/>
                    <a:pt x="344" y="544"/>
                  </a:cubicBezTo>
                  <a:cubicBezTo>
                    <a:pt x="337" y="548"/>
                    <a:pt x="329" y="538"/>
                    <a:pt x="335" y="533"/>
                  </a:cubicBezTo>
                  <a:cubicBezTo>
                    <a:pt x="340" y="529"/>
                    <a:pt x="344" y="525"/>
                    <a:pt x="349" y="520"/>
                  </a:cubicBezTo>
                  <a:cubicBezTo>
                    <a:pt x="349" y="520"/>
                    <a:pt x="349" y="520"/>
                    <a:pt x="349" y="519"/>
                  </a:cubicBezTo>
                  <a:cubicBezTo>
                    <a:pt x="351" y="511"/>
                    <a:pt x="356" y="502"/>
                    <a:pt x="363" y="496"/>
                  </a:cubicBezTo>
                  <a:cubicBezTo>
                    <a:pt x="366" y="493"/>
                    <a:pt x="370" y="492"/>
                    <a:pt x="374" y="491"/>
                  </a:cubicBezTo>
                  <a:cubicBezTo>
                    <a:pt x="374" y="489"/>
                    <a:pt x="373" y="488"/>
                    <a:pt x="374" y="487"/>
                  </a:cubicBezTo>
                  <a:cubicBezTo>
                    <a:pt x="371" y="481"/>
                    <a:pt x="373" y="474"/>
                    <a:pt x="378" y="469"/>
                  </a:cubicBezTo>
                  <a:cubicBezTo>
                    <a:pt x="381" y="465"/>
                    <a:pt x="386" y="464"/>
                    <a:pt x="390" y="464"/>
                  </a:cubicBezTo>
                  <a:cubicBezTo>
                    <a:pt x="390" y="463"/>
                    <a:pt x="390" y="463"/>
                    <a:pt x="390" y="462"/>
                  </a:cubicBezTo>
                  <a:cubicBezTo>
                    <a:pt x="391" y="459"/>
                    <a:pt x="391" y="455"/>
                    <a:pt x="391" y="452"/>
                  </a:cubicBezTo>
                  <a:cubicBezTo>
                    <a:pt x="392" y="444"/>
                    <a:pt x="391" y="437"/>
                    <a:pt x="390" y="430"/>
                  </a:cubicBezTo>
                  <a:cubicBezTo>
                    <a:pt x="388" y="415"/>
                    <a:pt x="384" y="401"/>
                    <a:pt x="379" y="387"/>
                  </a:cubicBezTo>
                  <a:cubicBezTo>
                    <a:pt x="374" y="375"/>
                    <a:pt x="368" y="363"/>
                    <a:pt x="360" y="352"/>
                  </a:cubicBezTo>
                  <a:cubicBezTo>
                    <a:pt x="357" y="347"/>
                    <a:pt x="353" y="342"/>
                    <a:pt x="348" y="338"/>
                  </a:cubicBezTo>
                  <a:cubicBezTo>
                    <a:pt x="347" y="337"/>
                    <a:pt x="346" y="336"/>
                    <a:pt x="344" y="335"/>
                  </a:cubicBezTo>
                  <a:cubicBezTo>
                    <a:pt x="344" y="339"/>
                    <a:pt x="344" y="343"/>
                    <a:pt x="343" y="347"/>
                  </a:cubicBezTo>
                  <a:cubicBezTo>
                    <a:pt x="343" y="363"/>
                    <a:pt x="342" y="379"/>
                    <a:pt x="341" y="395"/>
                  </a:cubicBezTo>
                  <a:cubicBezTo>
                    <a:pt x="341" y="403"/>
                    <a:pt x="341" y="411"/>
                    <a:pt x="341" y="418"/>
                  </a:cubicBezTo>
                  <a:cubicBezTo>
                    <a:pt x="341" y="422"/>
                    <a:pt x="341" y="426"/>
                    <a:pt x="341" y="430"/>
                  </a:cubicBezTo>
                  <a:cubicBezTo>
                    <a:pt x="341" y="434"/>
                    <a:pt x="342" y="438"/>
                    <a:pt x="341" y="441"/>
                  </a:cubicBezTo>
                  <a:cubicBezTo>
                    <a:pt x="343" y="447"/>
                    <a:pt x="342" y="453"/>
                    <a:pt x="338" y="457"/>
                  </a:cubicBezTo>
                  <a:cubicBezTo>
                    <a:pt x="331" y="465"/>
                    <a:pt x="319" y="463"/>
                    <a:pt x="309" y="462"/>
                  </a:cubicBezTo>
                  <a:cubicBezTo>
                    <a:pt x="305" y="462"/>
                    <a:pt x="300" y="462"/>
                    <a:pt x="296" y="462"/>
                  </a:cubicBezTo>
                  <a:cubicBezTo>
                    <a:pt x="297" y="468"/>
                    <a:pt x="296" y="475"/>
                    <a:pt x="296" y="481"/>
                  </a:cubicBezTo>
                  <a:cubicBezTo>
                    <a:pt x="296" y="490"/>
                    <a:pt x="296" y="499"/>
                    <a:pt x="296" y="509"/>
                  </a:cubicBezTo>
                  <a:cubicBezTo>
                    <a:pt x="296" y="518"/>
                    <a:pt x="297" y="527"/>
                    <a:pt x="297" y="536"/>
                  </a:cubicBezTo>
                  <a:cubicBezTo>
                    <a:pt x="298" y="543"/>
                    <a:pt x="300" y="550"/>
                    <a:pt x="299" y="557"/>
                  </a:cubicBezTo>
                  <a:cubicBezTo>
                    <a:pt x="301" y="558"/>
                    <a:pt x="304" y="559"/>
                    <a:pt x="305" y="561"/>
                  </a:cubicBezTo>
                  <a:cubicBezTo>
                    <a:pt x="310" y="564"/>
                    <a:pt x="315" y="569"/>
                    <a:pt x="319" y="574"/>
                  </a:cubicBezTo>
                  <a:cubicBezTo>
                    <a:pt x="325" y="583"/>
                    <a:pt x="333" y="600"/>
                    <a:pt x="326" y="611"/>
                  </a:cubicBezTo>
                  <a:cubicBezTo>
                    <a:pt x="321" y="617"/>
                    <a:pt x="312" y="619"/>
                    <a:pt x="303" y="619"/>
                  </a:cubicBezTo>
                  <a:cubicBezTo>
                    <a:pt x="303" y="619"/>
                    <a:pt x="303" y="619"/>
                    <a:pt x="303" y="619"/>
                  </a:cubicBezTo>
                  <a:cubicBezTo>
                    <a:pt x="304" y="623"/>
                    <a:pt x="303" y="628"/>
                    <a:pt x="301" y="632"/>
                  </a:cubicBezTo>
                  <a:cubicBezTo>
                    <a:pt x="298" y="642"/>
                    <a:pt x="290" y="650"/>
                    <a:pt x="280" y="652"/>
                  </a:cubicBezTo>
                  <a:cubicBezTo>
                    <a:pt x="258" y="659"/>
                    <a:pt x="244" y="634"/>
                    <a:pt x="240" y="616"/>
                  </a:cubicBezTo>
                  <a:cubicBezTo>
                    <a:pt x="235" y="617"/>
                    <a:pt x="229" y="613"/>
                    <a:pt x="226" y="609"/>
                  </a:cubicBezTo>
                  <a:cubicBezTo>
                    <a:pt x="222" y="603"/>
                    <a:pt x="224" y="593"/>
                    <a:pt x="225" y="586"/>
                  </a:cubicBezTo>
                  <a:cubicBezTo>
                    <a:pt x="227" y="579"/>
                    <a:pt x="231" y="572"/>
                    <a:pt x="237" y="567"/>
                  </a:cubicBezTo>
                  <a:cubicBezTo>
                    <a:pt x="242" y="562"/>
                    <a:pt x="248" y="559"/>
                    <a:pt x="254" y="556"/>
                  </a:cubicBezTo>
                  <a:cubicBezTo>
                    <a:pt x="253" y="554"/>
                    <a:pt x="253" y="551"/>
                    <a:pt x="253" y="549"/>
                  </a:cubicBezTo>
                  <a:cubicBezTo>
                    <a:pt x="253" y="544"/>
                    <a:pt x="253" y="540"/>
                    <a:pt x="253" y="536"/>
                  </a:cubicBezTo>
                  <a:cubicBezTo>
                    <a:pt x="253" y="527"/>
                    <a:pt x="253" y="518"/>
                    <a:pt x="252" y="509"/>
                  </a:cubicBezTo>
                  <a:cubicBezTo>
                    <a:pt x="252" y="500"/>
                    <a:pt x="251" y="491"/>
                    <a:pt x="251" y="482"/>
                  </a:cubicBezTo>
                  <a:cubicBezTo>
                    <a:pt x="251" y="475"/>
                    <a:pt x="250" y="468"/>
                    <a:pt x="251" y="461"/>
                  </a:cubicBezTo>
                  <a:cubicBezTo>
                    <a:pt x="249" y="461"/>
                    <a:pt x="247" y="461"/>
                    <a:pt x="245" y="461"/>
                  </a:cubicBezTo>
                  <a:cubicBezTo>
                    <a:pt x="240" y="461"/>
                    <a:pt x="234" y="461"/>
                    <a:pt x="229" y="461"/>
                  </a:cubicBezTo>
                  <a:cubicBezTo>
                    <a:pt x="223" y="460"/>
                    <a:pt x="216" y="459"/>
                    <a:pt x="213" y="454"/>
                  </a:cubicBezTo>
                  <a:cubicBezTo>
                    <a:pt x="210" y="451"/>
                    <a:pt x="209" y="448"/>
                    <a:pt x="210" y="445"/>
                  </a:cubicBezTo>
                  <a:cubicBezTo>
                    <a:pt x="209" y="444"/>
                    <a:pt x="209" y="443"/>
                    <a:pt x="210" y="441"/>
                  </a:cubicBezTo>
                  <a:cubicBezTo>
                    <a:pt x="212" y="431"/>
                    <a:pt x="211" y="421"/>
                    <a:pt x="210" y="411"/>
                  </a:cubicBezTo>
                  <a:cubicBezTo>
                    <a:pt x="210" y="400"/>
                    <a:pt x="210" y="389"/>
                    <a:pt x="210" y="378"/>
                  </a:cubicBezTo>
                  <a:cubicBezTo>
                    <a:pt x="210" y="364"/>
                    <a:pt x="210" y="350"/>
                    <a:pt x="210" y="336"/>
                  </a:cubicBezTo>
                  <a:cubicBezTo>
                    <a:pt x="210" y="337"/>
                    <a:pt x="210" y="337"/>
                    <a:pt x="209" y="338"/>
                  </a:cubicBezTo>
                  <a:cubicBezTo>
                    <a:pt x="207" y="344"/>
                    <a:pt x="206" y="351"/>
                    <a:pt x="205" y="358"/>
                  </a:cubicBezTo>
                  <a:cubicBezTo>
                    <a:pt x="204" y="364"/>
                    <a:pt x="203" y="370"/>
                    <a:pt x="201" y="377"/>
                  </a:cubicBezTo>
                  <a:cubicBezTo>
                    <a:pt x="199" y="383"/>
                    <a:pt x="195" y="388"/>
                    <a:pt x="191" y="393"/>
                  </a:cubicBezTo>
                  <a:cubicBezTo>
                    <a:pt x="183" y="404"/>
                    <a:pt x="172" y="411"/>
                    <a:pt x="161" y="417"/>
                  </a:cubicBezTo>
                  <a:cubicBezTo>
                    <a:pt x="154" y="419"/>
                    <a:pt x="148" y="422"/>
                    <a:pt x="141" y="423"/>
                  </a:cubicBezTo>
                  <a:cubicBezTo>
                    <a:pt x="137" y="425"/>
                    <a:pt x="134" y="425"/>
                    <a:pt x="130" y="426"/>
                  </a:cubicBezTo>
                  <a:cubicBezTo>
                    <a:pt x="126" y="427"/>
                    <a:pt x="122" y="428"/>
                    <a:pt x="118" y="427"/>
                  </a:cubicBezTo>
                  <a:cubicBezTo>
                    <a:pt x="118" y="428"/>
                    <a:pt x="118" y="430"/>
                    <a:pt x="117" y="432"/>
                  </a:cubicBezTo>
                  <a:cubicBezTo>
                    <a:pt x="114" y="439"/>
                    <a:pt x="106" y="445"/>
                    <a:pt x="98" y="442"/>
                  </a:cubicBezTo>
                  <a:cubicBezTo>
                    <a:pt x="98" y="442"/>
                    <a:pt x="97" y="441"/>
                    <a:pt x="97" y="441"/>
                  </a:cubicBezTo>
                  <a:cubicBezTo>
                    <a:pt x="95" y="445"/>
                    <a:pt x="92" y="448"/>
                    <a:pt x="89" y="451"/>
                  </a:cubicBezTo>
                  <a:cubicBezTo>
                    <a:pt x="84" y="455"/>
                    <a:pt x="78" y="455"/>
                    <a:pt x="72" y="456"/>
                  </a:cubicBezTo>
                  <a:cubicBezTo>
                    <a:pt x="66" y="457"/>
                    <a:pt x="59" y="459"/>
                    <a:pt x="53" y="459"/>
                  </a:cubicBezTo>
                  <a:cubicBezTo>
                    <a:pt x="51" y="460"/>
                    <a:pt x="49" y="459"/>
                    <a:pt x="48" y="458"/>
                  </a:cubicBezTo>
                  <a:cubicBezTo>
                    <a:pt x="47" y="459"/>
                    <a:pt x="46" y="459"/>
                    <a:pt x="46" y="459"/>
                  </a:cubicBezTo>
                  <a:cubicBezTo>
                    <a:pt x="39" y="461"/>
                    <a:pt x="31" y="465"/>
                    <a:pt x="25" y="463"/>
                  </a:cubicBezTo>
                  <a:cubicBezTo>
                    <a:pt x="18" y="461"/>
                    <a:pt x="19" y="453"/>
                    <a:pt x="25" y="451"/>
                  </a:cubicBezTo>
                  <a:cubicBezTo>
                    <a:pt x="28" y="449"/>
                    <a:pt x="31" y="450"/>
                    <a:pt x="35" y="449"/>
                  </a:cubicBezTo>
                  <a:cubicBezTo>
                    <a:pt x="36" y="449"/>
                    <a:pt x="38" y="448"/>
                    <a:pt x="39" y="448"/>
                  </a:cubicBezTo>
                  <a:cubicBezTo>
                    <a:pt x="39" y="447"/>
                    <a:pt x="38" y="445"/>
                    <a:pt x="38" y="444"/>
                  </a:cubicBezTo>
                  <a:cubicBezTo>
                    <a:pt x="34" y="445"/>
                    <a:pt x="30" y="445"/>
                    <a:pt x="26" y="446"/>
                  </a:cubicBezTo>
                  <a:cubicBezTo>
                    <a:pt x="19" y="448"/>
                    <a:pt x="15" y="438"/>
                    <a:pt x="21" y="435"/>
                  </a:cubicBezTo>
                  <a:cubicBezTo>
                    <a:pt x="25" y="434"/>
                    <a:pt x="29" y="434"/>
                    <a:pt x="33" y="434"/>
                  </a:cubicBezTo>
                  <a:cubicBezTo>
                    <a:pt x="34" y="434"/>
                    <a:pt x="34" y="434"/>
                    <a:pt x="35" y="434"/>
                  </a:cubicBezTo>
                  <a:cubicBezTo>
                    <a:pt x="35" y="432"/>
                    <a:pt x="34" y="429"/>
                    <a:pt x="33" y="427"/>
                  </a:cubicBezTo>
                  <a:cubicBezTo>
                    <a:pt x="33" y="426"/>
                    <a:pt x="33" y="426"/>
                    <a:pt x="32" y="425"/>
                  </a:cubicBezTo>
                  <a:cubicBezTo>
                    <a:pt x="31" y="425"/>
                    <a:pt x="29" y="426"/>
                    <a:pt x="27" y="426"/>
                  </a:cubicBezTo>
                  <a:cubicBezTo>
                    <a:pt x="22" y="427"/>
                    <a:pt x="17" y="430"/>
                    <a:pt x="11" y="427"/>
                  </a:cubicBezTo>
                  <a:cubicBezTo>
                    <a:pt x="8" y="426"/>
                    <a:pt x="8" y="421"/>
                    <a:pt x="10" y="418"/>
                  </a:cubicBezTo>
                  <a:cubicBezTo>
                    <a:pt x="14" y="415"/>
                    <a:pt x="21" y="414"/>
                    <a:pt x="26" y="414"/>
                  </a:cubicBezTo>
                  <a:cubicBezTo>
                    <a:pt x="27" y="414"/>
                    <a:pt x="29" y="413"/>
                    <a:pt x="30" y="413"/>
                  </a:cubicBezTo>
                  <a:cubicBezTo>
                    <a:pt x="30" y="413"/>
                    <a:pt x="30" y="412"/>
                    <a:pt x="30" y="412"/>
                  </a:cubicBezTo>
                  <a:cubicBezTo>
                    <a:pt x="30" y="410"/>
                    <a:pt x="30" y="408"/>
                    <a:pt x="29" y="406"/>
                  </a:cubicBezTo>
                  <a:cubicBezTo>
                    <a:pt x="29" y="406"/>
                    <a:pt x="28" y="406"/>
                    <a:pt x="28" y="407"/>
                  </a:cubicBezTo>
                  <a:cubicBezTo>
                    <a:pt x="25" y="407"/>
                    <a:pt x="22" y="407"/>
                    <a:pt x="20" y="407"/>
                  </a:cubicBezTo>
                  <a:cubicBezTo>
                    <a:pt x="17" y="407"/>
                    <a:pt x="15" y="408"/>
                    <a:pt x="12" y="407"/>
                  </a:cubicBezTo>
                  <a:cubicBezTo>
                    <a:pt x="8" y="407"/>
                    <a:pt x="7" y="402"/>
                    <a:pt x="9" y="398"/>
                  </a:cubicBezTo>
                  <a:cubicBezTo>
                    <a:pt x="10" y="395"/>
                    <a:pt x="14" y="394"/>
                    <a:pt x="18" y="394"/>
                  </a:cubicBezTo>
                  <a:cubicBezTo>
                    <a:pt x="20" y="394"/>
                    <a:pt x="21" y="394"/>
                    <a:pt x="23" y="395"/>
                  </a:cubicBezTo>
                  <a:cubicBezTo>
                    <a:pt x="23" y="395"/>
                    <a:pt x="24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6" y="395"/>
                    <a:pt x="27" y="395"/>
                    <a:pt x="28" y="394"/>
                  </a:cubicBezTo>
                  <a:cubicBezTo>
                    <a:pt x="27" y="392"/>
                    <a:pt x="27" y="390"/>
                    <a:pt x="27" y="388"/>
                  </a:cubicBezTo>
                  <a:cubicBezTo>
                    <a:pt x="21" y="390"/>
                    <a:pt x="15" y="391"/>
                    <a:pt x="9" y="391"/>
                  </a:cubicBezTo>
                  <a:cubicBezTo>
                    <a:pt x="0" y="391"/>
                    <a:pt x="0" y="380"/>
                    <a:pt x="7" y="378"/>
                  </a:cubicBezTo>
                  <a:close/>
                  <a:moveTo>
                    <a:pt x="112" y="141"/>
                  </a:moveTo>
                  <a:cubicBezTo>
                    <a:pt x="112" y="141"/>
                    <a:pt x="112" y="141"/>
                    <a:pt x="112" y="141"/>
                  </a:cubicBezTo>
                  <a:cubicBezTo>
                    <a:pt x="112" y="143"/>
                    <a:pt x="114" y="146"/>
                    <a:pt x="116" y="147"/>
                  </a:cubicBezTo>
                  <a:cubicBezTo>
                    <a:pt x="119" y="149"/>
                    <a:pt x="121" y="149"/>
                    <a:pt x="124" y="147"/>
                  </a:cubicBezTo>
                  <a:cubicBezTo>
                    <a:pt x="126" y="146"/>
                    <a:pt x="128" y="144"/>
                    <a:pt x="128" y="141"/>
                  </a:cubicBezTo>
                  <a:cubicBezTo>
                    <a:pt x="128" y="139"/>
                    <a:pt x="127" y="138"/>
                    <a:pt x="126" y="136"/>
                  </a:cubicBezTo>
                  <a:cubicBezTo>
                    <a:pt x="122" y="137"/>
                    <a:pt x="119" y="136"/>
                    <a:pt x="115" y="137"/>
                  </a:cubicBezTo>
                  <a:cubicBezTo>
                    <a:pt x="114" y="137"/>
                    <a:pt x="112" y="139"/>
                    <a:pt x="112" y="141"/>
                  </a:cubicBezTo>
                  <a:close/>
                  <a:moveTo>
                    <a:pt x="141" y="133"/>
                  </a:move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lose/>
                  <a:moveTo>
                    <a:pt x="440" y="145"/>
                  </a:moveTo>
                  <a:cubicBezTo>
                    <a:pt x="440" y="145"/>
                    <a:pt x="440" y="145"/>
                    <a:pt x="440" y="145"/>
                  </a:cubicBezTo>
                  <a:cubicBezTo>
                    <a:pt x="439" y="144"/>
                    <a:pt x="441" y="146"/>
                    <a:pt x="442" y="146"/>
                  </a:cubicBezTo>
                  <a:cubicBezTo>
                    <a:pt x="444" y="147"/>
                    <a:pt x="443" y="147"/>
                    <a:pt x="446" y="148"/>
                  </a:cubicBezTo>
                  <a:cubicBezTo>
                    <a:pt x="447" y="148"/>
                    <a:pt x="448" y="148"/>
                    <a:pt x="448" y="148"/>
                  </a:cubicBezTo>
                  <a:cubicBezTo>
                    <a:pt x="449" y="148"/>
                    <a:pt x="449" y="149"/>
                    <a:pt x="449" y="149"/>
                  </a:cubicBezTo>
                  <a:cubicBezTo>
                    <a:pt x="449" y="149"/>
                    <a:pt x="450" y="149"/>
                    <a:pt x="450" y="149"/>
                  </a:cubicBezTo>
                  <a:cubicBezTo>
                    <a:pt x="451" y="149"/>
                    <a:pt x="452" y="149"/>
                    <a:pt x="453" y="149"/>
                  </a:cubicBezTo>
                  <a:cubicBezTo>
                    <a:pt x="454" y="149"/>
                    <a:pt x="454" y="149"/>
                    <a:pt x="454" y="149"/>
                  </a:cubicBezTo>
                  <a:cubicBezTo>
                    <a:pt x="454" y="149"/>
                    <a:pt x="455" y="148"/>
                    <a:pt x="455" y="148"/>
                  </a:cubicBezTo>
                  <a:cubicBezTo>
                    <a:pt x="458" y="148"/>
                    <a:pt x="461" y="147"/>
                    <a:pt x="462" y="145"/>
                  </a:cubicBezTo>
                  <a:cubicBezTo>
                    <a:pt x="463" y="141"/>
                    <a:pt x="460" y="138"/>
                    <a:pt x="458" y="135"/>
                  </a:cubicBezTo>
                  <a:cubicBezTo>
                    <a:pt x="458" y="135"/>
                    <a:pt x="458" y="135"/>
                    <a:pt x="458" y="134"/>
                  </a:cubicBezTo>
                  <a:cubicBezTo>
                    <a:pt x="454" y="134"/>
                    <a:pt x="450" y="132"/>
                    <a:pt x="446" y="133"/>
                  </a:cubicBezTo>
                  <a:cubicBezTo>
                    <a:pt x="444" y="134"/>
                    <a:pt x="442" y="135"/>
                    <a:pt x="441" y="137"/>
                  </a:cubicBezTo>
                  <a:cubicBezTo>
                    <a:pt x="440" y="138"/>
                    <a:pt x="439" y="138"/>
                    <a:pt x="439" y="139"/>
                  </a:cubicBezTo>
                  <a:cubicBezTo>
                    <a:pt x="439" y="139"/>
                    <a:pt x="439" y="139"/>
                    <a:pt x="439" y="139"/>
                  </a:cubicBezTo>
                  <a:cubicBezTo>
                    <a:pt x="439" y="141"/>
                    <a:pt x="439" y="142"/>
                    <a:pt x="439" y="144"/>
                  </a:cubicBezTo>
                  <a:cubicBezTo>
                    <a:pt x="439" y="144"/>
                    <a:pt x="439" y="144"/>
                    <a:pt x="439" y="144"/>
                  </a:cubicBezTo>
                  <a:cubicBezTo>
                    <a:pt x="439" y="144"/>
                    <a:pt x="440" y="145"/>
                    <a:pt x="440" y="145"/>
                  </a:cubicBezTo>
                  <a:close/>
                  <a:moveTo>
                    <a:pt x="197" y="285"/>
                  </a:moveTo>
                  <a:cubicBezTo>
                    <a:pt x="197" y="285"/>
                    <a:pt x="197" y="285"/>
                    <a:pt x="197" y="285"/>
                  </a:cubicBezTo>
                  <a:cubicBezTo>
                    <a:pt x="197" y="285"/>
                    <a:pt x="197" y="285"/>
                    <a:pt x="197" y="285"/>
                  </a:cubicBezTo>
                  <a:cubicBezTo>
                    <a:pt x="200" y="287"/>
                    <a:pt x="203" y="289"/>
                    <a:pt x="205" y="292"/>
                  </a:cubicBezTo>
                  <a:cubicBezTo>
                    <a:pt x="207" y="294"/>
                    <a:pt x="209" y="297"/>
                    <a:pt x="210" y="299"/>
                  </a:cubicBezTo>
                  <a:cubicBezTo>
                    <a:pt x="210" y="293"/>
                    <a:pt x="211" y="287"/>
                    <a:pt x="213" y="280"/>
                  </a:cubicBezTo>
                  <a:cubicBezTo>
                    <a:pt x="213" y="278"/>
                    <a:pt x="214" y="276"/>
                    <a:pt x="215" y="274"/>
                  </a:cubicBezTo>
                  <a:cubicBezTo>
                    <a:pt x="209" y="276"/>
                    <a:pt x="204" y="280"/>
                    <a:pt x="199" y="283"/>
                  </a:cubicBezTo>
                  <a:cubicBezTo>
                    <a:pt x="198" y="283"/>
                    <a:pt x="198" y="284"/>
                    <a:pt x="197" y="285"/>
                  </a:cubicBezTo>
                  <a:close/>
                  <a:moveTo>
                    <a:pt x="333" y="307"/>
                  </a:moveTo>
                  <a:cubicBezTo>
                    <a:pt x="333" y="307"/>
                    <a:pt x="333" y="307"/>
                    <a:pt x="333" y="307"/>
                  </a:cubicBezTo>
                  <a:cubicBezTo>
                    <a:pt x="334" y="299"/>
                    <a:pt x="334" y="292"/>
                    <a:pt x="334" y="284"/>
                  </a:cubicBezTo>
                  <a:cubicBezTo>
                    <a:pt x="334" y="284"/>
                    <a:pt x="333" y="284"/>
                    <a:pt x="333" y="283"/>
                  </a:cubicBezTo>
                  <a:cubicBezTo>
                    <a:pt x="331" y="281"/>
                    <a:pt x="331" y="278"/>
                    <a:pt x="329" y="276"/>
                  </a:cubicBezTo>
                  <a:cubicBezTo>
                    <a:pt x="329" y="277"/>
                    <a:pt x="328" y="278"/>
                    <a:pt x="328" y="279"/>
                  </a:cubicBezTo>
                  <a:cubicBezTo>
                    <a:pt x="327" y="283"/>
                    <a:pt x="326" y="287"/>
                    <a:pt x="326" y="291"/>
                  </a:cubicBezTo>
                  <a:cubicBezTo>
                    <a:pt x="325" y="300"/>
                    <a:pt x="326" y="310"/>
                    <a:pt x="332" y="317"/>
                  </a:cubicBezTo>
                  <a:cubicBezTo>
                    <a:pt x="332" y="314"/>
                    <a:pt x="332" y="310"/>
                    <a:pt x="333" y="307"/>
                  </a:cubicBezTo>
                  <a:close/>
                  <a:moveTo>
                    <a:pt x="326" y="398"/>
                  </a:moveTo>
                  <a:cubicBezTo>
                    <a:pt x="326" y="398"/>
                    <a:pt x="326" y="398"/>
                    <a:pt x="326" y="398"/>
                  </a:cubicBezTo>
                  <a:cubicBezTo>
                    <a:pt x="327" y="382"/>
                    <a:pt x="328" y="366"/>
                    <a:pt x="329" y="350"/>
                  </a:cubicBezTo>
                  <a:cubicBezTo>
                    <a:pt x="330" y="342"/>
                    <a:pt x="330" y="335"/>
                    <a:pt x="331" y="328"/>
                  </a:cubicBezTo>
                  <a:cubicBezTo>
                    <a:pt x="319" y="318"/>
                    <a:pt x="317" y="303"/>
                    <a:pt x="319" y="289"/>
                  </a:cubicBezTo>
                  <a:cubicBezTo>
                    <a:pt x="319" y="286"/>
                    <a:pt x="321" y="277"/>
                    <a:pt x="324" y="272"/>
                  </a:cubicBezTo>
                  <a:cubicBezTo>
                    <a:pt x="322" y="272"/>
                    <a:pt x="320" y="272"/>
                    <a:pt x="318" y="271"/>
                  </a:cubicBezTo>
                  <a:cubicBezTo>
                    <a:pt x="316" y="271"/>
                    <a:pt x="315" y="271"/>
                    <a:pt x="313" y="271"/>
                  </a:cubicBezTo>
                  <a:cubicBezTo>
                    <a:pt x="310" y="274"/>
                    <a:pt x="306" y="276"/>
                    <a:pt x="303" y="277"/>
                  </a:cubicBezTo>
                  <a:cubicBezTo>
                    <a:pt x="294" y="281"/>
                    <a:pt x="285" y="283"/>
                    <a:pt x="275" y="285"/>
                  </a:cubicBezTo>
                  <a:cubicBezTo>
                    <a:pt x="267" y="286"/>
                    <a:pt x="260" y="282"/>
                    <a:pt x="254" y="276"/>
                  </a:cubicBezTo>
                  <a:cubicBezTo>
                    <a:pt x="252" y="275"/>
                    <a:pt x="249" y="272"/>
                    <a:pt x="247" y="269"/>
                  </a:cubicBezTo>
                  <a:cubicBezTo>
                    <a:pt x="243" y="269"/>
                    <a:pt x="240" y="269"/>
                    <a:pt x="236" y="270"/>
                  </a:cubicBezTo>
                  <a:cubicBezTo>
                    <a:pt x="236" y="270"/>
                    <a:pt x="236" y="270"/>
                    <a:pt x="236" y="270"/>
                  </a:cubicBezTo>
                  <a:cubicBezTo>
                    <a:pt x="237" y="274"/>
                    <a:pt x="237" y="280"/>
                    <a:pt x="237" y="285"/>
                  </a:cubicBezTo>
                  <a:cubicBezTo>
                    <a:pt x="237" y="290"/>
                    <a:pt x="235" y="295"/>
                    <a:pt x="233" y="300"/>
                  </a:cubicBezTo>
                  <a:cubicBezTo>
                    <a:pt x="233" y="301"/>
                    <a:pt x="233" y="302"/>
                    <a:pt x="232" y="303"/>
                  </a:cubicBezTo>
                  <a:cubicBezTo>
                    <a:pt x="236" y="300"/>
                    <a:pt x="241" y="300"/>
                    <a:pt x="246" y="300"/>
                  </a:cubicBezTo>
                  <a:cubicBezTo>
                    <a:pt x="252" y="301"/>
                    <a:pt x="258" y="301"/>
                    <a:pt x="263" y="305"/>
                  </a:cubicBezTo>
                  <a:cubicBezTo>
                    <a:pt x="264" y="305"/>
                    <a:pt x="264" y="305"/>
                    <a:pt x="265" y="305"/>
                  </a:cubicBezTo>
                  <a:cubicBezTo>
                    <a:pt x="267" y="308"/>
                    <a:pt x="267" y="312"/>
                    <a:pt x="267" y="316"/>
                  </a:cubicBezTo>
                  <a:cubicBezTo>
                    <a:pt x="267" y="320"/>
                    <a:pt x="266" y="325"/>
                    <a:pt x="266" y="329"/>
                  </a:cubicBezTo>
                  <a:cubicBezTo>
                    <a:pt x="266" y="333"/>
                    <a:pt x="266" y="338"/>
                    <a:pt x="266" y="342"/>
                  </a:cubicBezTo>
                  <a:cubicBezTo>
                    <a:pt x="265" y="345"/>
                    <a:pt x="266" y="350"/>
                    <a:pt x="262" y="350"/>
                  </a:cubicBezTo>
                  <a:cubicBezTo>
                    <a:pt x="262" y="351"/>
                    <a:pt x="262" y="351"/>
                    <a:pt x="261" y="351"/>
                  </a:cubicBezTo>
                  <a:cubicBezTo>
                    <a:pt x="257" y="353"/>
                    <a:pt x="251" y="352"/>
                    <a:pt x="246" y="351"/>
                  </a:cubicBezTo>
                  <a:cubicBezTo>
                    <a:pt x="243" y="351"/>
                    <a:pt x="240" y="351"/>
                    <a:pt x="238" y="351"/>
                  </a:cubicBezTo>
                  <a:cubicBezTo>
                    <a:pt x="235" y="351"/>
                    <a:pt x="232" y="351"/>
                    <a:pt x="230" y="350"/>
                  </a:cubicBezTo>
                  <a:cubicBezTo>
                    <a:pt x="228" y="349"/>
                    <a:pt x="227" y="347"/>
                    <a:pt x="228" y="346"/>
                  </a:cubicBezTo>
                  <a:cubicBezTo>
                    <a:pt x="227" y="343"/>
                    <a:pt x="227" y="340"/>
                    <a:pt x="227" y="338"/>
                  </a:cubicBezTo>
                  <a:cubicBezTo>
                    <a:pt x="227" y="333"/>
                    <a:pt x="227" y="329"/>
                    <a:pt x="227" y="325"/>
                  </a:cubicBezTo>
                  <a:cubicBezTo>
                    <a:pt x="227" y="320"/>
                    <a:pt x="227" y="316"/>
                    <a:pt x="228" y="311"/>
                  </a:cubicBezTo>
                  <a:cubicBezTo>
                    <a:pt x="228" y="312"/>
                    <a:pt x="228" y="312"/>
                    <a:pt x="227" y="313"/>
                  </a:cubicBezTo>
                  <a:cubicBezTo>
                    <a:pt x="227" y="313"/>
                    <a:pt x="226" y="314"/>
                    <a:pt x="225" y="315"/>
                  </a:cubicBezTo>
                  <a:cubicBezTo>
                    <a:pt x="225" y="317"/>
                    <a:pt x="225" y="319"/>
                    <a:pt x="225" y="321"/>
                  </a:cubicBezTo>
                  <a:cubicBezTo>
                    <a:pt x="225" y="342"/>
                    <a:pt x="226" y="363"/>
                    <a:pt x="225" y="384"/>
                  </a:cubicBezTo>
                  <a:cubicBezTo>
                    <a:pt x="225" y="394"/>
                    <a:pt x="225" y="404"/>
                    <a:pt x="226" y="414"/>
                  </a:cubicBezTo>
                  <a:cubicBezTo>
                    <a:pt x="226" y="420"/>
                    <a:pt x="226" y="426"/>
                    <a:pt x="226" y="432"/>
                  </a:cubicBezTo>
                  <a:cubicBezTo>
                    <a:pt x="230" y="431"/>
                    <a:pt x="235" y="433"/>
                    <a:pt x="239" y="433"/>
                  </a:cubicBezTo>
                  <a:cubicBezTo>
                    <a:pt x="243" y="433"/>
                    <a:pt x="248" y="434"/>
                    <a:pt x="253" y="434"/>
                  </a:cubicBezTo>
                  <a:cubicBezTo>
                    <a:pt x="263" y="435"/>
                    <a:pt x="272" y="434"/>
                    <a:pt x="282" y="434"/>
                  </a:cubicBezTo>
                  <a:cubicBezTo>
                    <a:pt x="292" y="433"/>
                    <a:pt x="302" y="432"/>
                    <a:pt x="312" y="432"/>
                  </a:cubicBezTo>
                  <a:cubicBezTo>
                    <a:pt x="316" y="432"/>
                    <a:pt x="321" y="432"/>
                    <a:pt x="326" y="432"/>
                  </a:cubicBezTo>
                  <a:cubicBezTo>
                    <a:pt x="326" y="429"/>
                    <a:pt x="326" y="425"/>
                    <a:pt x="326" y="421"/>
                  </a:cubicBezTo>
                  <a:cubicBezTo>
                    <a:pt x="326" y="414"/>
                    <a:pt x="326" y="406"/>
                    <a:pt x="326" y="398"/>
                  </a:cubicBezTo>
                  <a:close/>
                  <a:moveTo>
                    <a:pt x="283" y="270"/>
                  </a:moveTo>
                  <a:cubicBezTo>
                    <a:pt x="283" y="270"/>
                    <a:pt x="283" y="270"/>
                    <a:pt x="283" y="270"/>
                  </a:cubicBezTo>
                  <a:cubicBezTo>
                    <a:pt x="274" y="270"/>
                    <a:pt x="265" y="270"/>
                    <a:pt x="256" y="270"/>
                  </a:cubicBezTo>
                  <a:cubicBezTo>
                    <a:pt x="257" y="271"/>
                    <a:pt x="258" y="271"/>
                    <a:pt x="258" y="272"/>
                  </a:cubicBezTo>
                  <a:cubicBezTo>
                    <a:pt x="263" y="276"/>
                    <a:pt x="269" y="279"/>
                    <a:pt x="275" y="278"/>
                  </a:cubicBezTo>
                  <a:cubicBezTo>
                    <a:pt x="283" y="278"/>
                    <a:pt x="291" y="276"/>
                    <a:pt x="298" y="273"/>
                  </a:cubicBezTo>
                  <a:cubicBezTo>
                    <a:pt x="300" y="272"/>
                    <a:pt x="301" y="271"/>
                    <a:pt x="303" y="271"/>
                  </a:cubicBezTo>
                  <a:cubicBezTo>
                    <a:pt x="296" y="270"/>
                    <a:pt x="290" y="270"/>
                    <a:pt x="283" y="270"/>
                  </a:cubicBezTo>
                  <a:close/>
                  <a:moveTo>
                    <a:pt x="258" y="344"/>
                  </a:moveTo>
                  <a:cubicBezTo>
                    <a:pt x="258" y="344"/>
                    <a:pt x="258" y="344"/>
                    <a:pt x="258" y="344"/>
                  </a:cubicBezTo>
                  <a:cubicBezTo>
                    <a:pt x="258" y="339"/>
                    <a:pt x="258" y="335"/>
                    <a:pt x="259" y="330"/>
                  </a:cubicBezTo>
                  <a:cubicBezTo>
                    <a:pt x="259" y="326"/>
                    <a:pt x="259" y="322"/>
                    <a:pt x="259" y="317"/>
                  </a:cubicBezTo>
                  <a:cubicBezTo>
                    <a:pt x="260" y="314"/>
                    <a:pt x="259" y="311"/>
                    <a:pt x="260" y="309"/>
                  </a:cubicBezTo>
                  <a:cubicBezTo>
                    <a:pt x="256" y="307"/>
                    <a:pt x="251" y="308"/>
                    <a:pt x="246" y="308"/>
                  </a:cubicBezTo>
                  <a:cubicBezTo>
                    <a:pt x="244" y="307"/>
                    <a:pt x="241" y="307"/>
                    <a:pt x="239" y="308"/>
                  </a:cubicBezTo>
                  <a:cubicBezTo>
                    <a:pt x="237" y="309"/>
                    <a:pt x="237" y="312"/>
                    <a:pt x="237" y="314"/>
                  </a:cubicBezTo>
                  <a:cubicBezTo>
                    <a:pt x="236" y="318"/>
                    <a:pt x="236" y="323"/>
                    <a:pt x="236" y="327"/>
                  </a:cubicBezTo>
                  <a:cubicBezTo>
                    <a:pt x="235" y="331"/>
                    <a:pt x="236" y="335"/>
                    <a:pt x="236" y="339"/>
                  </a:cubicBezTo>
                  <a:cubicBezTo>
                    <a:pt x="236" y="340"/>
                    <a:pt x="236" y="342"/>
                    <a:pt x="236" y="343"/>
                  </a:cubicBezTo>
                  <a:cubicBezTo>
                    <a:pt x="237" y="343"/>
                    <a:pt x="237" y="343"/>
                    <a:pt x="238" y="343"/>
                  </a:cubicBezTo>
                  <a:cubicBezTo>
                    <a:pt x="241" y="343"/>
                    <a:pt x="244" y="343"/>
                    <a:pt x="247" y="344"/>
                  </a:cubicBezTo>
                  <a:cubicBezTo>
                    <a:pt x="251" y="344"/>
                    <a:pt x="255" y="344"/>
                    <a:pt x="258" y="346"/>
                  </a:cubicBezTo>
                  <a:cubicBezTo>
                    <a:pt x="258" y="345"/>
                    <a:pt x="258" y="344"/>
                    <a:pt x="258" y="344"/>
                  </a:cubicBezTo>
                  <a:close/>
                  <a:moveTo>
                    <a:pt x="230" y="274"/>
                  </a:moveTo>
                  <a:cubicBezTo>
                    <a:pt x="230" y="274"/>
                    <a:pt x="230" y="274"/>
                    <a:pt x="230" y="274"/>
                  </a:cubicBezTo>
                  <a:cubicBezTo>
                    <a:pt x="229" y="275"/>
                    <a:pt x="229" y="275"/>
                    <a:pt x="229" y="275"/>
                  </a:cubicBezTo>
                  <a:cubicBezTo>
                    <a:pt x="228" y="277"/>
                    <a:pt x="227" y="280"/>
                    <a:pt x="227" y="282"/>
                  </a:cubicBezTo>
                  <a:cubicBezTo>
                    <a:pt x="227" y="282"/>
                    <a:pt x="227" y="283"/>
                    <a:pt x="227" y="283"/>
                  </a:cubicBezTo>
                  <a:cubicBezTo>
                    <a:pt x="227" y="283"/>
                    <a:pt x="227" y="285"/>
                    <a:pt x="227" y="285"/>
                  </a:cubicBezTo>
                  <a:cubicBezTo>
                    <a:pt x="226" y="286"/>
                    <a:pt x="226" y="288"/>
                    <a:pt x="226" y="289"/>
                  </a:cubicBezTo>
                  <a:cubicBezTo>
                    <a:pt x="226" y="293"/>
                    <a:pt x="226" y="297"/>
                    <a:pt x="225" y="301"/>
                  </a:cubicBezTo>
                  <a:cubicBezTo>
                    <a:pt x="225" y="300"/>
                    <a:pt x="225" y="300"/>
                    <a:pt x="225" y="300"/>
                  </a:cubicBezTo>
                  <a:cubicBezTo>
                    <a:pt x="227" y="296"/>
                    <a:pt x="229" y="290"/>
                    <a:pt x="230" y="285"/>
                  </a:cubicBezTo>
                  <a:cubicBezTo>
                    <a:pt x="230" y="281"/>
                    <a:pt x="230" y="278"/>
                    <a:pt x="230" y="274"/>
                  </a:cubicBezTo>
                  <a:close/>
                  <a:moveTo>
                    <a:pt x="352" y="43"/>
                  </a:moveTo>
                  <a:cubicBezTo>
                    <a:pt x="352" y="43"/>
                    <a:pt x="352" y="43"/>
                    <a:pt x="352" y="43"/>
                  </a:cubicBezTo>
                  <a:cubicBezTo>
                    <a:pt x="354" y="48"/>
                    <a:pt x="355" y="54"/>
                    <a:pt x="356" y="59"/>
                  </a:cubicBezTo>
                  <a:cubicBezTo>
                    <a:pt x="357" y="57"/>
                    <a:pt x="359" y="56"/>
                    <a:pt x="360" y="56"/>
                  </a:cubicBezTo>
                  <a:cubicBezTo>
                    <a:pt x="361" y="56"/>
                    <a:pt x="362" y="56"/>
                    <a:pt x="362" y="57"/>
                  </a:cubicBezTo>
                  <a:cubicBezTo>
                    <a:pt x="362" y="55"/>
                    <a:pt x="361" y="53"/>
                    <a:pt x="360" y="51"/>
                  </a:cubicBezTo>
                  <a:cubicBezTo>
                    <a:pt x="357" y="48"/>
                    <a:pt x="355" y="45"/>
                    <a:pt x="352" y="43"/>
                  </a:cubicBezTo>
                  <a:close/>
                  <a:moveTo>
                    <a:pt x="370" y="69"/>
                  </a:moveTo>
                  <a:cubicBezTo>
                    <a:pt x="370" y="69"/>
                    <a:pt x="370" y="69"/>
                    <a:pt x="370" y="69"/>
                  </a:cubicBezTo>
                  <a:cubicBezTo>
                    <a:pt x="368" y="67"/>
                    <a:pt x="366" y="64"/>
                    <a:pt x="365" y="61"/>
                  </a:cubicBezTo>
                  <a:cubicBezTo>
                    <a:pt x="365" y="63"/>
                    <a:pt x="363" y="65"/>
                    <a:pt x="360" y="65"/>
                  </a:cubicBezTo>
                  <a:cubicBezTo>
                    <a:pt x="359" y="65"/>
                    <a:pt x="358" y="64"/>
                    <a:pt x="357" y="63"/>
                  </a:cubicBezTo>
                  <a:cubicBezTo>
                    <a:pt x="357" y="64"/>
                    <a:pt x="358" y="66"/>
                    <a:pt x="358" y="67"/>
                  </a:cubicBezTo>
                  <a:cubicBezTo>
                    <a:pt x="361" y="85"/>
                    <a:pt x="363" y="104"/>
                    <a:pt x="364" y="122"/>
                  </a:cubicBezTo>
                  <a:cubicBezTo>
                    <a:pt x="364" y="127"/>
                    <a:pt x="364" y="131"/>
                    <a:pt x="364" y="135"/>
                  </a:cubicBezTo>
                  <a:cubicBezTo>
                    <a:pt x="367" y="134"/>
                    <a:pt x="371" y="134"/>
                    <a:pt x="374" y="134"/>
                  </a:cubicBezTo>
                  <a:cubicBezTo>
                    <a:pt x="378" y="134"/>
                    <a:pt x="382" y="134"/>
                    <a:pt x="385" y="134"/>
                  </a:cubicBezTo>
                  <a:cubicBezTo>
                    <a:pt x="384" y="118"/>
                    <a:pt x="384" y="103"/>
                    <a:pt x="380" y="88"/>
                  </a:cubicBezTo>
                  <a:cubicBezTo>
                    <a:pt x="377" y="82"/>
                    <a:pt x="374" y="75"/>
                    <a:pt x="370" y="69"/>
                  </a:cubicBezTo>
                  <a:close/>
                  <a:moveTo>
                    <a:pt x="385" y="232"/>
                  </a:moveTo>
                  <a:cubicBezTo>
                    <a:pt x="385" y="232"/>
                    <a:pt x="385" y="232"/>
                    <a:pt x="385" y="232"/>
                  </a:cubicBezTo>
                  <a:cubicBezTo>
                    <a:pt x="386" y="231"/>
                    <a:pt x="387" y="230"/>
                    <a:pt x="388" y="229"/>
                  </a:cubicBezTo>
                  <a:cubicBezTo>
                    <a:pt x="388" y="229"/>
                    <a:pt x="389" y="228"/>
                    <a:pt x="389" y="228"/>
                  </a:cubicBezTo>
                  <a:cubicBezTo>
                    <a:pt x="389" y="223"/>
                    <a:pt x="389" y="219"/>
                    <a:pt x="389" y="215"/>
                  </a:cubicBezTo>
                  <a:cubicBezTo>
                    <a:pt x="389" y="207"/>
                    <a:pt x="389" y="198"/>
                    <a:pt x="389" y="190"/>
                  </a:cubicBezTo>
                  <a:cubicBezTo>
                    <a:pt x="389" y="176"/>
                    <a:pt x="388" y="162"/>
                    <a:pt x="387" y="149"/>
                  </a:cubicBezTo>
                  <a:cubicBezTo>
                    <a:pt x="383" y="149"/>
                    <a:pt x="380" y="149"/>
                    <a:pt x="376" y="149"/>
                  </a:cubicBezTo>
                  <a:cubicBezTo>
                    <a:pt x="373" y="149"/>
                    <a:pt x="370" y="149"/>
                    <a:pt x="367" y="148"/>
                  </a:cubicBezTo>
                  <a:cubicBezTo>
                    <a:pt x="366" y="148"/>
                    <a:pt x="365" y="148"/>
                    <a:pt x="364" y="148"/>
                  </a:cubicBezTo>
                  <a:cubicBezTo>
                    <a:pt x="364" y="158"/>
                    <a:pt x="364" y="168"/>
                    <a:pt x="364" y="178"/>
                  </a:cubicBezTo>
                  <a:cubicBezTo>
                    <a:pt x="364" y="187"/>
                    <a:pt x="364" y="197"/>
                    <a:pt x="364" y="206"/>
                  </a:cubicBezTo>
                  <a:cubicBezTo>
                    <a:pt x="364" y="211"/>
                    <a:pt x="364" y="215"/>
                    <a:pt x="364" y="220"/>
                  </a:cubicBezTo>
                  <a:cubicBezTo>
                    <a:pt x="364" y="224"/>
                    <a:pt x="364" y="228"/>
                    <a:pt x="363" y="232"/>
                  </a:cubicBezTo>
                  <a:cubicBezTo>
                    <a:pt x="371" y="232"/>
                    <a:pt x="378" y="232"/>
                    <a:pt x="385" y="232"/>
                  </a:cubicBezTo>
                  <a:close/>
                  <a:moveTo>
                    <a:pt x="337" y="232"/>
                  </a:moveTo>
                  <a:cubicBezTo>
                    <a:pt x="337" y="232"/>
                    <a:pt x="337" y="232"/>
                    <a:pt x="337" y="232"/>
                  </a:cubicBezTo>
                  <a:cubicBezTo>
                    <a:pt x="343" y="232"/>
                    <a:pt x="350" y="232"/>
                    <a:pt x="356" y="232"/>
                  </a:cubicBezTo>
                  <a:cubicBezTo>
                    <a:pt x="355" y="224"/>
                    <a:pt x="356" y="216"/>
                    <a:pt x="356" y="208"/>
                  </a:cubicBezTo>
                  <a:cubicBezTo>
                    <a:pt x="356" y="199"/>
                    <a:pt x="356" y="190"/>
                    <a:pt x="356" y="181"/>
                  </a:cubicBezTo>
                  <a:cubicBezTo>
                    <a:pt x="356" y="168"/>
                    <a:pt x="356" y="156"/>
                    <a:pt x="357" y="144"/>
                  </a:cubicBezTo>
                  <a:cubicBezTo>
                    <a:pt x="355" y="143"/>
                    <a:pt x="355" y="140"/>
                    <a:pt x="357" y="139"/>
                  </a:cubicBezTo>
                  <a:cubicBezTo>
                    <a:pt x="357" y="134"/>
                    <a:pt x="357" y="130"/>
                    <a:pt x="357" y="125"/>
                  </a:cubicBezTo>
                  <a:cubicBezTo>
                    <a:pt x="357" y="107"/>
                    <a:pt x="355" y="89"/>
                    <a:pt x="352" y="71"/>
                  </a:cubicBezTo>
                  <a:cubicBezTo>
                    <a:pt x="351" y="63"/>
                    <a:pt x="350" y="55"/>
                    <a:pt x="347" y="47"/>
                  </a:cubicBezTo>
                  <a:cubicBezTo>
                    <a:pt x="346" y="43"/>
                    <a:pt x="344" y="39"/>
                    <a:pt x="342" y="35"/>
                  </a:cubicBezTo>
                  <a:cubicBezTo>
                    <a:pt x="342" y="35"/>
                    <a:pt x="342" y="35"/>
                    <a:pt x="342" y="35"/>
                  </a:cubicBezTo>
                  <a:cubicBezTo>
                    <a:pt x="337" y="32"/>
                    <a:pt x="332" y="29"/>
                    <a:pt x="327" y="27"/>
                  </a:cubicBezTo>
                  <a:cubicBezTo>
                    <a:pt x="311" y="20"/>
                    <a:pt x="293" y="17"/>
                    <a:pt x="276" y="18"/>
                  </a:cubicBezTo>
                  <a:cubicBezTo>
                    <a:pt x="244" y="20"/>
                    <a:pt x="212" y="36"/>
                    <a:pt x="193" y="62"/>
                  </a:cubicBezTo>
                  <a:cubicBezTo>
                    <a:pt x="177" y="84"/>
                    <a:pt x="171" y="111"/>
                    <a:pt x="170" y="138"/>
                  </a:cubicBezTo>
                  <a:cubicBezTo>
                    <a:pt x="169" y="153"/>
                    <a:pt x="169" y="168"/>
                    <a:pt x="169" y="183"/>
                  </a:cubicBezTo>
                  <a:cubicBezTo>
                    <a:pt x="169" y="198"/>
                    <a:pt x="170" y="212"/>
                    <a:pt x="168" y="226"/>
                  </a:cubicBezTo>
                  <a:cubicBezTo>
                    <a:pt x="168" y="227"/>
                    <a:pt x="169" y="228"/>
                    <a:pt x="169" y="229"/>
                  </a:cubicBezTo>
                  <a:cubicBezTo>
                    <a:pt x="170" y="229"/>
                    <a:pt x="170" y="229"/>
                    <a:pt x="172" y="229"/>
                  </a:cubicBezTo>
                  <a:cubicBezTo>
                    <a:pt x="176" y="230"/>
                    <a:pt x="180" y="230"/>
                    <a:pt x="184" y="230"/>
                  </a:cubicBezTo>
                  <a:cubicBezTo>
                    <a:pt x="195" y="232"/>
                    <a:pt x="204" y="232"/>
                    <a:pt x="215" y="233"/>
                  </a:cubicBezTo>
                  <a:cubicBezTo>
                    <a:pt x="225" y="233"/>
                    <a:pt x="235" y="232"/>
                    <a:pt x="245" y="232"/>
                  </a:cubicBezTo>
                  <a:cubicBezTo>
                    <a:pt x="256" y="231"/>
                    <a:pt x="266" y="231"/>
                    <a:pt x="276" y="231"/>
                  </a:cubicBezTo>
                  <a:cubicBezTo>
                    <a:pt x="297" y="231"/>
                    <a:pt x="317" y="232"/>
                    <a:pt x="337" y="232"/>
                  </a:cubicBezTo>
                  <a:close/>
                  <a:moveTo>
                    <a:pt x="297" y="251"/>
                  </a:moveTo>
                  <a:cubicBezTo>
                    <a:pt x="297" y="251"/>
                    <a:pt x="297" y="251"/>
                    <a:pt x="297" y="251"/>
                  </a:cubicBezTo>
                  <a:cubicBezTo>
                    <a:pt x="297" y="249"/>
                    <a:pt x="297" y="248"/>
                    <a:pt x="297" y="246"/>
                  </a:cubicBezTo>
                  <a:cubicBezTo>
                    <a:pt x="287" y="246"/>
                    <a:pt x="278" y="246"/>
                    <a:pt x="268" y="246"/>
                  </a:cubicBezTo>
                  <a:cubicBezTo>
                    <a:pt x="266" y="246"/>
                    <a:pt x="264" y="247"/>
                    <a:pt x="262" y="247"/>
                  </a:cubicBezTo>
                  <a:cubicBezTo>
                    <a:pt x="262" y="248"/>
                    <a:pt x="262" y="249"/>
                    <a:pt x="262" y="250"/>
                  </a:cubicBezTo>
                  <a:cubicBezTo>
                    <a:pt x="262" y="252"/>
                    <a:pt x="262" y="255"/>
                    <a:pt x="262" y="257"/>
                  </a:cubicBezTo>
                  <a:cubicBezTo>
                    <a:pt x="267" y="258"/>
                    <a:pt x="271" y="258"/>
                    <a:pt x="276" y="258"/>
                  </a:cubicBezTo>
                  <a:cubicBezTo>
                    <a:pt x="283" y="258"/>
                    <a:pt x="291" y="258"/>
                    <a:pt x="298" y="258"/>
                  </a:cubicBezTo>
                  <a:cubicBezTo>
                    <a:pt x="298" y="256"/>
                    <a:pt x="298" y="253"/>
                    <a:pt x="297" y="251"/>
                  </a:cubicBezTo>
                  <a:close/>
                  <a:moveTo>
                    <a:pt x="345" y="281"/>
                  </a:moveTo>
                  <a:cubicBezTo>
                    <a:pt x="345" y="281"/>
                    <a:pt x="345" y="281"/>
                    <a:pt x="345" y="281"/>
                  </a:cubicBezTo>
                  <a:cubicBezTo>
                    <a:pt x="347" y="287"/>
                    <a:pt x="347" y="295"/>
                    <a:pt x="346" y="302"/>
                  </a:cubicBezTo>
                  <a:cubicBezTo>
                    <a:pt x="347" y="301"/>
                    <a:pt x="348" y="300"/>
                    <a:pt x="348" y="299"/>
                  </a:cubicBezTo>
                  <a:cubicBezTo>
                    <a:pt x="351" y="296"/>
                    <a:pt x="355" y="292"/>
                    <a:pt x="358" y="289"/>
                  </a:cubicBezTo>
                  <a:cubicBezTo>
                    <a:pt x="354" y="286"/>
                    <a:pt x="350" y="283"/>
                    <a:pt x="345" y="281"/>
                  </a:cubicBezTo>
                  <a:close/>
                  <a:moveTo>
                    <a:pt x="407" y="341"/>
                  </a:moveTo>
                  <a:cubicBezTo>
                    <a:pt x="407" y="341"/>
                    <a:pt x="407" y="341"/>
                    <a:pt x="407" y="341"/>
                  </a:cubicBezTo>
                  <a:cubicBezTo>
                    <a:pt x="401" y="345"/>
                    <a:pt x="395" y="350"/>
                    <a:pt x="389" y="354"/>
                  </a:cubicBezTo>
                  <a:cubicBezTo>
                    <a:pt x="386" y="355"/>
                    <a:pt x="383" y="357"/>
                    <a:pt x="380" y="359"/>
                  </a:cubicBezTo>
                  <a:cubicBezTo>
                    <a:pt x="383" y="364"/>
                    <a:pt x="385" y="369"/>
                    <a:pt x="387" y="374"/>
                  </a:cubicBezTo>
                  <a:cubicBezTo>
                    <a:pt x="390" y="373"/>
                    <a:pt x="393" y="371"/>
                    <a:pt x="395" y="371"/>
                  </a:cubicBezTo>
                  <a:cubicBezTo>
                    <a:pt x="402" y="368"/>
                    <a:pt x="410" y="367"/>
                    <a:pt x="418" y="365"/>
                  </a:cubicBezTo>
                  <a:cubicBezTo>
                    <a:pt x="418" y="365"/>
                    <a:pt x="418" y="365"/>
                    <a:pt x="418" y="365"/>
                  </a:cubicBezTo>
                  <a:cubicBezTo>
                    <a:pt x="417" y="361"/>
                    <a:pt x="415" y="358"/>
                    <a:pt x="414" y="354"/>
                  </a:cubicBezTo>
                  <a:cubicBezTo>
                    <a:pt x="412" y="349"/>
                    <a:pt x="410" y="345"/>
                    <a:pt x="407" y="341"/>
                  </a:cubicBezTo>
                  <a:close/>
                  <a:moveTo>
                    <a:pt x="431" y="400"/>
                  </a:moveTo>
                  <a:cubicBezTo>
                    <a:pt x="431" y="400"/>
                    <a:pt x="431" y="400"/>
                    <a:pt x="431" y="400"/>
                  </a:cubicBezTo>
                  <a:cubicBezTo>
                    <a:pt x="429" y="400"/>
                    <a:pt x="428" y="400"/>
                    <a:pt x="426" y="400"/>
                  </a:cubicBezTo>
                  <a:cubicBezTo>
                    <a:pt x="423" y="400"/>
                    <a:pt x="421" y="401"/>
                    <a:pt x="418" y="401"/>
                  </a:cubicBezTo>
                  <a:cubicBezTo>
                    <a:pt x="414" y="401"/>
                    <a:pt x="410" y="402"/>
                    <a:pt x="406" y="403"/>
                  </a:cubicBezTo>
                  <a:cubicBezTo>
                    <a:pt x="404" y="404"/>
                    <a:pt x="401" y="405"/>
                    <a:pt x="399" y="405"/>
                  </a:cubicBezTo>
                  <a:cubicBezTo>
                    <a:pt x="400" y="410"/>
                    <a:pt x="401" y="415"/>
                    <a:pt x="402" y="421"/>
                  </a:cubicBezTo>
                  <a:cubicBezTo>
                    <a:pt x="412" y="419"/>
                    <a:pt x="429" y="419"/>
                    <a:pt x="437" y="422"/>
                  </a:cubicBezTo>
                  <a:cubicBezTo>
                    <a:pt x="437" y="421"/>
                    <a:pt x="437" y="421"/>
                    <a:pt x="437" y="420"/>
                  </a:cubicBezTo>
                  <a:cubicBezTo>
                    <a:pt x="435" y="413"/>
                    <a:pt x="433" y="407"/>
                    <a:pt x="431" y="400"/>
                  </a:cubicBezTo>
                  <a:close/>
                  <a:moveTo>
                    <a:pt x="439" y="429"/>
                  </a:moveTo>
                  <a:cubicBezTo>
                    <a:pt x="439" y="429"/>
                    <a:pt x="439" y="429"/>
                    <a:pt x="439" y="429"/>
                  </a:cubicBezTo>
                  <a:cubicBezTo>
                    <a:pt x="438" y="429"/>
                    <a:pt x="438" y="429"/>
                    <a:pt x="438" y="428"/>
                  </a:cubicBezTo>
                  <a:cubicBezTo>
                    <a:pt x="438" y="428"/>
                    <a:pt x="436" y="428"/>
                    <a:pt x="436" y="427"/>
                  </a:cubicBezTo>
                  <a:cubicBezTo>
                    <a:pt x="434" y="427"/>
                    <a:pt x="432" y="427"/>
                    <a:pt x="430" y="427"/>
                  </a:cubicBezTo>
                  <a:cubicBezTo>
                    <a:pt x="425" y="427"/>
                    <a:pt x="420" y="427"/>
                    <a:pt x="415" y="427"/>
                  </a:cubicBezTo>
                  <a:cubicBezTo>
                    <a:pt x="411" y="428"/>
                    <a:pt x="407" y="428"/>
                    <a:pt x="403" y="428"/>
                  </a:cubicBezTo>
                  <a:cubicBezTo>
                    <a:pt x="404" y="433"/>
                    <a:pt x="404" y="437"/>
                    <a:pt x="405" y="441"/>
                  </a:cubicBezTo>
                  <a:cubicBezTo>
                    <a:pt x="411" y="441"/>
                    <a:pt x="417" y="442"/>
                    <a:pt x="424" y="443"/>
                  </a:cubicBezTo>
                  <a:cubicBezTo>
                    <a:pt x="427" y="443"/>
                    <a:pt x="430" y="444"/>
                    <a:pt x="434" y="445"/>
                  </a:cubicBezTo>
                  <a:cubicBezTo>
                    <a:pt x="436" y="446"/>
                    <a:pt x="438" y="448"/>
                    <a:pt x="440" y="449"/>
                  </a:cubicBezTo>
                  <a:cubicBezTo>
                    <a:pt x="440" y="442"/>
                    <a:pt x="440" y="436"/>
                    <a:pt x="439" y="429"/>
                  </a:cubicBezTo>
                  <a:close/>
                  <a:moveTo>
                    <a:pt x="437" y="468"/>
                  </a:moveTo>
                  <a:cubicBezTo>
                    <a:pt x="437" y="468"/>
                    <a:pt x="437" y="468"/>
                    <a:pt x="437" y="468"/>
                  </a:cubicBezTo>
                  <a:cubicBezTo>
                    <a:pt x="438" y="464"/>
                    <a:pt x="439" y="460"/>
                    <a:pt x="439" y="455"/>
                  </a:cubicBezTo>
                  <a:cubicBezTo>
                    <a:pt x="439" y="455"/>
                    <a:pt x="439" y="455"/>
                    <a:pt x="439" y="454"/>
                  </a:cubicBezTo>
                  <a:cubicBezTo>
                    <a:pt x="434" y="452"/>
                    <a:pt x="429" y="450"/>
                    <a:pt x="423" y="449"/>
                  </a:cubicBezTo>
                  <a:cubicBezTo>
                    <a:pt x="417" y="448"/>
                    <a:pt x="410" y="448"/>
                    <a:pt x="405" y="446"/>
                  </a:cubicBezTo>
                  <a:cubicBezTo>
                    <a:pt x="405" y="448"/>
                    <a:pt x="405" y="450"/>
                    <a:pt x="405" y="452"/>
                  </a:cubicBezTo>
                  <a:cubicBezTo>
                    <a:pt x="405" y="453"/>
                    <a:pt x="405" y="454"/>
                    <a:pt x="405" y="454"/>
                  </a:cubicBezTo>
                  <a:cubicBezTo>
                    <a:pt x="407" y="455"/>
                    <a:pt x="409" y="455"/>
                    <a:pt x="410" y="455"/>
                  </a:cubicBezTo>
                  <a:cubicBezTo>
                    <a:pt x="415" y="455"/>
                    <a:pt x="420" y="457"/>
                    <a:pt x="424" y="460"/>
                  </a:cubicBezTo>
                  <a:cubicBezTo>
                    <a:pt x="428" y="464"/>
                    <a:pt x="433" y="465"/>
                    <a:pt x="437" y="468"/>
                  </a:cubicBezTo>
                  <a:close/>
                  <a:moveTo>
                    <a:pt x="363" y="521"/>
                  </a:moveTo>
                  <a:cubicBezTo>
                    <a:pt x="363" y="521"/>
                    <a:pt x="363" y="521"/>
                    <a:pt x="363" y="521"/>
                  </a:cubicBezTo>
                  <a:cubicBezTo>
                    <a:pt x="363" y="521"/>
                    <a:pt x="363" y="521"/>
                    <a:pt x="363" y="521"/>
                  </a:cubicBezTo>
                  <a:cubicBezTo>
                    <a:pt x="365" y="523"/>
                    <a:pt x="367" y="525"/>
                    <a:pt x="369" y="527"/>
                  </a:cubicBezTo>
                  <a:cubicBezTo>
                    <a:pt x="374" y="530"/>
                    <a:pt x="380" y="534"/>
                    <a:pt x="385" y="537"/>
                  </a:cubicBezTo>
                  <a:cubicBezTo>
                    <a:pt x="392" y="541"/>
                    <a:pt x="400" y="544"/>
                    <a:pt x="409" y="547"/>
                  </a:cubicBezTo>
                  <a:cubicBezTo>
                    <a:pt x="412" y="548"/>
                    <a:pt x="416" y="550"/>
                    <a:pt x="420" y="551"/>
                  </a:cubicBezTo>
                  <a:cubicBezTo>
                    <a:pt x="422" y="552"/>
                    <a:pt x="424" y="553"/>
                    <a:pt x="426" y="554"/>
                  </a:cubicBezTo>
                  <a:cubicBezTo>
                    <a:pt x="426" y="554"/>
                    <a:pt x="426" y="554"/>
                    <a:pt x="426" y="553"/>
                  </a:cubicBezTo>
                  <a:cubicBezTo>
                    <a:pt x="427" y="551"/>
                    <a:pt x="428" y="549"/>
                    <a:pt x="428" y="547"/>
                  </a:cubicBezTo>
                  <a:cubicBezTo>
                    <a:pt x="429" y="542"/>
                    <a:pt x="429" y="537"/>
                    <a:pt x="429" y="533"/>
                  </a:cubicBezTo>
                  <a:cubicBezTo>
                    <a:pt x="429" y="529"/>
                    <a:pt x="428" y="526"/>
                    <a:pt x="427" y="524"/>
                  </a:cubicBezTo>
                  <a:cubicBezTo>
                    <a:pt x="426" y="521"/>
                    <a:pt x="425" y="517"/>
                    <a:pt x="425" y="515"/>
                  </a:cubicBezTo>
                  <a:cubicBezTo>
                    <a:pt x="419" y="512"/>
                    <a:pt x="414" y="509"/>
                    <a:pt x="409" y="507"/>
                  </a:cubicBezTo>
                  <a:cubicBezTo>
                    <a:pt x="403" y="504"/>
                    <a:pt x="397" y="500"/>
                    <a:pt x="391" y="498"/>
                  </a:cubicBezTo>
                  <a:cubicBezTo>
                    <a:pt x="390" y="497"/>
                    <a:pt x="389" y="497"/>
                    <a:pt x="388" y="497"/>
                  </a:cubicBezTo>
                  <a:cubicBezTo>
                    <a:pt x="383" y="500"/>
                    <a:pt x="377" y="502"/>
                    <a:pt x="373" y="506"/>
                  </a:cubicBezTo>
                  <a:cubicBezTo>
                    <a:pt x="368" y="510"/>
                    <a:pt x="365" y="515"/>
                    <a:pt x="363" y="521"/>
                  </a:cubicBezTo>
                  <a:close/>
                  <a:moveTo>
                    <a:pt x="389" y="478"/>
                  </a:moveTo>
                  <a:cubicBezTo>
                    <a:pt x="389" y="478"/>
                    <a:pt x="389" y="478"/>
                    <a:pt x="389" y="478"/>
                  </a:cubicBezTo>
                  <a:cubicBezTo>
                    <a:pt x="388" y="478"/>
                    <a:pt x="387" y="479"/>
                    <a:pt x="387" y="481"/>
                  </a:cubicBezTo>
                  <a:cubicBezTo>
                    <a:pt x="386" y="481"/>
                    <a:pt x="386" y="481"/>
                    <a:pt x="386" y="482"/>
                  </a:cubicBezTo>
                  <a:cubicBezTo>
                    <a:pt x="397" y="484"/>
                    <a:pt x="407" y="490"/>
                    <a:pt x="417" y="496"/>
                  </a:cubicBezTo>
                  <a:cubicBezTo>
                    <a:pt x="422" y="499"/>
                    <a:pt x="428" y="502"/>
                    <a:pt x="433" y="505"/>
                  </a:cubicBezTo>
                  <a:cubicBezTo>
                    <a:pt x="435" y="506"/>
                    <a:pt x="437" y="508"/>
                    <a:pt x="439" y="510"/>
                  </a:cubicBezTo>
                  <a:cubicBezTo>
                    <a:pt x="441" y="509"/>
                    <a:pt x="442" y="509"/>
                    <a:pt x="442" y="506"/>
                  </a:cubicBezTo>
                  <a:cubicBezTo>
                    <a:pt x="442" y="504"/>
                    <a:pt x="441" y="501"/>
                    <a:pt x="440" y="498"/>
                  </a:cubicBezTo>
                  <a:cubicBezTo>
                    <a:pt x="439" y="498"/>
                    <a:pt x="439" y="497"/>
                    <a:pt x="438" y="497"/>
                  </a:cubicBezTo>
                  <a:cubicBezTo>
                    <a:pt x="434" y="495"/>
                    <a:pt x="430" y="494"/>
                    <a:pt x="427" y="492"/>
                  </a:cubicBezTo>
                  <a:cubicBezTo>
                    <a:pt x="419" y="489"/>
                    <a:pt x="413" y="486"/>
                    <a:pt x="406" y="483"/>
                  </a:cubicBezTo>
                  <a:cubicBezTo>
                    <a:pt x="403" y="482"/>
                    <a:pt x="400" y="481"/>
                    <a:pt x="397" y="480"/>
                  </a:cubicBezTo>
                  <a:cubicBezTo>
                    <a:pt x="395" y="479"/>
                    <a:pt x="392" y="477"/>
                    <a:pt x="389" y="478"/>
                  </a:cubicBezTo>
                  <a:close/>
                  <a:moveTo>
                    <a:pt x="403" y="467"/>
                  </a:moveTo>
                  <a:cubicBezTo>
                    <a:pt x="403" y="467"/>
                    <a:pt x="403" y="467"/>
                    <a:pt x="403" y="467"/>
                  </a:cubicBezTo>
                  <a:cubicBezTo>
                    <a:pt x="407" y="469"/>
                    <a:pt x="411" y="470"/>
                    <a:pt x="415" y="472"/>
                  </a:cubicBezTo>
                  <a:cubicBezTo>
                    <a:pt x="419" y="474"/>
                    <a:pt x="423" y="477"/>
                    <a:pt x="428" y="479"/>
                  </a:cubicBezTo>
                  <a:cubicBezTo>
                    <a:pt x="430" y="480"/>
                    <a:pt x="432" y="481"/>
                    <a:pt x="434" y="482"/>
                  </a:cubicBezTo>
                  <a:cubicBezTo>
                    <a:pt x="435" y="480"/>
                    <a:pt x="435" y="477"/>
                    <a:pt x="436" y="474"/>
                  </a:cubicBezTo>
                  <a:cubicBezTo>
                    <a:pt x="434" y="473"/>
                    <a:pt x="432" y="473"/>
                    <a:pt x="430" y="472"/>
                  </a:cubicBezTo>
                  <a:cubicBezTo>
                    <a:pt x="426" y="470"/>
                    <a:pt x="422" y="469"/>
                    <a:pt x="419" y="466"/>
                  </a:cubicBezTo>
                  <a:cubicBezTo>
                    <a:pt x="415" y="463"/>
                    <a:pt x="411" y="462"/>
                    <a:pt x="406" y="462"/>
                  </a:cubicBezTo>
                  <a:cubicBezTo>
                    <a:pt x="405" y="462"/>
                    <a:pt x="404" y="462"/>
                    <a:pt x="404" y="462"/>
                  </a:cubicBezTo>
                  <a:cubicBezTo>
                    <a:pt x="403" y="464"/>
                    <a:pt x="403" y="466"/>
                    <a:pt x="402" y="467"/>
                  </a:cubicBezTo>
                  <a:cubicBezTo>
                    <a:pt x="402" y="467"/>
                    <a:pt x="402" y="467"/>
                    <a:pt x="403" y="467"/>
                  </a:cubicBezTo>
                  <a:close/>
                  <a:moveTo>
                    <a:pt x="391" y="382"/>
                  </a:moveTo>
                  <a:cubicBezTo>
                    <a:pt x="391" y="382"/>
                    <a:pt x="391" y="382"/>
                    <a:pt x="391" y="382"/>
                  </a:cubicBezTo>
                  <a:cubicBezTo>
                    <a:pt x="393" y="388"/>
                    <a:pt x="395" y="393"/>
                    <a:pt x="397" y="399"/>
                  </a:cubicBezTo>
                  <a:cubicBezTo>
                    <a:pt x="399" y="398"/>
                    <a:pt x="402" y="397"/>
                    <a:pt x="404" y="396"/>
                  </a:cubicBezTo>
                  <a:cubicBezTo>
                    <a:pt x="409" y="395"/>
                    <a:pt x="413" y="395"/>
                    <a:pt x="418" y="394"/>
                  </a:cubicBezTo>
                  <a:cubicBezTo>
                    <a:pt x="422" y="394"/>
                    <a:pt x="426" y="394"/>
                    <a:pt x="429" y="395"/>
                  </a:cubicBezTo>
                  <a:cubicBezTo>
                    <a:pt x="428" y="392"/>
                    <a:pt x="427" y="389"/>
                    <a:pt x="426" y="385"/>
                  </a:cubicBezTo>
                  <a:cubicBezTo>
                    <a:pt x="424" y="380"/>
                    <a:pt x="422" y="375"/>
                    <a:pt x="420" y="369"/>
                  </a:cubicBezTo>
                  <a:cubicBezTo>
                    <a:pt x="420" y="370"/>
                    <a:pt x="419" y="370"/>
                    <a:pt x="419" y="370"/>
                  </a:cubicBezTo>
                  <a:cubicBezTo>
                    <a:pt x="413" y="371"/>
                    <a:pt x="406" y="373"/>
                    <a:pt x="400" y="376"/>
                  </a:cubicBezTo>
                  <a:cubicBezTo>
                    <a:pt x="397" y="377"/>
                    <a:pt x="394" y="379"/>
                    <a:pt x="390" y="380"/>
                  </a:cubicBezTo>
                  <a:cubicBezTo>
                    <a:pt x="390" y="380"/>
                    <a:pt x="390" y="381"/>
                    <a:pt x="390" y="381"/>
                  </a:cubicBezTo>
                  <a:cubicBezTo>
                    <a:pt x="390" y="381"/>
                    <a:pt x="390" y="382"/>
                    <a:pt x="391" y="382"/>
                  </a:cubicBezTo>
                  <a:close/>
                  <a:moveTo>
                    <a:pt x="376" y="353"/>
                  </a:moveTo>
                  <a:cubicBezTo>
                    <a:pt x="376" y="353"/>
                    <a:pt x="376" y="353"/>
                    <a:pt x="376" y="353"/>
                  </a:cubicBezTo>
                  <a:cubicBezTo>
                    <a:pt x="380" y="350"/>
                    <a:pt x="385" y="348"/>
                    <a:pt x="389" y="346"/>
                  </a:cubicBezTo>
                  <a:cubicBezTo>
                    <a:pt x="394" y="342"/>
                    <a:pt x="399" y="339"/>
                    <a:pt x="405" y="337"/>
                  </a:cubicBezTo>
                  <a:cubicBezTo>
                    <a:pt x="400" y="329"/>
                    <a:pt x="394" y="321"/>
                    <a:pt x="388" y="314"/>
                  </a:cubicBezTo>
                  <a:cubicBezTo>
                    <a:pt x="384" y="318"/>
                    <a:pt x="380" y="322"/>
                    <a:pt x="376" y="326"/>
                  </a:cubicBezTo>
                  <a:cubicBezTo>
                    <a:pt x="372" y="329"/>
                    <a:pt x="370" y="334"/>
                    <a:pt x="366" y="338"/>
                  </a:cubicBezTo>
                  <a:cubicBezTo>
                    <a:pt x="368" y="340"/>
                    <a:pt x="369" y="341"/>
                    <a:pt x="370" y="343"/>
                  </a:cubicBezTo>
                  <a:cubicBezTo>
                    <a:pt x="372" y="346"/>
                    <a:pt x="375" y="349"/>
                    <a:pt x="376" y="353"/>
                  </a:cubicBezTo>
                  <a:close/>
                  <a:moveTo>
                    <a:pt x="356" y="328"/>
                  </a:moveTo>
                  <a:cubicBezTo>
                    <a:pt x="356" y="328"/>
                    <a:pt x="356" y="328"/>
                    <a:pt x="356" y="328"/>
                  </a:cubicBezTo>
                  <a:cubicBezTo>
                    <a:pt x="359" y="330"/>
                    <a:pt x="361" y="332"/>
                    <a:pt x="363" y="334"/>
                  </a:cubicBezTo>
                  <a:cubicBezTo>
                    <a:pt x="366" y="324"/>
                    <a:pt x="376" y="317"/>
                    <a:pt x="384" y="311"/>
                  </a:cubicBezTo>
                  <a:cubicBezTo>
                    <a:pt x="381" y="308"/>
                    <a:pt x="378" y="305"/>
                    <a:pt x="375" y="302"/>
                  </a:cubicBezTo>
                  <a:cubicBezTo>
                    <a:pt x="371" y="298"/>
                    <a:pt x="367" y="295"/>
                    <a:pt x="363" y="292"/>
                  </a:cubicBezTo>
                  <a:cubicBezTo>
                    <a:pt x="360" y="296"/>
                    <a:pt x="357" y="299"/>
                    <a:pt x="353" y="303"/>
                  </a:cubicBezTo>
                  <a:cubicBezTo>
                    <a:pt x="351" y="305"/>
                    <a:pt x="350" y="308"/>
                    <a:pt x="348" y="310"/>
                  </a:cubicBezTo>
                  <a:cubicBezTo>
                    <a:pt x="347" y="312"/>
                    <a:pt x="346" y="314"/>
                    <a:pt x="345" y="316"/>
                  </a:cubicBezTo>
                  <a:cubicBezTo>
                    <a:pt x="345" y="318"/>
                    <a:pt x="345" y="319"/>
                    <a:pt x="345" y="321"/>
                  </a:cubicBezTo>
                  <a:cubicBezTo>
                    <a:pt x="349" y="323"/>
                    <a:pt x="353" y="326"/>
                    <a:pt x="356" y="328"/>
                  </a:cubicBezTo>
                  <a:close/>
                  <a:moveTo>
                    <a:pt x="285" y="535"/>
                  </a:moveTo>
                  <a:cubicBezTo>
                    <a:pt x="285" y="535"/>
                    <a:pt x="285" y="535"/>
                    <a:pt x="285" y="535"/>
                  </a:cubicBezTo>
                  <a:cubicBezTo>
                    <a:pt x="284" y="530"/>
                    <a:pt x="284" y="526"/>
                    <a:pt x="284" y="521"/>
                  </a:cubicBezTo>
                  <a:cubicBezTo>
                    <a:pt x="280" y="522"/>
                    <a:pt x="277" y="522"/>
                    <a:pt x="273" y="522"/>
                  </a:cubicBezTo>
                  <a:cubicBezTo>
                    <a:pt x="271" y="522"/>
                    <a:pt x="268" y="522"/>
                    <a:pt x="265" y="521"/>
                  </a:cubicBezTo>
                  <a:cubicBezTo>
                    <a:pt x="265" y="526"/>
                    <a:pt x="265" y="530"/>
                    <a:pt x="265" y="534"/>
                  </a:cubicBezTo>
                  <a:cubicBezTo>
                    <a:pt x="266" y="536"/>
                    <a:pt x="265" y="538"/>
                    <a:pt x="265" y="539"/>
                  </a:cubicBezTo>
                  <a:cubicBezTo>
                    <a:pt x="269" y="538"/>
                    <a:pt x="273" y="539"/>
                    <a:pt x="276" y="538"/>
                  </a:cubicBezTo>
                  <a:cubicBezTo>
                    <a:pt x="279" y="538"/>
                    <a:pt x="282" y="538"/>
                    <a:pt x="285" y="538"/>
                  </a:cubicBezTo>
                  <a:cubicBezTo>
                    <a:pt x="285" y="537"/>
                    <a:pt x="285" y="536"/>
                    <a:pt x="285" y="535"/>
                  </a:cubicBezTo>
                  <a:close/>
                  <a:moveTo>
                    <a:pt x="264" y="507"/>
                  </a:moveTo>
                  <a:cubicBezTo>
                    <a:pt x="264" y="507"/>
                    <a:pt x="264" y="507"/>
                    <a:pt x="264" y="507"/>
                  </a:cubicBezTo>
                  <a:cubicBezTo>
                    <a:pt x="265" y="510"/>
                    <a:pt x="265" y="512"/>
                    <a:pt x="265" y="515"/>
                  </a:cubicBezTo>
                  <a:cubicBezTo>
                    <a:pt x="268" y="514"/>
                    <a:pt x="271" y="515"/>
                    <a:pt x="273" y="515"/>
                  </a:cubicBezTo>
                  <a:cubicBezTo>
                    <a:pt x="277" y="516"/>
                    <a:pt x="280" y="516"/>
                    <a:pt x="284" y="516"/>
                  </a:cubicBezTo>
                  <a:cubicBezTo>
                    <a:pt x="284" y="514"/>
                    <a:pt x="283" y="511"/>
                    <a:pt x="283" y="509"/>
                  </a:cubicBezTo>
                  <a:cubicBezTo>
                    <a:pt x="283" y="505"/>
                    <a:pt x="283" y="502"/>
                    <a:pt x="283" y="498"/>
                  </a:cubicBezTo>
                  <a:cubicBezTo>
                    <a:pt x="278" y="499"/>
                    <a:pt x="269" y="500"/>
                    <a:pt x="264" y="498"/>
                  </a:cubicBezTo>
                  <a:cubicBezTo>
                    <a:pt x="264" y="501"/>
                    <a:pt x="264" y="504"/>
                    <a:pt x="264" y="507"/>
                  </a:cubicBezTo>
                  <a:close/>
                  <a:moveTo>
                    <a:pt x="286" y="558"/>
                  </a:moveTo>
                  <a:cubicBezTo>
                    <a:pt x="286" y="558"/>
                    <a:pt x="286" y="558"/>
                    <a:pt x="286" y="558"/>
                  </a:cubicBezTo>
                  <a:cubicBezTo>
                    <a:pt x="286" y="558"/>
                    <a:pt x="286" y="557"/>
                    <a:pt x="286" y="557"/>
                  </a:cubicBezTo>
                  <a:cubicBezTo>
                    <a:pt x="287" y="554"/>
                    <a:pt x="286" y="550"/>
                    <a:pt x="286" y="547"/>
                  </a:cubicBezTo>
                  <a:cubicBezTo>
                    <a:pt x="286" y="546"/>
                    <a:pt x="286" y="545"/>
                    <a:pt x="285" y="544"/>
                  </a:cubicBezTo>
                  <a:cubicBezTo>
                    <a:pt x="282" y="545"/>
                    <a:pt x="279" y="545"/>
                    <a:pt x="276" y="545"/>
                  </a:cubicBezTo>
                  <a:cubicBezTo>
                    <a:pt x="273" y="545"/>
                    <a:pt x="269" y="546"/>
                    <a:pt x="266" y="545"/>
                  </a:cubicBezTo>
                  <a:cubicBezTo>
                    <a:pt x="266" y="546"/>
                    <a:pt x="266" y="547"/>
                    <a:pt x="266" y="548"/>
                  </a:cubicBezTo>
                  <a:cubicBezTo>
                    <a:pt x="266" y="550"/>
                    <a:pt x="266" y="553"/>
                    <a:pt x="266" y="556"/>
                  </a:cubicBezTo>
                  <a:cubicBezTo>
                    <a:pt x="267" y="556"/>
                    <a:pt x="267" y="557"/>
                    <a:pt x="268" y="557"/>
                  </a:cubicBezTo>
                  <a:cubicBezTo>
                    <a:pt x="271" y="558"/>
                    <a:pt x="273" y="559"/>
                    <a:pt x="276" y="559"/>
                  </a:cubicBezTo>
                  <a:cubicBezTo>
                    <a:pt x="279" y="559"/>
                    <a:pt x="282" y="559"/>
                    <a:pt x="285" y="558"/>
                  </a:cubicBezTo>
                  <a:cubicBezTo>
                    <a:pt x="285" y="558"/>
                    <a:pt x="286" y="558"/>
                    <a:pt x="286" y="558"/>
                  </a:cubicBezTo>
                  <a:close/>
                  <a:moveTo>
                    <a:pt x="263" y="480"/>
                  </a:moveTo>
                  <a:cubicBezTo>
                    <a:pt x="263" y="480"/>
                    <a:pt x="263" y="480"/>
                    <a:pt x="263" y="480"/>
                  </a:cubicBezTo>
                  <a:cubicBezTo>
                    <a:pt x="263" y="484"/>
                    <a:pt x="263" y="488"/>
                    <a:pt x="263" y="491"/>
                  </a:cubicBezTo>
                  <a:cubicBezTo>
                    <a:pt x="264" y="491"/>
                    <a:pt x="265" y="492"/>
                    <a:pt x="266" y="492"/>
                  </a:cubicBezTo>
                  <a:cubicBezTo>
                    <a:pt x="268" y="492"/>
                    <a:pt x="271" y="493"/>
                    <a:pt x="273" y="493"/>
                  </a:cubicBezTo>
                  <a:cubicBezTo>
                    <a:pt x="276" y="493"/>
                    <a:pt x="280" y="493"/>
                    <a:pt x="283" y="493"/>
                  </a:cubicBezTo>
                  <a:cubicBezTo>
                    <a:pt x="283" y="489"/>
                    <a:pt x="284" y="486"/>
                    <a:pt x="284" y="482"/>
                  </a:cubicBezTo>
                  <a:cubicBezTo>
                    <a:pt x="284" y="481"/>
                    <a:pt x="284" y="480"/>
                    <a:pt x="284" y="479"/>
                  </a:cubicBezTo>
                  <a:cubicBezTo>
                    <a:pt x="281" y="479"/>
                    <a:pt x="278" y="480"/>
                    <a:pt x="274" y="480"/>
                  </a:cubicBezTo>
                  <a:cubicBezTo>
                    <a:pt x="271" y="480"/>
                    <a:pt x="266" y="482"/>
                    <a:pt x="263" y="479"/>
                  </a:cubicBezTo>
                  <a:cubicBezTo>
                    <a:pt x="263" y="479"/>
                    <a:pt x="263" y="479"/>
                    <a:pt x="263" y="479"/>
                  </a:cubicBezTo>
                  <a:cubicBezTo>
                    <a:pt x="263" y="479"/>
                    <a:pt x="263" y="480"/>
                    <a:pt x="263" y="480"/>
                  </a:cubicBezTo>
                  <a:close/>
                  <a:moveTo>
                    <a:pt x="277" y="638"/>
                  </a:moveTo>
                  <a:cubicBezTo>
                    <a:pt x="277" y="638"/>
                    <a:pt x="277" y="638"/>
                    <a:pt x="277" y="638"/>
                  </a:cubicBezTo>
                  <a:cubicBezTo>
                    <a:pt x="284" y="636"/>
                    <a:pt x="288" y="631"/>
                    <a:pt x="290" y="625"/>
                  </a:cubicBezTo>
                  <a:cubicBezTo>
                    <a:pt x="291" y="624"/>
                    <a:pt x="291" y="621"/>
                    <a:pt x="292" y="618"/>
                  </a:cubicBezTo>
                  <a:cubicBezTo>
                    <a:pt x="291" y="618"/>
                    <a:pt x="290" y="618"/>
                    <a:pt x="289" y="618"/>
                  </a:cubicBezTo>
                  <a:cubicBezTo>
                    <a:pt x="282" y="617"/>
                    <a:pt x="274" y="617"/>
                    <a:pt x="267" y="617"/>
                  </a:cubicBezTo>
                  <a:cubicBezTo>
                    <a:pt x="263" y="617"/>
                    <a:pt x="260" y="617"/>
                    <a:pt x="256" y="617"/>
                  </a:cubicBezTo>
                  <a:cubicBezTo>
                    <a:pt x="260" y="628"/>
                    <a:pt x="265" y="641"/>
                    <a:pt x="277" y="638"/>
                  </a:cubicBezTo>
                  <a:close/>
                  <a:moveTo>
                    <a:pt x="242" y="585"/>
                  </a:moveTo>
                  <a:cubicBezTo>
                    <a:pt x="242" y="585"/>
                    <a:pt x="242" y="585"/>
                    <a:pt x="242" y="585"/>
                  </a:cubicBezTo>
                  <a:cubicBezTo>
                    <a:pt x="239" y="589"/>
                    <a:pt x="239" y="595"/>
                    <a:pt x="239" y="600"/>
                  </a:cubicBezTo>
                  <a:cubicBezTo>
                    <a:pt x="239" y="599"/>
                    <a:pt x="239" y="600"/>
                    <a:pt x="239" y="601"/>
                  </a:cubicBezTo>
                  <a:cubicBezTo>
                    <a:pt x="240" y="601"/>
                    <a:pt x="240" y="602"/>
                    <a:pt x="240" y="602"/>
                  </a:cubicBezTo>
                  <a:cubicBezTo>
                    <a:pt x="242" y="602"/>
                    <a:pt x="243" y="603"/>
                    <a:pt x="244" y="604"/>
                  </a:cubicBezTo>
                  <a:cubicBezTo>
                    <a:pt x="245" y="604"/>
                    <a:pt x="246" y="603"/>
                    <a:pt x="248" y="603"/>
                  </a:cubicBezTo>
                  <a:cubicBezTo>
                    <a:pt x="251" y="603"/>
                    <a:pt x="255" y="603"/>
                    <a:pt x="260" y="603"/>
                  </a:cubicBezTo>
                  <a:cubicBezTo>
                    <a:pt x="266" y="603"/>
                    <a:pt x="273" y="603"/>
                    <a:pt x="280" y="603"/>
                  </a:cubicBezTo>
                  <a:cubicBezTo>
                    <a:pt x="291" y="604"/>
                    <a:pt x="302" y="607"/>
                    <a:pt x="312" y="604"/>
                  </a:cubicBezTo>
                  <a:cubicBezTo>
                    <a:pt x="315" y="603"/>
                    <a:pt x="316" y="602"/>
                    <a:pt x="315" y="598"/>
                  </a:cubicBezTo>
                  <a:cubicBezTo>
                    <a:pt x="314" y="593"/>
                    <a:pt x="312" y="588"/>
                    <a:pt x="309" y="583"/>
                  </a:cubicBezTo>
                  <a:cubicBezTo>
                    <a:pt x="306" y="579"/>
                    <a:pt x="302" y="575"/>
                    <a:pt x="298" y="571"/>
                  </a:cubicBezTo>
                  <a:cubicBezTo>
                    <a:pt x="297" y="570"/>
                    <a:pt x="295" y="569"/>
                    <a:pt x="293" y="567"/>
                  </a:cubicBezTo>
                  <a:cubicBezTo>
                    <a:pt x="290" y="568"/>
                    <a:pt x="288" y="569"/>
                    <a:pt x="285" y="570"/>
                  </a:cubicBezTo>
                  <a:cubicBezTo>
                    <a:pt x="282" y="571"/>
                    <a:pt x="278" y="571"/>
                    <a:pt x="274" y="571"/>
                  </a:cubicBezTo>
                  <a:cubicBezTo>
                    <a:pt x="269" y="571"/>
                    <a:pt x="262" y="570"/>
                    <a:pt x="258" y="566"/>
                  </a:cubicBezTo>
                  <a:cubicBezTo>
                    <a:pt x="256" y="568"/>
                    <a:pt x="254" y="570"/>
                    <a:pt x="252" y="572"/>
                  </a:cubicBezTo>
                  <a:cubicBezTo>
                    <a:pt x="248" y="575"/>
                    <a:pt x="244" y="580"/>
                    <a:pt x="242" y="585"/>
                  </a:cubicBezTo>
                  <a:close/>
                  <a:moveTo>
                    <a:pt x="262" y="476"/>
                  </a:moveTo>
                  <a:cubicBezTo>
                    <a:pt x="262" y="476"/>
                    <a:pt x="262" y="476"/>
                    <a:pt x="262" y="476"/>
                  </a:cubicBezTo>
                  <a:cubicBezTo>
                    <a:pt x="263" y="476"/>
                    <a:pt x="263" y="476"/>
                    <a:pt x="263" y="476"/>
                  </a:cubicBezTo>
                  <a:cubicBezTo>
                    <a:pt x="265" y="473"/>
                    <a:pt x="269" y="473"/>
                    <a:pt x="273" y="473"/>
                  </a:cubicBezTo>
                  <a:cubicBezTo>
                    <a:pt x="277" y="473"/>
                    <a:pt x="281" y="473"/>
                    <a:pt x="284" y="473"/>
                  </a:cubicBezTo>
                  <a:cubicBezTo>
                    <a:pt x="285" y="469"/>
                    <a:pt x="285" y="465"/>
                    <a:pt x="285" y="462"/>
                  </a:cubicBezTo>
                  <a:cubicBezTo>
                    <a:pt x="281" y="461"/>
                    <a:pt x="276" y="461"/>
                    <a:pt x="272" y="461"/>
                  </a:cubicBezTo>
                  <a:cubicBezTo>
                    <a:pt x="268" y="461"/>
                    <a:pt x="265" y="461"/>
                    <a:pt x="261" y="461"/>
                  </a:cubicBezTo>
                  <a:cubicBezTo>
                    <a:pt x="262" y="466"/>
                    <a:pt x="262" y="471"/>
                    <a:pt x="262" y="476"/>
                  </a:cubicBezTo>
                  <a:close/>
                  <a:moveTo>
                    <a:pt x="245" y="445"/>
                  </a:moveTo>
                  <a:cubicBezTo>
                    <a:pt x="245" y="445"/>
                    <a:pt x="245" y="445"/>
                    <a:pt x="245" y="445"/>
                  </a:cubicBezTo>
                  <a:cubicBezTo>
                    <a:pt x="257" y="445"/>
                    <a:pt x="268" y="446"/>
                    <a:pt x="280" y="446"/>
                  </a:cubicBezTo>
                  <a:cubicBezTo>
                    <a:pt x="292" y="446"/>
                    <a:pt x="304" y="446"/>
                    <a:pt x="316" y="447"/>
                  </a:cubicBezTo>
                  <a:cubicBezTo>
                    <a:pt x="319" y="448"/>
                    <a:pt x="323" y="449"/>
                    <a:pt x="326" y="447"/>
                  </a:cubicBezTo>
                  <a:cubicBezTo>
                    <a:pt x="327" y="447"/>
                    <a:pt x="327" y="444"/>
                    <a:pt x="327" y="445"/>
                  </a:cubicBezTo>
                  <a:cubicBezTo>
                    <a:pt x="327" y="444"/>
                    <a:pt x="327" y="442"/>
                    <a:pt x="327" y="440"/>
                  </a:cubicBezTo>
                  <a:cubicBezTo>
                    <a:pt x="327" y="440"/>
                    <a:pt x="327" y="439"/>
                    <a:pt x="327" y="438"/>
                  </a:cubicBezTo>
                  <a:cubicBezTo>
                    <a:pt x="324" y="438"/>
                    <a:pt x="322" y="438"/>
                    <a:pt x="320" y="438"/>
                  </a:cubicBezTo>
                  <a:cubicBezTo>
                    <a:pt x="316" y="438"/>
                    <a:pt x="312" y="439"/>
                    <a:pt x="309" y="439"/>
                  </a:cubicBezTo>
                  <a:cubicBezTo>
                    <a:pt x="299" y="439"/>
                    <a:pt x="290" y="440"/>
                    <a:pt x="281" y="440"/>
                  </a:cubicBezTo>
                  <a:cubicBezTo>
                    <a:pt x="271" y="441"/>
                    <a:pt x="262" y="441"/>
                    <a:pt x="253" y="441"/>
                  </a:cubicBezTo>
                  <a:cubicBezTo>
                    <a:pt x="248" y="440"/>
                    <a:pt x="243" y="440"/>
                    <a:pt x="239" y="440"/>
                  </a:cubicBezTo>
                  <a:cubicBezTo>
                    <a:pt x="235" y="439"/>
                    <a:pt x="230" y="440"/>
                    <a:pt x="226" y="438"/>
                  </a:cubicBezTo>
                  <a:cubicBezTo>
                    <a:pt x="225" y="440"/>
                    <a:pt x="225" y="442"/>
                    <a:pt x="224" y="444"/>
                  </a:cubicBezTo>
                  <a:cubicBezTo>
                    <a:pt x="225" y="445"/>
                    <a:pt x="226" y="445"/>
                    <a:pt x="227" y="445"/>
                  </a:cubicBezTo>
                  <a:cubicBezTo>
                    <a:pt x="232" y="446"/>
                    <a:pt x="239" y="446"/>
                    <a:pt x="245" y="445"/>
                  </a:cubicBezTo>
                  <a:close/>
                  <a:moveTo>
                    <a:pt x="210" y="316"/>
                  </a:moveTo>
                  <a:cubicBezTo>
                    <a:pt x="210" y="316"/>
                    <a:pt x="210" y="316"/>
                    <a:pt x="210" y="316"/>
                  </a:cubicBezTo>
                  <a:cubicBezTo>
                    <a:pt x="210" y="315"/>
                    <a:pt x="210" y="313"/>
                    <a:pt x="210" y="311"/>
                  </a:cubicBezTo>
                  <a:cubicBezTo>
                    <a:pt x="210" y="311"/>
                    <a:pt x="210" y="310"/>
                    <a:pt x="210" y="310"/>
                  </a:cubicBezTo>
                  <a:cubicBezTo>
                    <a:pt x="207" y="304"/>
                    <a:pt x="204" y="300"/>
                    <a:pt x="200" y="296"/>
                  </a:cubicBezTo>
                  <a:cubicBezTo>
                    <a:pt x="197" y="293"/>
                    <a:pt x="195" y="291"/>
                    <a:pt x="193" y="289"/>
                  </a:cubicBezTo>
                  <a:cubicBezTo>
                    <a:pt x="192" y="289"/>
                    <a:pt x="192" y="289"/>
                    <a:pt x="192" y="289"/>
                  </a:cubicBezTo>
                  <a:cubicBezTo>
                    <a:pt x="188" y="292"/>
                    <a:pt x="184" y="295"/>
                    <a:pt x="181" y="299"/>
                  </a:cubicBezTo>
                  <a:cubicBezTo>
                    <a:pt x="186" y="299"/>
                    <a:pt x="191" y="304"/>
                    <a:pt x="195" y="308"/>
                  </a:cubicBezTo>
                  <a:cubicBezTo>
                    <a:pt x="199" y="311"/>
                    <a:pt x="202" y="316"/>
                    <a:pt x="205" y="320"/>
                  </a:cubicBezTo>
                  <a:cubicBezTo>
                    <a:pt x="207" y="319"/>
                    <a:pt x="208" y="318"/>
                    <a:pt x="210" y="316"/>
                  </a:cubicBezTo>
                  <a:close/>
                  <a:moveTo>
                    <a:pt x="193" y="351"/>
                  </a:moveTo>
                  <a:cubicBezTo>
                    <a:pt x="193" y="351"/>
                    <a:pt x="193" y="351"/>
                    <a:pt x="193" y="351"/>
                  </a:cubicBezTo>
                  <a:cubicBezTo>
                    <a:pt x="190" y="349"/>
                    <a:pt x="186" y="346"/>
                    <a:pt x="184" y="343"/>
                  </a:cubicBezTo>
                  <a:cubicBezTo>
                    <a:pt x="179" y="339"/>
                    <a:pt x="173" y="335"/>
                    <a:pt x="169" y="330"/>
                  </a:cubicBezTo>
                  <a:cubicBezTo>
                    <a:pt x="169" y="328"/>
                    <a:pt x="169" y="327"/>
                    <a:pt x="171" y="327"/>
                  </a:cubicBezTo>
                  <a:cubicBezTo>
                    <a:pt x="177" y="327"/>
                    <a:pt x="182" y="332"/>
                    <a:pt x="185" y="336"/>
                  </a:cubicBezTo>
                  <a:cubicBezTo>
                    <a:pt x="188" y="339"/>
                    <a:pt x="191" y="342"/>
                    <a:pt x="194" y="345"/>
                  </a:cubicBezTo>
                  <a:cubicBezTo>
                    <a:pt x="196" y="338"/>
                    <a:pt x="198" y="331"/>
                    <a:pt x="202" y="325"/>
                  </a:cubicBezTo>
                  <a:cubicBezTo>
                    <a:pt x="198" y="321"/>
                    <a:pt x="195" y="318"/>
                    <a:pt x="192" y="314"/>
                  </a:cubicBezTo>
                  <a:cubicBezTo>
                    <a:pt x="189" y="312"/>
                    <a:pt x="187" y="310"/>
                    <a:pt x="184" y="308"/>
                  </a:cubicBezTo>
                  <a:cubicBezTo>
                    <a:pt x="182" y="306"/>
                    <a:pt x="180" y="305"/>
                    <a:pt x="179" y="302"/>
                  </a:cubicBezTo>
                  <a:cubicBezTo>
                    <a:pt x="174" y="308"/>
                    <a:pt x="171" y="314"/>
                    <a:pt x="169" y="321"/>
                  </a:cubicBezTo>
                  <a:cubicBezTo>
                    <a:pt x="166" y="330"/>
                    <a:pt x="166" y="339"/>
                    <a:pt x="164" y="347"/>
                  </a:cubicBezTo>
                  <a:cubicBezTo>
                    <a:pt x="164" y="350"/>
                    <a:pt x="163" y="352"/>
                    <a:pt x="163" y="354"/>
                  </a:cubicBezTo>
                  <a:cubicBezTo>
                    <a:pt x="164" y="355"/>
                    <a:pt x="165" y="356"/>
                    <a:pt x="166" y="356"/>
                  </a:cubicBezTo>
                  <a:cubicBezTo>
                    <a:pt x="169" y="358"/>
                    <a:pt x="173" y="361"/>
                    <a:pt x="176" y="363"/>
                  </a:cubicBezTo>
                  <a:cubicBezTo>
                    <a:pt x="178" y="365"/>
                    <a:pt x="179" y="367"/>
                    <a:pt x="181" y="370"/>
                  </a:cubicBezTo>
                  <a:cubicBezTo>
                    <a:pt x="182" y="372"/>
                    <a:pt x="184" y="375"/>
                    <a:pt x="186" y="377"/>
                  </a:cubicBezTo>
                  <a:cubicBezTo>
                    <a:pt x="190" y="369"/>
                    <a:pt x="191" y="360"/>
                    <a:pt x="193" y="351"/>
                  </a:cubicBezTo>
                  <a:close/>
                  <a:moveTo>
                    <a:pt x="183" y="383"/>
                  </a:moveTo>
                  <a:cubicBezTo>
                    <a:pt x="183" y="383"/>
                    <a:pt x="183" y="383"/>
                    <a:pt x="183" y="383"/>
                  </a:cubicBezTo>
                  <a:cubicBezTo>
                    <a:pt x="183" y="382"/>
                    <a:pt x="184" y="381"/>
                    <a:pt x="185" y="380"/>
                  </a:cubicBezTo>
                  <a:cubicBezTo>
                    <a:pt x="180" y="378"/>
                    <a:pt x="177" y="373"/>
                    <a:pt x="174" y="370"/>
                  </a:cubicBezTo>
                  <a:cubicBezTo>
                    <a:pt x="171" y="367"/>
                    <a:pt x="168" y="365"/>
                    <a:pt x="164" y="362"/>
                  </a:cubicBezTo>
                  <a:cubicBezTo>
                    <a:pt x="163" y="362"/>
                    <a:pt x="162" y="361"/>
                    <a:pt x="161" y="360"/>
                  </a:cubicBezTo>
                  <a:cubicBezTo>
                    <a:pt x="159" y="365"/>
                    <a:pt x="156" y="369"/>
                    <a:pt x="153" y="372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6" y="374"/>
                    <a:pt x="159" y="378"/>
                    <a:pt x="161" y="381"/>
                  </a:cubicBezTo>
                  <a:cubicBezTo>
                    <a:pt x="164" y="386"/>
                    <a:pt x="166" y="392"/>
                    <a:pt x="168" y="397"/>
                  </a:cubicBezTo>
                  <a:cubicBezTo>
                    <a:pt x="174" y="393"/>
                    <a:pt x="179" y="388"/>
                    <a:pt x="183" y="383"/>
                  </a:cubicBezTo>
                  <a:close/>
                  <a:moveTo>
                    <a:pt x="118" y="413"/>
                  </a:moveTo>
                  <a:cubicBezTo>
                    <a:pt x="118" y="413"/>
                    <a:pt x="118" y="413"/>
                    <a:pt x="118" y="413"/>
                  </a:cubicBezTo>
                  <a:cubicBezTo>
                    <a:pt x="118" y="414"/>
                    <a:pt x="118" y="414"/>
                    <a:pt x="118" y="415"/>
                  </a:cubicBezTo>
                  <a:cubicBezTo>
                    <a:pt x="120" y="414"/>
                    <a:pt x="123" y="413"/>
                    <a:pt x="126" y="413"/>
                  </a:cubicBezTo>
                  <a:cubicBezTo>
                    <a:pt x="130" y="412"/>
                    <a:pt x="134" y="411"/>
                    <a:pt x="137" y="410"/>
                  </a:cubicBezTo>
                  <a:cubicBezTo>
                    <a:pt x="144" y="409"/>
                    <a:pt x="149" y="407"/>
                    <a:pt x="155" y="404"/>
                  </a:cubicBezTo>
                  <a:cubicBezTo>
                    <a:pt x="158" y="403"/>
                    <a:pt x="161" y="401"/>
                    <a:pt x="164" y="399"/>
                  </a:cubicBezTo>
                  <a:cubicBezTo>
                    <a:pt x="162" y="395"/>
                    <a:pt x="159" y="391"/>
                    <a:pt x="157" y="386"/>
                  </a:cubicBezTo>
                  <a:cubicBezTo>
                    <a:pt x="155" y="383"/>
                    <a:pt x="151" y="380"/>
                    <a:pt x="149" y="376"/>
                  </a:cubicBezTo>
                  <a:cubicBezTo>
                    <a:pt x="145" y="379"/>
                    <a:pt x="141" y="381"/>
                    <a:pt x="137" y="383"/>
                  </a:cubicBezTo>
                  <a:cubicBezTo>
                    <a:pt x="137" y="384"/>
                    <a:pt x="137" y="385"/>
                    <a:pt x="137" y="385"/>
                  </a:cubicBezTo>
                  <a:cubicBezTo>
                    <a:pt x="140" y="392"/>
                    <a:pt x="141" y="398"/>
                    <a:pt x="143" y="404"/>
                  </a:cubicBezTo>
                  <a:cubicBezTo>
                    <a:pt x="144" y="407"/>
                    <a:pt x="139" y="409"/>
                    <a:pt x="138" y="407"/>
                  </a:cubicBezTo>
                  <a:cubicBezTo>
                    <a:pt x="135" y="402"/>
                    <a:pt x="134" y="396"/>
                    <a:pt x="132" y="391"/>
                  </a:cubicBezTo>
                  <a:cubicBezTo>
                    <a:pt x="131" y="389"/>
                    <a:pt x="131" y="387"/>
                    <a:pt x="130" y="385"/>
                  </a:cubicBezTo>
                  <a:cubicBezTo>
                    <a:pt x="125" y="387"/>
                    <a:pt x="118" y="389"/>
                    <a:pt x="112" y="388"/>
                  </a:cubicBezTo>
                  <a:cubicBezTo>
                    <a:pt x="113" y="389"/>
                    <a:pt x="113" y="389"/>
                    <a:pt x="113" y="389"/>
                  </a:cubicBezTo>
                  <a:cubicBezTo>
                    <a:pt x="116" y="397"/>
                    <a:pt x="117" y="405"/>
                    <a:pt x="118" y="413"/>
                  </a:cubicBezTo>
                  <a:close/>
                  <a:moveTo>
                    <a:pt x="104" y="429"/>
                  </a:moveTo>
                  <a:cubicBezTo>
                    <a:pt x="104" y="429"/>
                    <a:pt x="104" y="429"/>
                    <a:pt x="104" y="429"/>
                  </a:cubicBezTo>
                  <a:cubicBezTo>
                    <a:pt x="104" y="429"/>
                    <a:pt x="105" y="428"/>
                    <a:pt x="105" y="426"/>
                  </a:cubicBezTo>
                  <a:cubicBezTo>
                    <a:pt x="106" y="423"/>
                    <a:pt x="105" y="417"/>
                    <a:pt x="105" y="413"/>
                  </a:cubicBezTo>
                  <a:cubicBezTo>
                    <a:pt x="104" y="407"/>
                    <a:pt x="103" y="400"/>
                    <a:pt x="101" y="394"/>
                  </a:cubicBezTo>
                  <a:cubicBezTo>
                    <a:pt x="101" y="392"/>
                    <a:pt x="100" y="390"/>
                    <a:pt x="100" y="388"/>
                  </a:cubicBezTo>
                  <a:cubicBezTo>
                    <a:pt x="97" y="384"/>
                    <a:pt x="96" y="379"/>
                    <a:pt x="94" y="375"/>
                  </a:cubicBezTo>
                  <a:cubicBezTo>
                    <a:pt x="94" y="376"/>
                    <a:pt x="93" y="376"/>
                    <a:pt x="93" y="376"/>
                  </a:cubicBezTo>
                  <a:cubicBezTo>
                    <a:pt x="92" y="378"/>
                    <a:pt x="91" y="380"/>
                    <a:pt x="91" y="382"/>
                  </a:cubicBezTo>
                  <a:cubicBezTo>
                    <a:pt x="91" y="389"/>
                    <a:pt x="94" y="396"/>
                    <a:pt x="96" y="403"/>
                  </a:cubicBezTo>
                  <a:cubicBezTo>
                    <a:pt x="98" y="411"/>
                    <a:pt x="99" y="419"/>
                    <a:pt x="102" y="427"/>
                  </a:cubicBezTo>
                  <a:cubicBezTo>
                    <a:pt x="102" y="428"/>
                    <a:pt x="102" y="429"/>
                    <a:pt x="102" y="430"/>
                  </a:cubicBezTo>
                  <a:cubicBezTo>
                    <a:pt x="103" y="429"/>
                    <a:pt x="103" y="429"/>
                    <a:pt x="104" y="429"/>
                  </a:cubicBezTo>
                  <a:close/>
                  <a:moveTo>
                    <a:pt x="80" y="441"/>
                  </a:moveTo>
                  <a:cubicBezTo>
                    <a:pt x="80" y="441"/>
                    <a:pt x="80" y="441"/>
                    <a:pt x="80" y="441"/>
                  </a:cubicBezTo>
                  <a:cubicBezTo>
                    <a:pt x="83" y="440"/>
                    <a:pt x="85" y="437"/>
                    <a:pt x="87" y="434"/>
                  </a:cubicBezTo>
                  <a:cubicBezTo>
                    <a:pt x="87" y="432"/>
                    <a:pt x="88" y="429"/>
                    <a:pt x="88" y="427"/>
                  </a:cubicBezTo>
                  <a:cubicBezTo>
                    <a:pt x="87" y="424"/>
                    <a:pt x="87" y="421"/>
                    <a:pt x="86" y="419"/>
                  </a:cubicBezTo>
                  <a:cubicBezTo>
                    <a:pt x="85" y="412"/>
                    <a:pt x="83" y="406"/>
                    <a:pt x="81" y="399"/>
                  </a:cubicBezTo>
                  <a:cubicBezTo>
                    <a:pt x="80" y="397"/>
                    <a:pt x="80" y="394"/>
                    <a:pt x="79" y="392"/>
                  </a:cubicBezTo>
                  <a:cubicBezTo>
                    <a:pt x="77" y="391"/>
                    <a:pt x="76" y="390"/>
                    <a:pt x="74" y="389"/>
                  </a:cubicBezTo>
                  <a:cubicBezTo>
                    <a:pt x="71" y="387"/>
                    <a:pt x="68" y="386"/>
                    <a:pt x="64" y="385"/>
                  </a:cubicBezTo>
                  <a:cubicBezTo>
                    <a:pt x="59" y="385"/>
                    <a:pt x="55" y="384"/>
                    <a:pt x="50" y="385"/>
                  </a:cubicBezTo>
                  <a:cubicBezTo>
                    <a:pt x="48" y="385"/>
                    <a:pt x="45" y="387"/>
                    <a:pt x="42" y="387"/>
                  </a:cubicBezTo>
                  <a:cubicBezTo>
                    <a:pt x="42" y="394"/>
                    <a:pt x="44" y="401"/>
                    <a:pt x="44" y="408"/>
                  </a:cubicBezTo>
                  <a:cubicBezTo>
                    <a:pt x="45" y="416"/>
                    <a:pt x="47" y="423"/>
                    <a:pt x="50" y="431"/>
                  </a:cubicBezTo>
                  <a:cubicBezTo>
                    <a:pt x="51" y="435"/>
                    <a:pt x="51" y="439"/>
                    <a:pt x="52" y="442"/>
                  </a:cubicBezTo>
                  <a:cubicBezTo>
                    <a:pt x="53" y="443"/>
                    <a:pt x="53" y="444"/>
                    <a:pt x="53" y="445"/>
                  </a:cubicBezTo>
                  <a:cubicBezTo>
                    <a:pt x="62" y="444"/>
                    <a:pt x="71" y="443"/>
                    <a:pt x="80" y="44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islîḋe"/>
            <p:cNvSpPr/>
            <p:nvPr/>
          </p:nvSpPr>
          <p:spPr bwMode="auto">
            <a:xfrm>
              <a:off x="6616196" y="3674424"/>
              <a:ext cx="77914" cy="169375"/>
            </a:xfrm>
            <a:custGeom>
              <a:avLst/>
              <a:gdLst>
                <a:gd name="T0" fmla="*/ 0 w 11"/>
                <a:gd name="T1" fmla="*/ 18 h 24"/>
                <a:gd name="T2" fmla="*/ 2 w 11"/>
                <a:gd name="T3" fmla="*/ 2 h 24"/>
                <a:gd name="T4" fmla="*/ 9 w 11"/>
                <a:gd name="T5" fmla="*/ 2 h 24"/>
                <a:gd name="T6" fmla="*/ 10 w 11"/>
                <a:gd name="T7" fmla="*/ 18 h 24"/>
                <a:gd name="T8" fmla="*/ 0 w 11"/>
                <a:gd name="T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4">
                  <a:moveTo>
                    <a:pt x="0" y="18"/>
                  </a:moveTo>
                  <a:cubicBezTo>
                    <a:pt x="0" y="13"/>
                    <a:pt x="0" y="7"/>
                    <a:pt x="2" y="2"/>
                  </a:cubicBezTo>
                  <a:cubicBezTo>
                    <a:pt x="3" y="0"/>
                    <a:pt x="8" y="0"/>
                    <a:pt x="9" y="2"/>
                  </a:cubicBezTo>
                  <a:cubicBezTo>
                    <a:pt x="11" y="7"/>
                    <a:pt x="11" y="13"/>
                    <a:pt x="10" y="18"/>
                  </a:cubicBezTo>
                  <a:cubicBezTo>
                    <a:pt x="10" y="24"/>
                    <a:pt x="1" y="24"/>
                    <a:pt x="0" y="1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ïṧlïḍé"/>
            <p:cNvSpPr/>
            <p:nvPr/>
          </p:nvSpPr>
          <p:spPr bwMode="auto">
            <a:xfrm>
              <a:off x="6517959" y="3681199"/>
              <a:ext cx="84689" cy="138889"/>
            </a:xfrm>
            <a:custGeom>
              <a:avLst/>
              <a:gdLst>
                <a:gd name="T0" fmla="*/ 8 w 12"/>
                <a:gd name="T1" fmla="*/ 19 h 20"/>
                <a:gd name="T2" fmla="*/ 3 w 12"/>
                <a:gd name="T3" fmla="*/ 19 h 20"/>
                <a:gd name="T4" fmla="*/ 1 w 12"/>
                <a:gd name="T5" fmla="*/ 9 h 20"/>
                <a:gd name="T6" fmla="*/ 7 w 12"/>
                <a:gd name="T7" fmla="*/ 0 h 20"/>
                <a:gd name="T8" fmla="*/ 11 w 12"/>
                <a:gd name="T9" fmla="*/ 3 h 20"/>
                <a:gd name="T10" fmla="*/ 11 w 12"/>
                <a:gd name="T11" fmla="*/ 10 h 20"/>
                <a:gd name="T12" fmla="*/ 8 w 12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">
                  <a:moveTo>
                    <a:pt x="8" y="19"/>
                  </a:moveTo>
                  <a:cubicBezTo>
                    <a:pt x="7" y="20"/>
                    <a:pt x="4" y="20"/>
                    <a:pt x="3" y="19"/>
                  </a:cubicBezTo>
                  <a:cubicBezTo>
                    <a:pt x="0" y="16"/>
                    <a:pt x="1" y="12"/>
                    <a:pt x="1" y="9"/>
                  </a:cubicBezTo>
                  <a:cubicBezTo>
                    <a:pt x="2" y="5"/>
                    <a:pt x="3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ubicBezTo>
                    <a:pt x="12" y="5"/>
                    <a:pt x="11" y="8"/>
                    <a:pt x="11" y="10"/>
                  </a:cubicBezTo>
                  <a:cubicBezTo>
                    <a:pt x="11" y="14"/>
                    <a:pt x="11" y="17"/>
                    <a:pt x="8" y="1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íşḷíḑè"/>
            <p:cNvSpPr/>
            <p:nvPr/>
          </p:nvSpPr>
          <p:spPr bwMode="auto">
            <a:xfrm>
              <a:off x="6419720" y="3667649"/>
              <a:ext cx="84689" cy="165989"/>
            </a:xfrm>
            <a:custGeom>
              <a:avLst/>
              <a:gdLst>
                <a:gd name="T0" fmla="*/ 1 w 12"/>
                <a:gd name="T1" fmla="*/ 20 h 24"/>
                <a:gd name="T2" fmla="*/ 4 w 12"/>
                <a:gd name="T3" fmla="*/ 2 h 24"/>
                <a:gd name="T4" fmla="*/ 10 w 12"/>
                <a:gd name="T5" fmla="*/ 2 h 24"/>
                <a:gd name="T6" fmla="*/ 10 w 12"/>
                <a:gd name="T7" fmla="*/ 20 h 24"/>
                <a:gd name="T8" fmla="*/ 1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1" y="20"/>
                  </a:moveTo>
                  <a:cubicBezTo>
                    <a:pt x="0" y="14"/>
                    <a:pt x="1" y="7"/>
                    <a:pt x="4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7"/>
                    <a:pt x="11" y="14"/>
                    <a:pt x="10" y="20"/>
                  </a:cubicBezTo>
                  <a:cubicBezTo>
                    <a:pt x="8" y="23"/>
                    <a:pt x="3" y="24"/>
                    <a:pt x="1" y="2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îṧlîďe"/>
            <p:cNvSpPr/>
            <p:nvPr/>
          </p:nvSpPr>
          <p:spPr bwMode="auto">
            <a:xfrm>
              <a:off x="6419720" y="3667649"/>
              <a:ext cx="84689" cy="165989"/>
            </a:xfrm>
            <a:custGeom>
              <a:avLst/>
              <a:gdLst>
                <a:gd name="T0" fmla="*/ 1 w 12"/>
                <a:gd name="T1" fmla="*/ 20 h 24"/>
                <a:gd name="T2" fmla="*/ 4 w 12"/>
                <a:gd name="T3" fmla="*/ 2 h 24"/>
                <a:gd name="T4" fmla="*/ 10 w 12"/>
                <a:gd name="T5" fmla="*/ 2 h 24"/>
                <a:gd name="T6" fmla="*/ 10 w 12"/>
                <a:gd name="T7" fmla="*/ 20 h 24"/>
                <a:gd name="T8" fmla="*/ 1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1" y="20"/>
                  </a:moveTo>
                  <a:cubicBezTo>
                    <a:pt x="0" y="14"/>
                    <a:pt x="1" y="7"/>
                    <a:pt x="4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7"/>
                    <a:pt x="11" y="14"/>
                    <a:pt x="10" y="20"/>
                  </a:cubicBezTo>
                  <a:cubicBezTo>
                    <a:pt x="8" y="23"/>
                    <a:pt x="3" y="24"/>
                    <a:pt x="1" y="2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i$ľïḓé"/>
            <p:cNvSpPr/>
            <p:nvPr/>
          </p:nvSpPr>
          <p:spPr bwMode="auto">
            <a:xfrm>
              <a:off x="6517959" y="3681199"/>
              <a:ext cx="84689" cy="138889"/>
            </a:xfrm>
            <a:custGeom>
              <a:avLst/>
              <a:gdLst>
                <a:gd name="T0" fmla="*/ 8 w 12"/>
                <a:gd name="T1" fmla="*/ 19 h 20"/>
                <a:gd name="T2" fmla="*/ 3 w 12"/>
                <a:gd name="T3" fmla="*/ 19 h 20"/>
                <a:gd name="T4" fmla="*/ 1 w 12"/>
                <a:gd name="T5" fmla="*/ 9 h 20"/>
                <a:gd name="T6" fmla="*/ 7 w 12"/>
                <a:gd name="T7" fmla="*/ 0 h 20"/>
                <a:gd name="T8" fmla="*/ 11 w 12"/>
                <a:gd name="T9" fmla="*/ 3 h 20"/>
                <a:gd name="T10" fmla="*/ 11 w 12"/>
                <a:gd name="T11" fmla="*/ 10 h 20"/>
                <a:gd name="T12" fmla="*/ 8 w 12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">
                  <a:moveTo>
                    <a:pt x="8" y="19"/>
                  </a:moveTo>
                  <a:cubicBezTo>
                    <a:pt x="7" y="20"/>
                    <a:pt x="4" y="20"/>
                    <a:pt x="3" y="19"/>
                  </a:cubicBezTo>
                  <a:cubicBezTo>
                    <a:pt x="0" y="16"/>
                    <a:pt x="1" y="12"/>
                    <a:pt x="1" y="9"/>
                  </a:cubicBezTo>
                  <a:cubicBezTo>
                    <a:pt x="2" y="5"/>
                    <a:pt x="3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ubicBezTo>
                    <a:pt x="12" y="5"/>
                    <a:pt x="11" y="8"/>
                    <a:pt x="11" y="10"/>
                  </a:cubicBezTo>
                  <a:cubicBezTo>
                    <a:pt x="11" y="14"/>
                    <a:pt x="11" y="17"/>
                    <a:pt x="8" y="19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îšlîďê"/>
            <p:cNvSpPr/>
            <p:nvPr/>
          </p:nvSpPr>
          <p:spPr bwMode="auto">
            <a:xfrm>
              <a:off x="6616196" y="3674424"/>
              <a:ext cx="77914" cy="169375"/>
            </a:xfrm>
            <a:custGeom>
              <a:avLst/>
              <a:gdLst>
                <a:gd name="T0" fmla="*/ 0 w 11"/>
                <a:gd name="T1" fmla="*/ 18 h 24"/>
                <a:gd name="T2" fmla="*/ 2 w 11"/>
                <a:gd name="T3" fmla="*/ 2 h 24"/>
                <a:gd name="T4" fmla="*/ 9 w 11"/>
                <a:gd name="T5" fmla="*/ 2 h 24"/>
                <a:gd name="T6" fmla="*/ 10 w 11"/>
                <a:gd name="T7" fmla="*/ 18 h 24"/>
                <a:gd name="T8" fmla="*/ 0 w 11"/>
                <a:gd name="T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4">
                  <a:moveTo>
                    <a:pt x="0" y="18"/>
                  </a:moveTo>
                  <a:cubicBezTo>
                    <a:pt x="0" y="13"/>
                    <a:pt x="0" y="7"/>
                    <a:pt x="2" y="2"/>
                  </a:cubicBezTo>
                  <a:cubicBezTo>
                    <a:pt x="3" y="0"/>
                    <a:pt x="8" y="0"/>
                    <a:pt x="9" y="2"/>
                  </a:cubicBezTo>
                  <a:cubicBezTo>
                    <a:pt x="11" y="7"/>
                    <a:pt x="11" y="13"/>
                    <a:pt x="10" y="18"/>
                  </a:cubicBezTo>
                  <a:cubicBezTo>
                    <a:pt x="10" y="24"/>
                    <a:pt x="1" y="24"/>
                    <a:pt x="0" y="18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ïṧļiḓè"/>
            <p:cNvSpPr/>
            <p:nvPr/>
          </p:nvSpPr>
          <p:spPr bwMode="auto">
            <a:xfrm>
              <a:off x="6968496" y="4863441"/>
              <a:ext cx="464090" cy="399726"/>
            </a:xfrm>
            <a:custGeom>
              <a:avLst/>
              <a:gdLst>
                <a:gd name="T0" fmla="*/ 0 w 66"/>
                <a:gd name="T1" fmla="*/ 24 h 57"/>
                <a:gd name="T2" fmla="*/ 0 w 66"/>
                <a:gd name="T3" fmla="*/ 24 h 57"/>
                <a:gd name="T4" fmla="*/ 0 w 66"/>
                <a:gd name="T5" fmla="*/ 24 h 57"/>
                <a:gd name="T6" fmla="*/ 6 w 66"/>
                <a:gd name="T7" fmla="*/ 30 h 57"/>
                <a:gd name="T8" fmla="*/ 22 w 66"/>
                <a:gd name="T9" fmla="*/ 40 h 57"/>
                <a:gd name="T10" fmla="*/ 46 w 66"/>
                <a:gd name="T11" fmla="*/ 50 h 57"/>
                <a:gd name="T12" fmla="*/ 57 w 66"/>
                <a:gd name="T13" fmla="*/ 54 h 57"/>
                <a:gd name="T14" fmla="*/ 63 w 66"/>
                <a:gd name="T15" fmla="*/ 57 h 57"/>
                <a:gd name="T16" fmla="*/ 63 w 66"/>
                <a:gd name="T17" fmla="*/ 56 h 57"/>
                <a:gd name="T18" fmla="*/ 65 w 66"/>
                <a:gd name="T19" fmla="*/ 50 h 57"/>
                <a:gd name="T20" fmla="*/ 66 w 66"/>
                <a:gd name="T21" fmla="*/ 36 h 57"/>
                <a:gd name="T22" fmla="*/ 64 w 66"/>
                <a:gd name="T23" fmla="*/ 27 h 57"/>
                <a:gd name="T24" fmla="*/ 62 w 66"/>
                <a:gd name="T25" fmla="*/ 18 h 57"/>
                <a:gd name="T26" fmla="*/ 46 w 66"/>
                <a:gd name="T27" fmla="*/ 10 h 57"/>
                <a:gd name="T28" fmla="*/ 28 w 66"/>
                <a:gd name="T29" fmla="*/ 1 h 57"/>
                <a:gd name="T30" fmla="*/ 25 w 66"/>
                <a:gd name="T31" fmla="*/ 0 h 57"/>
                <a:gd name="T32" fmla="*/ 10 w 66"/>
                <a:gd name="T33" fmla="*/ 9 h 57"/>
                <a:gd name="T34" fmla="*/ 0 w 66"/>
                <a:gd name="T35" fmla="*/ 2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7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6"/>
                    <a:pt x="4" y="28"/>
                    <a:pt x="6" y="30"/>
                  </a:cubicBezTo>
                  <a:cubicBezTo>
                    <a:pt x="11" y="33"/>
                    <a:pt x="17" y="37"/>
                    <a:pt x="22" y="40"/>
                  </a:cubicBezTo>
                  <a:cubicBezTo>
                    <a:pt x="29" y="44"/>
                    <a:pt x="37" y="47"/>
                    <a:pt x="46" y="50"/>
                  </a:cubicBezTo>
                  <a:cubicBezTo>
                    <a:pt x="49" y="51"/>
                    <a:pt x="53" y="53"/>
                    <a:pt x="57" y="54"/>
                  </a:cubicBezTo>
                  <a:cubicBezTo>
                    <a:pt x="59" y="55"/>
                    <a:pt x="61" y="56"/>
                    <a:pt x="63" y="57"/>
                  </a:cubicBezTo>
                  <a:cubicBezTo>
                    <a:pt x="63" y="57"/>
                    <a:pt x="63" y="57"/>
                    <a:pt x="63" y="56"/>
                  </a:cubicBezTo>
                  <a:cubicBezTo>
                    <a:pt x="64" y="54"/>
                    <a:pt x="65" y="52"/>
                    <a:pt x="65" y="50"/>
                  </a:cubicBezTo>
                  <a:cubicBezTo>
                    <a:pt x="66" y="45"/>
                    <a:pt x="66" y="40"/>
                    <a:pt x="66" y="36"/>
                  </a:cubicBezTo>
                  <a:cubicBezTo>
                    <a:pt x="66" y="32"/>
                    <a:pt x="65" y="29"/>
                    <a:pt x="64" y="27"/>
                  </a:cubicBezTo>
                  <a:cubicBezTo>
                    <a:pt x="63" y="24"/>
                    <a:pt x="62" y="20"/>
                    <a:pt x="62" y="18"/>
                  </a:cubicBezTo>
                  <a:cubicBezTo>
                    <a:pt x="56" y="15"/>
                    <a:pt x="51" y="12"/>
                    <a:pt x="46" y="10"/>
                  </a:cubicBezTo>
                  <a:cubicBezTo>
                    <a:pt x="40" y="7"/>
                    <a:pt x="34" y="3"/>
                    <a:pt x="28" y="1"/>
                  </a:cubicBezTo>
                  <a:cubicBezTo>
                    <a:pt x="27" y="0"/>
                    <a:pt x="26" y="0"/>
                    <a:pt x="25" y="0"/>
                  </a:cubicBezTo>
                  <a:cubicBezTo>
                    <a:pt x="20" y="3"/>
                    <a:pt x="14" y="5"/>
                    <a:pt x="10" y="9"/>
                  </a:cubicBezTo>
                  <a:cubicBezTo>
                    <a:pt x="5" y="13"/>
                    <a:pt x="2" y="18"/>
                    <a:pt x="0" y="24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îsḻïďé"/>
            <p:cNvSpPr/>
            <p:nvPr/>
          </p:nvSpPr>
          <p:spPr bwMode="auto">
            <a:xfrm>
              <a:off x="6968496" y="4863441"/>
              <a:ext cx="240514" cy="250676"/>
            </a:xfrm>
            <a:custGeom>
              <a:avLst/>
              <a:gdLst>
                <a:gd name="T0" fmla="*/ 0 w 34"/>
                <a:gd name="T1" fmla="*/ 24 h 36"/>
                <a:gd name="T2" fmla="*/ 0 w 34"/>
                <a:gd name="T3" fmla="*/ 24 h 36"/>
                <a:gd name="T4" fmla="*/ 0 w 34"/>
                <a:gd name="T5" fmla="*/ 24 h 36"/>
                <a:gd name="T6" fmla="*/ 6 w 34"/>
                <a:gd name="T7" fmla="*/ 30 h 36"/>
                <a:gd name="T8" fmla="*/ 14 w 34"/>
                <a:gd name="T9" fmla="*/ 36 h 36"/>
                <a:gd name="T10" fmla="*/ 34 w 34"/>
                <a:gd name="T11" fmla="*/ 3 h 36"/>
                <a:gd name="T12" fmla="*/ 28 w 34"/>
                <a:gd name="T13" fmla="*/ 1 h 36"/>
                <a:gd name="T14" fmla="*/ 25 w 34"/>
                <a:gd name="T15" fmla="*/ 0 h 36"/>
                <a:gd name="T16" fmla="*/ 10 w 34"/>
                <a:gd name="T17" fmla="*/ 9 h 36"/>
                <a:gd name="T18" fmla="*/ 0 w 34"/>
                <a:gd name="T1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6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6"/>
                    <a:pt x="4" y="28"/>
                    <a:pt x="6" y="30"/>
                  </a:cubicBezTo>
                  <a:cubicBezTo>
                    <a:pt x="9" y="32"/>
                    <a:pt x="11" y="34"/>
                    <a:pt x="14" y="36"/>
                  </a:cubicBezTo>
                  <a:cubicBezTo>
                    <a:pt x="17" y="20"/>
                    <a:pt x="28" y="10"/>
                    <a:pt x="34" y="3"/>
                  </a:cubicBezTo>
                  <a:cubicBezTo>
                    <a:pt x="32" y="2"/>
                    <a:pt x="30" y="2"/>
                    <a:pt x="28" y="1"/>
                  </a:cubicBezTo>
                  <a:cubicBezTo>
                    <a:pt x="27" y="0"/>
                    <a:pt x="26" y="0"/>
                    <a:pt x="25" y="0"/>
                  </a:cubicBezTo>
                  <a:cubicBezTo>
                    <a:pt x="20" y="3"/>
                    <a:pt x="14" y="5"/>
                    <a:pt x="10" y="9"/>
                  </a:cubicBezTo>
                  <a:cubicBezTo>
                    <a:pt x="5" y="13"/>
                    <a:pt x="2" y="18"/>
                    <a:pt x="0" y="24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iş1íďê"/>
            <p:cNvSpPr/>
            <p:nvPr/>
          </p:nvSpPr>
          <p:spPr bwMode="auto">
            <a:xfrm>
              <a:off x="6097908" y="5347853"/>
              <a:ext cx="542001" cy="287939"/>
            </a:xfrm>
            <a:custGeom>
              <a:avLst/>
              <a:gdLst>
                <a:gd name="T0" fmla="*/ 3 w 77"/>
                <a:gd name="T1" fmla="*/ 19 h 41"/>
                <a:gd name="T2" fmla="*/ 3 w 77"/>
                <a:gd name="T3" fmla="*/ 19 h 41"/>
                <a:gd name="T4" fmla="*/ 0 w 77"/>
                <a:gd name="T5" fmla="*/ 34 h 41"/>
                <a:gd name="T6" fmla="*/ 0 w 77"/>
                <a:gd name="T7" fmla="*/ 35 h 41"/>
                <a:gd name="T8" fmla="*/ 1 w 77"/>
                <a:gd name="T9" fmla="*/ 36 h 41"/>
                <a:gd name="T10" fmla="*/ 5 w 77"/>
                <a:gd name="T11" fmla="*/ 38 h 41"/>
                <a:gd name="T12" fmla="*/ 9 w 77"/>
                <a:gd name="T13" fmla="*/ 37 h 41"/>
                <a:gd name="T14" fmla="*/ 21 w 77"/>
                <a:gd name="T15" fmla="*/ 37 h 41"/>
                <a:gd name="T16" fmla="*/ 41 w 77"/>
                <a:gd name="T17" fmla="*/ 37 h 41"/>
                <a:gd name="T18" fmla="*/ 73 w 77"/>
                <a:gd name="T19" fmla="*/ 38 h 41"/>
                <a:gd name="T20" fmla="*/ 76 w 77"/>
                <a:gd name="T21" fmla="*/ 32 h 41"/>
                <a:gd name="T22" fmla="*/ 70 w 77"/>
                <a:gd name="T23" fmla="*/ 17 h 41"/>
                <a:gd name="T24" fmla="*/ 59 w 77"/>
                <a:gd name="T25" fmla="*/ 5 h 41"/>
                <a:gd name="T26" fmla="*/ 54 w 77"/>
                <a:gd name="T27" fmla="*/ 1 h 41"/>
                <a:gd name="T28" fmla="*/ 46 w 77"/>
                <a:gd name="T29" fmla="*/ 4 h 41"/>
                <a:gd name="T30" fmla="*/ 35 w 77"/>
                <a:gd name="T31" fmla="*/ 5 h 41"/>
                <a:gd name="T32" fmla="*/ 19 w 77"/>
                <a:gd name="T33" fmla="*/ 0 h 41"/>
                <a:gd name="T34" fmla="*/ 13 w 77"/>
                <a:gd name="T35" fmla="*/ 6 h 41"/>
                <a:gd name="T36" fmla="*/ 3 w 77"/>
                <a:gd name="T37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41">
                  <a:moveTo>
                    <a:pt x="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23"/>
                    <a:pt x="0" y="29"/>
                    <a:pt x="0" y="34"/>
                  </a:cubicBezTo>
                  <a:cubicBezTo>
                    <a:pt x="0" y="33"/>
                    <a:pt x="0" y="34"/>
                    <a:pt x="0" y="35"/>
                  </a:cubicBezTo>
                  <a:cubicBezTo>
                    <a:pt x="1" y="35"/>
                    <a:pt x="1" y="36"/>
                    <a:pt x="1" y="36"/>
                  </a:cubicBezTo>
                  <a:cubicBezTo>
                    <a:pt x="3" y="36"/>
                    <a:pt x="4" y="37"/>
                    <a:pt x="5" y="38"/>
                  </a:cubicBezTo>
                  <a:cubicBezTo>
                    <a:pt x="6" y="38"/>
                    <a:pt x="7" y="37"/>
                    <a:pt x="9" y="37"/>
                  </a:cubicBezTo>
                  <a:cubicBezTo>
                    <a:pt x="12" y="37"/>
                    <a:pt x="16" y="37"/>
                    <a:pt x="21" y="37"/>
                  </a:cubicBezTo>
                  <a:cubicBezTo>
                    <a:pt x="27" y="37"/>
                    <a:pt x="34" y="37"/>
                    <a:pt x="41" y="37"/>
                  </a:cubicBezTo>
                  <a:cubicBezTo>
                    <a:pt x="52" y="38"/>
                    <a:pt x="63" y="41"/>
                    <a:pt x="73" y="38"/>
                  </a:cubicBezTo>
                  <a:cubicBezTo>
                    <a:pt x="76" y="37"/>
                    <a:pt x="77" y="36"/>
                    <a:pt x="76" y="32"/>
                  </a:cubicBezTo>
                  <a:cubicBezTo>
                    <a:pt x="75" y="27"/>
                    <a:pt x="73" y="22"/>
                    <a:pt x="70" y="17"/>
                  </a:cubicBezTo>
                  <a:cubicBezTo>
                    <a:pt x="67" y="13"/>
                    <a:pt x="63" y="9"/>
                    <a:pt x="59" y="5"/>
                  </a:cubicBezTo>
                  <a:cubicBezTo>
                    <a:pt x="58" y="4"/>
                    <a:pt x="56" y="3"/>
                    <a:pt x="54" y="1"/>
                  </a:cubicBezTo>
                  <a:cubicBezTo>
                    <a:pt x="51" y="2"/>
                    <a:pt x="49" y="3"/>
                    <a:pt x="46" y="4"/>
                  </a:cubicBezTo>
                  <a:cubicBezTo>
                    <a:pt x="43" y="5"/>
                    <a:pt x="39" y="5"/>
                    <a:pt x="35" y="5"/>
                  </a:cubicBezTo>
                  <a:cubicBezTo>
                    <a:pt x="30" y="5"/>
                    <a:pt x="23" y="4"/>
                    <a:pt x="19" y="0"/>
                  </a:cubicBezTo>
                  <a:cubicBezTo>
                    <a:pt x="17" y="2"/>
                    <a:pt x="15" y="4"/>
                    <a:pt x="13" y="6"/>
                  </a:cubicBezTo>
                  <a:cubicBezTo>
                    <a:pt x="9" y="9"/>
                    <a:pt x="5" y="14"/>
                    <a:pt x="3" y="19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îṥliḑe"/>
            <p:cNvSpPr/>
            <p:nvPr/>
          </p:nvSpPr>
          <p:spPr bwMode="auto">
            <a:xfrm>
              <a:off x="6341808" y="5354628"/>
              <a:ext cx="298101" cy="281164"/>
            </a:xfrm>
            <a:custGeom>
              <a:avLst/>
              <a:gdLst>
                <a:gd name="T0" fmla="*/ 6 w 42"/>
                <a:gd name="T1" fmla="*/ 36 h 40"/>
                <a:gd name="T2" fmla="*/ 38 w 42"/>
                <a:gd name="T3" fmla="*/ 37 h 40"/>
                <a:gd name="T4" fmla="*/ 41 w 42"/>
                <a:gd name="T5" fmla="*/ 31 h 40"/>
                <a:gd name="T6" fmla="*/ 35 w 42"/>
                <a:gd name="T7" fmla="*/ 16 h 40"/>
                <a:gd name="T8" fmla="*/ 24 w 42"/>
                <a:gd name="T9" fmla="*/ 4 h 40"/>
                <a:gd name="T10" fmla="*/ 19 w 42"/>
                <a:gd name="T11" fmla="*/ 0 h 40"/>
                <a:gd name="T12" fmla="*/ 11 w 42"/>
                <a:gd name="T13" fmla="*/ 3 h 40"/>
                <a:gd name="T14" fmla="*/ 0 w 42"/>
                <a:gd name="T15" fmla="*/ 4 h 40"/>
                <a:gd name="T16" fmla="*/ 6 w 42"/>
                <a:gd name="T17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40">
                  <a:moveTo>
                    <a:pt x="6" y="36"/>
                  </a:moveTo>
                  <a:cubicBezTo>
                    <a:pt x="17" y="37"/>
                    <a:pt x="28" y="40"/>
                    <a:pt x="38" y="37"/>
                  </a:cubicBezTo>
                  <a:cubicBezTo>
                    <a:pt x="41" y="36"/>
                    <a:pt x="42" y="35"/>
                    <a:pt x="41" y="31"/>
                  </a:cubicBezTo>
                  <a:cubicBezTo>
                    <a:pt x="40" y="26"/>
                    <a:pt x="38" y="21"/>
                    <a:pt x="35" y="16"/>
                  </a:cubicBezTo>
                  <a:cubicBezTo>
                    <a:pt x="32" y="12"/>
                    <a:pt x="28" y="8"/>
                    <a:pt x="24" y="4"/>
                  </a:cubicBezTo>
                  <a:cubicBezTo>
                    <a:pt x="23" y="3"/>
                    <a:pt x="21" y="2"/>
                    <a:pt x="19" y="0"/>
                  </a:cubicBezTo>
                  <a:cubicBezTo>
                    <a:pt x="16" y="1"/>
                    <a:pt x="14" y="2"/>
                    <a:pt x="11" y="3"/>
                  </a:cubicBezTo>
                  <a:cubicBezTo>
                    <a:pt x="8" y="4"/>
                    <a:pt x="4" y="4"/>
                    <a:pt x="0" y="4"/>
                  </a:cubicBezTo>
                  <a:cubicBezTo>
                    <a:pt x="0" y="4"/>
                    <a:pt x="13" y="12"/>
                    <a:pt x="6" y="36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ïš1ídé"/>
            <p:cNvSpPr/>
            <p:nvPr/>
          </p:nvSpPr>
          <p:spPr bwMode="auto">
            <a:xfrm>
              <a:off x="4709029" y="4067375"/>
              <a:ext cx="325201" cy="430214"/>
            </a:xfrm>
            <a:custGeom>
              <a:avLst/>
              <a:gdLst>
                <a:gd name="T0" fmla="*/ 38 w 46"/>
                <a:gd name="T1" fmla="*/ 57 h 61"/>
                <a:gd name="T2" fmla="*/ 38 w 46"/>
                <a:gd name="T3" fmla="*/ 57 h 61"/>
                <a:gd name="T4" fmla="*/ 45 w 46"/>
                <a:gd name="T5" fmla="*/ 50 h 61"/>
                <a:gd name="T6" fmla="*/ 46 w 46"/>
                <a:gd name="T7" fmla="*/ 43 h 61"/>
                <a:gd name="T8" fmla="*/ 44 w 46"/>
                <a:gd name="T9" fmla="*/ 35 h 61"/>
                <a:gd name="T10" fmla="*/ 39 w 46"/>
                <a:gd name="T11" fmla="*/ 15 h 61"/>
                <a:gd name="T12" fmla="*/ 37 w 46"/>
                <a:gd name="T13" fmla="*/ 8 h 61"/>
                <a:gd name="T14" fmla="*/ 32 w 46"/>
                <a:gd name="T15" fmla="*/ 5 h 61"/>
                <a:gd name="T16" fmla="*/ 22 w 46"/>
                <a:gd name="T17" fmla="*/ 1 h 61"/>
                <a:gd name="T18" fmla="*/ 8 w 46"/>
                <a:gd name="T19" fmla="*/ 1 h 61"/>
                <a:gd name="T20" fmla="*/ 0 w 46"/>
                <a:gd name="T21" fmla="*/ 3 h 61"/>
                <a:gd name="T22" fmla="*/ 2 w 46"/>
                <a:gd name="T23" fmla="*/ 24 h 61"/>
                <a:gd name="T24" fmla="*/ 8 w 46"/>
                <a:gd name="T25" fmla="*/ 47 h 61"/>
                <a:gd name="T26" fmla="*/ 10 w 46"/>
                <a:gd name="T27" fmla="*/ 58 h 61"/>
                <a:gd name="T28" fmla="*/ 11 w 46"/>
                <a:gd name="T29" fmla="*/ 61 h 61"/>
                <a:gd name="T30" fmla="*/ 38 w 46"/>
                <a:gd name="T31" fmla="*/ 5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61">
                  <a:moveTo>
                    <a:pt x="38" y="57"/>
                  </a:moveTo>
                  <a:cubicBezTo>
                    <a:pt x="38" y="57"/>
                    <a:pt x="38" y="57"/>
                    <a:pt x="38" y="57"/>
                  </a:cubicBezTo>
                  <a:cubicBezTo>
                    <a:pt x="41" y="56"/>
                    <a:pt x="43" y="53"/>
                    <a:pt x="45" y="50"/>
                  </a:cubicBezTo>
                  <a:cubicBezTo>
                    <a:pt x="45" y="48"/>
                    <a:pt x="46" y="45"/>
                    <a:pt x="46" y="43"/>
                  </a:cubicBezTo>
                  <a:cubicBezTo>
                    <a:pt x="45" y="40"/>
                    <a:pt x="45" y="37"/>
                    <a:pt x="44" y="35"/>
                  </a:cubicBezTo>
                  <a:cubicBezTo>
                    <a:pt x="43" y="28"/>
                    <a:pt x="41" y="22"/>
                    <a:pt x="39" y="15"/>
                  </a:cubicBezTo>
                  <a:cubicBezTo>
                    <a:pt x="38" y="13"/>
                    <a:pt x="38" y="10"/>
                    <a:pt x="37" y="8"/>
                  </a:cubicBezTo>
                  <a:cubicBezTo>
                    <a:pt x="35" y="7"/>
                    <a:pt x="34" y="6"/>
                    <a:pt x="32" y="5"/>
                  </a:cubicBezTo>
                  <a:cubicBezTo>
                    <a:pt x="29" y="3"/>
                    <a:pt x="26" y="2"/>
                    <a:pt x="22" y="1"/>
                  </a:cubicBezTo>
                  <a:cubicBezTo>
                    <a:pt x="17" y="1"/>
                    <a:pt x="13" y="0"/>
                    <a:pt x="8" y="1"/>
                  </a:cubicBezTo>
                  <a:cubicBezTo>
                    <a:pt x="6" y="1"/>
                    <a:pt x="3" y="3"/>
                    <a:pt x="0" y="3"/>
                  </a:cubicBezTo>
                  <a:cubicBezTo>
                    <a:pt x="0" y="10"/>
                    <a:pt x="2" y="17"/>
                    <a:pt x="2" y="24"/>
                  </a:cubicBezTo>
                  <a:cubicBezTo>
                    <a:pt x="3" y="32"/>
                    <a:pt x="5" y="39"/>
                    <a:pt x="8" y="47"/>
                  </a:cubicBezTo>
                  <a:cubicBezTo>
                    <a:pt x="9" y="51"/>
                    <a:pt x="9" y="55"/>
                    <a:pt x="10" y="58"/>
                  </a:cubicBezTo>
                  <a:cubicBezTo>
                    <a:pt x="11" y="59"/>
                    <a:pt x="11" y="60"/>
                    <a:pt x="11" y="61"/>
                  </a:cubicBezTo>
                  <a:cubicBezTo>
                    <a:pt x="20" y="60"/>
                    <a:pt x="29" y="59"/>
                    <a:pt x="38" y="57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íŝ1ïḓê"/>
            <p:cNvSpPr/>
            <p:nvPr/>
          </p:nvSpPr>
          <p:spPr bwMode="auto">
            <a:xfrm>
              <a:off x="4736129" y="4263851"/>
              <a:ext cx="298101" cy="233739"/>
            </a:xfrm>
            <a:custGeom>
              <a:avLst/>
              <a:gdLst>
                <a:gd name="T0" fmla="*/ 34 w 42"/>
                <a:gd name="T1" fmla="*/ 29 h 33"/>
                <a:gd name="T2" fmla="*/ 34 w 42"/>
                <a:gd name="T3" fmla="*/ 29 h 33"/>
                <a:gd name="T4" fmla="*/ 41 w 42"/>
                <a:gd name="T5" fmla="*/ 22 h 33"/>
                <a:gd name="T6" fmla="*/ 42 w 42"/>
                <a:gd name="T7" fmla="*/ 15 h 33"/>
                <a:gd name="T8" fmla="*/ 40 w 42"/>
                <a:gd name="T9" fmla="*/ 7 h 33"/>
                <a:gd name="T10" fmla="*/ 39 w 42"/>
                <a:gd name="T11" fmla="*/ 0 h 33"/>
                <a:gd name="T12" fmla="*/ 0 w 42"/>
                <a:gd name="T13" fmla="*/ 3 h 33"/>
                <a:gd name="T14" fmla="*/ 4 w 42"/>
                <a:gd name="T15" fmla="*/ 19 h 33"/>
                <a:gd name="T16" fmla="*/ 6 w 42"/>
                <a:gd name="T17" fmla="*/ 30 h 33"/>
                <a:gd name="T18" fmla="*/ 7 w 42"/>
                <a:gd name="T19" fmla="*/ 33 h 33"/>
                <a:gd name="T20" fmla="*/ 34 w 42"/>
                <a:gd name="T21" fmla="*/ 2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33">
                  <a:moveTo>
                    <a:pt x="34" y="29"/>
                  </a:moveTo>
                  <a:cubicBezTo>
                    <a:pt x="34" y="29"/>
                    <a:pt x="34" y="29"/>
                    <a:pt x="34" y="29"/>
                  </a:cubicBezTo>
                  <a:cubicBezTo>
                    <a:pt x="37" y="28"/>
                    <a:pt x="39" y="25"/>
                    <a:pt x="41" y="22"/>
                  </a:cubicBezTo>
                  <a:cubicBezTo>
                    <a:pt x="41" y="20"/>
                    <a:pt x="42" y="17"/>
                    <a:pt x="42" y="15"/>
                  </a:cubicBezTo>
                  <a:cubicBezTo>
                    <a:pt x="41" y="12"/>
                    <a:pt x="41" y="9"/>
                    <a:pt x="40" y="7"/>
                  </a:cubicBezTo>
                  <a:cubicBezTo>
                    <a:pt x="40" y="5"/>
                    <a:pt x="39" y="2"/>
                    <a:pt x="39" y="0"/>
                  </a:cubicBezTo>
                  <a:cubicBezTo>
                    <a:pt x="26" y="2"/>
                    <a:pt x="13" y="3"/>
                    <a:pt x="0" y="3"/>
                  </a:cubicBezTo>
                  <a:cubicBezTo>
                    <a:pt x="1" y="9"/>
                    <a:pt x="2" y="14"/>
                    <a:pt x="4" y="19"/>
                  </a:cubicBezTo>
                  <a:cubicBezTo>
                    <a:pt x="5" y="23"/>
                    <a:pt x="5" y="27"/>
                    <a:pt x="6" y="30"/>
                  </a:cubicBezTo>
                  <a:cubicBezTo>
                    <a:pt x="7" y="31"/>
                    <a:pt x="7" y="32"/>
                    <a:pt x="7" y="33"/>
                  </a:cubicBezTo>
                  <a:cubicBezTo>
                    <a:pt x="16" y="32"/>
                    <a:pt x="25" y="31"/>
                    <a:pt x="34" y="29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ïṥ1ïdé"/>
            <p:cNvSpPr/>
            <p:nvPr/>
          </p:nvSpPr>
          <p:spPr bwMode="auto">
            <a:xfrm>
              <a:off x="6250345" y="4609376"/>
              <a:ext cx="182925" cy="687665"/>
            </a:xfrm>
            <a:custGeom>
              <a:avLst/>
              <a:gdLst>
                <a:gd name="T0" fmla="*/ 2 w 26"/>
                <a:gd name="T1" fmla="*/ 19 h 98"/>
                <a:gd name="T2" fmla="*/ 2 w 26"/>
                <a:gd name="T3" fmla="*/ 19 h 98"/>
                <a:gd name="T4" fmla="*/ 2 w 26"/>
                <a:gd name="T5" fmla="*/ 30 h 98"/>
                <a:gd name="T6" fmla="*/ 5 w 26"/>
                <a:gd name="T7" fmla="*/ 31 h 98"/>
                <a:gd name="T8" fmla="*/ 12 w 26"/>
                <a:gd name="T9" fmla="*/ 32 h 98"/>
                <a:gd name="T10" fmla="*/ 22 w 26"/>
                <a:gd name="T11" fmla="*/ 32 h 98"/>
                <a:gd name="T12" fmla="*/ 23 w 26"/>
                <a:gd name="T13" fmla="*/ 21 h 98"/>
                <a:gd name="T14" fmla="*/ 23 w 26"/>
                <a:gd name="T15" fmla="*/ 18 h 98"/>
                <a:gd name="T16" fmla="*/ 13 w 26"/>
                <a:gd name="T17" fmla="*/ 19 h 98"/>
                <a:gd name="T18" fmla="*/ 2 w 26"/>
                <a:gd name="T19" fmla="*/ 18 h 98"/>
                <a:gd name="T20" fmla="*/ 2 w 26"/>
                <a:gd name="T21" fmla="*/ 18 h 98"/>
                <a:gd name="T22" fmla="*/ 2 w 26"/>
                <a:gd name="T23" fmla="*/ 19 h 98"/>
                <a:gd name="T24" fmla="*/ 1 w 26"/>
                <a:gd name="T25" fmla="*/ 15 h 98"/>
                <a:gd name="T26" fmla="*/ 1 w 26"/>
                <a:gd name="T27" fmla="*/ 15 h 98"/>
                <a:gd name="T28" fmla="*/ 2 w 26"/>
                <a:gd name="T29" fmla="*/ 15 h 98"/>
                <a:gd name="T30" fmla="*/ 12 w 26"/>
                <a:gd name="T31" fmla="*/ 12 h 98"/>
                <a:gd name="T32" fmla="*/ 23 w 26"/>
                <a:gd name="T33" fmla="*/ 12 h 98"/>
                <a:gd name="T34" fmla="*/ 24 w 26"/>
                <a:gd name="T35" fmla="*/ 1 h 98"/>
                <a:gd name="T36" fmla="*/ 11 w 26"/>
                <a:gd name="T37" fmla="*/ 0 h 98"/>
                <a:gd name="T38" fmla="*/ 0 w 26"/>
                <a:gd name="T39" fmla="*/ 0 h 98"/>
                <a:gd name="T40" fmla="*/ 1 w 26"/>
                <a:gd name="T41" fmla="*/ 15 h 98"/>
                <a:gd name="T42" fmla="*/ 24 w 26"/>
                <a:gd name="T43" fmla="*/ 74 h 98"/>
                <a:gd name="T44" fmla="*/ 24 w 26"/>
                <a:gd name="T45" fmla="*/ 74 h 98"/>
                <a:gd name="T46" fmla="*/ 23 w 26"/>
                <a:gd name="T47" fmla="*/ 60 h 98"/>
                <a:gd name="T48" fmla="*/ 12 w 26"/>
                <a:gd name="T49" fmla="*/ 61 h 98"/>
                <a:gd name="T50" fmla="*/ 4 w 26"/>
                <a:gd name="T51" fmla="*/ 60 h 98"/>
                <a:gd name="T52" fmla="*/ 4 w 26"/>
                <a:gd name="T53" fmla="*/ 73 h 98"/>
                <a:gd name="T54" fmla="*/ 4 w 26"/>
                <a:gd name="T55" fmla="*/ 78 h 98"/>
                <a:gd name="T56" fmla="*/ 15 w 26"/>
                <a:gd name="T57" fmla="*/ 77 h 98"/>
                <a:gd name="T58" fmla="*/ 24 w 26"/>
                <a:gd name="T59" fmla="*/ 77 h 98"/>
                <a:gd name="T60" fmla="*/ 24 w 26"/>
                <a:gd name="T61" fmla="*/ 74 h 98"/>
                <a:gd name="T62" fmla="*/ 3 w 26"/>
                <a:gd name="T63" fmla="*/ 46 h 98"/>
                <a:gd name="T64" fmla="*/ 3 w 26"/>
                <a:gd name="T65" fmla="*/ 46 h 98"/>
                <a:gd name="T66" fmla="*/ 4 w 26"/>
                <a:gd name="T67" fmla="*/ 54 h 98"/>
                <a:gd name="T68" fmla="*/ 12 w 26"/>
                <a:gd name="T69" fmla="*/ 54 h 98"/>
                <a:gd name="T70" fmla="*/ 23 w 26"/>
                <a:gd name="T71" fmla="*/ 55 h 98"/>
                <a:gd name="T72" fmla="*/ 22 w 26"/>
                <a:gd name="T73" fmla="*/ 48 h 98"/>
                <a:gd name="T74" fmla="*/ 22 w 26"/>
                <a:gd name="T75" fmla="*/ 37 h 98"/>
                <a:gd name="T76" fmla="*/ 3 w 26"/>
                <a:gd name="T77" fmla="*/ 37 h 98"/>
                <a:gd name="T78" fmla="*/ 3 w 26"/>
                <a:gd name="T79" fmla="*/ 46 h 98"/>
                <a:gd name="T80" fmla="*/ 25 w 26"/>
                <a:gd name="T81" fmla="*/ 97 h 98"/>
                <a:gd name="T82" fmla="*/ 25 w 26"/>
                <a:gd name="T83" fmla="*/ 97 h 98"/>
                <a:gd name="T84" fmla="*/ 25 w 26"/>
                <a:gd name="T85" fmla="*/ 96 h 98"/>
                <a:gd name="T86" fmla="*/ 25 w 26"/>
                <a:gd name="T87" fmla="*/ 86 h 98"/>
                <a:gd name="T88" fmla="*/ 24 w 26"/>
                <a:gd name="T89" fmla="*/ 83 h 98"/>
                <a:gd name="T90" fmla="*/ 15 w 26"/>
                <a:gd name="T91" fmla="*/ 84 h 98"/>
                <a:gd name="T92" fmla="*/ 5 w 26"/>
                <a:gd name="T93" fmla="*/ 84 h 98"/>
                <a:gd name="T94" fmla="*/ 5 w 26"/>
                <a:gd name="T95" fmla="*/ 87 h 98"/>
                <a:gd name="T96" fmla="*/ 5 w 26"/>
                <a:gd name="T97" fmla="*/ 95 h 98"/>
                <a:gd name="T98" fmla="*/ 7 w 26"/>
                <a:gd name="T99" fmla="*/ 96 h 98"/>
                <a:gd name="T100" fmla="*/ 15 w 26"/>
                <a:gd name="T101" fmla="*/ 98 h 98"/>
                <a:gd name="T102" fmla="*/ 24 w 26"/>
                <a:gd name="T103" fmla="*/ 97 h 98"/>
                <a:gd name="T104" fmla="*/ 25 w 26"/>
                <a:gd name="T105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" h="98">
                  <a:moveTo>
                    <a:pt x="2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2" y="23"/>
                    <a:pt x="2" y="27"/>
                    <a:pt x="2" y="30"/>
                  </a:cubicBezTo>
                  <a:cubicBezTo>
                    <a:pt x="3" y="30"/>
                    <a:pt x="4" y="31"/>
                    <a:pt x="5" y="31"/>
                  </a:cubicBezTo>
                  <a:cubicBezTo>
                    <a:pt x="7" y="31"/>
                    <a:pt x="10" y="32"/>
                    <a:pt x="12" y="32"/>
                  </a:cubicBezTo>
                  <a:cubicBezTo>
                    <a:pt x="15" y="32"/>
                    <a:pt x="19" y="32"/>
                    <a:pt x="22" y="32"/>
                  </a:cubicBezTo>
                  <a:cubicBezTo>
                    <a:pt x="22" y="28"/>
                    <a:pt x="23" y="25"/>
                    <a:pt x="23" y="21"/>
                  </a:cubicBezTo>
                  <a:cubicBezTo>
                    <a:pt x="23" y="20"/>
                    <a:pt x="23" y="19"/>
                    <a:pt x="23" y="18"/>
                  </a:cubicBezTo>
                  <a:cubicBezTo>
                    <a:pt x="20" y="18"/>
                    <a:pt x="17" y="19"/>
                    <a:pt x="13" y="19"/>
                  </a:cubicBezTo>
                  <a:cubicBezTo>
                    <a:pt x="10" y="19"/>
                    <a:pt x="5" y="21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lose/>
                  <a:moveTo>
                    <a:pt x="1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4" y="12"/>
                    <a:pt x="8" y="12"/>
                    <a:pt x="12" y="12"/>
                  </a:cubicBezTo>
                  <a:cubicBezTo>
                    <a:pt x="16" y="12"/>
                    <a:pt x="20" y="12"/>
                    <a:pt x="23" y="12"/>
                  </a:cubicBezTo>
                  <a:cubicBezTo>
                    <a:pt x="24" y="8"/>
                    <a:pt x="24" y="4"/>
                    <a:pt x="24" y="1"/>
                  </a:cubicBezTo>
                  <a:cubicBezTo>
                    <a:pt x="20" y="0"/>
                    <a:pt x="15" y="0"/>
                    <a:pt x="11" y="0"/>
                  </a:cubicBezTo>
                  <a:cubicBezTo>
                    <a:pt x="7" y="0"/>
                    <a:pt x="4" y="0"/>
                    <a:pt x="0" y="0"/>
                  </a:cubicBezTo>
                  <a:cubicBezTo>
                    <a:pt x="1" y="5"/>
                    <a:pt x="1" y="10"/>
                    <a:pt x="1" y="15"/>
                  </a:cubicBezTo>
                  <a:close/>
                  <a:moveTo>
                    <a:pt x="24" y="74"/>
                  </a:moveTo>
                  <a:cubicBezTo>
                    <a:pt x="24" y="74"/>
                    <a:pt x="24" y="74"/>
                    <a:pt x="24" y="74"/>
                  </a:cubicBezTo>
                  <a:cubicBezTo>
                    <a:pt x="23" y="69"/>
                    <a:pt x="23" y="65"/>
                    <a:pt x="23" y="60"/>
                  </a:cubicBezTo>
                  <a:cubicBezTo>
                    <a:pt x="19" y="61"/>
                    <a:pt x="16" y="61"/>
                    <a:pt x="12" y="61"/>
                  </a:cubicBezTo>
                  <a:cubicBezTo>
                    <a:pt x="10" y="61"/>
                    <a:pt x="7" y="61"/>
                    <a:pt x="4" y="60"/>
                  </a:cubicBezTo>
                  <a:cubicBezTo>
                    <a:pt x="4" y="65"/>
                    <a:pt x="4" y="69"/>
                    <a:pt x="4" y="73"/>
                  </a:cubicBezTo>
                  <a:cubicBezTo>
                    <a:pt x="5" y="75"/>
                    <a:pt x="4" y="77"/>
                    <a:pt x="4" y="78"/>
                  </a:cubicBezTo>
                  <a:cubicBezTo>
                    <a:pt x="8" y="77"/>
                    <a:pt x="12" y="78"/>
                    <a:pt x="15" y="77"/>
                  </a:cubicBezTo>
                  <a:cubicBezTo>
                    <a:pt x="18" y="77"/>
                    <a:pt x="21" y="77"/>
                    <a:pt x="24" y="77"/>
                  </a:cubicBezTo>
                  <a:cubicBezTo>
                    <a:pt x="24" y="76"/>
                    <a:pt x="24" y="75"/>
                    <a:pt x="24" y="74"/>
                  </a:cubicBezTo>
                  <a:close/>
                  <a:moveTo>
                    <a:pt x="3" y="46"/>
                  </a:moveTo>
                  <a:cubicBezTo>
                    <a:pt x="3" y="46"/>
                    <a:pt x="3" y="46"/>
                    <a:pt x="3" y="46"/>
                  </a:cubicBezTo>
                  <a:cubicBezTo>
                    <a:pt x="4" y="49"/>
                    <a:pt x="4" y="51"/>
                    <a:pt x="4" y="54"/>
                  </a:cubicBezTo>
                  <a:cubicBezTo>
                    <a:pt x="7" y="53"/>
                    <a:pt x="10" y="54"/>
                    <a:pt x="12" y="54"/>
                  </a:cubicBezTo>
                  <a:cubicBezTo>
                    <a:pt x="16" y="55"/>
                    <a:pt x="19" y="55"/>
                    <a:pt x="23" y="55"/>
                  </a:cubicBezTo>
                  <a:cubicBezTo>
                    <a:pt x="23" y="53"/>
                    <a:pt x="22" y="50"/>
                    <a:pt x="22" y="48"/>
                  </a:cubicBezTo>
                  <a:cubicBezTo>
                    <a:pt x="22" y="44"/>
                    <a:pt x="22" y="41"/>
                    <a:pt x="22" y="37"/>
                  </a:cubicBezTo>
                  <a:cubicBezTo>
                    <a:pt x="17" y="38"/>
                    <a:pt x="8" y="39"/>
                    <a:pt x="3" y="37"/>
                  </a:cubicBezTo>
                  <a:cubicBezTo>
                    <a:pt x="3" y="40"/>
                    <a:pt x="3" y="43"/>
                    <a:pt x="3" y="46"/>
                  </a:cubicBezTo>
                  <a:close/>
                  <a:moveTo>
                    <a:pt x="25" y="97"/>
                  </a:move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6"/>
                    <a:pt x="25" y="96"/>
                  </a:cubicBezTo>
                  <a:cubicBezTo>
                    <a:pt x="26" y="93"/>
                    <a:pt x="25" y="89"/>
                    <a:pt x="25" y="86"/>
                  </a:cubicBezTo>
                  <a:cubicBezTo>
                    <a:pt x="25" y="85"/>
                    <a:pt x="25" y="84"/>
                    <a:pt x="24" y="83"/>
                  </a:cubicBezTo>
                  <a:cubicBezTo>
                    <a:pt x="21" y="84"/>
                    <a:pt x="18" y="84"/>
                    <a:pt x="15" y="84"/>
                  </a:cubicBezTo>
                  <a:cubicBezTo>
                    <a:pt x="12" y="84"/>
                    <a:pt x="8" y="85"/>
                    <a:pt x="5" y="84"/>
                  </a:cubicBezTo>
                  <a:cubicBezTo>
                    <a:pt x="5" y="85"/>
                    <a:pt x="5" y="86"/>
                    <a:pt x="5" y="87"/>
                  </a:cubicBezTo>
                  <a:cubicBezTo>
                    <a:pt x="5" y="89"/>
                    <a:pt x="5" y="92"/>
                    <a:pt x="5" y="95"/>
                  </a:cubicBezTo>
                  <a:cubicBezTo>
                    <a:pt x="6" y="95"/>
                    <a:pt x="6" y="96"/>
                    <a:pt x="7" y="96"/>
                  </a:cubicBezTo>
                  <a:cubicBezTo>
                    <a:pt x="10" y="97"/>
                    <a:pt x="12" y="98"/>
                    <a:pt x="15" y="98"/>
                  </a:cubicBezTo>
                  <a:cubicBezTo>
                    <a:pt x="18" y="98"/>
                    <a:pt x="21" y="98"/>
                    <a:pt x="24" y="97"/>
                  </a:cubicBezTo>
                  <a:cubicBezTo>
                    <a:pt x="24" y="97"/>
                    <a:pt x="25" y="97"/>
                    <a:pt x="25" y="9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islîḓê"/>
            <p:cNvSpPr/>
            <p:nvPr/>
          </p:nvSpPr>
          <p:spPr bwMode="auto">
            <a:xfrm>
              <a:off x="6314708" y="4609376"/>
              <a:ext cx="118564" cy="687665"/>
            </a:xfrm>
            <a:custGeom>
              <a:avLst/>
              <a:gdLst>
                <a:gd name="T0" fmla="*/ 3 w 17"/>
                <a:gd name="T1" fmla="*/ 32 h 98"/>
                <a:gd name="T2" fmla="*/ 13 w 17"/>
                <a:gd name="T3" fmla="*/ 32 h 98"/>
                <a:gd name="T4" fmla="*/ 14 w 17"/>
                <a:gd name="T5" fmla="*/ 21 h 98"/>
                <a:gd name="T6" fmla="*/ 14 w 17"/>
                <a:gd name="T7" fmla="*/ 18 h 98"/>
                <a:gd name="T8" fmla="*/ 4 w 17"/>
                <a:gd name="T9" fmla="*/ 19 h 98"/>
                <a:gd name="T10" fmla="*/ 2 w 17"/>
                <a:gd name="T11" fmla="*/ 19 h 98"/>
                <a:gd name="T12" fmla="*/ 3 w 17"/>
                <a:gd name="T13" fmla="*/ 32 h 98"/>
                <a:gd name="T14" fmla="*/ 0 w 17"/>
                <a:gd name="T15" fmla="*/ 0 h 98"/>
                <a:gd name="T16" fmla="*/ 2 w 17"/>
                <a:gd name="T17" fmla="*/ 12 h 98"/>
                <a:gd name="T18" fmla="*/ 3 w 17"/>
                <a:gd name="T19" fmla="*/ 12 h 98"/>
                <a:gd name="T20" fmla="*/ 14 w 17"/>
                <a:gd name="T21" fmla="*/ 12 h 98"/>
                <a:gd name="T22" fmla="*/ 15 w 17"/>
                <a:gd name="T23" fmla="*/ 1 h 98"/>
                <a:gd name="T24" fmla="*/ 2 w 17"/>
                <a:gd name="T25" fmla="*/ 0 h 98"/>
                <a:gd name="T26" fmla="*/ 0 w 17"/>
                <a:gd name="T27" fmla="*/ 0 h 98"/>
                <a:gd name="T28" fmla="*/ 4 w 17"/>
                <a:gd name="T29" fmla="*/ 38 h 98"/>
                <a:gd name="T30" fmla="*/ 5 w 17"/>
                <a:gd name="T31" fmla="*/ 55 h 98"/>
                <a:gd name="T32" fmla="*/ 14 w 17"/>
                <a:gd name="T33" fmla="*/ 55 h 98"/>
                <a:gd name="T34" fmla="*/ 13 w 17"/>
                <a:gd name="T35" fmla="*/ 48 h 98"/>
                <a:gd name="T36" fmla="*/ 13 w 17"/>
                <a:gd name="T37" fmla="*/ 37 h 98"/>
                <a:gd name="T38" fmla="*/ 4 w 17"/>
                <a:gd name="T39" fmla="*/ 38 h 98"/>
                <a:gd name="T40" fmla="*/ 5 w 17"/>
                <a:gd name="T41" fmla="*/ 61 h 98"/>
                <a:gd name="T42" fmla="*/ 5 w 17"/>
                <a:gd name="T43" fmla="*/ 77 h 98"/>
                <a:gd name="T44" fmla="*/ 6 w 17"/>
                <a:gd name="T45" fmla="*/ 77 h 98"/>
                <a:gd name="T46" fmla="*/ 15 w 17"/>
                <a:gd name="T47" fmla="*/ 77 h 98"/>
                <a:gd name="T48" fmla="*/ 15 w 17"/>
                <a:gd name="T49" fmla="*/ 74 h 98"/>
                <a:gd name="T50" fmla="*/ 15 w 17"/>
                <a:gd name="T51" fmla="*/ 74 h 98"/>
                <a:gd name="T52" fmla="*/ 14 w 17"/>
                <a:gd name="T53" fmla="*/ 60 h 98"/>
                <a:gd name="T54" fmla="*/ 5 w 17"/>
                <a:gd name="T55" fmla="*/ 61 h 98"/>
                <a:gd name="T56" fmla="*/ 5 w 17"/>
                <a:gd name="T57" fmla="*/ 84 h 98"/>
                <a:gd name="T58" fmla="*/ 5 w 17"/>
                <a:gd name="T59" fmla="*/ 98 h 98"/>
                <a:gd name="T60" fmla="*/ 6 w 17"/>
                <a:gd name="T61" fmla="*/ 98 h 98"/>
                <a:gd name="T62" fmla="*/ 15 w 17"/>
                <a:gd name="T63" fmla="*/ 97 h 98"/>
                <a:gd name="T64" fmla="*/ 16 w 17"/>
                <a:gd name="T65" fmla="*/ 97 h 98"/>
                <a:gd name="T66" fmla="*/ 16 w 17"/>
                <a:gd name="T67" fmla="*/ 97 h 98"/>
                <a:gd name="T68" fmla="*/ 16 w 17"/>
                <a:gd name="T69" fmla="*/ 96 h 98"/>
                <a:gd name="T70" fmla="*/ 16 w 17"/>
                <a:gd name="T71" fmla="*/ 86 h 98"/>
                <a:gd name="T72" fmla="*/ 15 w 17"/>
                <a:gd name="T73" fmla="*/ 83 h 98"/>
                <a:gd name="T74" fmla="*/ 6 w 17"/>
                <a:gd name="T75" fmla="*/ 84 h 98"/>
                <a:gd name="T76" fmla="*/ 5 w 17"/>
                <a:gd name="T77" fmla="*/ 8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" h="98">
                  <a:moveTo>
                    <a:pt x="3" y="32"/>
                  </a:moveTo>
                  <a:cubicBezTo>
                    <a:pt x="7" y="32"/>
                    <a:pt x="10" y="32"/>
                    <a:pt x="13" y="32"/>
                  </a:cubicBezTo>
                  <a:cubicBezTo>
                    <a:pt x="13" y="28"/>
                    <a:pt x="14" y="25"/>
                    <a:pt x="14" y="21"/>
                  </a:cubicBezTo>
                  <a:cubicBezTo>
                    <a:pt x="14" y="20"/>
                    <a:pt x="14" y="19"/>
                    <a:pt x="14" y="18"/>
                  </a:cubicBezTo>
                  <a:cubicBezTo>
                    <a:pt x="11" y="18"/>
                    <a:pt x="8" y="19"/>
                    <a:pt x="4" y="19"/>
                  </a:cubicBezTo>
                  <a:cubicBezTo>
                    <a:pt x="4" y="19"/>
                    <a:pt x="3" y="19"/>
                    <a:pt x="2" y="19"/>
                  </a:cubicBezTo>
                  <a:cubicBezTo>
                    <a:pt x="3" y="23"/>
                    <a:pt x="3" y="28"/>
                    <a:pt x="3" y="32"/>
                  </a:cubicBezTo>
                  <a:close/>
                  <a:moveTo>
                    <a:pt x="0" y="0"/>
                  </a:moveTo>
                  <a:cubicBezTo>
                    <a:pt x="1" y="4"/>
                    <a:pt x="1" y="8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7" y="12"/>
                    <a:pt x="11" y="12"/>
                    <a:pt x="14" y="12"/>
                  </a:cubicBezTo>
                  <a:cubicBezTo>
                    <a:pt x="15" y="8"/>
                    <a:pt x="15" y="4"/>
                    <a:pt x="15" y="1"/>
                  </a:cubicBezTo>
                  <a:cubicBezTo>
                    <a:pt x="11" y="0"/>
                    <a:pt x="6" y="0"/>
                    <a:pt x="2" y="0"/>
                  </a:cubicBezTo>
                  <a:lnTo>
                    <a:pt x="0" y="0"/>
                  </a:lnTo>
                  <a:close/>
                  <a:moveTo>
                    <a:pt x="4" y="38"/>
                  </a:moveTo>
                  <a:cubicBezTo>
                    <a:pt x="4" y="44"/>
                    <a:pt x="4" y="49"/>
                    <a:pt x="5" y="55"/>
                  </a:cubicBezTo>
                  <a:cubicBezTo>
                    <a:pt x="8" y="55"/>
                    <a:pt x="11" y="55"/>
                    <a:pt x="14" y="55"/>
                  </a:cubicBezTo>
                  <a:cubicBezTo>
                    <a:pt x="14" y="53"/>
                    <a:pt x="13" y="50"/>
                    <a:pt x="13" y="48"/>
                  </a:cubicBezTo>
                  <a:cubicBezTo>
                    <a:pt x="13" y="44"/>
                    <a:pt x="13" y="41"/>
                    <a:pt x="13" y="37"/>
                  </a:cubicBezTo>
                  <a:cubicBezTo>
                    <a:pt x="11" y="38"/>
                    <a:pt x="7" y="38"/>
                    <a:pt x="4" y="38"/>
                  </a:cubicBezTo>
                  <a:close/>
                  <a:moveTo>
                    <a:pt x="5" y="61"/>
                  </a:moveTo>
                  <a:cubicBezTo>
                    <a:pt x="5" y="67"/>
                    <a:pt x="5" y="72"/>
                    <a:pt x="5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9" y="77"/>
                    <a:pt x="12" y="77"/>
                    <a:pt x="15" y="77"/>
                  </a:cubicBezTo>
                  <a:cubicBezTo>
                    <a:pt x="15" y="76"/>
                    <a:pt x="15" y="75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4" y="69"/>
                    <a:pt x="14" y="65"/>
                    <a:pt x="14" y="60"/>
                  </a:cubicBezTo>
                  <a:cubicBezTo>
                    <a:pt x="11" y="61"/>
                    <a:pt x="8" y="61"/>
                    <a:pt x="5" y="61"/>
                  </a:cubicBezTo>
                  <a:close/>
                  <a:moveTo>
                    <a:pt x="5" y="84"/>
                  </a:moveTo>
                  <a:cubicBezTo>
                    <a:pt x="5" y="89"/>
                    <a:pt x="5" y="93"/>
                    <a:pt x="5" y="98"/>
                  </a:cubicBezTo>
                  <a:cubicBezTo>
                    <a:pt x="5" y="98"/>
                    <a:pt x="6" y="98"/>
                    <a:pt x="6" y="98"/>
                  </a:cubicBezTo>
                  <a:cubicBezTo>
                    <a:pt x="9" y="98"/>
                    <a:pt x="12" y="98"/>
                    <a:pt x="15" y="97"/>
                  </a:cubicBezTo>
                  <a:cubicBezTo>
                    <a:pt x="15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6"/>
                    <a:pt x="16" y="96"/>
                  </a:cubicBezTo>
                  <a:cubicBezTo>
                    <a:pt x="17" y="93"/>
                    <a:pt x="16" y="89"/>
                    <a:pt x="16" y="86"/>
                  </a:cubicBezTo>
                  <a:cubicBezTo>
                    <a:pt x="16" y="85"/>
                    <a:pt x="16" y="84"/>
                    <a:pt x="15" y="83"/>
                  </a:cubicBezTo>
                  <a:cubicBezTo>
                    <a:pt x="12" y="84"/>
                    <a:pt x="9" y="84"/>
                    <a:pt x="6" y="84"/>
                  </a:cubicBezTo>
                  <a:lnTo>
                    <a:pt x="5" y="84"/>
                  </a:ln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î$ḻidè"/>
            <p:cNvSpPr/>
            <p:nvPr/>
          </p:nvSpPr>
          <p:spPr bwMode="auto">
            <a:xfrm>
              <a:off x="5203606" y="3295024"/>
              <a:ext cx="724927" cy="989152"/>
            </a:xfrm>
            <a:custGeom>
              <a:avLst/>
              <a:gdLst>
                <a:gd name="T0" fmla="*/ 6 w 103"/>
                <a:gd name="T1" fmla="*/ 139 h 141"/>
                <a:gd name="T2" fmla="*/ 14 w 103"/>
                <a:gd name="T3" fmla="*/ 139 h 141"/>
                <a:gd name="T4" fmla="*/ 43 w 103"/>
                <a:gd name="T5" fmla="*/ 130 h 141"/>
                <a:gd name="T6" fmla="*/ 45 w 103"/>
                <a:gd name="T7" fmla="*/ 112 h 141"/>
                <a:gd name="T8" fmla="*/ 25 w 103"/>
                <a:gd name="T9" fmla="*/ 109 h 141"/>
                <a:gd name="T10" fmla="*/ 31 w 103"/>
                <a:gd name="T11" fmla="*/ 130 h 141"/>
                <a:gd name="T12" fmla="*/ 20 w 103"/>
                <a:gd name="T13" fmla="*/ 117 h 141"/>
                <a:gd name="T14" fmla="*/ 0 w 103"/>
                <a:gd name="T15" fmla="*/ 114 h 141"/>
                <a:gd name="T16" fmla="*/ 6 w 103"/>
                <a:gd name="T17" fmla="*/ 139 h 141"/>
                <a:gd name="T18" fmla="*/ 85 w 103"/>
                <a:gd name="T19" fmla="*/ 11 h 141"/>
                <a:gd name="T20" fmla="*/ 93 w 103"/>
                <a:gd name="T21" fmla="*/ 18 h 141"/>
                <a:gd name="T22" fmla="*/ 101 w 103"/>
                <a:gd name="T23" fmla="*/ 6 h 141"/>
                <a:gd name="T24" fmla="*/ 87 w 103"/>
                <a:gd name="T25" fmla="*/ 9 h 141"/>
                <a:gd name="T26" fmla="*/ 98 w 103"/>
                <a:gd name="T27" fmla="*/ 42 h 141"/>
                <a:gd name="T28" fmla="*/ 98 w 103"/>
                <a:gd name="T29" fmla="*/ 37 h 141"/>
                <a:gd name="T30" fmla="*/ 88 w 103"/>
                <a:gd name="T31" fmla="*/ 22 h 141"/>
                <a:gd name="T32" fmla="*/ 80 w 103"/>
                <a:gd name="T33" fmla="*/ 15 h 141"/>
                <a:gd name="T34" fmla="*/ 83 w 103"/>
                <a:gd name="T35" fmla="*/ 34 h 141"/>
                <a:gd name="T36" fmla="*/ 98 w 103"/>
                <a:gd name="T37" fmla="*/ 42 h 141"/>
                <a:gd name="T38" fmla="*/ 81 w 103"/>
                <a:gd name="T39" fmla="*/ 77 h 141"/>
                <a:gd name="T40" fmla="*/ 57 w 103"/>
                <a:gd name="T41" fmla="*/ 56 h 141"/>
                <a:gd name="T42" fmla="*/ 73 w 103"/>
                <a:gd name="T43" fmla="*/ 62 h 141"/>
                <a:gd name="T44" fmla="*/ 90 w 103"/>
                <a:gd name="T45" fmla="*/ 51 h 141"/>
                <a:gd name="T46" fmla="*/ 72 w 103"/>
                <a:gd name="T47" fmla="*/ 34 h 141"/>
                <a:gd name="T48" fmla="*/ 57 w 103"/>
                <a:gd name="T49" fmla="*/ 47 h 141"/>
                <a:gd name="T50" fmla="*/ 51 w 103"/>
                <a:gd name="T51" fmla="*/ 80 h 141"/>
                <a:gd name="T52" fmla="*/ 64 w 103"/>
                <a:gd name="T53" fmla="*/ 89 h 141"/>
                <a:gd name="T54" fmla="*/ 74 w 103"/>
                <a:gd name="T55" fmla="*/ 103 h 141"/>
                <a:gd name="T56" fmla="*/ 71 w 103"/>
                <a:gd name="T57" fmla="*/ 109 h 141"/>
                <a:gd name="T58" fmla="*/ 73 w 103"/>
                <a:gd name="T59" fmla="*/ 106 h 141"/>
                <a:gd name="T60" fmla="*/ 52 w 103"/>
                <a:gd name="T61" fmla="*/ 88 h 141"/>
                <a:gd name="T62" fmla="*/ 41 w 103"/>
                <a:gd name="T63" fmla="*/ 98 h 141"/>
                <a:gd name="T64" fmla="*/ 49 w 103"/>
                <a:gd name="T65" fmla="*/ 107 h 141"/>
                <a:gd name="T66" fmla="*/ 71 w 103"/>
                <a:gd name="T67" fmla="*/ 10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141">
                  <a:moveTo>
                    <a:pt x="6" y="139"/>
                  </a:moveTo>
                  <a:cubicBezTo>
                    <a:pt x="6" y="139"/>
                    <a:pt x="6" y="139"/>
                    <a:pt x="6" y="139"/>
                  </a:cubicBezTo>
                  <a:cubicBezTo>
                    <a:pt x="6" y="140"/>
                    <a:pt x="6" y="140"/>
                    <a:pt x="6" y="141"/>
                  </a:cubicBezTo>
                  <a:cubicBezTo>
                    <a:pt x="8" y="140"/>
                    <a:pt x="11" y="139"/>
                    <a:pt x="14" y="139"/>
                  </a:cubicBezTo>
                  <a:cubicBezTo>
                    <a:pt x="18" y="138"/>
                    <a:pt x="22" y="137"/>
                    <a:pt x="25" y="136"/>
                  </a:cubicBezTo>
                  <a:cubicBezTo>
                    <a:pt x="32" y="135"/>
                    <a:pt x="37" y="133"/>
                    <a:pt x="43" y="130"/>
                  </a:cubicBezTo>
                  <a:cubicBezTo>
                    <a:pt x="46" y="129"/>
                    <a:pt x="49" y="127"/>
                    <a:pt x="52" y="125"/>
                  </a:cubicBezTo>
                  <a:cubicBezTo>
                    <a:pt x="50" y="121"/>
                    <a:pt x="47" y="117"/>
                    <a:pt x="45" y="112"/>
                  </a:cubicBezTo>
                  <a:cubicBezTo>
                    <a:pt x="43" y="109"/>
                    <a:pt x="39" y="106"/>
                    <a:pt x="37" y="102"/>
                  </a:cubicBezTo>
                  <a:cubicBezTo>
                    <a:pt x="33" y="105"/>
                    <a:pt x="29" y="107"/>
                    <a:pt x="25" y="109"/>
                  </a:cubicBezTo>
                  <a:cubicBezTo>
                    <a:pt x="25" y="110"/>
                    <a:pt x="25" y="111"/>
                    <a:pt x="25" y="111"/>
                  </a:cubicBezTo>
                  <a:cubicBezTo>
                    <a:pt x="28" y="118"/>
                    <a:pt x="29" y="124"/>
                    <a:pt x="31" y="130"/>
                  </a:cubicBezTo>
                  <a:cubicBezTo>
                    <a:pt x="32" y="133"/>
                    <a:pt x="27" y="135"/>
                    <a:pt x="26" y="133"/>
                  </a:cubicBezTo>
                  <a:cubicBezTo>
                    <a:pt x="23" y="128"/>
                    <a:pt x="22" y="122"/>
                    <a:pt x="20" y="117"/>
                  </a:cubicBezTo>
                  <a:cubicBezTo>
                    <a:pt x="19" y="115"/>
                    <a:pt x="19" y="113"/>
                    <a:pt x="18" y="111"/>
                  </a:cubicBezTo>
                  <a:cubicBezTo>
                    <a:pt x="13" y="113"/>
                    <a:pt x="6" y="115"/>
                    <a:pt x="0" y="114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4" y="123"/>
                    <a:pt x="5" y="131"/>
                    <a:pt x="6" y="139"/>
                  </a:cubicBezTo>
                  <a:close/>
                  <a:moveTo>
                    <a:pt x="85" y="11"/>
                  </a:move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8" y="13"/>
                    <a:pt x="91" y="15"/>
                    <a:pt x="93" y="18"/>
                  </a:cubicBezTo>
                  <a:cubicBezTo>
                    <a:pt x="95" y="20"/>
                    <a:pt x="97" y="23"/>
                    <a:pt x="98" y="25"/>
                  </a:cubicBezTo>
                  <a:cubicBezTo>
                    <a:pt x="98" y="19"/>
                    <a:pt x="99" y="13"/>
                    <a:pt x="101" y="6"/>
                  </a:cubicBezTo>
                  <a:cubicBezTo>
                    <a:pt x="101" y="4"/>
                    <a:pt x="102" y="2"/>
                    <a:pt x="103" y="0"/>
                  </a:cubicBezTo>
                  <a:cubicBezTo>
                    <a:pt x="97" y="2"/>
                    <a:pt x="92" y="6"/>
                    <a:pt x="87" y="9"/>
                  </a:cubicBezTo>
                  <a:cubicBezTo>
                    <a:pt x="86" y="9"/>
                    <a:pt x="86" y="10"/>
                    <a:pt x="85" y="11"/>
                  </a:cubicBezTo>
                  <a:close/>
                  <a:moveTo>
                    <a:pt x="98" y="42"/>
                  </a:moveTo>
                  <a:cubicBezTo>
                    <a:pt x="98" y="42"/>
                    <a:pt x="98" y="42"/>
                    <a:pt x="98" y="42"/>
                  </a:cubicBezTo>
                  <a:cubicBezTo>
                    <a:pt x="98" y="41"/>
                    <a:pt x="98" y="39"/>
                    <a:pt x="98" y="37"/>
                  </a:cubicBezTo>
                  <a:cubicBezTo>
                    <a:pt x="98" y="37"/>
                    <a:pt x="98" y="36"/>
                    <a:pt x="98" y="36"/>
                  </a:cubicBezTo>
                  <a:cubicBezTo>
                    <a:pt x="95" y="30"/>
                    <a:pt x="92" y="26"/>
                    <a:pt x="88" y="22"/>
                  </a:cubicBezTo>
                  <a:cubicBezTo>
                    <a:pt x="85" y="19"/>
                    <a:pt x="83" y="17"/>
                    <a:pt x="81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6" y="18"/>
                    <a:pt x="72" y="21"/>
                    <a:pt x="69" y="25"/>
                  </a:cubicBezTo>
                  <a:cubicBezTo>
                    <a:pt x="74" y="25"/>
                    <a:pt x="79" y="30"/>
                    <a:pt x="83" y="34"/>
                  </a:cubicBezTo>
                  <a:cubicBezTo>
                    <a:pt x="87" y="37"/>
                    <a:pt x="90" y="42"/>
                    <a:pt x="93" y="46"/>
                  </a:cubicBezTo>
                  <a:cubicBezTo>
                    <a:pt x="95" y="45"/>
                    <a:pt x="96" y="44"/>
                    <a:pt x="98" y="42"/>
                  </a:cubicBezTo>
                  <a:close/>
                  <a:moveTo>
                    <a:pt x="81" y="77"/>
                  </a:moveTo>
                  <a:cubicBezTo>
                    <a:pt x="81" y="77"/>
                    <a:pt x="81" y="77"/>
                    <a:pt x="81" y="77"/>
                  </a:cubicBezTo>
                  <a:cubicBezTo>
                    <a:pt x="78" y="75"/>
                    <a:pt x="74" y="72"/>
                    <a:pt x="72" y="69"/>
                  </a:cubicBezTo>
                  <a:cubicBezTo>
                    <a:pt x="67" y="65"/>
                    <a:pt x="61" y="61"/>
                    <a:pt x="57" y="56"/>
                  </a:cubicBezTo>
                  <a:cubicBezTo>
                    <a:pt x="57" y="54"/>
                    <a:pt x="57" y="53"/>
                    <a:pt x="59" y="53"/>
                  </a:cubicBezTo>
                  <a:cubicBezTo>
                    <a:pt x="65" y="53"/>
                    <a:pt x="70" y="58"/>
                    <a:pt x="73" y="62"/>
                  </a:cubicBezTo>
                  <a:cubicBezTo>
                    <a:pt x="76" y="65"/>
                    <a:pt x="79" y="68"/>
                    <a:pt x="82" y="71"/>
                  </a:cubicBezTo>
                  <a:cubicBezTo>
                    <a:pt x="84" y="64"/>
                    <a:pt x="86" y="57"/>
                    <a:pt x="90" y="51"/>
                  </a:cubicBezTo>
                  <a:cubicBezTo>
                    <a:pt x="86" y="47"/>
                    <a:pt x="83" y="44"/>
                    <a:pt x="80" y="40"/>
                  </a:cubicBezTo>
                  <a:cubicBezTo>
                    <a:pt x="77" y="38"/>
                    <a:pt x="75" y="36"/>
                    <a:pt x="72" y="34"/>
                  </a:cubicBezTo>
                  <a:cubicBezTo>
                    <a:pt x="70" y="32"/>
                    <a:pt x="68" y="31"/>
                    <a:pt x="67" y="28"/>
                  </a:cubicBezTo>
                  <a:cubicBezTo>
                    <a:pt x="62" y="34"/>
                    <a:pt x="59" y="40"/>
                    <a:pt x="57" y="47"/>
                  </a:cubicBezTo>
                  <a:cubicBezTo>
                    <a:pt x="54" y="56"/>
                    <a:pt x="54" y="65"/>
                    <a:pt x="52" y="73"/>
                  </a:cubicBezTo>
                  <a:cubicBezTo>
                    <a:pt x="52" y="76"/>
                    <a:pt x="51" y="78"/>
                    <a:pt x="51" y="80"/>
                  </a:cubicBezTo>
                  <a:cubicBezTo>
                    <a:pt x="52" y="81"/>
                    <a:pt x="53" y="82"/>
                    <a:pt x="54" y="82"/>
                  </a:cubicBezTo>
                  <a:cubicBezTo>
                    <a:pt x="57" y="84"/>
                    <a:pt x="61" y="87"/>
                    <a:pt x="64" y="89"/>
                  </a:cubicBezTo>
                  <a:cubicBezTo>
                    <a:pt x="66" y="91"/>
                    <a:pt x="67" y="93"/>
                    <a:pt x="69" y="96"/>
                  </a:cubicBezTo>
                  <a:cubicBezTo>
                    <a:pt x="70" y="98"/>
                    <a:pt x="72" y="101"/>
                    <a:pt x="74" y="103"/>
                  </a:cubicBezTo>
                  <a:cubicBezTo>
                    <a:pt x="78" y="95"/>
                    <a:pt x="79" y="86"/>
                    <a:pt x="81" y="77"/>
                  </a:cubicBezTo>
                  <a:close/>
                  <a:moveTo>
                    <a:pt x="71" y="109"/>
                  </a:moveTo>
                  <a:cubicBezTo>
                    <a:pt x="71" y="109"/>
                    <a:pt x="71" y="109"/>
                    <a:pt x="71" y="109"/>
                  </a:cubicBezTo>
                  <a:cubicBezTo>
                    <a:pt x="71" y="108"/>
                    <a:pt x="72" y="107"/>
                    <a:pt x="73" y="106"/>
                  </a:cubicBezTo>
                  <a:cubicBezTo>
                    <a:pt x="68" y="104"/>
                    <a:pt x="65" y="99"/>
                    <a:pt x="62" y="96"/>
                  </a:cubicBezTo>
                  <a:cubicBezTo>
                    <a:pt x="59" y="93"/>
                    <a:pt x="56" y="91"/>
                    <a:pt x="52" y="88"/>
                  </a:cubicBezTo>
                  <a:cubicBezTo>
                    <a:pt x="51" y="88"/>
                    <a:pt x="50" y="87"/>
                    <a:pt x="49" y="86"/>
                  </a:cubicBezTo>
                  <a:cubicBezTo>
                    <a:pt x="47" y="91"/>
                    <a:pt x="44" y="95"/>
                    <a:pt x="41" y="98"/>
                  </a:cubicBezTo>
                  <a:cubicBezTo>
                    <a:pt x="41" y="98"/>
                    <a:pt x="41" y="98"/>
                    <a:pt x="41" y="98"/>
                  </a:cubicBezTo>
                  <a:cubicBezTo>
                    <a:pt x="44" y="100"/>
                    <a:pt x="47" y="104"/>
                    <a:pt x="49" y="107"/>
                  </a:cubicBezTo>
                  <a:cubicBezTo>
                    <a:pt x="52" y="112"/>
                    <a:pt x="54" y="118"/>
                    <a:pt x="56" y="123"/>
                  </a:cubicBezTo>
                  <a:cubicBezTo>
                    <a:pt x="62" y="119"/>
                    <a:pt x="67" y="114"/>
                    <a:pt x="71" y="10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îŝlíḋê"/>
            <p:cNvSpPr/>
            <p:nvPr/>
          </p:nvSpPr>
          <p:spPr bwMode="auto">
            <a:xfrm>
              <a:off x="5237481" y="3447462"/>
              <a:ext cx="653790" cy="836715"/>
            </a:xfrm>
            <a:custGeom>
              <a:avLst/>
              <a:gdLst>
                <a:gd name="T0" fmla="*/ 1 w 93"/>
                <a:gd name="T1" fmla="*/ 117 h 119"/>
                <a:gd name="T2" fmla="*/ 1 w 93"/>
                <a:gd name="T3" fmla="*/ 117 h 119"/>
                <a:gd name="T4" fmla="*/ 1 w 93"/>
                <a:gd name="T5" fmla="*/ 119 h 119"/>
                <a:gd name="T6" fmla="*/ 9 w 93"/>
                <a:gd name="T7" fmla="*/ 117 h 119"/>
                <a:gd name="T8" fmla="*/ 20 w 93"/>
                <a:gd name="T9" fmla="*/ 114 h 119"/>
                <a:gd name="T10" fmla="*/ 38 w 93"/>
                <a:gd name="T11" fmla="*/ 108 h 119"/>
                <a:gd name="T12" fmla="*/ 47 w 93"/>
                <a:gd name="T13" fmla="*/ 103 h 119"/>
                <a:gd name="T14" fmla="*/ 40 w 93"/>
                <a:gd name="T15" fmla="*/ 92 h 119"/>
                <a:gd name="T16" fmla="*/ 24 w 93"/>
                <a:gd name="T17" fmla="*/ 101 h 119"/>
                <a:gd name="T18" fmla="*/ 26 w 93"/>
                <a:gd name="T19" fmla="*/ 108 h 119"/>
                <a:gd name="T20" fmla="*/ 21 w 93"/>
                <a:gd name="T21" fmla="*/ 111 h 119"/>
                <a:gd name="T22" fmla="*/ 18 w 93"/>
                <a:gd name="T23" fmla="*/ 103 h 119"/>
                <a:gd name="T24" fmla="*/ 12 w 93"/>
                <a:gd name="T25" fmla="*/ 105 h 119"/>
                <a:gd name="T26" fmla="*/ 0 w 93"/>
                <a:gd name="T27" fmla="*/ 110 h 119"/>
                <a:gd name="T28" fmla="*/ 1 w 93"/>
                <a:gd name="T29" fmla="*/ 117 h 119"/>
                <a:gd name="T30" fmla="*/ 45 w 93"/>
                <a:gd name="T31" fmla="*/ 88 h 119"/>
                <a:gd name="T32" fmla="*/ 54 w 93"/>
                <a:gd name="T33" fmla="*/ 71 h 119"/>
                <a:gd name="T34" fmla="*/ 57 w 93"/>
                <a:gd name="T35" fmla="*/ 74 h 119"/>
                <a:gd name="T36" fmla="*/ 68 w 93"/>
                <a:gd name="T37" fmla="*/ 84 h 119"/>
                <a:gd name="T38" fmla="*/ 66 w 93"/>
                <a:gd name="T39" fmla="*/ 87 h 119"/>
                <a:gd name="T40" fmla="*/ 66 w 93"/>
                <a:gd name="T41" fmla="*/ 87 h 119"/>
                <a:gd name="T42" fmla="*/ 51 w 93"/>
                <a:gd name="T43" fmla="*/ 101 h 119"/>
                <a:gd name="T44" fmla="*/ 45 w 93"/>
                <a:gd name="T45" fmla="*/ 88 h 119"/>
                <a:gd name="T46" fmla="*/ 56 w 93"/>
                <a:gd name="T47" fmla="*/ 65 h 119"/>
                <a:gd name="T48" fmla="*/ 61 w 93"/>
                <a:gd name="T49" fmla="*/ 42 h 119"/>
                <a:gd name="T50" fmla="*/ 67 w 93"/>
                <a:gd name="T51" fmla="*/ 47 h 119"/>
                <a:gd name="T52" fmla="*/ 76 w 93"/>
                <a:gd name="T53" fmla="*/ 55 h 119"/>
                <a:gd name="T54" fmla="*/ 76 w 93"/>
                <a:gd name="T55" fmla="*/ 55 h 119"/>
                <a:gd name="T56" fmla="*/ 69 w 93"/>
                <a:gd name="T57" fmla="*/ 81 h 119"/>
                <a:gd name="T58" fmla="*/ 64 w 93"/>
                <a:gd name="T59" fmla="*/ 74 h 119"/>
                <a:gd name="T60" fmla="*/ 59 w 93"/>
                <a:gd name="T61" fmla="*/ 67 h 119"/>
                <a:gd name="T62" fmla="*/ 56 w 93"/>
                <a:gd name="T63" fmla="*/ 65 h 119"/>
                <a:gd name="T64" fmla="*/ 63 w 93"/>
                <a:gd name="T65" fmla="*/ 35 h 119"/>
                <a:gd name="T66" fmla="*/ 74 w 93"/>
                <a:gd name="T67" fmla="*/ 17 h 119"/>
                <a:gd name="T68" fmla="*/ 75 w 93"/>
                <a:gd name="T69" fmla="*/ 18 h 119"/>
                <a:gd name="T70" fmla="*/ 85 w 93"/>
                <a:gd name="T71" fmla="*/ 29 h 119"/>
                <a:gd name="T72" fmla="*/ 77 w 93"/>
                <a:gd name="T73" fmla="*/ 49 h 119"/>
                <a:gd name="T74" fmla="*/ 68 w 93"/>
                <a:gd name="T75" fmla="*/ 40 h 119"/>
                <a:gd name="T76" fmla="*/ 63 w 93"/>
                <a:gd name="T77" fmla="*/ 35 h 119"/>
                <a:gd name="T78" fmla="*/ 78 w 93"/>
                <a:gd name="T79" fmla="*/ 12 h 119"/>
                <a:gd name="T80" fmla="*/ 87 w 93"/>
                <a:gd name="T81" fmla="*/ 5 h 119"/>
                <a:gd name="T82" fmla="*/ 93 w 93"/>
                <a:gd name="T83" fmla="*/ 14 h 119"/>
                <a:gd name="T84" fmla="*/ 93 w 93"/>
                <a:gd name="T85" fmla="*/ 15 h 119"/>
                <a:gd name="T86" fmla="*/ 93 w 93"/>
                <a:gd name="T87" fmla="*/ 20 h 119"/>
                <a:gd name="T88" fmla="*/ 93 w 93"/>
                <a:gd name="T89" fmla="*/ 20 h 119"/>
                <a:gd name="T90" fmla="*/ 88 w 93"/>
                <a:gd name="T91" fmla="*/ 24 h 119"/>
                <a:gd name="T92" fmla="*/ 78 w 93"/>
                <a:gd name="T93" fmla="*/ 12 h 119"/>
                <a:gd name="T94" fmla="*/ 92 w 93"/>
                <a:gd name="T95" fmla="*/ 1 h 119"/>
                <a:gd name="T96" fmla="*/ 93 w 93"/>
                <a:gd name="T97" fmla="*/ 0 h 119"/>
                <a:gd name="T98" fmla="*/ 93 w 93"/>
                <a:gd name="T99" fmla="*/ 3 h 119"/>
                <a:gd name="T100" fmla="*/ 92 w 93"/>
                <a:gd name="T101" fmla="*/ 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" h="119">
                  <a:moveTo>
                    <a:pt x="1" y="117"/>
                  </a:moveTo>
                  <a:cubicBezTo>
                    <a:pt x="1" y="117"/>
                    <a:pt x="1" y="117"/>
                    <a:pt x="1" y="117"/>
                  </a:cubicBezTo>
                  <a:cubicBezTo>
                    <a:pt x="1" y="118"/>
                    <a:pt x="1" y="118"/>
                    <a:pt x="1" y="119"/>
                  </a:cubicBezTo>
                  <a:cubicBezTo>
                    <a:pt x="3" y="118"/>
                    <a:pt x="6" y="117"/>
                    <a:pt x="9" y="117"/>
                  </a:cubicBezTo>
                  <a:cubicBezTo>
                    <a:pt x="13" y="116"/>
                    <a:pt x="17" y="115"/>
                    <a:pt x="20" y="114"/>
                  </a:cubicBezTo>
                  <a:cubicBezTo>
                    <a:pt x="27" y="113"/>
                    <a:pt x="32" y="111"/>
                    <a:pt x="38" y="108"/>
                  </a:cubicBezTo>
                  <a:cubicBezTo>
                    <a:pt x="41" y="107"/>
                    <a:pt x="44" y="105"/>
                    <a:pt x="47" y="103"/>
                  </a:cubicBezTo>
                  <a:cubicBezTo>
                    <a:pt x="45" y="99"/>
                    <a:pt x="43" y="95"/>
                    <a:pt x="40" y="92"/>
                  </a:cubicBezTo>
                  <a:cubicBezTo>
                    <a:pt x="36" y="94"/>
                    <a:pt x="31" y="97"/>
                    <a:pt x="24" y="101"/>
                  </a:cubicBezTo>
                  <a:cubicBezTo>
                    <a:pt x="24" y="103"/>
                    <a:pt x="25" y="106"/>
                    <a:pt x="26" y="108"/>
                  </a:cubicBezTo>
                  <a:cubicBezTo>
                    <a:pt x="27" y="111"/>
                    <a:pt x="22" y="113"/>
                    <a:pt x="21" y="111"/>
                  </a:cubicBezTo>
                  <a:cubicBezTo>
                    <a:pt x="20" y="108"/>
                    <a:pt x="19" y="106"/>
                    <a:pt x="18" y="103"/>
                  </a:cubicBezTo>
                  <a:cubicBezTo>
                    <a:pt x="16" y="104"/>
                    <a:pt x="14" y="105"/>
                    <a:pt x="12" y="105"/>
                  </a:cubicBezTo>
                  <a:cubicBezTo>
                    <a:pt x="8" y="107"/>
                    <a:pt x="4" y="108"/>
                    <a:pt x="0" y="110"/>
                  </a:cubicBezTo>
                  <a:cubicBezTo>
                    <a:pt x="0" y="112"/>
                    <a:pt x="0" y="114"/>
                    <a:pt x="1" y="117"/>
                  </a:cubicBezTo>
                  <a:close/>
                  <a:moveTo>
                    <a:pt x="45" y="88"/>
                  </a:moveTo>
                  <a:cubicBezTo>
                    <a:pt x="50" y="83"/>
                    <a:pt x="53" y="77"/>
                    <a:pt x="54" y="71"/>
                  </a:cubicBezTo>
                  <a:cubicBezTo>
                    <a:pt x="55" y="72"/>
                    <a:pt x="56" y="73"/>
                    <a:pt x="57" y="74"/>
                  </a:cubicBezTo>
                  <a:cubicBezTo>
                    <a:pt x="60" y="77"/>
                    <a:pt x="63" y="82"/>
                    <a:pt x="68" y="84"/>
                  </a:cubicBezTo>
                  <a:cubicBezTo>
                    <a:pt x="67" y="85"/>
                    <a:pt x="66" y="86"/>
                    <a:pt x="66" y="87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2" y="92"/>
                    <a:pt x="57" y="97"/>
                    <a:pt x="51" y="101"/>
                  </a:cubicBezTo>
                  <a:cubicBezTo>
                    <a:pt x="49" y="96"/>
                    <a:pt x="47" y="92"/>
                    <a:pt x="45" y="88"/>
                  </a:cubicBezTo>
                  <a:close/>
                  <a:moveTo>
                    <a:pt x="56" y="65"/>
                  </a:moveTo>
                  <a:cubicBezTo>
                    <a:pt x="57" y="58"/>
                    <a:pt x="58" y="51"/>
                    <a:pt x="61" y="42"/>
                  </a:cubicBezTo>
                  <a:cubicBezTo>
                    <a:pt x="63" y="44"/>
                    <a:pt x="65" y="45"/>
                    <a:pt x="67" y="47"/>
                  </a:cubicBezTo>
                  <a:cubicBezTo>
                    <a:pt x="69" y="50"/>
                    <a:pt x="73" y="53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4" y="64"/>
                    <a:pt x="73" y="73"/>
                    <a:pt x="69" y="81"/>
                  </a:cubicBezTo>
                  <a:cubicBezTo>
                    <a:pt x="67" y="79"/>
                    <a:pt x="65" y="76"/>
                    <a:pt x="64" y="74"/>
                  </a:cubicBezTo>
                  <a:cubicBezTo>
                    <a:pt x="62" y="71"/>
                    <a:pt x="61" y="69"/>
                    <a:pt x="59" y="67"/>
                  </a:cubicBezTo>
                  <a:cubicBezTo>
                    <a:pt x="58" y="66"/>
                    <a:pt x="57" y="65"/>
                    <a:pt x="56" y="65"/>
                  </a:cubicBezTo>
                  <a:close/>
                  <a:moveTo>
                    <a:pt x="63" y="35"/>
                  </a:moveTo>
                  <a:cubicBezTo>
                    <a:pt x="66" y="28"/>
                    <a:pt x="70" y="22"/>
                    <a:pt x="74" y="17"/>
                  </a:cubicBezTo>
                  <a:cubicBezTo>
                    <a:pt x="74" y="17"/>
                    <a:pt x="74" y="18"/>
                    <a:pt x="75" y="18"/>
                  </a:cubicBezTo>
                  <a:cubicBezTo>
                    <a:pt x="78" y="22"/>
                    <a:pt x="81" y="25"/>
                    <a:pt x="85" y="29"/>
                  </a:cubicBezTo>
                  <a:cubicBezTo>
                    <a:pt x="81" y="35"/>
                    <a:pt x="79" y="42"/>
                    <a:pt x="77" y="49"/>
                  </a:cubicBezTo>
                  <a:cubicBezTo>
                    <a:pt x="74" y="46"/>
                    <a:pt x="71" y="43"/>
                    <a:pt x="68" y="40"/>
                  </a:cubicBezTo>
                  <a:cubicBezTo>
                    <a:pt x="67" y="39"/>
                    <a:pt x="65" y="37"/>
                    <a:pt x="63" y="35"/>
                  </a:cubicBezTo>
                  <a:close/>
                  <a:moveTo>
                    <a:pt x="78" y="12"/>
                  </a:moveTo>
                  <a:cubicBezTo>
                    <a:pt x="81" y="9"/>
                    <a:pt x="84" y="7"/>
                    <a:pt x="87" y="5"/>
                  </a:cubicBezTo>
                  <a:cubicBezTo>
                    <a:pt x="89" y="7"/>
                    <a:pt x="91" y="10"/>
                    <a:pt x="93" y="14"/>
                  </a:cubicBezTo>
                  <a:cubicBezTo>
                    <a:pt x="93" y="14"/>
                    <a:pt x="93" y="15"/>
                    <a:pt x="93" y="15"/>
                  </a:cubicBezTo>
                  <a:cubicBezTo>
                    <a:pt x="93" y="17"/>
                    <a:pt x="93" y="19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1" y="22"/>
                    <a:pt x="90" y="23"/>
                    <a:pt x="88" y="24"/>
                  </a:cubicBezTo>
                  <a:cubicBezTo>
                    <a:pt x="85" y="21"/>
                    <a:pt x="82" y="16"/>
                    <a:pt x="78" y="12"/>
                  </a:cubicBezTo>
                  <a:close/>
                  <a:moveTo>
                    <a:pt x="92" y="1"/>
                  </a:moveTo>
                  <a:cubicBezTo>
                    <a:pt x="92" y="1"/>
                    <a:pt x="93" y="0"/>
                    <a:pt x="93" y="0"/>
                  </a:cubicBezTo>
                  <a:cubicBezTo>
                    <a:pt x="93" y="1"/>
                    <a:pt x="93" y="2"/>
                    <a:pt x="93" y="3"/>
                  </a:cubicBezTo>
                  <a:cubicBezTo>
                    <a:pt x="93" y="3"/>
                    <a:pt x="92" y="2"/>
                    <a:pt x="92" y="1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i$1íḑe"/>
            <p:cNvSpPr/>
            <p:nvPr/>
          </p:nvSpPr>
          <p:spPr bwMode="auto">
            <a:xfrm>
              <a:off x="6843160" y="3342449"/>
              <a:ext cx="667340" cy="1412592"/>
            </a:xfrm>
            <a:custGeom>
              <a:avLst/>
              <a:gdLst>
                <a:gd name="T0" fmla="*/ 11 w 95"/>
                <a:gd name="T1" fmla="*/ 47 h 201"/>
                <a:gd name="T2" fmla="*/ 39 w 95"/>
                <a:gd name="T3" fmla="*/ 30 h 201"/>
                <a:gd name="T4" fmla="*/ 18 w 95"/>
                <a:gd name="T5" fmla="*/ 11 h 201"/>
                <a:gd name="T6" fmla="*/ 3 w 95"/>
                <a:gd name="T7" fmla="*/ 29 h 201"/>
                <a:gd name="T8" fmla="*/ 0 w 95"/>
                <a:gd name="T9" fmla="*/ 40 h 201"/>
                <a:gd name="T10" fmla="*/ 0 w 95"/>
                <a:gd name="T11" fmla="*/ 0 h 201"/>
                <a:gd name="T12" fmla="*/ 1 w 95"/>
                <a:gd name="T13" fmla="*/ 21 h 201"/>
                <a:gd name="T14" fmla="*/ 13 w 95"/>
                <a:gd name="T15" fmla="*/ 8 h 201"/>
                <a:gd name="T16" fmla="*/ 62 w 95"/>
                <a:gd name="T17" fmla="*/ 60 h 201"/>
                <a:gd name="T18" fmla="*/ 44 w 95"/>
                <a:gd name="T19" fmla="*/ 73 h 201"/>
                <a:gd name="T20" fmla="*/ 42 w 95"/>
                <a:gd name="T21" fmla="*/ 93 h 201"/>
                <a:gd name="T22" fmla="*/ 73 w 95"/>
                <a:gd name="T23" fmla="*/ 84 h 201"/>
                <a:gd name="T24" fmla="*/ 69 w 95"/>
                <a:gd name="T25" fmla="*/ 73 h 201"/>
                <a:gd name="T26" fmla="*/ 86 w 95"/>
                <a:gd name="T27" fmla="*/ 119 h 201"/>
                <a:gd name="T28" fmla="*/ 81 w 95"/>
                <a:gd name="T29" fmla="*/ 119 h 201"/>
                <a:gd name="T30" fmla="*/ 61 w 95"/>
                <a:gd name="T31" fmla="*/ 122 h 201"/>
                <a:gd name="T32" fmla="*/ 57 w 95"/>
                <a:gd name="T33" fmla="*/ 140 h 201"/>
                <a:gd name="T34" fmla="*/ 92 w 95"/>
                <a:gd name="T35" fmla="*/ 139 h 201"/>
                <a:gd name="T36" fmla="*/ 94 w 95"/>
                <a:gd name="T37" fmla="*/ 148 h 201"/>
                <a:gd name="T38" fmla="*/ 93 w 95"/>
                <a:gd name="T39" fmla="*/ 147 h 201"/>
                <a:gd name="T40" fmla="*/ 85 w 95"/>
                <a:gd name="T41" fmla="*/ 146 h 201"/>
                <a:gd name="T42" fmla="*/ 58 w 95"/>
                <a:gd name="T43" fmla="*/ 147 h 201"/>
                <a:gd name="T44" fmla="*/ 79 w 95"/>
                <a:gd name="T45" fmla="*/ 162 h 201"/>
                <a:gd name="T46" fmla="*/ 95 w 95"/>
                <a:gd name="T47" fmla="*/ 168 h 201"/>
                <a:gd name="T48" fmla="*/ 92 w 95"/>
                <a:gd name="T49" fmla="*/ 187 h 201"/>
                <a:gd name="T50" fmla="*/ 94 w 95"/>
                <a:gd name="T51" fmla="*/ 174 h 201"/>
                <a:gd name="T52" fmla="*/ 78 w 95"/>
                <a:gd name="T53" fmla="*/ 168 h 201"/>
                <a:gd name="T54" fmla="*/ 60 w 95"/>
                <a:gd name="T55" fmla="*/ 171 h 201"/>
                <a:gd name="T56" fmla="*/ 65 w 95"/>
                <a:gd name="T57" fmla="*/ 174 h 201"/>
                <a:gd name="T58" fmla="*/ 92 w 95"/>
                <a:gd name="T59" fmla="*/ 187 h 201"/>
                <a:gd name="T60" fmla="*/ 58 w 95"/>
                <a:gd name="T61" fmla="*/ 186 h 201"/>
                <a:gd name="T62" fmla="*/ 83 w 95"/>
                <a:gd name="T63" fmla="*/ 198 h 201"/>
                <a:gd name="T64" fmla="*/ 91 w 95"/>
                <a:gd name="T65" fmla="*/ 193 h 201"/>
                <a:gd name="T66" fmla="*/ 74 w 95"/>
                <a:gd name="T67" fmla="*/ 185 h 201"/>
                <a:gd name="T68" fmla="*/ 59 w 95"/>
                <a:gd name="T69" fmla="*/ 181 h 201"/>
                <a:gd name="T70" fmla="*/ 58 w 95"/>
                <a:gd name="T71" fmla="*/ 186 h 201"/>
                <a:gd name="T72" fmla="*/ 46 w 95"/>
                <a:gd name="T73" fmla="*/ 101 h 201"/>
                <a:gd name="T74" fmla="*/ 59 w 95"/>
                <a:gd name="T75" fmla="*/ 115 h 201"/>
                <a:gd name="T76" fmla="*/ 84 w 95"/>
                <a:gd name="T77" fmla="*/ 114 h 201"/>
                <a:gd name="T78" fmla="*/ 75 w 95"/>
                <a:gd name="T79" fmla="*/ 88 h 201"/>
                <a:gd name="T80" fmla="*/ 55 w 95"/>
                <a:gd name="T81" fmla="*/ 95 h 201"/>
                <a:gd name="T82" fmla="*/ 45 w 95"/>
                <a:gd name="T83" fmla="*/ 100 h 201"/>
                <a:gd name="T84" fmla="*/ 31 w 95"/>
                <a:gd name="T85" fmla="*/ 72 h 201"/>
                <a:gd name="T86" fmla="*/ 44 w 95"/>
                <a:gd name="T87" fmla="*/ 65 h 201"/>
                <a:gd name="T88" fmla="*/ 43 w 95"/>
                <a:gd name="T89" fmla="*/ 33 h 201"/>
                <a:gd name="T90" fmla="*/ 21 w 95"/>
                <a:gd name="T91" fmla="*/ 57 h 201"/>
                <a:gd name="T92" fmla="*/ 31 w 95"/>
                <a:gd name="T93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201">
                  <a:moveTo>
                    <a:pt x="11" y="47"/>
                  </a:moveTo>
                  <a:cubicBezTo>
                    <a:pt x="11" y="47"/>
                    <a:pt x="11" y="47"/>
                    <a:pt x="11" y="47"/>
                  </a:cubicBezTo>
                  <a:cubicBezTo>
                    <a:pt x="14" y="49"/>
                    <a:pt x="16" y="51"/>
                    <a:pt x="18" y="53"/>
                  </a:cubicBezTo>
                  <a:cubicBezTo>
                    <a:pt x="21" y="43"/>
                    <a:pt x="31" y="36"/>
                    <a:pt x="39" y="30"/>
                  </a:cubicBezTo>
                  <a:cubicBezTo>
                    <a:pt x="36" y="27"/>
                    <a:pt x="33" y="24"/>
                    <a:pt x="30" y="21"/>
                  </a:cubicBezTo>
                  <a:cubicBezTo>
                    <a:pt x="26" y="17"/>
                    <a:pt x="22" y="14"/>
                    <a:pt x="18" y="11"/>
                  </a:cubicBezTo>
                  <a:cubicBezTo>
                    <a:pt x="15" y="15"/>
                    <a:pt x="12" y="18"/>
                    <a:pt x="8" y="22"/>
                  </a:cubicBezTo>
                  <a:cubicBezTo>
                    <a:pt x="6" y="24"/>
                    <a:pt x="5" y="27"/>
                    <a:pt x="3" y="29"/>
                  </a:cubicBezTo>
                  <a:cubicBezTo>
                    <a:pt x="2" y="31"/>
                    <a:pt x="1" y="33"/>
                    <a:pt x="0" y="35"/>
                  </a:cubicBezTo>
                  <a:cubicBezTo>
                    <a:pt x="0" y="37"/>
                    <a:pt x="0" y="38"/>
                    <a:pt x="0" y="40"/>
                  </a:cubicBezTo>
                  <a:cubicBezTo>
                    <a:pt x="4" y="42"/>
                    <a:pt x="8" y="45"/>
                    <a:pt x="11" y="47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2" y="14"/>
                    <a:pt x="1" y="21"/>
                  </a:cubicBezTo>
                  <a:cubicBezTo>
                    <a:pt x="2" y="20"/>
                    <a:pt x="3" y="19"/>
                    <a:pt x="3" y="18"/>
                  </a:cubicBezTo>
                  <a:cubicBezTo>
                    <a:pt x="6" y="15"/>
                    <a:pt x="10" y="11"/>
                    <a:pt x="13" y="8"/>
                  </a:cubicBezTo>
                  <a:cubicBezTo>
                    <a:pt x="9" y="5"/>
                    <a:pt x="5" y="2"/>
                    <a:pt x="0" y="0"/>
                  </a:cubicBezTo>
                  <a:close/>
                  <a:moveTo>
                    <a:pt x="62" y="60"/>
                  </a:moveTo>
                  <a:cubicBezTo>
                    <a:pt x="62" y="60"/>
                    <a:pt x="62" y="60"/>
                    <a:pt x="62" y="60"/>
                  </a:cubicBezTo>
                  <a:cubicBezTo>
                    <a:pt x="56" y="64"/>
                    <a:pt x="50" y="69"/>
                    <a:pt x="44" y="73"/>
                  </a:cubicBezTo>
                  <a:cubicBezTo>
                    <a:pt x="41" y="74"/>
                    <a:pt x="38" y="76"/>
                    <a:pt x="35" y="78"/>
                  </a:cubicBezTo>
                  <a:cubicBezTo>
                    <a:pt x="38" y="83"/>
                    <a:pt x="40" y="88"/>
                    <a:pt x="42" y="93"/>
                  </a:cubicBezTo>
                  <a:cubicBezTo>
                    <a:pt x="45" y="92"/>
                    <a:pt x="48" y="90"/>
                    <a:pt x="50" y="90"/>
                  </a:cubicBezTo>
                  <a:cubicBezTo>
                    <a:pt x="57" y="87"/>
                    <a:pt x="65" y="86"/>
                    <a:pt x="73" y="84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72" y="80"/>
                    <a:pt x="70" y="77"/>
                    <a:pt x="69" y="73"/>
                  </a:cubicBezTo>
                  <a:cubicBezTo>
                    <a:pt x="67" y="68"/>
                    <a:pt x="65" y="64"/>
                    <a:pt x="62" y="60"/>
                  </a:cubicBezTo>
                  <a:close/>
                  <a:moveTo>
                    <a:pt x="86" y="119"/>
                  </a:moveTo>
                  <a:cubicBezTo>
                    <a:pt x="86" y="119"/>
                    <a:pt x="86" y="119"/>
                    <a:pt x="86" y="119"/>
                  </a:cubicBezTo>
                  <a:cubicBezTo>
                    <a:pt x="84" y="119"/>
                    <a:pt x="83" y="119"/>
                    <a:pt x="81" y="119"/>
                  </a:cubicBezTo>
                  <a:cubicBezTo>
                    <a:pt x="78" y="119"/>
                    <a:pt x="76" y="120"/>
                    <a:pt x="73" y="120"/>
                  </a:cubicBezTo>
                  <a:cubicBezTo>
                    <a:pt x="69" y="120"/>
                    <a:pt x="65" y="121"/>
                    <a:pt x="61" y="122"/>
                  </a:cubicBezTo>
                  <a:cubicBezTo>
                    <a:pt x="59" y="123"/>
                    <a:pt x="56" y="124"/>
                    <a:pt x="54" y="124"/>
                  </a:cubicBezTo>
                  <a:cubicBezTo>
                    <a:pt x="55" y="129"/>
                    <a:pt x="56" y="134"/>
                    <a:pt x="57" y="140"/>
                  </a:cubicBezTo>
                  <a:cubicBezTo>
                    <a:pt x="67" y="138"/>
                    <a:pt x="84" y="138"/>
                    <a:pt x="92" y="141"/>
                  </a:cubicBezTo>
                  <a:cubicBezTo>
                    <a:pt x="92" y="140"/>
                    <a:pt x="92" y="140"/>
                    <a:pt x="92" y="139"/>
                  </a:cubicBezTo>
                  <a:cubicBezTo>
                    <a:pt x="90" y="132"/>
                    <a:pt x="88" y="126"/>
                    <a:pt x="86" y="119"/>
                  </a:cubicBezTo>
                  <a:close/>
                  <a:moveTo>
                    <a:pt x="94" y="148"/>
                  </a:moveTo>
                  <a:cubicBezTo>
                    <a:pt x="94" y="148"/>
                    <a:pt x="94" y="148"/>
                    <a:pt x="94" y="148"/>
                  </a:cubicBezTo>
                  <a:cubicBezTo>
                    <a:pt x="93" y="148"/>
                    <a:pt x="93" y="148"/>
                    <a:pt x="93" y="147"/>
                  </a:cubicBezTo>
                  <a:cubicBezTo>
                    <a:pt x="93" y="147"/>
                    <a:pt x="91" y="147"/>
                    <a:pt x="91" y="146"/>
                  </a:cubicBezTo>
                  <a:cubicBezTo>
                    <a:pt x="89" y="146"/>
                    <a:pt x="87" y="146"/>
                    <a:pt x="85" y="146"/>
                  </a:cubicBezTo>
                  <a:cubicBezTo>
                    <a:pt x="80" y="146"/>
                    <a:pt x="75" y="146"/>
                    <a:pt x="70" y="146"/>
                  </a:cubicBezTo>
                  <a:cubicBezTo>
                    <a:pt x="66" y="147"/>
                    <a:pt x="62" y="147"/>
                    <a:pt x="58" y="147"/>
                  </a:cubicBezTo>
                  <a:cubicBezTo>
                    <a:pt x="59" y="152"/>
                    <a:pt x="59" y="156"/>
                    <a:pt x="60" y="160"/>
                  </a:cubicBezTo>
                  <a:cubicBezTo>
                    <a:pt x="66" y="160"/>
                    <a:pt x="72" y="161"/>
                    <a:pt x="79" y="162"/>
                  </a:cubicBezTo>
                  <a:cubicBezTo>
                    <a:pt x="82" y="162"/>
                    <a:pt x="85" y="163"/>
                    <a:pt x="89" y="164"/>
                  </a:cubicBezTo>
                  <a:cubicBezTo>
                    <a:pt x="91" y="165"/>
                    <a:pt x="93" y="167"/>
                    <a:pt x="95" y="168"/>
                  </a:cubicBezTo>
                  <a:cubicBezTo>
                    <a:pt x="95" y="161"/>
                    <a:pt x="95" y="155"/>
                    <a:pt x="94" y="148"/>
                  </a:cubicBezTo>
                  <a:close/>
                  <a:moveTo>
                    <a:pt x="92" y="187"/>
                  </a:moveTo>
                  <a:cubicBezTo>
                    <a:pt x="92" y="187"/>
                    <a:pt x="92" y="187"/>
                    <a:pt x="92" y="187"/>
                  </a:cubicBezTo>
                  <a:cubicBezTo>
                    <a:pt x="93" y="183"/>
                    <a:pt x="94" y="179"/>
                    <a:pt x="94" y="174"/>
                  </a:cubicBezTo>
                  <a:cubicBezTo>
                    <a:pt x="94" y="174"/>
                    <a:pt x="94" y="174"/>
                    <a:pt x="94" y="173"/>
                  </a:cubicBezTo>
                  <a:cubicBezTo>
                    <a:pt x="89" y="171"/>
                    <a:pt x="84" y="169"/>
                    <a:pt x="78" y="168"/>
                  </a:cubicBezTo>
                  <a:cubicBezTo>
                    <a:pt x="72" y="167"/>
                    <a:pt x="65" y="167"/>
                    <a:pt x="60" y="165"/>
                  </a:cubicBezTo>
                  <a:cubicBezTo>
                    <a:pt x="60" y="167"/>
                    <a:pt x="60" y="169"/>
                    <a:pt x="60" y="171"/>
                  </a:cubicBezTo>
                  <a:cubicBezTo>
                    <a:pt x="60" y="172"/>
                    <a:pt x="60" y="173"/>
                    <a:pt x="60" y="173"/>
                  </a:cubicBezTo>
                  <a:cubicBezTo>
                    <a:pt x="62" y="174"/>
                    <a:pt x="64" y="174"/>
                    <a:pt x="65" y="174"/>
                  </a:cubicBezTo>
                  <a:cubicBezTo>
                    <a:pt x="70" y="174"/>
                    <a:pt x="75" y="176"/>
                    <a:pt x="79" y="179"/>
                  </a:cubicBezTo>
                  <a:cubicBezTo>
                    <a:pt x="83" y="183"/>
                    <a:pt x="88" y="184"/>
                    <a:pt x="92" y="187"/>
                  </a:cubicBezTo>
                  <a:close/>
                  <a:moveTo>
                    <a:pt x="58" y="186"/>
                  </a:moveTo>
                  <a:cubicBezTo>
                    <a:pt x="58" y="186"/>
                    <a:pt x="58" y="186"/>
                    <a:pt x="58" y="186"/>
                  </a:cubicBezTo>
                  <a:cubicBezTo>
                    <a:pt x="62" y="188"/>
                    <a:pt x="66" y="189"/>
                    <a:pt x="70" y="191"/>
                  </a:cubicBezTo>
                  <a:cubicBezTo>
                    <a:pt x="74" y="193"/>
                    <a:pt x="78" y="196"/>
                    <a:pt x="83" y="198"/>
                  </a:cubicBezTo>
                  <a:cubicBezTo>
                    <a:pt x="85" y="199"/>
                    <a:pt x="87" y="200"/>
                    <a:pt x="89" y="201"/>
                  </a:cubicBezTo>
                  <a:cubicBezTo>
                    <a:pt x="90" y="199"/>
                    <a:pt x="90" y="196"/>
                    <a:pt x="91" y="193"/>
                  </a:cubicBezTo>
                  <a:cubicBezTo>
                    <a:pt x="89" y="192"/>
                    <a:pt x="87" y="192"/>
                    <a:pt x="85" y="191"/>
                  </a:cubicBezTo>
                  <a:cubicBezTo>
                    <a:pt x="81" y="189"/>
                    <a:pt x="77" y="188"/>
                    <a:pt x="74" y="185"/>
                  </a:cubicBezTo>
                  <a:cubicBezTo>
                    <a:pt x="70" y="182"/>
                    <a:pt x="66" y="181"/>
                    <a:pt x="61" y="181"/>
                  </a:cubicBezTo>
                  <a:cubicBezTo>
                    <a:pt x="60" y="181"/>
                    <a:pt x="59" y="181"/>
                    <a:pt x="59" y="181"/>
                  </a:cubicBezTo>
                  <a:cubicBezTo>
                    <a:pt x="58" y="183"/>
                    <a:pt x="58" y="185"/>
                    <a:pt x="57" y="186"/>
                  </a:cubicBezTo>
                  <a:cubicBezTo>
                    <a:pt x="57" y="186"/>
                    <a:pt x="57" y="186"/>
                    <a:pt x="58" y="186"/>
                  </a:cubicBezTo>
                  <a:close/>
                  <a:moveTo>
                    <a:pt x="46" y="101"/>
                  </a:moveTo>
                  <a:cubicBezTo>
                    <a:pt x="46" y="101"/>
                    <a:pt x="46" y="101"/>
                    <a:pt x="46" y="101"/>
                  </a:cubicBezTo>
                  <a:cubicBezTo>
                    <a:pt x="48" y="107"/>
                    <a:pt x="50" y="112"/>
                    <a:pt x="52" y="118"/>
                  </a:cubicBezTo>
                  <a:cubicBezTo>
                    <a:pt x="54" y="117"/>
                    <a:pt x="57" y="116"/>
                    <a:pt x="59" y="115"/>
                  </a:cubicBezTo>
                  <a:cubicBezTo>
                    <a:pt x="64" y="114"/>
                    <a:pt x="68" y="114"/>
                    <a:pt x="73" y="113"/>
                  </a:cubicBezTo>
                  <a:cubicBezTo>
                    <a:pt x="77" y="113"/>
                    <a:pt x="81" y="113"/>
                    <a:pt x="84" y="114"/>
                  </a:cubicBezTo>
                  <a:cubicBezTo>
                    <a:pt x="83" y="111"/>
                    <a:pt x="82" y="108"/>
                    <a:pt x="81" y="104"/>
                  </a:cubicBezTo>
                  <a:cubicBezTo>
                    <a:pt x="79" y="99"/>
                    <a:pt x="77" y="94"/>
                    <a:pt x="75" y="88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68" y="90"/>
                    <a:pt x="61" y="92"/>
                    <a:pt x="55" y="95"/>
                  </a:cubicBezTo>
                  <a:cubicBezTo>
                    <a:pt x="52" y="96"/>
                    <a:pt x="49" y="98"/>
                    <a:pt x="45" y="99"/>
                  </a:cubicBezTo>
                  <a:cubicBezTo>
                    <a:pt x="45" y="99"/>
                    <a:pt x="45" y="100"/>
                    <a:pt x="45" y="100"/>
                  </a:cubicBezTo>
                  <a:cubicBezTo>
                    <a:pt x="45" y="100"/>
                    <a:pt x="45" y="101"/>
                    <a:pt x="46" y="101"/>
                  </a:cubicBezTo>
                  <a:close/>
                  <a:moveTo>
                    <a:pt x="31" y="72"/>
                  </a:moveTo>
                  <a:cubicBezTo>
                    <a:pt x="31" y="72"/>
                    <a:pt x="31" y="72"/>
                    <a:pt x="31" y="72"/>
                  </a:cubicBezTo>
                  <a:cubicBezTo>
                    <a:pt x="35" y="69"/>
                    <a:pt x="40" y="67"/>
                    <a:pt x="44" y="65"/>
                  </a:cubicBezTo>
                  <a:cubicBezTo>
                    <a:pt x="49" y="61"/>
                    <a:pt x="54" y="58"/>
                    <a:pt x="60" y="56"/>
                  </a:cubicBezTo>
                  <a:cubicBezTo>
                    <a:pt x="55" y="48"/>
                    <a:pt x="49" y="40"/>
                    <a:pt x="43" y="33"/>
                  </a:cubicBezTo>
                  <a:cubicBezTo>
                    <a:pt x="39" y="37"/>
                    <a:pt x="35" y="41"/>
                    <a:pt x="31" y="45"/>
                  </a:cubicBezTo>
                  <a:cubicBezTo>
                    <a:pt x="27" y="48"/>
                    <a:pt x="25" y="53"/>
                    <a:pt x="21" y="57"/>
                  </a:cubicBezTo>
                  <a:cubicBezTo>
                    <a:pt x="23" y="59"/>
                    <a:pt x="24" y="60"/>
                    <a:pt x="25" y="62"/>
                  </a:cubicBezTo>
                  <a:cubicBezTo>
                    <a:pt x="27" y="65"/>
                    <a:pt x="30" y="68"/>
                    <a:pt x="31" y="72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îśliḍè"/>
            <p:cNvSpPr/>
            <p:nvPr/>
          </p:nvSpPr>
          <p:spPr bwMode="auto">
            <a:xfrm>
              <a:off x="6843160" y="3477949"/>
              <a:ext cx="504740" cy="1209341"/>
            </a:xfrm>
            <a:custGeom>
              <a:avLst/>
              <a:gdLst>
                <a:gd name="T0" fmla="*/ 11 w 72"/>
                <a:gd name="T1" fmla="*/ 28 h 172"/>
                <a:gd name="T2" fmla="*/ 28 w 72"/>
                <a:gd name="T3" fmla="*/ 19 h 172"/>
                <a:gd name="T4" fmla="*/ 3 w 72"/>
                <a:gd name="T5" fmla="*/ 10 h 172"/>
                <a:gd name="T6" fmla="*/ 0 w 72"/>
                <a:gd name="T7" fmla="*/ 21 h 172"/>
                <a:gd name="T8" fmla="*/ 1 w 72"/>
                <a:gd name="T9" fmla="*/ 0 h 172"/>
                <a:gd name="T10" fmla="*/ 1 w 72"/>
                <a:gd name="T11" fmla="*/ 2 h 172"/>
                <a:gd name="T12" fmla="*/ 33 w 72"/>
                <a:gd name="T13" fmla="*/ 24 h 172"/>
                <a:gd name="T14" fmla="*/ 47 w 72"/>
                <a:gd name="T15" fmla="*/ 43 h 172"/>
                <a:gd name="T16" fmla="*/ 31 w 72"/>
                <a:gd name="T17" fmla="*/ 53 h 172"/>
                <a:gd name="T18" fmla="*/ 25 w 72"/>
                <a:gd name="T19" fmla="*/ 43 h 172"/>
                <a:gd name="T20" fmla="*/ 31 w 72"/>
                <a:gd name="T21" fmla="*/ 26 h 172"/>
                <a:gd name="T22" fmla="*/ 51 w 72"/>
                <a:gd name="T23" fmla="*/ 49 h 172"/>
                <a:gd name="T24" fmla="*/ 50 w 72"/>
                <a:gd name="T25" fmla="*/ 71 h 172"/>
                <a:gd name="T26" fmla="*/ 35 w 72"/>
                <a:gd name="T27" fmla="*/ 59 h 172"/>
                <a:gd name="T28" fmla="*/ 51 w 72"/>
                <a:gd name="T29" fmla="*/ 49 h 172"/>
                <a:gd name="T30" fmla="*/ 67 w 72"/>
                <a:gd name="T31" fmla="*/ 95 h 172"/>
                <a:gd name="T32" fmla="*/ 52 w 72"/>
                <a:gd name="T33" fmla="*/ 99 h 172"/>
                <a:gd name="T34" fmla="*/ 46 w 72"/>
                <a:gd name="T35" fmla="*/ 82 h 172"/>
                <a:gd name="T36" fmla="*/ 45 w 72"/>
                <a:gd name="T37" fmla="*/ 80 h 172"/>
                <a:gd name="T38" fmla="*/ 62 w 72"/>
                <a:gd name="T39" fmla="*/ 73 h 172"/>
                <a:gd name="T40" fmla="*/ 71 w 72"/>
                <a:gd name="T41" fmla="*/ 119 h 172"/>
                <a:gd name="T42" fmla="*/ 54 w 72"/>
                <a:gd name="T43" fmla="*/ 105 h 172"/>
                <a:gd name="T44" fmla="*/ 69 w 72"/>
                <a:gd name="T45" fmla="*/ 101 h 172"/>
                <a:gd name="T46" fmla="*/ 72 w 72"/>
                <a:gd name="T47" fmla="*/ 142 h 172"/>
                <a:gd name="T48" fmla="*/ 58 w 72"/>
                <a:gd name="T49" fmla="*/ 128 h 172"/>
                <a:gd name="T50" fmla="*/ 72 w 72"/>
                <a:gd name="T51" fmla="*/ 127 h 172"/>
                <a:gd name="T52" fmla="*/ 71 w 72"/>
                <a:gd name="T53" fmla="*/ 156 h 172"/>
                <a:gd name="T54" fmla="*/ 60 w 72"/>
                <a:gd name="T55" fmla="*/ 154 h 172"/>
                <a:gd name="T56" fmla="*/ 60 w 72"/>
                <a:gd name="T57" fmla="*/ 146 h 172"/>
                <a:gd name="T58" fmla="*/ 71 w 72"/>
                <a:gd name="T59" fmla="*/ 164 h 172"/>
                <a:gd name="T60" fmla="*/ 58 w 72"/>
                <a:gd name="T61" fmla="*/ 167 h 172"/>
                <a:gd name="T62" fmla="*/ 57 w 72"/>
                <a:gd name="T63" fmla="*/ 167 h 172"/>
                <a:gd name="T64" fmla="*/ 61 w 72"/>
                <a:gd name="T65" fmla="*/ 16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72">
                  <a:moveTo>
                    <a:pt x="11" y="28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4" y="30"/>
                    <a:pt x="16" y="32"/>
                    <a:pt x="18" y="34"/>
                  </a:cubicBezTo>
                  <a:cubicBezTo>
                    <a:pt x="20" y="29"/>
                    <a:pt x="24" y="24"/>
                    <a:pt x="28" y="19"/>
                  </a:cubicBezTo>
                  <a:cubicBezTo>
                    <a:pt x="22" y="13"/>
                    <a:pt x="15" y="8"/>
                    <a:pt x="8" y="4"/>
                  </a:cubicBezTo>
                  <a:cubicBezTo>
                    <a:pt x="6" y="6"/>
                    <a:pt x="4" y="8"/>
                    <a:pt x="3" y="10"/>
                  </a:cubicBezTo>
                  <a:cubicBezTo>
                    <a:pt x="2" y="12"/>
                    <a:pt x="1" y="14"/>
                    <a:pt x="0" y="16"/>
                  </a:cubicBezTo>
                  <a:cubicBezTo>
                    <a:pt x="0" y="18"/>
                    <a:pt x="0" y="19"/>
                    <a:pt x="0" y="21"/>
                  </a:cubicBezTo>
                  <a:cubicBezTo>
                    <a:pt x="4" y="23"/>
                    <a:pt x="8" y="26"/>
                    <a:pt x="11" y="28"/>
                  </a:cubicBezTo>
                  <a:close/>
                  <a:moveTo>
                    <a:pt x="1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1" y="0"/>
                  </a:lnTo>
                  <a:close/>
                  <a:moveTo>
                    <a:pt x="33" y="24"/>
                  </a:moveTo>
                  <a:cubicBezTo>
                    <a:pt x="37" y="28"/>
                    <a:pt x="41" y="33"/>
                    <a:pt x="44" y="38"/>
                  </a:cubicBezTo>
                  <a:cubicBezTo>
                    <a:pt x="45" y="40"/>
                    <a:pt x="46" y="42"/>
                    <a:pt x="47" y="43"/>
                  </a:cubicBezTo>
                  <a:cubicBezTo>
                    <a:pt x="46" y="44"/>
                    <a:pt x="45" y="45"/>
                    <a:pt x="44" y="46"/>
                  </a:cubicBezTo>
                  <a:cubicBezTo>
                    <a:pt x="40" y="48"/>
                    <a:pt x="35" y="50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0" y="49"/>
                    <a:pt x="27" y="46"/>
                    <a:pt x="25" y="43"/>
                  </a:cubicBezTo>
                  <a:cubicBezTo>
                    <a:pt x="24" y="41"/>
                    <a:pt x="23" y="40"/>
                    <a:pt x="21" y="38"/>
                  </a:cubicBezTo>
                  <a:cubicBezTo>
                    <a:pt x="25" y="34"/>
                    <a:pt x="27" y="29"/>
                    <a:pt x="31" y="26"/>
                  </a:cubicBezTo>
                  <a:lnTo>
                    <a:pt x="33" y="24"/>
                  </a:lnTo>
                  <a:close/>
                  <a:moveTo>
                    <a:pt x="51" y="49"/>
                  </a:moveTo>
                  <a:cubicBezTo>
                    <a:pt x="54" y="55"/>
                    <a:pt x="57" y="62"/>
                    <a:pt x="60" y="68"/>
                  </a:cubicBezTo>
                  <a:cubicBezTo>
                    <a:pt x="56" y="69"/>
                    <a:pt x="53" y="69"/>
                    <a:pt x="50" y="71"/>
                  </a:cubicBezTo>
                  <a:cubicBezTo>
                    <a:pt x="48" y="71"/>
                    <a:pt x="45" y="73"/>
                    <a:pt x="42" y="74"/>
                  </a:cubicBezTo>
                  <a:cubicBezTo>
                    <a:pt x="40" y="69"/>
                    <a:pt x="38" y="64"/>
                    <a:pt x="35" y="59"/>
                  </a:cubicBezTo>
                  <a:cubicBezTo>
                    <a:pt x="38" y="57"/>
                    <a:pt x="41" y="55"/>
                    <a:pt x="44" y="54"/>
                  </a:cubicBezTo>
                  <a:cubicBezTo>
                    <a:pt x="46" y="52"/>
                    <a:pt x="49" y="51"/>
                    <a:pt x="51" y="49"/>
                  </a:cubicBezTo>
                  <a:close/>
                  <a:moveTo>
                    <a:pt x="62" y="73"/>
                  </a:moveTo>
                  <a:cubicBezTo>
                    <a:pt x="64" y="81"/>
                    <a:pt x="66" y="88"/>
                    <a:pt x="67" y="95"/>
                  </a:cubicBezTo>
                  <a:cubicBezTo>
                    <a:pt x="65" y="95"/>
                    <a:pt x="62" y="96"/>
                    <a:pt x="59" y="96"/>
                  </a:cubicBezTo>
                  <a:cubicBezTo>
                    <a:pt x="57" y="97"/>
                    <a:pt x="54" y="98"/>
                    <a:pt x="52" y="99"/>
                  </a:cubicBezTo>
                  <a:cubicBezTo>
                    <a:pt x="50" y="93"/>
                    <a:pt x="48" y="88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5" y="82"/>
                    <a:pt x="45" y="81"/>
                    <a:pt x="45" y="81"/>
                  </a:cubicBezTo>
                  <a:cubicBezTo>
                    <a:pt x="45" y="81"/>
                    <a:pt x="45" y="80"/>
                    <a:pt x="45" y="80"/>
                  </a:cubicBezTo>
                  <a:cubicBezTo>
                    <a:pt x="49" y="79"/>
                    <a:pt x="52" y="77"/>
                    <a:pt x="55" y="76"/>
                  </a:cubicBezTo>
                  <a:cubicBezTo>
                    <a:pt x="57" y="75"/>
                    <a:pt x="59" y="74"/>
                    <a:pt x="62" y="73"/>
                  </a:cubicBezTo>
                  <a:close/>
                  <a:moveTo>
                    <a:pt x="69" y="101"/>
                  </a:moveTo>
                  <a:cubicBezTo>
                    <a:pt x="70" y="108"/>
                    <a:pt x="71" y="114"/>
                    <a:pt x="71" y="119"/>
                  </a:cubicBezTo>
                  <a:cubicBezTo>
                    <a:pt x="66" y="119"/>
                    <a:pt x="61" y="120"/>
                    <a:pt x="57" y="121"/>
                  </a:cubicBezTo>
                  <a:cubicBezTo>
                    <a:pt x="56" y="115"/>
                    <a:pt x="55" y="110"/>
                    <a:pt x="54" y="105"/>
                  </a:cubicBezTo>
                  <a:cubicBezTo>
                    <a:pt x="56" y="105"/>
                    <a:pt x="59" y="104"/>
                    <a:pt x="61" y="103"/>
                  </a:cubicBezTo>
                  <a:cubicBezTo>
                    <a:pt x="64" y="103"/>
                    <a:pt x="66" y="102"/>
                    <a:pt x="69" y="101"/>
                  </a:cubicBezTo>
                  <a:close/>
                  <a:moveTo>
                    <a:pt x="72" y="127"/>
                  </a:moveTo>
                  <a:cubicBezTo>
                    <a:pt x="72" y="132"/>
                    <a:pt x="72" y="137"/>
                    <a:pt x="72" y="142"/>
                  </a:cubicBezTo>
                  <a:cubicBezTo>
                    <a:pt x="68" y="141"/>
                    <a:pt x="64" y="141"/>
                    <a:pt x="60" y="141"/>
                  </a:cubicBezTo>
                  <a:cubicBezTo>
                    <a:pt x="59" y="137"/>
                    <a:pt x="59" y="133"/>
                    <a:pt x="58" y="128"/>
                  </a:cubicBezTo>
                  <a:cubicBezTo>
                    <a:pt x="62" y="128"/>
                    <a:pt x="66" y="128"/>
                    <a:pt x="70" y="127"/>
                  </a:cubicBezTo>
                  <a:lnTo>
                    <a:pt x="72" y="127"/>
                  </a:lnTo>
                  <a:close/>
                  <a:moveTo>
                    <a:pt x="72" y="148"/>
                  </a:moveTo>
                  <a:cubicBezTo>
                    <a:pt x="72" y="151"/>
                    <a:pt x="71" y="154"/>
                    <a:pt x="71" y="156"/>
                  </a:cubicBezTo>
                  <a:cubicBezTo>
                    <a:pt x="69" y="156"/>
                    <a:pt x="67" y="155"/>
                    <a:pt x="65" y="155"/>
                  </a:cubicBezTo>
                  <a:cubicBezTo>
                    <a:pt x="64" y="155"/>
                    <a:pt x="62" y="155"/>
                    <a:pt x="60" y="154"/>
                  </a:cubicBezTo>
                  <a:cubicBezTo>
                    <a:pt x="60" y="154"/>
                    <a:pt x="60" y="153"/>
                    <a:pt x="60" y="152"/>
                  </a:cubicBezTo>
                  <a:cubicBezTo>
                    <a:pt x="60" y="150"/>
                    <a:pt x="60" y="148"/>
                    <a:pt x="60" y="146"/>
                  </a:cubicBezTo>
                  <a:cubicBezTo>
                    <a:pt x="63" y="148"/>
                    <a:pt x="67" y="148"/>
                    <a:pt x="72" y="148"/>
                  </a:cubicBezTo>
                  <a:close/>
                  <a:moveTo>
                    <a:pt x="71" y="164"/>
                  </a:moveTo>
                  <a:cubicBezTo>
                    <a:pt x="70" y="167"/>
                    <a:pt x="70" y="170"/>
                    <a:pt x="69" y="172"/>
                  </a:cubicBezTo>
                  <a:cubicBezTo>
                    <a:pt x="66" y="170"/>
                    <a:pt x="62" y="169"/>
                    <a:pt x="58" y="167"/>
                  </a:cubicBezTo>
                  <a:cubicBezTo>
                    <a:pt x="58" y="167"/>
                    <a:pt x="58" y="167"/>
                    <a:pt x="58" y="167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8" y="166"/>
                    <a:pt x="58" y="164"/>
                    <a:pt x="59" y="162"/>
                  </a:cubicBezTo>
                  <a:cubicBezTo>
                    <a:pt x="59" y="162"/>
                    <a:pt x="60" y="162"/>
                    <a:pt x="61" y="162"/>
                  </a:cubicBezTo>
                  <a:cubicBezTo>
                    <a:pt x="65" y="162"/>
                    <a:pt x="68" y="163"/>
                    <a:pt x="71" y="164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ïṣļîďè"/>
            <p:cNvSpPr/>
            <p:nvPr/>
          </p:nvSpPr>
          <p:spPr bwMode="auto">
            <a:xfrm>
              <a:off x="6257120" y="3098548"/>
              <a:ext cx="254064" cy="81300"/>
            </a:xfrm>
            <a:custGeom>
              <a:avLst/>
              <a:gdLst>
                <a:gd name="T0" fmla="*/ 35 w 36"/>
                <a:gd name="T1" fmla="*/ 5 h 12"/>
                <a:gd name="T2" fmla="*/ 35 w 36"/>
                <a:gd name="T3" fmla="*/ 5 h 12"/>
                <a:gd name="T4" fmla="*/ 35 w 36"/>
                <a:gd name="T5" fmla="*/ 0 h 12"/>
                <a:gd name="T6" fmla="*/ 6 w 36"/>
                <a:gd name="T7" fmla="*/ 0 h 12"/>
                <a:gd name="T8" fmla="*/ 0 w 36"/>
                <a:gd name="T9" fmla="*/ 1 h 12"/>
                <a:gd name="T10" fmla="*/ 0 w 36"/>
                <a:gd name="T11" fmla="*/ 4 h 12"/>
                <a:gd name="T12" fmla="*/ 0 w 36"/>
                <a:gd name="T13" fmla="*/ 11 h 12"/>
                <a:gd name="T14" fmla="*/ 14 w 36"/>
                <a:gd name="T15" fmla="*/ 12 h 12"/>
                <a:gd name="T16" fmla="*/ 36 w 36"/>
                <a:gd name="T17" fmla="*/ 12 h 12"/>
                <a:gd name="T18" fmla="*/ 35 w 36"/>
                <a:gd name="T1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2">
                  <a:moveTo>
                    <a:pt x="35" y="5"/>
                  </a:moveTo>
                  <a:cubicBezTo>
                    <a:pt x="35" y="5"/>
                    <a:pt x="35" y="5"/>
                    <a:pt x="35" y="5"/>
                  </a:cubicBezTo>
                  <a:cubicBezTo>
                    <a:pt x="35" y="3"/>
                    <a:pt x="35" y="2"/>
                    <a:pt x="35" y="0"/>
                  </a:cubicBezTo>
                  <a:cubicBezTo>
                    <a:pt x="25" y="0"/>
                    <a:pt x="1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0" y="9"/>
                    <a:pt x="0" y="11"/>
                  </a:cubicBezTo>
                  <a:cubicBezTo>
                    <a:pt x="5" y="12"/>
                    <a:pt x="9" y="12"/>
                    <a:pt x="14" y="12"/>
                  </a:cubicBezTo>
                  <a:cubicBezTo>
                    <a:pt x="21" y="12"/>
                    <a:pt x="29" y="12"/>
                    <a:pt x="36" y="12"/>
                  </a:cubicBezTo>
                  <a:cubicBezTo>
                    <a:pt x="36" y="10"/>
                    <a:pt x="36" y="7"/>
                    <a:pt x="35" y="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ïS1iḓê"/>
            <p:cNvSpPr/>
            <p:nvPr/>
          </p:nvSpPr>
          <p:spPr bwMode="auto">
            <a:xfrm>
              <a:off x="5596557" y="1486095"/>
              <a:ext cx="1554867" cy="1520992"/>
            </a:xfrm>
            <a:custGeom>
              <a:avLst/>
              <a:gdLst>
                <a:gd name="T0" fmla="*/ 169 w 221"/>
                <a:gd name="T1" fmla="*/ 215 h 216"/>
                <a:gd name="T2" fmla="*/ 169 w 221"/>
                <a:gd name="T3" fmla="*/ 215 h 216"/>
                <a:gd name="T4" fmla="*/ 188 w 221"/>
                <a:gd name="T5" fmla="*/ 215 h 216"/>
                <a:gd name="T6" fmla="*/ 188 w 221"/>
                <a:gd name="T7" fmla="*/ 191 h 216"/>
                <a:gd name="T8" fmla="*/ 188 w 221"/>
                <a:gd name="T9" fmla="*/ 164 h 216"/>
                <a:gd name="T10" fmla="*/ 189 w 221"/>
                <a:gd name="T11" fmla="*/ 127 h 216"/>
                <a:gd name="T12" fmla="*/ 189 w 221"/>
                <a:gd name="T13" fmla="*/ 122 h 216"/>
                <a:gd name="T14" fmla="*/ 189 w 221"/>
                <a:gd name="T15" fmla="*/ 108 h 216"/>
                <a:gd name="T16" fmla="*/ 184 w 221"/>
                <a:gd name="T17" fmla="*/ 54 h 216"/>
                <a:gd name="T18" fmla="*/ 179 w 221"/>
                <a:gd name="T19" fmla="*/ 30 h 216"/>
                <a:gd name="T20" fmla="*/ 174 w 221"/>
                <a:gd name="T21" fmla="*/ 18 h 216"/>
                <a:gd name="T22" fmla="*/ 174 w 221"/>
                <a:gd name="T23" fmla="*/ 18 h 216"/>
                <a:gd name="T24" fmla="*/ 159 w 221"/>
                <a:gd name="T25" fmla="*/ 10 h 216"/>
                <a:gd name="T26" fmla="*/ 108 w 221"/>
                <a:gd name="T27" fmla="*/ 1 h 216"/>
                <a:gd name="T28" fmla="*/ 25 w 221"/>
                <a:gd name="T29" fmla="*/ 45 h 216"/>
                <a:gd name="T30" fmla="*/ 2 w 221"/>
                <a:gd name="T31" fmla="*/ 121 h 216"/>
                <a:gd name="T32" fmla="*/ 1 w 221"/>
                <a:gd name="T33" fmla="*/ 166 h 216"/>
                <a:gd name="T34" fmla="*/ 0 w 221"/>
                <a:gd name="T35" fmla="*/ 209 h 216"/>
                <a:gd name="T36" fmla="*/ 1 w 221"/>
                <a:gd name="T37" fmla="*/ 212 h 216"/>
                <a:gd name="T38" fmla="*/ 4 w 221"/>
                <a:gd name="T39" fmla="*/ 212 h 216"/>
                <a:gd name="T40" fmla="*/ 16 w 221"/>
                <a:gd name="T41" fmla="*/ 213 h 216"/>
                <a:gd name="T42" fmla="*/ 47 w 221"/>
                <a:gd name="T43" fmla="*/ 216 h 216"/>
                <a:gd name="T44" fmla="*/ 77 w 221"/>
                <a:gd name="T45" fmla="*/ 215 h 216"/>
                <a:gd name="T46" fmla="*/ 108 w 221"/>
                <a:gd name="T47" fmla="*/ 214 h 216"/>
                <a:gd name="T48" fmla="*/ 169 w 221"/>
                <a:gd name="T49" fmla="*/ 215 h 216"/>
                <a:gd name="T50" fmla="*/ 184 w 221"/>
                <a:gd name="T51" fmla="*/ 26 h 216"/>
                <a:gd name="T52" fmla="*/ 184 w 221"/>
                <a:gd name="T53" fmla="*/ 26 h 216"/>
                <a:gd name="T54" fmla="*/ 188 w 221"/>
                <a:gd name="T55" fmla="*/ 42 h 216"/>
                <a:gd name="T56" fmla="*/ 192 w 221"/>
                <a:gd name="T57" fmla="*/ 39 h 216"/>
                <a:gd name="T58" fmla="*/ 194 w 221"/>
                <a:gd name="T59" fmla="*/ 40 h 216"/>
                <a:gd name="T60" fmla="*/ 192 w 221"/>
                <a:gd name="T61" fmla="*/ 34 h 216"/>
                <a:gd name="T62" fmla="*/ 184 w 221"/>
                <a:gd name="T63" fmla="*/ 26 h 216"/>
                <a:gd name="T64" fmla="*/ 217 w 221"/>
                <a:gd name="T65" fmla="*/ 215 h 216"/>
                <a:gd name="T66" fmla="*/ 217 w 221"/>
                <a:gd name="T67" fmla="*/ 215 h 216"/>
                <a:gd name="T68" fmla="*/ 220 w 221"/>
                <a:gd name="T69" fmla="*/ 212 h 216"/>
                <a:gd name="T70" fmla="*/ 221 w 221"/>
                <a:gd name="T71" fmla="*/ 211 h 216"/>
                <a:gd name="T72" fmla="*/ 221 w 221"/>
                <a:gd name="T73" fmla="*/ 198 h 216"/>
                <a:gd name="T74" fmla="*/ 221 w 221"/>
                <a:gd name="T75" fmla="*/ 173 h 216"/>
                <a:gd name="T76" fmla="*/ 219 w 221"/>
                <a:gd name="T77" fmla="*/ 132 h 216"/>
                <a:gd name="T78" fmla="*/ 208 w 221"/>
                <a:gd name="T79" fmla="*/ 132 h 216"/>
                <a:gd name="T80" fmla="*/ 199 w 221"/>
                <a:gd name="T81" fmla="*/ 131 h 216"/>
                <a:gd name="T82" fmla="*/ 196 w 221"/>
                <a:gd name="T83" fmla="*/ 131 h 216"/>
                <a:gd name="T84" fmla="*/ 196 w 221"/>
                <a:gd name="T85" fmla="*/ 161 h 216"/>
                <a:gd name="T86" fmla="*/ 196 w 221"/>
                <a:gd name="T87" fmla="*/ 189 h 216"/>
                <a:gd name="T88" fmla="*/ 196 w 221"/>
                <a:gd name="T89" fmla="*/ 203 h 216"/>
                <a:gd name="T90" fmla="*/ 195 w 221"/>
                <a:gd name="T91" fmla="*/ 215 h 216"/>
                <a:gd name="T92" fmla="*/ 217 w 221"/>
                <a:gd name="T93" fmla="*/ 215 h 216"/>
                <a:gd name="T94" fmla="*/ 202 w 221"/>
                <a:gd name="T95" fmla="*/ 52 h 216"/>
                <a:gd name="T96" fmla="*/ 202 w 221"/>
                <a:gd name="T97" fmla="*/ 52 h 216"/>
                <a:gd name="T98" fmla="*/ 197 w 221"/>
                <a:gd name="T99" fmla="*/ 44 h 216"/>
                <a:gd name="T100" fmla="*/ 192 w 221"/>
                <a:gd name="T101" fmla="*/ 48 h 216"/>
                <a:gd name="T102" fmla="*/ 189 w 221"/>
                <a:gd name="T103" fmla="*/ 46 h 216"/>
                <a:gd name="T104" fmla="*/ 190 w 221"/>
                <a:gd name="T105" fmla="*/ 50 h 216"/>
                <a:gd name="T106" fmla="*/ 196 w 221"/>
                <a:gd name="T107" fmla="*/ 105 h 216"/>
                <a:gd name="T108" fmla="*/ 196 w 221"/>
                <a:gd name="T109" fmla="*/ 118 h 216"/>
                <a:gd name="T110" fmla="*/ 206 w 221"/>
                <a:gd name="T111" fmla="*/ 117 h 216"/>
                <a:gd name="T112" fmla="*/ 217 w 221"/>
                <a:gd name="T113" fmla="*/ 117 h 216"/>
                <a:gd name="T114" fmla="*/ 212 w 221"/>
                <a:gd name="T115" fmla="*/ 71 h 216"/>
                <a:gd name="T116" fmla="*/ 202 w 221"/>
                <a:gd name="T117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1" h="216">
                  <a:moveTo>
                    <a:pt x="169" y="215"/>
                  </a:moveTo>
                  <a:cubicBezTo>
                    <a:pt x="169" y="215"/>
                    <a:pt x="169" y="215"/>
                    <a:pt x="169" y="215"/>
                  </a:cubicBezTo>
                  <a:cubicBezTo>
                    <a:pt x="175" y="215"/>
                    <a:pt x="182" y="215"/>
                    <a:pt x="188" y="215"/>
                  </a:cubicBezTo>
                  <a:cubicBezTo>
                    <a:pt x="187" y="207"/>
                    <a:pt x="188" y="199"/>
                    <a:pt x="188" y="191"/>
                  </a:cubicBezTo>
                  <a:cubicBezTo>
                    <a:pt x="188" y="182"/>
                    <a:pt x="188" y="173"/>
                    <a:pt x="188" y="164"/>
                  </a:cubicBezTo>
                  <a:cubicBezTo>
                    <a:pt x="188" y="151"/>
                    <a:pt x="188" y="139"/>
                    <a:pt x="189" y="127"/>
                  </a:cubicBezTo>
                  <a:cubicBezTo>
                    <a:pt x="187" y="126"/>
                    <a:pt x="187" y="123"/>
                    <a:pt x="189" y="122"/>
                  </a:cubicBezTo>
                  <a:cubicBezTo>
                    <a:pt x="189" y="117"/>
                    <a:pt x="189" y="113"/>
                    <a:pt x="189" y="108"/>
                  </a:cubicBezTo>
                  <a:cubicBezTo>
                    <a:pt x="189" y="90"/>
                    <a:pt x="187" y="72"/>
                    <a:pt x="184" y="54"/>
                  </a:cubicBezTo>
                  <a:cubicBezTo>
                    <a:pt x="183" y="46"/>
                    <a:pt x="182" y="38"/>
                    <a:pt x="179" y="30"/>
                  </a:cubicBezTo>
                  <a:cubicBezTo>
                    <a:pt x="178" y="26"/>
                    <a:pt x="176" y="22"/>
                    <a:pt x="174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69" y="15"/>
                    <a:pt x="164" y="12"/>
                    <a:pt x="159" y="10"/>
                  </a:cubicBezTo>
                  <a:cubicBezTo>
                    <a:pt x="143" y="3"/>
                    <a:pt x="125" y="0"/>
                    <a:pt x="108" y="1"/>
                  </a:cubicBezTo>
                  <a:cubicBezTo>
                    <a:pt x="76" y="3"/>
                    <a:pt x="44" y="19"/>
                    <a:pt x="25" y="45"/>
                  </a:cubicBezTo>
                  <a:cubicBezTo>
                    <a:pt x="9" y="67"/>
                    <a:pt x="3" y="94"/>
                    <a:pt x="2" y="121"/>
                  </a:cubicBezTo>
                  <a:cubicBezTo>
                    <a:pt x="1" y="136"/>
                    <a:pt x="1" y="151"/>
                    <a:pt x="1" y="166"/>
                  </a:cubicBezTo>
                  <a:cubicBezTo>
                    <a:pt x="1" y="181"/>
                    <a:pt x="2" y="195"/>
                    <a:pt x="0" y="209"/>
                  </a:cubicBezTo>
                  <a:cubicBezTo>
                    <a:pt x="0" y="210"/>
                    <a:pt x="1" y="211"/>
                    <a:pt x="1" y="212"/>
                  </a:cubicBezTo>
                  <a:cubicBezTo>
                    <a:pt x="2" y="212"/>
                    <a:pt x="2" y="212"/>
                    <a:pt x="4" y="212"/>
                  </a:cubicBezTo>
                  <a:cubicBezTo>
                    <a:pt x="8" y="213"/>
                    <a:pt x="12" y="213"/>
                    <a:pt x="16" y="213"/>
                  </a:cubicBezTo>
                  <a:cubicBezTo>
                    <a:pt x="27" y="215"/>
                    <a:pt x="36" y="215"/>
                    <a:pt x="47" y="216"/>
                  </a:cubicBezTo>
                  <a:cubicBezTo>
                    <a:pt x="57" y="216"/>
                    <a:pt x="67" y="215"/>
                    <a:pt x="77" y="215"/>
                  </a:cubicBezTo>
                  <a:cubicBezTo>
                    <a:pt x="88" y="214"/>
                    <a:pt x="98" y="214"/>
                    <a:pt x="108" y="214"/>
                  </a:cubicBezTo>
                  <a:cubicBezTo>
                    <a:pt x="129" y="214"/>
                    <a:pt x="149" y="215"/>
                    <a:pt x="169" y="215"/>
                  </a:cubicBezTo>
                  <a:close/>
                  <a:moveTo>
                    <a:pt x="184" y="26"/>
                  </a:moveTo>
                  <a:cubicBezTo>
                    <a:pt x="184" y="26"/>
                    <a:pt x="184" y="26"/>
                    <a:pt x="184" y="26"/>
                  </a:cubicBezTo>
                  <a:cubicBezTo>
                    <a:pt x="186" y="31"/>
                    <a:pt x="187" y="37"/>
                    <a:pt x="188" y="42"/>
                  </a:cubicBezTo>
                  <a:cubicBezTo>
                    <a:pt x="189" y="40"/>
                    <a:pt x="191" y="39"/>
                    <a:pt x="192" y="39"/>
                  </a:cubicBezTo>
                  <a:cubicBezTo>
                    <a:pt x="193" y="39"/>
                    <a:pt x="194" y="39"/>
                    <a:pt x="194" y="40"/>
                  </a:cubicBezTo>
                  <a:cubicBezTo>
                    <a:pt x="194" y="38"/>
                    <a:pt x="193" y="36"/>
                    <a:pt x="192" y="34"/>
                  </a:cubicBezTo>
                  <a:cubicBezTo>
                    <a:pt x="189" y="31"/>
                    <a:pt x="187" y="28"/>
                    <a:pt x="184" y="26"/>
                  </a:cubicBezTo>
                  <a:close/>
                  <a:moveTo>
                    <a:pt x="217" y="215"/>
                  </a:moveTo>
                  <a:cubicBezTo>
                    <a:pt x="217" y="215"/>
                    <a:pt x="217" y="215"/>
                    <a:pt x="217" y="215"/>
                  </a:cubicBezTo>
                  <a:cubicBezTo>
                    <a:pt x="218" y="214"/>
                    <a:pt x="219" y="213"/>
                    <a:pt x="220" y="212"/>
                  </a:cubicBezTo>
                  <a:cubicBezTo>
                    <a:pt x="220" y="212"/>
                    <a:pt x="221" y="211"/>
                    <a:pt x="221" y="211"/>
                  </a:cubicBezTo>
                  <a:cubicBezTo>
                    <a:pt x="221" y="206"/>
                    <a:pt x="221" y="202"/>
                    <a:pt x="221" y="198"/>
                  </a:cubicBezTo>
                  <a:cubicBezTo>
                    <a:pt x="221" y="190"/>
                    <a:pt x="221" y="181"/>
                    <a:pt x="221" y="173"/>
                  </a:cubicBezTo>
                  <a:cubicBezTo>
                    <a:pt x="221" y="159"/>
                    <a:pt x="220" y="145"/>
                    <a:pt x="219" y="132"/>
                  </a:cubicBezTo>
                  <a:cubicBezTo>
                    <a:pt x="215" y="132"/>
                    <a:pt x="212" y="132"/>
                    <a:pt x="208" y="132"/>
                  </a:cubicBezTo>
                  <a:cubicBezTo>
                    <a:pt x="205" y="132"/>
                    <a:pt x="202" y="132"/>
                    <a:pt x="199" y="131"/>
                  </a:cubicBezTo>
                  <a:cubicBezTo>
                    <a:pt x="198" y="131"/>
                    <a:pt x="197" y="131"/>
                    <a:pt x="196" y="131"/>
                  </a:cubicBezTo>
                  <a:cubicBezTo>
                    <a:pt x="196" y="141"/>
                    <a:pt x="196" y="151"/>
                    <a:pt x="196" y="161"/>
                  </a:cubicBezTo>
                  <a:cubicBezTo>
                    <a:pt x="196" y="170"/>
                    <a:pt x="196" y="180"/>
                    <a:pt x="196" y="189"/>
                  </a:cubicBezTo>
                  <a:cubicBezTo>
                    <a:pt x="196" y="194"/>
                    <a:pt x="196" y="198"/>
                    <a:pt x="196" y="203"/>
                  </a:cubicBezTo>
                  <a:cubicBezTo>
                    <a:pt x="196" y="207"/>
                    <a:pt x="196" y="211"/>
                    <a:pt x="195" y="215"/>
                  </a:cubicBezTo>
                  <a:cubicBezTo>
                    <a:pt x="203" y="215"/>
                    <a:pt x="210" y="215"/>
                    <a:pt x="217" y="215"/>
                  </a:cubicBezTo>
                  <a:close/>
                  <a:moveTo>
                    <a:pt x="202" y="52"/>
                  </a:moveTo>
                  <a:cubicBezTo>
                    <a:pt x="202" y="52"/>
                    <a:pt x="202" y="52"/>
                    <a:pt x="202" y="52"/>
                  </a:cubicBezTo>
                  <a:cubicBezTo>
                    <a:pt x="200" y="50"/>
                    <a:pt x="198" y="47"/>
                    <a:pt x="197" y="44"/>
                  </a:cubicBezTo>
                  <a:cubicBezTo>
                    <a:pt x="197" y="46"/>
                    <a:pt x="195" y="48"/>
                    <a:pt x="192" y="48"/>
                  </a:cubicBezTo>
                  <a:cubicBezTo>
                    <a:pt x="191" y="48"/>
                    <a:pt x="190" y="47"/>
                    <a:pt x="189" y="46"/>
                  </a:cubicBezTo>
                  <a:cubicBezTo>
                    <a:pt x="189" y="47"/>
                    <a:pt x="190" y="49"/>
                    <a:pt x="190" y="50"/>
                  </a:cubicBezTo>
                  <a:cubicBezTo>
                    <a:pt x="193" y="68"/>
                    <a:pt x="195" y="87"/>
                    <a:pt x="196" y="105"/>
                  </a:cubicBezTo>
                  <a:cubicBezTo>
                    <a:pt x="196" y="110"/>
                    <a:pt x="196" y="114"/>
                    <a:pt x="196" y="118"/>
                  </a:cubicBezTo>
                  <a:cubicBezTo>
                    <a:pt x="199" y="117"/>
                    <a:pt x="203" y="117"/>
                    <a:pt x="206" y="117"/>
                  </a:cubicBezTo>
                  <a:cubicBezTo>
                    <a:pt x="210" y="117"/>
                    <a:pt x="214" y="117"/>
                    <a:pt x="217" y="117"/>
                  </a:cubicBezTo>
                  <a:cubicBezTo>
                    <a:pt x="216" y="101"/>
                    <a:pt x="216" y="86"/>
                    <a:pt x="212" y="71"/>
                  </a:cubicBezTo>
                  <a:cubicBezTo>
                    <a:pt x="209" y="65"/>
                    <a:pt x="206" y="58"/>
                    <a:pt x="202" y="52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îsḷîdê"/>
            <p:cNvSpPr/>
            <p:nvPr/>
          </p:nvSpPr>
          <p:spPr bwMode="auto">
            <a:xfrm>
              <a:off x="5596557" y="1536908"/>
              <a:ext cx="542001" cy="1446467"/>
            </a:xfrm>
            <a:custGeom>
              <a:avLst/>
              <a:gdLst>
                <a:gd name="T0" fmla="*/ 77 w 77"/>
                <a:gd name="T1" fmla="*/ 0 h 206"/>
                <a:gd name="T2" fmla="*/ 25 w 77"/>
                <a:gd name="T3" fmla="*/ 38 h 206"/>
                <a:gd name="T4" fmla="*/ 2 w 77"/>
                <a:gd name="T5" fmla="*/ 114 h 206"/>
                <a:gd name="T6" fmla="*/ 1 w 77"/>
                <a:gd name="T7" fmla="*/ 159 h 206"/>
                <a:gd name="T8" fmla="*/ 0 w 77"/>
                <a:gd name="T9" fmla="*/ 202 h 206"/>
                <a:gd name="T10" fmla="*/ 1 w 77"/>
                <a:gd name="T11" fmla="*/ 205 h 206"/>
                <a:gd name="T12" fmla="*/ 4 w 77"/>
                <a:gd name="T13" fmla="*/ 205 h 206"/>
                <a:gd name="T14" fmla="*/ 14 w 77"/>
                <a:gd name="T15" fmla="*/ 206 h 206"/>
                <a:gd name="T16" fmla="*/ 21 w 77"/>
                <a:gd name="T17" fmla="*/ 80 h 206"/>
                <a:gd name="T18" fmla="*/ 77 w 77"/>
                <a:gd name="T19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206">
                  <a:moveTo>
                    <a:pt x="77" y="0"/>
                  </a:moveTo>
                  <a:cubicBezTo>
                    <a:pt x="56" y="7"/>
                    <a:pt x="37" y="20"/>
                    <a:pt x="25" y="38"/>
                  </a:cubicBezTo>
                  <a:cubicBezTo>
                    <a:pt x="9" y="60"/>
                    <a:pt x="3" y="87"/>
                    <a:pt x="2" y="114"/>
                  </a:cubicBezTo>
                  <a:cubicBezTo>
                    <a:pt x="1" y="129"/>
                    <a:pt x="1" y="144"/>
                    <a:pt x="1" y="159"/>
                  </a:cubicBezTo>
                  <a:cubicBezTo>
                    <a:pt x="1" y="174"/>
                    <a:pt x="2" y="188"/>
                    <a:pt x="0" y="202"/>
                  </a:cubicBezTo>
                  <a:cubicBezTo>
                    <a:pt x="0" y="203"/>
                    <a:pt x="1" y="204"/>
                    <a:pt x="1" y="205"/>
                  </a:cubicBezTo>
                  <a:cubicBezTo>
                    <a:pt x="2" y="205"/>
                    <a:pt x="2" y="205"/>
                    <a:pt x="4" y="205"/>
                  </a:cubicBezTo>
                  <a:cubicBezTo>
                    <a:pt x="7" y="206"/>
                    <a:pt x="11" y="206"/>
                    <a:pt x="14" y="206"/>
                  </a:cubicBezTo>
                  <a:cubicBezTo>
                    <a:pt x="14" y="179"/>
                    <a:pt x="15" y="122"/>
                    <a:pt x="21" y="80"/>
                  </a:cubicBezTo>
                  <a:cubicBezTo>
                    <a:pt x="30" y="23"/>
                    <a:pt x="77" y="0"/>
                    <a:pt x="7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îṥliḓê"/>
            <p:cNvSpPr/>
            <p:nvPr/>
          </p:nvSpPr>
          <p:spPr bwMode="auto">
            <a:xfrm>
              <a:off x="6538284" y="1499645"/>
              <a:ext cx="613140" cy="1497278"/>
            </a:xfrm>
            <a:custGeom>
              <a:avLst/>
              <a:gdLst>
                <a:gd name="T0" fmla="*/ 35 w 87"/>
                <a:gd name="T1" fmla="*/ 213 h 213"/>
                <a:gd name="T2" fmla="*/ 54 w 87"/>
                <a:gd name="T3" fmla="*/ 213 h 213"/>
                <a:gd name="T4" fmla="*/ 54 w 87"/>
                <a:gd name="T5" fmla="*/ 189 h 213"/>
                <a:gd name="T6" fmla="*/ 54 w 87"/>
                <a:gd name="T7" fmla="*/ 162 h 213"/>
                <a:gd name="T8" fmla="*/ 55 w 87"/>
                <a:gd name="T9" fmla="*/ 125 h 213"/>
                <a:gd name="T10" fmla="*/ 55 w 87"/>
                <a:gd name="T11" fmla="*/ 120 h 213"/>
                <a:gd name="T12" fmla="*/ 55 w 87"/>
                <a:gd name="T13" fmla="*/ 106 h 213"/>
                <a:gd name="T14" fmla="*/ 50 w 87"/>
                <a:gd name="T15" fmla="*/ 52 h 213"/>
                <a:gd name="T16" fmla="*/ 45 w 87"/>
                <a:gd name="T17" fmla="*/ 28 h 213"/>
                <a:gd name="T18" fmla="*/ 40 w 87"/>
                <a:gd name="T19" fmla="*/ 16 h 213"/>
                <a:gd name="T20" fmla="*/ 40 w 87"/>
                <a:gd name="T21" fmla="*/ 16 h 213"/>
                <a:gd name="T22" fmla="*/ 25 w 87"/>
                <a:gd name="T23" fmla="*/ 8 h 213"/>
                <a:gd name="T24" fmla="*/ 0 w 87"/>
                <a:gd name="T25" fmla="*/ 0 h 213"/>
                <a:gd name="T26" fmla="*/ 35 w 87"/>
                <a:gd name="T27" fmla="*/ 213 h 213"/>
                <a:gd name="T28" fmla="*/ 50 w 87"/>
                <a:gd name="T29" fmla="*/ 24 h 213"/>
                <a:gd name="T30" fmla="*/ 50 w 87"/>
                <a:gd name="T31" fmla="*/ 24 h 213"/>
                <a:gd name="T32" fmla="*/ 54 w 87"/>
                <a:gd name="T33" fmla="*/ 40 h 213"/>
                <a:gd name="T34" fmla="*/ 58 w 87"/>
                <a:gd name="T35" fmla="*/ 37 h 213"/>
                <a:gd name="T36" fmla="*/ 60 w 87"/>
                <a:gd name="T37" fmla="*/ 38 h 213"/>
                <a:gd name="T38" fmla="*/ 58 w 87"/>
                <a:gd name="T39" fmla="*/ 32 h 213"/>
                <a:gd name="T40" fmla="*/ 50 w 87"/>
                <a:gd name="T41" fmla="*/ 24 h 213"/>
                <a:gd name="T42" fmla="*/ 83 w 87"/>
                <a:gd name="T43" fmla="*/ 213 h 213"/>
                <a:gd name="T44" fmla="*/ 83 w 87"/>
                <a:gd name="T45" fmla="*/ 213 h 213"/>
                <a:gd name="T46" fmla="*/ 86 w 87"/>
                <a:gd name="T47" fmla="*/ 210 h 213"/>
                <a:gd name="T48" fmla="*/ 87 w 87"/>
                <a:gd name="T49" fmla="*/ 209 h 213"/>
                <a:gd name="T50" fmla="*/ 87 w 87"/>
                <a:gd name="T51" fmla="*/ 196 h 213"/>
                <a:gd name="T52" fmla="*/ 87 w 87"/>
                <a:gd name="T53" fmla="*/ 171 h 213"/>
                <a:gd name="T54" fmla="*/ 85 w 87"/>
                <a:gd name="T55" fmla="*/ 130 h 213"/>
                <a:gd name="T56" fmla="*/ 74 w 87"/>
                <a:gd name="T57" fmla="*/ 130 h 213"/>
                <a:gd name="T58" fmla="*/ 65 w 87"/>
                <a:gd name="T59" fmla="*/ 129 h 213"/>
                <a:gd name="T60" fmla="*/ 62 w 87"/>
                <a:gd name="T61" fmla="*/ 129 h 213"/>
                <a:gd name="T62" fmla="*/ 62 w 87"/>
                <a:gd name="T63" fmla="*/ 159 h 213"/>
                <a:gd name="T64" fmla="*/ 62 w 87"/>
                <a:gd name="T65" fmla="*/ 187 h 213"/>
                <a:gd name="T66" fmla="*/ 62 w 87"/>
                <a:gd name="T67" fmla="*/ 201 h 213"/>
                <a:gd name="T68" fmla="*/ 61 w 87"/>
                <a:gd name="T69" fmla="*/ 213 h 213"/>
                <a:gd name="T70" fmla="*/ 83 w 87"/>
                <a:gd name="T71" fmla="*/ 213 h 213"/>
                <a:gd name="T72" fmla="*/ 68 w 87"/>
                <a:gd name="T73" fmla="*/ 50 h 213"/>
                <a:gd name="T74" fmla="*/ 68 w 87"/>
                <a:gd name="T75" fmla="*/ 50 h 213"/>
                <a:gd name="T76" fmla="*/ 63 w 87"/>
                <a:gd name="T77" fmla="*/ 42 h 213"/>
                <a:gd name="T78" fmla="*/ 58 w 87"/>
                <a:gd name="T79" fmla="*/ 46 h 213"/>
                <a:gd name="T80" fmla="*/ 55 w 87"/>
                <a:gd name="T81" fmla="*/ 44 h 213"/>
                <a:gd name="T82" fmla="*/ 56 w 87"/>
                <a:gd name="T83" fmla="*/ 48 h 213"/>
                <a:gd name="T84" fmla="*/ 62 w 87"/>
                <a:gd name="T85" fmla="*/ 103 h 213"/>
                <a:gd name="T86" fmla="*/ 62 w 87"/>
                <a:gd name="T87" fmla="*/ 116 h 213"/>
                <a:gd name="T88" fmla="*/ 72 w 87"/>
                <a:gd name="T89" fmla="*/ 115 h 213"/>
                <a:gd name="T90" fmla="*/ 83 w 87"/>
                <a:gd name="T91" fmla="*/ 115 h 213"/>
                <a:gd name="T92" fmla="*/ 78 w 87"/>
                <a:gd name="T93" fmla="*/ 69 h 213"/>
                <a:gd name="T94" fmla="*/ 68 w 87"/>
                <a:gd name="T95" fmla="*/ 5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7" h="213">
                  <a:moveTo>
                    <a:pt x="35" y="213"/>
                  </a:moveTo>
                  <a:cubicBezTo>
                    <a:pt x="41" y="213"/>
                    <a:pt x="48" y="213"/>
                    <a:pt x="54" y="213"/>
                  </a:cubicBezTo>
                  <a:cubicBezTo>
                    <a:pt x="53" y="205"/>
                    <a:pt x="54" y="197"/>
                    <a:pt x="54" y="189"/>
                  </a:cubicBezTo>
                  <a:cubicBezTo>
                    <a:pt x="54" y="180"/>
                    <a:pt x="54" y="171"/>
                    <a:pt x="54" y="162"/>
                  </a:cubicBezTo>
                  <a:cubicBezTo>
                    <a:pt x="54" y="149"/>
                    <a:pt x="54" y="137"/>
                    <a:pt x="55" y="125"/>
                  </a:cubicBezTo>
                  <a:cubicBezTo>
                    <a:pt x="53" y="124"/>
                    <a:pt x="53" y="121"/>
                    <a:pt x="55" y="120"/>
                  </a:cubicBezTo>
                  <a:cubicBezTo>
                    <a:pt x="55" y="115"/>
                    <a:pt x="55" y="111"/>
                    <a:pt x="55" y="106"/>
                  </a:cubicBezTo>
                  <a:cubicBezTo>
                    <a:pt x="55" y="88"/>
                    <a:pt x="53" y="70"/>
                    <a:pt x="50" y="52"/>
                  </a:cubicBezTo>
                  <a:cubicBezTo>
                    <a:pt x="49" y="44"/>
                    <a:pt x="48" y="36"/>
                    <a:pt x="45" y="28"/>
                  </a:cubicBezTo>
                  <a:cubicBezTo>
                    <a:pt x="44" y="24"/>
                    <a:pt x="42" y="20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35" y="13"/>
                    <a:pt x="30" y="10"/>
                    <a:pt x="25" y="8"/>
                  </a:cubicBezTo>
                  <a:cubicBezTo>
                    <a:pt x="17" y="4"/>
                    <a:pt x="9" y="2"/>
                    <a:pt x="0" y="0"/>
                  </a:cubicBezTo>
                  <a:cubicBezTo>
                    <a:pt x="0" y="0"/>
                    <a:pt x="68" y="37"/>
                    <a:pt x="35" y="213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2" y="29"/>
                    <a:pt x="53" y="35"/>
                    <a:pt x="54" y="40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9" y="37"/>
                    <a:pt x="60" y="37"/>
                    <a:pt x="60" y="38"/>
                  </a:cubicBezTo>
                  <a:cubicBezTo>
                    <a:pt x="60" y="36"/>
                    <a:pt x="59" y="34"/>
                    <a:pt x="58" y="32"/>
                  </a:cubicBezTo>
                  <a:cubicBezTo>
                    <a:pt x="55" y="29"/>
                    <a:pt x="53" y="26"/>
                    <a:pt x="50" y="24"/>
                  </a:cubicBezTo>
                  <a:close/>
                  <a:moveTo>
                    <a:pt x="83" y="213"/>
                  </a:moveTo>
                  <a:cubicBezTo>
                    <a:pt x="83" y="213"/>
                    <a:pt x="83" y="213"/>
                    <a:pt x="83" y="213"/>
                  </a:cubicBezTo>
                  <a:cubicBezTo>
                    <a:pt x="84" y="212"/>
                    <a:pt x="85" y="211"/>
                    <a:pt x="86" y="210"/>
                  </a:cubicBezTo>
                  <a:cubicBezTo>
                    <a:pt x="86" y="210"/>
                    <a:pt x="87" y="209"/>
                    <a:pt x="87" y="209"/>
                  </a:cubicBezTo>
                  <a:cubicBezTo>
                    <a:pt x="87" y="204"/>
                    <a:pt x="87" y="200"/>
                    <a:pt x="87" y="196"/>
                  </a:cubicBezTo>
                  <a:cubicBezTo>
                    <a:pt x="87" y="188"/>
                    <a:pt x="87" y="179"/>
                    <a:pt x="87" y="171"/>
                  </a:cubicBezTo>
                  <a:cubicBezTo>
                    <a:pt x="87" y="157"/>
                    <a:pt x="86" y="143"/>
                    <a:pt x="85" y="130"/>
                  </a:cubicBezTo>
                  <a:cubicBezTo>
                    <a:pt x="81" y="130"/>
                    <a:pt x="78" y="130"/>
                    <a:pt x="74" y="130"/>
                  </a:cubicBezTo>
                  <a:cubicBezTo>
                    <a:pt x="71" y="130"/>
                    <a:pt x="68" y="130"/>
                    <a:pt x="65" y="129"/>
                  </a:cubicBezTo>
                  <a:cubicBezTo>
                    <a:pt x="64" y="129"/>
                    <a:pt x="63" y="129"/>
                    <a:pt x="62" y="129"/>
                  </a:cubicBezTo>
                  <a:cubicBezTo>
                    <a:pt x="62" y="139"/>
                    <a:pt x="62" y="149"/>
                    <a:pt x="62" y="159"/>
                  </a:cubicBezTo>
                  <a:cubicBezTo>
                    <a:pt x="62" y="168"/>
                    <a:pt x="62" y="178"/>
                    <a:pt x="62" y="187"/>
                  </a:cubicBezTo>
                  <a:cubicBezTo>
                    <a:pt x="62" y="192"/>
                    <a:pt x="62" y="196"/>
                    <a:pt x="62" y="201"/>
                  </a:cubicBezTo>
                  <a:cubicBezTo>
                    <a:pt x="62" y="205"/>
                    <a:pt x="62" y="209"/>
                    <a:pt x="61" y="213"/>
                  </a:cubicBezTo>
                  <a:cubicBezTo>
                    <a:pt x="69" y="213"/>
                    <a:pt x="76" y="213"/>
                    <a:pt x="83" y="213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6" y="48"/>
                    <a:pt x="64" y="45"/>
                    <a:pt x="63" y="42"/>
                  </a:cubicBezTo>
                  <a:cubicBezTo>
                    <a:pt x="63" y="44"/>
                    <a:pt x="61" y="46"/>
                    <a:pt x="58" y="46"/>
                  </a:cubicBezTo>
                  <a:cubicBezTo>
                    <a:pt x="57" y="46"/>
                    <a:pt x="56" y="45"/>
                    <a:pt x="55" y="44"/>
                  </a:cubicBezTo>
                  <a:cubicBezTo>
                    <a:pt x="55" y="45"/>
                    <a:pt x="56" y="47"/>
                    <a:pt x="56" y="48"/>
                  </a:cubicBezTo>
                  <a:cubicBezTo>
                    <a:pt x="59" y="66"/>
                    <a:pt x="61" y="85"/>
                    <a:pt x="62" y="103"/>
                  </a:cubicBezTo>
                  <a:cubicBezTo>
                    <a:pt x="62" y="108"/>
                    <a:pt x="62" y="112"/>
                    <a:pt x="62" y="116"/>
                  </a:cubicBezTo>
                  <a:cubicBezTo>
                    <a:pt x="65" y="115"/>
                    <a:pt x="69" y="115"/>
                    <a:pt x="72" y="115"/>
                  </a:cubicBezTo>
                  <a:cubicBezTo>
                    <a:pt x="76" y="115"/>
                    <a:pt x="80" y="115"/>
                    <a:pt x="83" y="115"/>
                  </a:cubicBezTo>
                  <a:cubicBezTo>
                    <a:pt x="82" y="99"/>
                    <a:pt x="82" y="84"/>
                    <a:pt x="78" y="69"/>
                  </a:cubicBezTo>
                  <a:cubicBezTo>
                    <a:pt x="75" y="63"/>
                    <a:pt x="72" y="56"/>
                    <a:pt x="68" y="50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îŝļidé"/>
            <p:cNvSpPr/>
            <p:nvPr/>
          </p:nvSpPr>
          <p:spPr bwMode="auto">
            <a:xfrm>
              <a:off x="6067419" y="3525374"/>
              <a:ext cx="176150" cy="274389"/>
            </a:xfrm>
            <a:custGeom>
              <a:avLst/>
              <a:gdLst>
                <a:gd name="T0" fmla="*/ 23 w 25"/>
                <a:gd name="T1" fmla="*/ 37 h 39"/>
                <a:gd name="T2" fmla="*/ 23 w 25"/>
                <a:gd name="T3" fmla="*/ 37 h 39"/>
                <a:gd name="T4" fmla="*/ 24 w 25"/>
                <a:gd name="T5" fmla="*/ 23 h 39"/>
                <a:gd name="T6" fmla="*/ 24 w 25"/>
                <a:gd name="T7" fmla="*/ 10 h 39"/>
                <a:gd name="T8" fmla="*/ 25 w 25"/>
                <a:gd name="T9" fmla="*/ 2 h 39"/>
                <a:gd name="T10" fmla="*/ 11 w 25"/>
                <a:gd name="T11" fmla="*/ 1 h 39"/>
                <a:gd name="T12" fmla="*/ 4 w 25"/>
                <a:gd name="T13" fmla="*/ 1 h 39"/>
                <a:gd name="T14" fmla="*/ 2 w 25"/>
                <a:gd name="T15" fmla="*/ 7 h 39"/>
                <a:gd name="T16" fmla="*/ 1 w 25"/>
                <a:gd name="T17" fmla="*/ 20 h 39"/>
                <a:gd name="T18" fmla="*/ 1 w 25"/>
                <a:gd name="T19" fmla="*/ 32 h 39"/>
                <a:gd name="T20" fmla="*/ 1 w 25"/>
                <a:gd name="T21" fmla="*/ 36 h 39"/>
                <a:gd name="T22" fmla="*/ 3 w 25"/>
                <a:gd name="T23" fmla="*/ 36 h 39"/>
                <a:gd name="T24" fmla="*/ 12 w 25"/>
                <a:gd name="T25" fmla="*/ 37 h 39"/>
                <a:gd name="T26" fmla="*/ 23 w 25"/>
                <a:gd name="T27" fmla="*/ 39 h 39"/>
                <a:gd name="T28" fmla="*/ 23 w 25"/>
                <a:gd name="T29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39">
                  <a:moveTo>
                    <a:pt x="23" y="37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32"/>
                    <a:pt x="23" y="28"/>
                    <a:pt x="24" y="23"/>
                  </a:cubicBezTo>
                  <a:cubicBezTo>
                    <a:pt x="24" y="19"/>
                    <a:pt x="24" y="15"/>
                    <a:pt x="24" y="10"/>
                  </a:cubicBezTo>
                  <a:cubicBezTo>
                    <a:pt x="25" y="7"/>
                    <a:pt x="24" y="4"/>
                    <a:pt x="25" y="2"/>
                  </a:cubicBezTo>
                  <a:cubicBezTo>
                    <a:pt x="21" y="0"/>
                    <a:pt x="16" y="1"/>
                    <a:pt x="11" y="1"/>
                  </a:cubicBezTo>
                  <a:cubicBezTo>
                    <a:pt x="9" y="0"/>
                    <a:pt x="6" y="0"/>
                    <a:pt x="4" y="1"/>
                  </a:cubicBezTo>
                  <a:cubicBezTo>
                    <a:pt x="2" y="2"/>
                    <a:pt x="2" y="5"/>
                    <a:pt x="2" y="7"/>
                  </a:cubicBezTo>
                  <a:cubicBezTo>
                    <a:pt x="1" y="11"/>
                    <a:pt x="1" y="16"/>
                    <a:pt x="1" y="20"/>
                  </a:cubicBezTo>
                  <a:cubicBezTo>
                    <a:pt x="0" y="24"/>
                    <a:pt x="1" y="28"/>
                    <a:pt x="1" y="32"/>
                  </a:cubicBezTo>
                  <a:cubicBezTo>
                    <a:pt x="1" y="33"/>
                    <a:pt x="1" y="35"/>
                    <a:pt x="1" y="36"/>
                  </a:cubicBezTo>
                  <a:cubicBezTo>
                    <a:pt x="2" y="36"/>
                    <a:pt x="2" y="36"/>
                    <a:pt x="3" y="36"/>
                  </a:cubicBezTo>
                  <a:cubicBezTo>
                    <a:pt x="6" y="36"/>
                    <a:pt x="9" y="36"/>
                    <a:pt x="12" y="37"/>
                  </a:cubicBezTo>
                  <a:cubicBezTo>
                    <a:pt x="16" y="37"/>
                    <a:pt x="20" y="37"/>
                    <a:pt x="23" y="39"/>
                  </a:cubicBezTo>
                  <a:cubicBezTo>
                    <a:pt x="23" y="38"/>
                    <a:pt x="23" y="37"/>
                    <a:pt x="23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îṡḷîḋè"/>
            <p:cNvSpPr/>
            <p:nvPr/>
          </p:nvSpPr>
          <p:spPr bwMode="auto">
            <a:xfrm>
              <a:off x="6700884" y="3308574"/>
              <a:ext cx="64364" cy="287939"/>
            </a:xfrm>
            <a:custGeom>
              <a:avLst/>
              <a:gdLst>
                <a:gd name="T0" fmla="*/ 8 w 9"/>
                <a:gd name="T1" fmla="*/ 31 h 41"/>
                <a:gd name="T2" fmla="*/ 8 w 9"/>
                <a:gd name="T3" fmla="*/ 31 h 41"/>
                <a:gd name="T4" fmla="*/ 9 w 9"/>
                <a:gd name="T5" fmla="*/ 8 h 41"/>
                <a:gd name="T6" fmla="*/ 8 w 9"/>
                <a:gd name="T7" fmla="*/ 7 h 41"/>
                <a:gd name="T8" fmla="*/ 4 w 9"/>
                <a:gd name="T9" fmla="*/ 0 h 41"/>
                <a:gd name="T10" fmla="*/ 3 w 9"/>
                <a:gd name="T11" fmla="*/ 3 h 41"/>
                <a:gd name="T12" fmla="*/ 1 w 9"/>
                <a:gd name="T13" fmla="*/ 15 h 41"/>
                <a:gd name="T14" fmla="*/ 7 w 9"/>
                <a:gd name="T15" fmla="*/ 41 h 41"/>
                <a:gd name="T16" fmla="*/ 8 w 9"/>
                <a:gd name="T17" fmla="*/ 3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41">
                  <a:moveTo>
                    <a:pt x="8" y="31"/>
                  </a:moveTo>
                  <a:cubicBezTo>
                    <a:pt x="8" y="31"/>
                    <a:pt x="8" y="31"/>
                    <a:pt x="8" y="31"/>
                  </a:cubicBezTo>
                  <a:cubicBezTo>
                    <a:pt x="9" y="23"/>
                    <a:pt x="9" y="16"/>
                    <a:pt x="9" y="8"/>
                  </a:cubicBezTo>
                  <a:cubicBezTo>
                    <a:pt x="9" y="8"/>
                    <a:pt x="8" y="8"/>
                    <a:pt x="8" y="7"/>
                  </a:cubicBezTo>
                  <a:cubicBezTo>
                    <a:pt x="6" y="5"/>
                    <a:pt x="6" y="2"/>
                    <a:pt x="4" y="0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2" y="7"/>
                    <a:pt x="1" y="11"/>
                    <a:pt x="1" y="15"/>
                  </a:cubicBezTo>
                  <a:cubicBezTo>
                    <a:pt x="0" y="24"/>
                    <a:pt x="1" y="34"/>
                    <a:pt x="7" y="41"/>
                  </a:cubicBezTo>
                  <a:cubicBezTo>
                    <a:pt x="7" y="38"/>
                    <a:pt x="7" y="34"/>
                    <a:pt x="8" y="3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ïSḷïḑe"/>
            <p:cNvSpPr/>
            <p:nvPr/>
          </p:nvSpPr>
          <p:spPr bwMode="auto">
            <a:xfrm>
              <a:off x="5996283" y="3295024"/>
              <a:ext cx="37264" cy="189700"/>
            </a:xfrm>
            <a:custGeom>
              <a:avLst/>
              <a:gdLst>
                <a:gd name="T0" fmla="*/ 5 w 5"/>
                <a:gd name="T1" fmla="*/ 0 h 27"/>
                <a:gd name="T2" fmla="*/ 5 w 5"/>
                <a:gd name="T3" fmla="*/ 0 h 27"/>
                <a:gd name="T4" fmla="*/ 4 w 5"/>
                <a:gd name="T5" fmla="*/ 1 h 27"/>
                <a:gd name="T6" fmla="*/ 2 w 5"/>
                <a:gd name="T7" fmla="*/ 8 h 27"/>
                <a:gd name="T8" fmla="*/ 2 w 5"/>
                <a:gd name="T9" fmla="*/ 9 h 27"/>
                <a:gd name="T10" fmla="*/ 2 w 5"/>
                <a:gd name="T11" fmla="*/ 11 h 27"/>
                <a:gd name="T12" fmla="*/ 1 w 5"/>
                <a:gd name="T13" fmla="*/ 15 h 27"/>
                <a:gd name="T14" fmla="*/ 0 w 5"/>
                <a:gd name="T15" fmla="*/ 27 h 27"/>
                <a:gd name="T16" fmla="*/ 0 w 5"/>
                <a:gd name="T17" fmla="*/ 26 h 27"/>
                <a:gd name="T18" fmla="*/ 5 w 5"/>
                <a:gd name="T19" fmla="*/ 11 h 27"/>
                <a:gd name="T20" fmla="*/ 5 w 5"/>
                <a:gd name="T2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27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3"/>
                    <a:pt x="2" y="6"/>
                    <a:pt x="2" y="8"/>
                  </a:cubicBezTo>
                  <a:cubicBezTo>
                    <a:pt x="2" y="8"/>
                    <a:pt x="2" y="9"/>
                    <a:pt x="2" y="9"/>
                  </a:cubicBezTo>
                  <a:cubicBezTo>
                    <a:pt x="2" y="9"/>
                    <a:pt x="2" y="11"/>
                    <a:pt x="2" y="11"/>
                  </a:cubicBezTo>
                  <a:cubicBezTo>
                    <a:pt x="1" y="12"/>
                    <a:pt x="1" y="14"/>
                    <a:pt x="1" y="15"/>
                  </a:cubicBezTo>
                  <a:cubicBezTo>
                    <a:pt x="1" y="19"/>
                    <a:pt x="1" y="23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" y="22"/>
                    <a:pt x="4" y="16"/>
                    <a:pt x="5" y="11"/>
                  </a:cubicBezTo>
                  <a:cubicBezTo>
                    <a:pt x="5" y="7"/>
                    <a:pt x="5" y="4"/>
                    <a:pt x="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ïSľiḓè"/>
            <p:cNvSpPr/>
            <p:nvPr/>
          </p:nvSpPr>
          <p:spPr bwMode="auto">
            <a:xfrm>
              <a:off x="5054555" y="4003014"/>
              <a:ext cx="105014" cy="386176"/>
            </a:xfrm>
            <a:custGeom>
              <a:avLst/>
              <a:gdLst>
                <a:gd name="T0" fmla="*/ 13 w 15"/>
                <a:gd name="T1" fmla="*/ 54 h 55"/>
                <a:gd name="T2" fmla="*/ 13 w 15"/>
                <a:gd name="T3" fmla="*/ 54 h 55"/>
                <a:gd name="T4" fmla="*/ 14 w 15"/>
                <a:gd name="T5" fmla="*/ 51 h 55"/>
                <a:gd name="T6" fmla="*/ 14 w 15"/>
                <a:gd name="T7" fmla="*/ 38 h 55"/>
                <a:gd name="T8" fmla="*/ 10 w 15"/>
                <a:gd name="T9" fmla="*/ 19 h 55"/>
                <a:gd name="T10" fmla="*/ 9 w 15"/>
                <a:gd name="T11" fmla="*/ 13 h 55"/>
                <a:gd name="T12" fmla="*/ 3 w 15"/>
                <a:gd name="T13" fmla="*/ 0 h 55"/>
                <a:gd name="T14" fmla="*/ 2 w 15"/>
                <a:gd name="T15" fmla="*/ 1 h 55"/>
                <a:gd name="T16" fmla="*/ 0 w 15"/>
                <a:gd name="T17" fmla="*/ 7 h 55"/>
                <a:gd name="T18" fmla="*/ 5 w 15"/>
                <a:gd name="T19" fmla="*/ 28 h 55"/>
                <a:gd name="T20" fmla="*/ 11 w 15"/>
                <a:gd name="T21" fmla="*/ 52 h 55"/>
                <a:gd name="T22" fmla="*/ 11 w 15"/>
                <a:gd name="T23" fmla="*/ 55 h 55"/>
                <a:gd name="T24" fmla="*/ 13 w 15"/>
                <a:gd name="T2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55">
                  <a:moveTo>
                    <a:pt x="13" y="54"/>
                  </a:move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4" y="53"/>
                    <a:pt x="14" y="51"/>
                  </a:cubicBezTo>
                  <a:cubicBezTo>
                    <a:pt x="15" y="48"/>
                    <a:pt x="14" y="42"/>
                    <a:pt x="14" y="38"/>
                  </a:cubicBezTo>
                  <a:cubicBezTo>
                    <a:pt x="13" y="32"/>
                    <a:pt x="12" y="25"/>
                    <a:pt x="10" y="19"/>
                  </a:cubicBezTo>
                  <a:cubicBezTo>
                    <a:pt x="10" y="17"/>
                    <a:pt x="9" y="15"/>
                    <a:pt x="9" y="13"/>
                  </a:cubicBezTo>
                  <a:cubicBezTo>
                    <a:pt x="6" y="9"/>
                    <a:pt x="5" y="4"/>
                    <a:pt x="3" y="0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4"/>
                    <a:pt x="3" y="21"/>
                    <a:pt x="5" y="28"/>
                  </a:cubicBezTo>
                  <a:cubicBezTo>
                    <a:pt x="7" y="36"/>
                    <a:pt x="8" y="44"/>
                    <a:pt x="11" y="52"/>
                  </a:cubicBezTo>
                  <a:cubicBezTo>
                    <a:pt x="11" y="53"/>
                    <a:pt x="11" y="54"/>
                    <a:pt x="11" y="55"/>
                  </a:cubicBezTo>
                  <a:cubicBezTo>
                    <a:pt x="12" y="54"/>
                    <a:pt x="12" y="54"/>
                    <a:pt x="13" y="54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íS1íḑê"/>
            <p:cNvSpPr/>
            <p:nvPr/>
          </p:nvSpPr>
          <p:spPr bwMode="auto">
            <a:xfrm>
              <a:off x="5105367" y="4236751"/>
              <a:ext cx="54200" cy="152439"/>
            </a:xfrm>
            <a:custGeom>
              <a:avLst/>
              <a:gdLst>
                <a:gd name="T0" fmla="*/ 6 w 8"/>
                <a:gd name="T1" fmla="*/ 21 h 22"/>
                <a:gd name="T2" fmla="*/ 6 w 8"/>
                <a:gd name="T3" fmla="*/ 21 h 22"/>
                <a:gd name="T4" fmla="*/ 7 w 8"/>
                <a:gd name="T5" fmla="*/ 18 h 22"/>
                <a:gd name="T6" fmla="*/ 7 w 8"/>
                <a:gd name="T7" fmla="*/ 5 h 22"/>
                <a:gd name="T8" fmla="*/ 6 w 8"/>
                <a:gd name="T9" fmla="*/ 0 h 22"/>
                <a:gd name="T10" fmla="*/ 0 w 8"/>
                <a:gd name="T11" fmla="*/ 2 h 22"/>
                <a:gd name="T12" fmla="*/ 4 w 8"/>
                <a:gd name="T13" fmla="*/ 19 h 22"/>
                <a:gd name="T14" fmla="*/ 4 w 8"/>
                <a:gd name="T15" fmla="*/ 22 h 22"/>
                <a:gd name="T16" fmla="*/ 6 w 8"/>
                <a:gd name="T17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22"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7" y="20"/>
                    <a:pt x="7" y="18"/>
                  </a:cubicBezTo>
                  <a:cubicBezTo>
                    <a:pt x="8" y="15"/>
                    <a:pt x="7" y="9"/>
                    <a:pt x="7" y="5"/>
                  </a:cubicBezTo>
                  <a:cubicBezTo>
                    <a:pt x="6" y="3"/>
                    <a:pt x="6" y="2"/>
                    <a:pt x="6" y="0"/>
                  </a:cubicBezTo>
                  <a:cubicBezTo>
                    <a:pt x="4" y="1"/>
                    <a:pt x="2" y="1"/>
                    <a:pt x="0" y="2"/>
                  </a:cubicBezTo>
                  <a:cubicBezTo>
                    <a:pt x="1" y="8"/>
                    <a:pt x="2" y="14"/>
                    <a:pt x="4" y="19"/>
                  </a:cubicBezTo>
                  <a:cubicBezTo>
                    <a:pt x="4" y="20"/>
                    <a:pt x="4" y="21"/>
                    <a:pt x="4" y="22"/>
                  </a:cubicBezTo>
                  <a:cubicBezTo>
                    <a:pt x="5" y="21"/>
                    <a:pt x="5" y="21"/>
                    <a:pt x="6" y="2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iŝḻîďe"/>
            <p:cNvSpPr/>
            <p:nvPr/>
          </p:nvSpPr>
          <p:spPr bwMode="auto">
            <a:xfrm>
              <a:off x="6216470" y="5706929"/>
              <a:ext cx="254064" cy="169375"/>
            </a:xfrm>
            <a:custGeom>
              <a:avLst/>
              <a:gdLst>
                <a:gd name="T0" fmla="*/ 21 w 36"/>
                <a:gd name="T1" fmla="*/ 21 h 24"/>
                <a:gd name="T2" fmla="*/ 21 w 36"/>
                <a:gd name="T3" fmla="*/ 21 h 24"/>
                <a:gd name="T4" fmla="*/ 34 w 36"/>
                <a:gd name="T5" fmla="*/ 8 h 24"/>
                <a:gd name="T6" fmla="*/ 36 w 36"/>
                <a:gd name="T7" fmla="*/ 1 h 24"/>
                <a:gd name="T8" fmla="*/ 33 w 36"/>
                <a:gd name="T9" fmla="*/ 1 h 24"/>
                <a:gd name="T10" fmla="*/ 11 w 36"/>
                <a:gd name="T11" fmla="*/ 0 h 24"/>
                <a:gd name="T12" fmla="*/ 0 w 36"/>
                <a:gd name="T13" fmla="*/ 0 h 24"/>
                <a:gd name="T14" fmla="*/ 21 w 36"/>
                <a:gd name="T15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4">
                  <a:moveTo>
                    <a:pt x="21" y="21"/>
                  </a:moveTo>
                  <a:cubicBezTo>
                    <a:pt x="21" y="21"/>
                    <a:pt x="21" y="21"/>
                    <a:pt x="21" y="21"/>
                  </a:cubicBezTo>
                  <a:cubicBezTo>
                    <a:pt x="28" y="19"/>
                    <a:pt x="32" y="14"/>
                    <a:pt x="34" y="8"/>
                  </a:cubicBezTo>
                  <a:cubicBezTo>
                    <a:pt x="35" y="7"/>
                    <a:pt x="35" y="4"/>
                    <a:pt x="36" y="1"/>
                  </a:cubicBezTo>
                  <a:cubicBezTo>
                    <a:pt x="35" y="1"/>
                    <a:pt x="34" y="1"/>
                    <a:pt x="33" y="1"/>
                  </a:cubicBezTo>
                  <a:cubicBezTo>
                    <a:pt x="26" y="0"/>
                    <a:pt x="18" y="0"/>
                    <a:pt x="11" y="0"/>
                  </a:cubicBezTo>
                  <a:cubicBezTo>
                    <a:pt x="7" y="0"/>
                    <a:pt x="4" y="0"/>
                    <a:pt x="0" y="0"/>
                  </a:cubicBezTo>
                  <a:cubicBezTo>
                    <a:pt x="4" y="11"/>
                    <a:pt x="9" y="24"/>
                    <a:pt x="21" y="2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" name="ïŝ1îḓè"/>
            <p:cNvSpPr/>
            <p:nvPr/>
          </p:nvSpPr>
          <p:spPr bwMode="auto">
            <a:xfrm>
              <a:off x="6301158" y="5706929"/>
              <a:ext cx="169375" cy="152439"/>
            </a:xfrm>
            <a:custGeom>
              <a:avLst/>
              <a:gdLst>
                <a:gd name="T0" fmla="*/ 9 w 24"/>
                <a:gd name="T1" fmla="*/ 21 h 22"/>
                <a:gd name="T2" fmla="*/ 9 w 24"/>
                <a:gd name="T3" fmla="*/ 21 h 22"/>
                <a:gd name="T4" fmla="*/ 22 w 24"/>
                <a:gd name="T5" fmla="*/ 8 h 22"/>
                <a:gd name="T6" fmla="*/ 24 w 24"/>
                <a:gd name="T7" fmla="*/ 1 h 22"/>
                <a:gd name="T8" fmla="*/ 21 w 24"/>
                <a:gd name="T9" fmla="*/ 1 h 22"/>
                <a:gd name="T10" fmla="*/ 8 w 24"/>
                <a:gd name="T11" fmla="*/ 0 h 22"/>
                <a:gd name="T12" fmla="*/ 0 w 24"/>
                <a:gd name="T13" fmla="*/ 20 h 22"/>
                <a:gd name="T14" fmla="*/ 9 w 24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2">
                  <a:moveTo>
                    <a:pt x="9" y="21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16" y="19"/>
                    <a:pt x="20" y="14"/>
                    <a:pt x="22" y="8"/>
                  </a:cubicBezTo>
                  <a:cubicBezTo>
                    <a:pt x="23" y="7"/>
                    <a:pt x="23" y="4"/>
                    <a:pt x="24" y="1"/>
                  </a:cubicBezTo>
                  <a:cubicBezTo>
                    <a:pt x="23" y="1"/>
                    <a:pt x="22" y="1"/>
                    <a:pt x="21" y="1"/>
                  </a:cubicBezTo>
                  <a:cubicBezTo>
                    <a:pt x="17" y="0"/>
                    <a:pt x="12" y="0"/>
                    <a:pt x="8" y="0"/>
                  </a:cubicBezTo>
                  <a:cubicBezTo>
                    <a:pt x="5" y="7"/>
                    <a:pt x="2" y="14"/>
                    <a:pt x="0" y="20"/>
                  </a:cubicBezTo>
                  <a:cubicBezTo>
                    <a:pt x="3" y="21"/>
                    <a:pt x="6" y="22"/>
                    <a:pt x="9" y="2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" name="isḻíḓe"/>
            <p:cNvSpPr/>
            <p:nvPr/>
          </p:nvSpPr>
          <p:spPr bwMode="auto">
            <a:xfrm>
              <a:off x="7131097" y="4721165"/>
              <a:ext cx="392951" cy="233739"/>
            </a:xfrm>
            <a:custGeom>
              <a:avLst/>
              <a:gdLst>
                <a:gd name="T0" fmla="*/ 3 w 56"/>
                <a:gd name="T1" fmla="*/ 1 h 33"/>
                <a:gd name="T2" fmla="*/ 3 w 56"/>
                <a:gd name="T3" fmla="*/ 1 h 33"/>
                <a:gd name="T4" fmla="*/ 1 w 56"/>
                <a:gd name="T5" fmla="*/ 4 h 33"/>
                <a:gd name="T6" fmla="*/ 0 w 56"/>
                <a:gd name="T7" fmla="*/ 5 h 33"/>
                <a:gd name="T8" fmla="*/ 31 w 56"/>
                <a:gd name="T9" fmla="*/ 19 h 33"/>
                <a:gd name="T10" fmla="*/ 47 w 56"/>
                <a:gd name="T11" fmla="*/ 28 h 33"/>
                <a:gd name="T12" fmla="*/ 53 w 56"/>
                <a:gd name="T13" fmla="*/ 33 h 33"/>
                <a:gd name="T14" fmla="*/ 56 w 56"/>
                <a:gd name="T15" fmla="*/ 29 h 33"/>
                <a:gd name="T16" fmla="*/ 54 w 56"/>
                <a:gd name="T17" fmla="*/ 21 h 33"/>
                <a:gd name="T18" fmla="*/ 52 w 56"/>
                <a:gd name="T19" fmla="*/ 20 h 33"/>
                <a:gd name="T20" fmla="*/ 41 w 56"/>
                <a:gd name="T21" fmla="*/ 15 h 33"/>
                <a:gd name="T22" fmla="*/ 20 w 56"/>
                <a:gd name="T23" fmla="*/ 6 h 33"/>
                <a:gd name="T24" fmla="*/ 11 w 56"/>
                <a:gd name="T25" fmla="*/ 3 h 33"/>
                <a:gd name="T26" fmla="*/ 3 w 56"/>
                <a:gd name="T27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33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1" y="7"/>
                    <a:pt x="21" y="13"/>
                    <a:pt x="31" y="19"/>
                  </a:cubicBezTo>
                  <a:cubicBezTo>
                    <a:pt x="36" y="22"/>
                    <a:pt x="42" y="25"/>
                    <a:pt x="47" y="28"/>
                  </a:cubicBezTo>
                  <a:cubicBezTo>
                    <a:pt x="49" y="29"/>
                    <a:pt x="51" y="31"/>
                    <a:pt x="53" y="33"/>
                  </a:cubicBezTo>
                  <a:cubicBezTo>
                    <a:pt x="55" y="32"/>
                    <a:pt x="56" y="32"/>
                    <a:pt x="56" y="29"/>
                  </a:cubicBezTo>
                  <a:cubicBezTo>
                    <a:pt x="56" y="27"/>
                    <a:pt x="55" y="24"/>
                    <a:pt x="54" y="21"/>
                  </a:cubicBezTo>
                  <a:cubicBezTo>
                    <a:pt x="53" y="21"/>
                    <a:pt x="53" y="20"/>
                    <a:pt x="52" y="20"/>
                  </a:cubicBezTo>
                  <a:cubicBezTo>
                    <a:pt x="48" y="18"/>
                    <a:pt x="44" y="17"/>
                    <a:pt x="41" y="15"/>
                  </a:cubicBezTo>
                  <a:cubicBezTo>
                    <a:pt x="33" y="12"/>
                    <a:pt x="27" y="9"/>
                    <a:pt x="20" y="6"/>
                  </a:cubicBezTo>
                  <a:cubicBezTo>
                    <a:pt x="17" y="5"/>
                    <a:pt x="14" y="4"/>
                    <a:pt x="11" y="3"/>
                  </a:cubicBezTo>
                  <a:cubicBezTo>
                    <a:pt x="9" y="2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" name="iṧḻiḍé"/>
            <p:cNvSpPr/>
            <p:nvPr/>
          </p:nvSpPr>
          <p:spPr bwMode="auto">
            <a:xfrm>
              <a:off x="7131097" y="4721165"/>
              <a:ext cx="155825" cy="77914"/>
            </a:xfrm>
            <a:custGeom>
              <a:avLst/>
              <a:gdLst>
                <a:gd name="T0" fmla="*/ 3 w 22"/>
                <a:gd name="T1" fmla="*/ 1 h 11"/>
                <a:gd name="T2" fmla="*/ 3 w 22"/>
                <a:gd name="T3" fmla="*/ 1 h 11"/>
                <a:gd name="T4" fmla="*/ 1 w 22"/>
                <a:gd name="T5" fmla="*/ 4 h 11"/>
                <a:gd name="T6" fmla="*/ 0 w 22"/>
                <a:gd name="T7" fmla="*/ 5 h 11"/>
                <a:gd name="T8" fmla="*/ 17 w 22"/>
                <a:gd name="T9" fmla="*/ 11 h 11"/>
                <a:gd name="T10" fmla="*/ 22 w 22"/>
                <a:gd name="T11" fmla="*/ 7 h 11"/>
                <a:gd name="T12" fmla="*/ 20 w 22"/>
                <a:gd name="T13" fmla="*/ 6 h 11"/>
                <a:gd name="T14" fmla="*/ 11 w 22"/>
                <a:gd name="T15" fmla="*/ 3 h 11"/>
                <a:gd name="T16" fmla="*/ 3 w 22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1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6" y="6"/>
                    <a:pt x="11" y="8"/>
                    <a:pt x="17" y="11"/>
                  </a:cubicBezTo>
                  <a:cubicBezTo>
                    <a:pt x="18" y="9"/>
                    <a:pt x="20" y="8"/>
                    <a:pt x="22" y="7"/>
                  </a:cubicBezTo>
                  <a:cubicBezTo>
                    <a:pt x="21" y="6"/>
                    <a:pt x="20" y="6"/>
                    <a:pt x="20" y="6"/>
                  </a:cubicBezTo>
                  <a:cubicBezTo>
                    <a:pt x="17" y="5"/>
                    <a:pt x="14" y="4"/>
                    <a:pt x="11" y="3"/>
                  </a:cubicBezTo>
                  <a:cubicBezTo>
                    <a:pt x="9" y="2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" name="íṥḻiḓê"/>
            <p:cNvSpPr/>
            <p:nvPr/>
          </p:nvSpPr>
          <p:spPr bwMode="auto">
            <a:xfrm>
              <a:off x="5989508" y="4446776"/>
              <a:ext cx="724927" cy="77914"/>
            </a:xfrm>
            <a:custGeom>
              <a:avLst/>
              <a:gdLst>
                <a:gd name="T0" fmla="*/ 21 w 103"/>
                <a:gd name="T1" fmla="*/ 7 h 11"/>
                <a:gd name="T2" fmla="*/ 21 w 103"/>
                <a:gd name="T3" fmla="*/ 7 h 11"/>
                <a:gd name="T4" fmla="*/ 56 w 103"/>
                <a:gd name="T5" fmla="*/ 8 h 11"/>
                <a:gd name="T6" fmla="*/ 92 w 103"/>
                <a:gd name="T7" fmla="*/ 9 h 11"/>
                <a:gd name="T8" fmla="*/ 102 w 103"/>
                <a:gd name="T9" fmla="*/ 9 h 11"/>
                <a:gd name="T10" fmla="*/ 103 w 103"/>
                <a:gd name="T11" fmla="*/ 7 h 11"/>
                <a:gd name="T12" fmla="*/ 103 w 103"/>
                <a:gd name="T13" fmla="*/ 2 h 11"/>
                <a:gd name="T14" fmla="*/ 103 w 103"/>
                <a:gd name="T15" fmla="*/ 0 h 11"/>
                <a:gd name="T16" fmla="*/ 96 w 103"/>
                <a:gd name="T17" fmla="*/ 0 h 11"/>
                <a:gd name="T18" fmla="*/ 85 w 103"/>
                <a:gd name="T19" fmla="*/ 1 h 11"/>
                <a:gd name="T20" fmla="*/ 57 w 103"/>
                <a:gd name="T21" fmla="*/ 2 h 11"/>
                <a:gd name="T22" fmla="*/ 29 w 103"/>
                <a:gd name="T23" fmla="*/ 3 h 11"/>
                <a:gd name="T24" fmla="*/ 15 w 103"/>
                <a:gd name="T25" fmla="*/ 2 h 11"/>
                <a:gd name="T26" fmla="*/ 2 w 103"/>
                <a:gd name="T27" fmla="*/ 0 h 11"/>
                <a:gd name="T28" fmla="*/ 0 w 103"/>
                <a:gd name="T29" fmla="*/ 6 h 11"/>
                <a:gd name="T30" fmla="*/ 3 w 103"/>
                <a:gd name="T31" fmla="*/ 7 h 11"/>
                <a:gd name="T32" fmla="*/ 21 w 103"/>
                <a:gd name="T3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1">
                  <a:moveTo>
                    <a:pt x="21" y="7"/>
                  </a:moveTo>
                  <a:cubicBezTo>
                    <a:pt x="21" y="7"/>
                    <a:pt x="21" y="7"/>
                    <a:pt x="21" y="7"/>
                  </a:cubicBezTo>
                  <a:cubicBezTo>
                    <a:pt x="33" y="7"/>
                    <a:pt x="44" y="8"/>
                    <a:pt x="56" y="8"/>
                  </a:cubicBezTo>
                  <a:cubicBezTo>
                    <a:pt x="68" y="8"/>
                    <a:pt x="80" y="8"/>
                    <a:pt x="92" y="9"/>
                  </a:cubicBezTo>
                  <a:cubicBezTo>
                    <a:pt x="95" y="10"/>
                    <a:pt x="99" y="11"/>
                    <a:pt x="102" y="9"/>
                  </a:cubicBezTo>
                  <a:cubicBezTo>
                    <a:pt x="103" y="9"/>
                    <a:pt x="103" y="6"/>
                    <a:pt x="103" y="7"/>
                  </a:cubicBezTo>
                  <a:cubicBezTo>
                    <a:pt x="103" y="6"/>
                    <a:pt x="103" y="4"/>
                    <a:pt x="103" y="2"/>
                  </a:cubicBezTo>
                  <a:cubicBezTo>
                    <a:pt x="103" y="2"/>
                    <a:pt x="103" y="1"/>
                    <a:pt x="103" y="0"/>
                  </a:cubicBezTo>
                  <a:cubicBezTo>
                    <a:pt x="100" y="0"/>
                    <a:pt x="98" y="0"/>
                    <a:pt x="96" y="0"/>
                  </a:cubicBezTo>
                  <a:cubicBezTo>
                    <a:pt x="92" y="0"/>
                    <a:pt x="88" y="1"/>
                    <a:pt x="85" y="1"/>
                  </a:cubicBezTo>
                  <a:cubicBezTo>
                    <a:pt x="75" y="1"/>
                    <a:pt x="66" y="2"/>
                    <a:pt x="57" y="2"/>
                  </a:cubicBezTo>
                  <a:cubicBezTo>
                    <a:pt x="47" y="3"/>
                    <a:pt x="38" y="3"/>
                    <a:pt x="29" y="3"/>
                  </a:cubicBezTo>
                  <a:cubicBezTo>
                    <a:pt x="24" y="2"/>
                    <a:pt x="19" y="2"/>
                    <a:pt x="15" y="2"/>
                  </a:cubicBezTo>
                  <a:cubicBezTo>
                    <a:pt x="11" y="1"/>
                    <a:pt x="6" y="2"/>
                    <a:pt x="2" y="0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1" y="7"/>
                    <a:pt x="2" y="7"/>
                    <a:pt x="3" y="7"/>
                  </a:cubicBezTo>
                  <a:cubicBezTo>
                    <a:pt x="8" y="8"/>
                    <a:pt x="15" y="8"/>
                    <a:pt x="21" y="7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í$ḷïḍé"/>
            <p:cNvSpPr/>
            <p:nvPr/>
          </p:nvSpPr>
          <p:spPr bwMode="auto">
            <a:xfrm>
              <a:off x="7503723" y="2295710"/>
              <a:ext cx="169375" cy="118564"/>
            </a:xfrm>
            <a:custGeom>
              <a:avLst/>
              <a:gdLst>
                <a:gd name="T0" fmla="*/ 1 w 24"/>
                <a:gd name="T1" fmla="*/ 13 h 17"/>
                <a:gd name="T2" fmla="*/ 1 w 24"/>
                <a:gd name="T3" fmla="*/ 13 h 17"/>
                <a:gd name="T4" fmla="*/ 3 w 24"/>
                <a:gd name="T5" fmla="*/ 14 h 17"/>
                <a:gd name="T6" fmla="*/ 7 w 24"/>
                <a:gd name="T7" fmla="*/ 16 h 17"/>
                <a:gd name="T8" fmla="*/ 9 w 24"/>
                <a:gd name="T9" fmla="*/ 16 h 17"/>
                <a:gd name="T10" fmla="*/ 10 w 24"/>
                <a:gd name="T11" fmla="*/ 17 h 17"/>
                <a:gd name="T12" fmla="*/ 11 w 24"/>
                <a:gd name="T13" fmla="*/ 17 h 17"/>
                <a:gd name="T14" fmla="*/ 14 w 24"/>
                <a:gd name="T15" fmla="*/ 17 h 17"/>
                <a:gd name="T16" fmla="*/ 15 w 24"/>
                <a:gd name="T17" fmla="*/ 17 h 17"/>
                <a:gd name="T18" fmla="*/ 16 w 24"/>
                <a:gd name="T19" fmla="*/ 16 h 17"/>
                <a:gd name="T20" fmla="*/ 23 w 24"/>
                <a:gd name="T21" fmla="*/ 13 h 17"/>
                <a:gd name="T22" fmla="*/ 19 w 24"/>
                <a:gd name="T23" fmla="*/ 3 h 17"/>
                <a:gd name="T24" fmla="*/ 19 w 24"/>
                <a:gd name="T25" fmla="*/ 2 h 17"/>
                <a:gd name="T26" fmla="*/ 7 w 24"/>
                <a:gd name="T27" fmla="*/ 1 h 17"/>
                <a:gd name="T28" fmla="*/ 2 w 24"/>
                <a:gd name="T29" fmla="*/ 5 h 17"/>
                <a:gd name="T30" fmla="*/ 0 w 24"/>
                <a:gd name="T31" fmla="*/ 7 h 17"/>
                <a:gd name="T32" fmla="*/ 0 w 24"/>
                <a:gd name="T33" fmla="*/ 7 h 17"/>
                <a:gd name="T34" fmla="*/ 0 w 24"/>
                <a:gd name="T35" fmla="*/ 12 h 17"/>
                <a:gd name="T36" fmla="*/ 0 w 24"/>
                <a:gd name="T37" fmla="*/ 12 h 17"/>
                <a:gd name="T38" fmla="*/ 1 w 24"/>
                <a:gd name="T3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17">
                  <a:moveTo>
                    <a:pt x="1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12"/>
                    <a:pt x="2" y="14"/>
                    <a:pt x="3" y="14"/>
                  </a:cubicBezTo>
                  <a:cubicBezTo>
                    <a:pt x="5" y="15"/>
                    <a:pt x="4" y="15"/>
                    <a:pt x="7" y="16"/>
                  </a:cubicBezTo>
                  <a:cubicBezTo>
                    <a:pt x="8" y="16"/>
                    <a:pt x="9" y="16"/>
                    <a:pt x="9" y="16"/>
                  </a:cubicBezTo>
                  <a:cubicBezTo>
                    <a:pt x="10" y="16"/>
                    <a:pt x="10" y="17"/>
                    <a:pt x="10" y="17"/>
                  </a:cubicBezTo>
                  <a:cubicBezTo>
                    <a:pt x="10" y="17"/>
                    <a:pt x="11" y="17"/>
                    <a:pt x="11" y="17"/>
                  </a:cubicBezTo>
                  <a:cubicBezTo>
                    <a:pt x="12" y="17"/>
                    <a:pt x="13" y="17"/>
                    <a:pt x="14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6" y="16"/>
                    <a:pt x="16" y="16"/>
                  </a:cubicBezTo>
                  <a:cubicBezTo>
                    <a:pt x="19" y="16"/>
                    <a:pt x="22" y="15"/>
                    <a:pt x="23" y="13"/>
                  </a:cubicBezTo>
                  <a:cubicBezTo>
                    <a:pt x="24" y="9"/>
                    <a:pt x="21" y="6"/>
                    <a:pt x="19" y="3"/>
                  </a:cubicBezTo>
                  <a:cubicBezTo>
                    <a:pt x="19" y="3"/>
                    <a:pt x="19" y="3"/>
                    <a:pt x="19" y="2"/>
                  </a:cubicBezTo>
                  <a:cubicBezTo>
                    <a:pt x="15" y="2"/>
                    <a:pt x="11" y="0"/>
                    <a:pt x="7" y="1"/>
                  </a:cubicBezTo>
                  <a:cubicBezTo>
                    <a:pt x="5" y="2"/>
                    <a:pt x="3" y="3"/>
                    <a:pt x="2" y="5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0" y="10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î$1îḓê"/>
            <p:cNvSpPr/>
            <p:nvPr/>
          </p:nvSpPr>
          <p:spPr bwMode="auto">
            <a:xfrm>
              <a:off x="5406856" y="230248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i$lïďé"/>
            <p:cNvSpPr/>
            <p:nvPr/>
          </p:nvSpPr>
          <p:spPr bwMode="auto">
            <a:xfrm>
              <a:off x="5203606" y="2322810"/>
              <a:ext cx="111789" cy="91464"/>
            </a:xfrm>
            <a:custGeom>
              <a:avLst/>
              <a:gdLst>
                <a:gd name="T0" fmla="*/ 0 w 16"/>
                <a:gd name="T1" fmla="*/ 5 h 13"/>
                <a:gd name="T2" fmla="*/ 0 w 16"/>
                <a:gd name="T3" fmla="*/ 5 h 13"/>
                <a:gd name="T4" fmla="*/ 4 w 16"/>
                <a:gd name="T5" fmla="*/ 11 h 13"/>
                <a:gd name="T6" fmla="*/ 12 w 16"/>
                <a:gd name="T7" fmla="*/ 11 h 13"/>
                <a:gd name="T8" fmla="*/ 16 w 16"/>
                <a:gd name="T9" fmla="*/ 5 h 13"/>
                <a:gd name="T10" fmla="*/ 14 w 16"/>
                <a:gd name="T11" fmla="*/ 0 h 13"/>
                <a:gd name="T12" fmla="*/ 3 w 16"/>
                <a:gd name="T13" fmla="*/ 1 h 13"/>
                <a:gd name="T14" fmla="*/ 0 w 16"/>
                <a:gd name="T15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2" y="10"/>
                    <a:pt x="4" y="11"/>
                  </a:cubicBezTo>
                  <a:cubicBezTo>
                    <a:pt x="7" y="13"/>
                    <a:pt x="9" y="13"/>
                    <a:pt x="12" y="11"/>
                  </a:cubicBezTo>
                  <a:cubicBezTo>
                    <a:pt x="14" y="10"/>
                    <a:pt x="16" y="8"/>
                    <a:pt x="16" y="5"/>
                  </a:cubicBezTo>
                  <a:cubicBezTo>
                    <a:pt x="16" y="3"/>
                    <a:pt x="15" y="2"/>
                    <a:pt x="14" y="0"/>
                  </a:cubicBezTo>
                  <a:cubicBezTo>
                    <a:pt x="10" y="1"/>
                    <a:pt x="7" y="0"/>
                    <a:pt x="3" y="1"/>
                  </a:cubicBezTo>
                  <a:cubicBezTo>
                    <a:pt x="2" y="1"/>
                    <a:pt x="0" y="3"/>
                    <a:pt x="0" y="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îsľidê"/>
            <p:cNvSpPr/>
            <p:nvPr/>
          </p:nvSpPr>
          <p:spPr bwMode="auto">
            <a:xfrm>
              <a:off x="6216470" y="3264537"/>
              <a:ext cx="331976" cy="64364"/>
            </a:xfrm>
            <a:custGeom>
              <a:avLst/>
              <a:gdLst>
                <a:gd name="T0" fmla="*/ 27 w 47"/>
                <a:gd name="T1" fmla="*/ 0 h 9"/>
                <a:gd name="T2" fmla="*/ 27 w 47"/>
                <a:gd name="T3" fmla="*/ 0 h 9"/>
                <a:gd name="T4" fmla="*/ 0 w 47"/>
                <a:gd name="T5" fmla="*/ 0 h 9"/>
                <a:gd name="T6" fmla="*/ 2 w 47"/>
                <a:gd name="T7" fmla="*/ 2 h 9"/>
                <a:gd name="T8" fmla="*/ 19 w 47"/>
                <a:gd name="T9" fmla="*/ 8 h 9"/>
                <a:gd name="T10" fmla="*/ 42 w 47"/>
                <a:gd name="T11" fmla="*/ 3 h 9"/>
                <a:gd name="T12" fmla="*/ 47 w 47"/>
                <a:gd name="T13" fmla="*/ 1 h 9"/>
                <a:gd name="T14" fmla="*/ 27 w 47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9"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8" y="0"/>
                    <a:pt x="9" y="0"/>
                    <a:pt x="0" y="0"/>
                  </a:cubicBezTo>
                  <a:cubicBezTo>
                    <a:pt x="1" y="1"/>
                    <a:pt x="2" y="1"/>
                    <a:pt x="2" y="2"/>
                  </a:cubicBezTo>
                  <a:cubicBezTo>
                    <a:pt x="7" y="6"/>
                    <a:pt x="13" y="9"/>
                    <a:pt x="19" y="8"/>
                  </a:cubicBezTo>
                  <a:cubicBezTo>
                    <a:pt x="27" y="8"/>
                    <a:pt x="35" y="6"/>
                    <a:pt x="42" y="3"/>
                  </a:cubicBezTo>
                  <a:cubicBezTo>
                    <a:pt x="44" y="2"/>
                    <a:pt x="45" y="1"/>
                    <a:pt x="47" y="1"/>
                  </a:cubicBezTo>
                  <a:cubicBezTo>
                    <a:pt x="40" y="0"/>
                    <a:pt x="34" y="0"/>
                    <a:pt x="27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iSliḋè"/>
            <p:cNvSpPr/>
            <p:nvPr/>
          </p:nvSpPr>
          <p:spPr bwMode="auto">
            <a:xfrm>
              <a:off x="6470534" y="2295710"/>
              <a:ext cx="1202567" cy="2228980"/>
            </a:xfrm>
            <a:custGeom>
              <a:avLst/>
              <a:gdLst>
                <a:gd name="T0" fmla="*/ 6 w 171"/>
                <a:gd name="T1" fmla="*/ 307 h 317"/>
                <a:gd name="T2" fmla="*/ 0 w 171"/>
                <a:gd name="T3" fmla="*/ 314 h 317"/>
                <a:gd name="T4" fmla="*/ 24 w 171"/>
                <a:gd name="T5" fmla="*/ 315 h 317"/>
                <a:gd name="T6" fmla="*/ 34 w 171"/>
                <a:gd name="T7" fmla="*/ 315 h 317"/>
                <a:gd name="T8" fmla="*/ 35 w 171"/>
                <a:gd name="T9" fmla="*/ 313 h 317"/>
                <a:gd name="T10" fmla="*/ 35 w 171"/>
                <a:gd name="T11" fmla="*/ 308 h 317"/>
                <a:gd name="T12" fmla="*/ 35 w 171"/>
                <a:gd name="T13" fmla="*/ 306 h 317"/>
                <a:gd name="T14" fmla="*/ 28 w 171"/>
                <a:gd name="T15" fmla="*/ 306 h 317"/>
                <a:gd name="T16" fmla="*/ 17 w 171"/>
                <a:gd name="T17" fmla="*/ 307 h 317"/>
                <a:gd name="T18" fmla="*/ 6 w 171"/>
                <a:gd name="T19" fmla="*/ 307 h 317"/>
                <a:gd name="T20" fmla="*/ 148 w 171"/>
                <a:gd name="T21" fmla="*/ 13 h 317"/>
                <a:gd name="T22" fmla="*/ 148 w 171"/>
                <a:gd name="T23" fmla="*/ 13 h 317"/>
                <a:gd name="T24" fmla="*/ 150 w 171"/>
                <a:gd name="T25" fmla="*/ 14 h 317"/>
                <a:gd name="T26" fmla="*/ 154 w 171"/>
                <a:gd name="T27" fmla="*/ 16 h 317"/>
                <a:gd name="T28" fmla="*/ 156 w 171"/>
                <a:gd name="T29" fmla="*/ 16 h 317"/>
                <a:gd name="T30" fmla="*/ 157 w 171"/>
                <a:gd name="T31" fmla="*/ 17 h 317"/>
                <a:gd name="T32" fmla="*/ 158 w 171"/>
                <a:gd name="T33" fmla="*/ 17 h 317"/>
                <a:gd name="T34" fmla="*/ 161 w 171"/>
                <a:gd name="T35" fmla="*/ 17 h 317"/>
                <a:gd name="T36" fmla="*/ 162 w 171"/>
                <a:gd name="T37" fmla="*/ 17 h 317"/>
                <a:gd name="T38" fmla="*/ 163 w 171"/>
                <a:gd name="T39" fmla="*/ 16 h 317"/>
                <a:gd name="T40" fmla="*/ 170 w 171"/>
                <a:gd name="T41" fmla="*/ 13 h 317"/>
                <a:gd name="T42" fmla="*/ 166 w 171"/>
                <a:gd name="T43" fmla="*/ 3 h 317"/>
                <a:gd name="T44" fmla="*/ 166 w 171"/>
                <a:gd name="T45" fmla="*/ 2 h 317"/>
                <a:gd name="T46" fmla="*/ 154 w 171"/>
                <a:gd name="T47" fmla="*/ 1 h 317"/>
                <a:gd name="T48" fmla="*/ 149 w 171"/>
                <a:gd name="T49" fmla="*/ 5 h 317"/>
                <a:gd name="T50" fmla="*/ 147 w 171"/>
                <a:gd name="T51" fmla="*/ 7 h 317"/>
                <a:gd name="T52" fmla="*/ 147 w 171"/>
                <a:gd name="T53" fmla="*/ 7 h 317"/>
                <a:gd name="T54" fmla="*/ 147 w 171"/>
                <a:gd name="T55" fmla="*/ 12 h 317"/>
                <a:gd name="T56" fmla="*/ 147 w 171"/>
                <a:gd name="T57" fmla="*/ 12 h 317"/>
                <a:gd name="T58" fmla="*/ 148 w 171"/>
                <a:gd name="T59" fmla="*/ 13 h 317"/>
                <a:gd name="T60" fmla="*/ 41 w 171"/>
                <a:gd name="T61" fmla="*/ 175 h 317"/>
                <a:gd name="T62" fmla="*/ 41 w 171"/>
                <a:gd name="T63" fmla="*/ 175 h 317"/>
                <a:gd name="T64" fmla="*/ 42 w 171"/>
                <a:gd name="T65" fmla="*/ 152 h 317"/>
                <a:gd name="T66" fmla="*/ 41 w 171"/>
                <a:gd name="T67" fmla="*/ 151 h 317"/>
                <a:gd name="T68" fmla="*/ 37 w 171"/>
                <a:gd name="T69" fmla="*/ 144 h 317"/>
                <a:gd name="T70" fmla="*/ 36 w 171"/>
                <a:gd name="T71" fmla="*/ 147 h 317"/>
                <a:gd name="T72" fmla="*/ 34 w 171"/>
                <a:gd name="T73" fmla="*/ 159 h 317"/>
                <a:gd name="T74" fmla="*/ 40 w 171"/>
                <a:gd name="T75" fmla="*/ 185 h 317"/>
                <a:gd name="T76" fmla="*/ 41 w 171"/>
                <a:gd name="T77" fmla="*/ 1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1" h="317">
                  <a:moveTo>
                    <a:pt x="6" y="307"/>
                  </a:moveTo>
                  <a:cubicBezTo>
                    <a:pt x="5" y="310"/>
                    <a:pt x="3" y="312"/>
                    <a:pt x="0" y="314"/>
                  </a:cubicBezTo>
                  <a:cubicBezTo>
                    <a:pt x="8" y="314"/>
                    <a:pt x="16" y="315"/>
                    <a:pt x="24" y="315"/>
                  </a:cubicBezTo>
                  <a:cubicBezTo>
                    <a:pt x="27" y="316"/>
                    <a:pt x="31" y="317"/>
                    <a:pt x="34" y="315"/>
                  </a:cubicBezTo>
                  <a:cubicBezTo>
                    <a:pt x="35" y="315"/>
                    <a:pt x="35" y="312"/>
                    <a:pt x="35" y="313"/>
                  </a:cubicBezTo>
                  <a:cubicBezTo>
                    <a:pt x="35" y="312"/>
                    <a:pt x="35" y="310"/>
                    <a:pt x="35" y="308"/>
                  </a:cubicBezTo>
                  <a:cubicBezTo>
                    <a:pt x="35" y="308"/>
                    <a:pt x="35" y="307"/>
                    <a:pt x="35" y="306"/>
                  </a:cubicBezTo>
                  <a:cubicBezTo>
                    <a:pt x="32" y="306"/>
                    <a:pt x="30" y="306"/>
                    <a:pt x="28" y="306"/>
                  </a:cubicBezTo>
                  <a:cubicBezTo>
                    <a:pt x="24" y="306"/>
                    <a:pt x="20" y="307"/>
                    <a:pt x="17" y="307"/>
                  </a:cubicBezTo>
                  <a:cubicBezTo>
                    <a:pt x="13" y="307"/>
                    <a:pt x="10" y="307"/>
                    <a:pt x="6" y="307"/>
                  </a:cubicBezTo>
                  <a:close/>
                  <a:moveTo>
                    <a:pt x="148" y="13"/>
                  </a:moveTo>
                  <a:cubicBezTo>
                    <a:pt x="148" y="13"/>
                    <a:pt x="148" y="13"/>
                    <a:pt x="148" y="13"/>
                  </a:cubicBezTo>
                  <a:cubicBezTo>
                    <a:pt x="147" y="12"/>
                    <a:pt x="149" y="14"/>
                    <a:pt x="150" y="14"/>
                  </a:cubicBezTo>
                  <a:cubicBezTo>
                    <a:pt x="152" y="15"/>
                    <a:pt x="151" y="15"/>
                    <a:pt x="154" y="16"/>
                  </a:cubicBezTo>
                  <a:cubicBezTo>
                    <a:pt x="155" y="16"/>
                    <a:pt x="156" y="16"/>
                    <a:pt x="156" y="16"/>
                  </a:cubicBezTo>
                  <a:cubicBezTo>
                    <a:pt x="157" y="16"/>
                    <a:pt x="157" y="17"/>
                    <a:pt x="157" y="17"/>
                  </a:cubicBezTo>
                  <a:cubicBezTo>
                    <a:pt x="157" y="17"/>
                    <a:pt x="158" y="17"/>
                    <a:pt x="158" y="17"/>
                  </a:cubicBezTo>
                  <a:cubicBezTo>
                    <a:pt x="159" y="17"/>
                    <a:pt x="160" y="17"/>
                    <a:pt x="161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3" y="16"/>
                    <a:pt x="163" y="16"/>
                  </a:cubicBezTo>
                  <a:cubicBezTo>
                    <a:pt x="166" y="16"/>
                    <a:pt x="169" y="15"/>
                    <a:pt x="170" y="13"/>
                  </a:cubicBezTo>
                  <a:cubicBezTo>
                    <a:pt x="171" y="9"/>
                    <a:pt x="168" y="6"/>
                    <a:pt x="166" y="3"/>
                  </a:cubicBezTo>
                  <a:cubicBezTo>
                    <a:pt x="166" y="3"/>
                    <a:pt x="166" y="3"/>
                    <a:pt x="166" y="2"/>
                  </a:cubicBezTo>
                  <a:cubicBezTo>
                    <a:pt x="162" y="2"/>
                    <a:pt x="158" y="0"/>
                    <a:pt x="154" y="1"/>
                  </a:cubicBezTo>
                  <a:cubicBezTo>
                    <a:pt x="152" y="2"/>
                    <a:pt x="150" y="3"/>
                    <a:pt x="149" y="5"/>
                  </a:cubicBezTo>
                  <a:cubicBezTo>
                    <a:pt x="148" y="6"/>
                    <a:pt x="147" y="6"/>
                    <a:pt x="147" y="7"/>
                  </a:cubicBezTo>
                  <a:cubicBezTo>
                    <a:pt x="147" y="7"/>
                    <a:pt x="147" y="7"/>
                    <a:pt x="147" y="7"/>
                  </a:cubicBezTo>
                  <a:cubicBezTo>
                    <a:pt x="147" y="9"/>
                    <a:pt x="147" y="10"/>
                    <a:pt x="147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2"/>
                    <a:pt x="148" y="13"/>
                    <a:pt x="148" y="13"/>
                  </a:cubicBezTo>
                  <a:close/>
                  <a:moveTo>
                    <a:pt x="41" y="175"/>
                  </a:moveTo>
                  <a:cubicBezTo>
                    <a:pt x="41" y="175"/>
                    <a:pt x="41" y="175"/>
                    <a:pt x="41" y="175"/>
                  </a:cubicBezTo>
                  <a:cubicBezTo>
                    <a:pt x="42" y="167"/>
                    <a:pt x="42" y="160"/>
                    <a:pt x="42" y="152"/>
                  </a:cubicBezTo>
                  <a:cubicBezTo>
                    <a:pt x="42" y="152"/>
                    <a:pt x="41" y="152"/>
                    <a:pt x="41" y="151"/>
                  </a:cubicBezTo>
                  <a:cubicBezTo>
                    <a:pt x="39" y="149"/>
                    <a:pt x="39" y="146"/>
                    <a:pt x="37" y="144"/>
                  </a:cubicBezTo>
                  <a:cubicBezTo>
                    <a:pt x="37" y="145"/>
                    <a:pt x="36" y="146"/>
                    <a:pt x="36" y="147"/>
                  </a:cubicBezTo>
                  <a:cubicBezTo>
                    <a:pt x="35" y="151"/>
                    <a:pt x="34" y="155"/>
                    <a:pt x="34" y="159"/>
                  </a:cubicBezTo>
                  <a:cubicBezTo>
                    <a:pt x="33" y="168"/>
                    <a:pt x="34" y="178"/>
                    <a:pt x="40" y="185"/>
                  </a:cubicBezTo>
                  <a:cubicBezTo>
                    <a:pt x="40" y="182"/>
                    <a:pt x="40" y="178"/>
                    <a:pt x="41" y="175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iš1iḋé"/>
            <p:cNvSpPr/>
            <p:nvPr/>
          </p:nvSpPr>
          <p:spPr bwMode="auto">
            <a:xfrm>
              <a:off x="5996283" y="3257762"/>
              <a:ext cx="748640" cy="1168691"/>
            </a:xfrm>
            <a:custGeom>
              <a:avLst/>
              <a:gdLst>
                <a:gd name="T0" fmla="*/ 101 w 106"/>
                <a:gd name="T1" fmla="*/ 129 h 166"/>
                <a:gd name="T2" fmla="*/ 101 w 106"/>
                <a:gd name="T3" fmla="*/ 129 h 166"/>
                <a:gd name="T4" fmla="*/ 104 w 106"/>
                <a:gd name="T5" fmla="*/ 81 h 166"/>
                <a:gd name="T6" fmla="*/ 106 w 106"/>
                <a:gd name="T7" fmla="*/ 59 h 166"/>
                <a:gd name="T8" fmla="*/ 94 w 106"/>
                <a:gd name="T9" fmla="*/ 20 h 166"/>
                <a:gd name="T10" fmla="*/ 99 w 106"/>
                <a:gd name="T11" fmla="*/ 3 h 166"/>
                <a:gd name="T12" fmla="*/ 93 w 106"/>
                <a:gd name="T13" fmla="*/ 2 h 166"/>
                <a:gd name="T14" fmla="*/ 88 w 106"/>
                <a:gd name="T15" fmla="*/ 2 h 166"/>
                <a:gd name="T16" fmla="*/ 78 w 106"/>
                <a:gd name="T17" fmla="*/ 8 h 166"/>
                <a:gd name="T18" fmla="*/ 50 w 106"/>
                <a:gd name="T19" fmla="*/ 16 h 166"/>
                <a:gd name="T20" fmla="*/ 29 w 106"/>
                <a:gd name="T21" fmla="*/ 7 h 166"/>
                <a:gd name="T22" fmla="*/ 22 w 106"/>
                <a:gd name="T23" fmla="*/ 0 h 166"/>
                <a:gd name="T24" fmla="*/ 11 w 106"/>
                <a:gd name="T25" fmla="*/ 1 h 166"/>
                <a:gd name="T26" fmla="*/ 11 w 106"/>
                <a:gd name="T27" fmla="*/ 1 h 166"/>
                <a:gd name="T28" fmla="*/ 12 w 106"/>
                <a:gd name="T29" fmla="*/ 16 h 166"/>
                <a:gd name="T30" fmla="*/ 8 w 106"/>
                <a:gd name="T31" fmla="*/ 31 h 166"/>
                <a:gd name="T32" fmla="*/ 7 w 106"/>
                <a:gd name="T33" fmla="*/ 34 h 166"/>
                <a:gd name="T34" fmla="*/ 21 w 106"/>
                <a:gd name="T35" fmla="*/ 31 h 166"/>
                <a:gd name="T36" fmla="*/ 38 w 106"/>
                <a:gd name="T37" fmla="*/ 36 h 166"/>
                <a:gd name="T38" fmla="*/ 40 w 106"/>
                <a:gd name="T39" fmla="*/ 36 h 166"/>
                <a:gd name="T40" fmla="*/ 42 w 106"/>
                <a:gd name="T41" fmla="*/ 47 h 166"/>
                <a:gd name="T42" fmla="*/ 41 w 106"/>
                <a:gd name="T43" fmla="*/ 60 h 166"/>
                <a:gd name="T44" fmla="*/ 41 w 106"/>
                <a:gd name="T45" fmla="*/ 73 h 166"/>
                <a:gd name="T46" fmla="*/ 37 w 106"/>
                <a:gd name="T47" fmla="*/ 81 h 166"/>
                <a:gd name="T48" fmla="*/ 36 w 106"/>
                <a:gd name="T49" fmla="*/ 82 h 166"/>
                <a:gd name="T50" fmla="*/ 21 w 106"/>
                <a:gd name="T51" fmla="*/ 82 h 166"/>
                <a:gd name="T52" fmla="*/ 13 w 106"/>
                <a:gd name="T53" fmla="*/ 82 h 166"/>
                <a:gd name="T54" fmla="*/ 5 w 106"/>
                <a:gd name="T55" fmla="*/ 81 h 166"/>
                <a:gd name="T56" fmla="*/ 3 w 106"/>
                <a:gd name="T57" fmla="*/ 77 h 166"/>
                <a:gd name="T58" fmla="*/ 2 w 106"/>
                <a:gd name="T59" fmla="*/ 69 h 166"/>
                <a:gd name="T60" fmla="*/ 2 w 106"/>
                <a:gd name="T61" fmla="*/ 56 h 166"/>
                <a:gd name="T62" fmla="*/ 3 w 106"/>
                <a:gd name="T63" fmla="*/ 42 h 166"/>
                <a:gd name="T64" fmla="*/ 2 w 106"/>
                <a:gd name="T65" fmla="*/ 44 h 166"/>
                <a:gd name="T66" fmla="*/ 0 w 106"/>
                <a:gd name="T67" fmla="*/ 46 h 166"/>
                <a:gd name="T68" fmla="*/ 0 w 106"/>
                <a:gd name="T69" fmla="*/ 52 h 166"/>
                <a:gd name="T70" fmla="*/ 0 w 106"/>
                <a:gd name="T71" fmla="*/ 115 h 166"/>
                <a:gd name="T72" fmla="*/ 1 w 106"/>
                <a:gd name="T73" fmla="*/ 145 h 166"/>
                <a:gd name="T74" fmla="*/ 1 w 106"/>
                <a:gd name="T75" fmla="*/ 163 h 166"/>
                <a:gd name="T76" fmla="*/ 14 w 106"/>
                <a:gd name="T77" fmla="*/ 164 h 166"/>
                <a:gd name="T78" fmla="*/ 28 w 106"/>
                <a:gd name="T79" fmla="*/ 165 h 166"/>
                <a:gd name="T80" fmla="*/ 57 w 106"/>
                <a:gd name="T81" fmla="*/ 165 h 166"/>
                <a:gd name="T82" fmla="*/ 87 w 106"/>
                <a:gd name="T83" fmla="*/ 163 h 166"/>
                <a:gd name="T84" fmla="*/ 101 w 106"/>
                <a:gd name="T85" fmla="*/ 163 h 166"/>
                <a:gd name="T86" fmla="*/ 101 w 106"/>
                <a:gd name="T87" fmla="*/ 152 h 166"/>
                <a:gd name="T88" fmla="*/ 101 w 106"/>
                <a:gd name="T89" fmla="*/ 12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6" h="166">
                  <a:moveTo>
                    <a:pt x="101" y="129"/>
                  </a:moveTo>
                  <a:cubicBezTo>
                    <a:pt x="101" y="129"/>
                    <a:pt x="101" y="129"/>
                    <a:pt x="101" y="129"/>
                  </a:cubicBezTo>
                  <a:cubicBezTo>
                    <a:pt x="102" y="113"/>
                    <a:pt x="103" y="97"/>
                    <a:pt x="104" y="81"/>
                  </a:cubicBezTo>
                  <a:cubicBezTo>
                    <a:pt x="105" y="73"/>
                    <a:pt x="105" y="66"/>
                    <a:pt x="106" y="59"/>
                  </a:cubicBezTo>
                  <a:cubicBezTo>
                    <a:pt x="94" y="49"/>
                    <a:pt x="92" y="34"/>
                    <a:pt x="94" y="20"/>
                  </a:cubicBezTo>
                  <a:cubicBezTo>
                    <a:pt x="94" y="17"/>
                    <a:pt x="96" y="8"/>
                    <a:pt x="99" y="3"/>
                  </a:cubicBezTo>
                  <a:cubicBezTo>
                    <a:pt x="97" y="3"/>
                    <a:pt x="95" y="3"/>
                    <a:pt x="93" y="2"/>
                  </a:cubicBezTo>
                  <a:cubicBezTo>
                    <a:pt x="91" y="2"/>
                    <a:pt x="90" y="2"/>
                    <a:pt x="88" y="2"/>
                  </a:cubicBezTo>
                  <a:cubicBezTo>
                    <a:pt x="85" y="5"/>
                    <a:pt x="81" y="7"/>
                    <a:pt x="78" y="8"/>
                  </a:cubicBezTo>
                  <a:cubicBezTo>
                    <a:pt x="69" y="12"/>
                    <a:pt x="60" y="14"/>
                    <a:pt x="50" y="16"/>
                  </a:cubicBezTo>
                  <a:cubicBezTo>
                    <a:pt x="42" y="17"/>
                    <a:pt x="35" y="13"/>
                    <a:pt x="29" y="7"/>
                  </a:cubicBezTo>
                  <a:cubicBezTo>
                    <a:pt x="27" y="6"/>
                    <a:pt x="24" y="3"/>
                    <a:pt x="22" y="0"/>
                  </a:cubicBezTo>
                  <a:cubicBezTo>
                    <a:pt x="18" y="0"/>
                    <a:pt x="15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5"/>
                    <a:pt x="12" y="11"/>
                    <a:pt x="12" y="16"/>
                  </a:cubicBezTo>
                  <a:cubicBezTo>
                    <a:pt x="12" y="21"/>
                    <a:pt x="10" y="26"/>
                    <a:pt x="8" y="31"/>
                  </a:cubicBezTo>
                  <a:cubicBezTo>
                    <a:pt x="8" y="32"/>
                    <a:pt x="8" y="33"/>
                    <a:pt x="7" y="34"/>
                  </a:cubicBezTo>
                  <a:cubicBezTo>
                    <a:pt x="11" y="31"/>
                    <a:pt x="16" y="31"/>
                    <a:pt x="21" y="31"/>
                  </a:cubicBezTo>
                  <a:cubicBezTo>
                    <a:pt x="27" y="32"/>
                    <a:pt x="33" y="32"/>
                    <a:pt x="38" y="36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2" y="39"/>
                    <a:pt x="42" y="43"/>
                    <a:pt x="42" y="47"/>
                  </a:cubicBezTo>
                  <a:cubicBezTo>
                    <a:pt x="42" y="51"/>
                    <a:pt x="41" y="56"/>
                    <a:pt x="41" y="60"/>
                  </a:cubicBezTo>
                  <a:cubicBezTo>
                    <a:pt x="41" y="64"/>
                    <a:pt x="41" y="69"/>
                    <a:pt x="41" y="73"/>
                  </a:cubicBezTo>
                  <a:cubicBezTo>
                    <a:pt x="40" y="76"/>
                    <a:pt x="41" y="81"/>
                    <a:pt x="37" y="81"/>
                  </a:cubicBezTo>
                  <a:cubicBezTo>
                    <a:pt x="37" y="82"/>
                    <a:pt x="37" y="82"/>
                    <a:pt x="36" y="82"/>
                  </a:cubicBezTo>
                  <a:cubicBezTo>
                    <a:pt x="32" y="84"/>
                    <a:pt x="26" y="83"/>
                    <a:pt x="21" y="82"/>
                  </a:cubicBezTo>
                  <a:cubicBezTo>
                    <a:pt x="18" y="82"/>
                    <a:pt x="15" y="82"/>
                    <a:pt x="13" y="82"/>
                  </a:cubicBezTo>
                  <a:cubicBezTo>
                    <a:pt x="10" y="82"/>
                    <a:pt x="7" y="82"/>
                    <a:pt x="5" y="81"/>
                  </a:cubicBezTo>
                  <a:cubicBezTo>
                    <a:pt x="3" y="80"/>
                    <a:pt x="2" y="78"/>
                    <a:pt x="3" y="77"/>
                  </a:cubicBezTo>
                  <a:cubicBezTo>
                    <a:pt x="2" y="74"/>
                    <a:pt x="2" y="71"/>
                    <a:pt x="2" y="69"/>
                  </a:cubicBezTo>
                  <a:cubicBezTo>
                    <a:pt x="2" y="64"/>
                    <a:pt x="2" y="60"/>
                    <a:pt x="2" y="56"/>
                  </a:cubicBezTo>
                  <a:cubicBezTo>
                    <a:pt x="2" y="51"/>
                    <a:pt x="2" y="47"/>
                    <a:pt x="3" y="42"/>
                  </a:cubicBezTo>
                  <a:cubicBezTo>
                    <a:pt x="3" y="43"/>
                    <a:pt x="3" y="43"/>
                    <a:pt x="2" y="44"/>
                  </a:cubicBezTo>
                  <a:cubicBezTo>
                    <a:pt x="2" y="44"/>
                    <a:pt x="1" y="45"/>
                    <a:pt x="0" y="46"/>
                  </a:cubicBezTo>
                  <a:cubicBezTo>
                    <a:pt x="0" y="48"/>
                    <a:pt x="0" y="50"/>
                    <a:pt x="0" y="52"/>
                  </a:cubicBezTo>
                  <a:cubicBezTo>
                    <a:pt x="0" y="73"/>
                    <a:pt x="1" y="94"/>
                    <a:pt x="0" y="115"/>
                  </a:cubicBezTo>
                  <a:cubicBezTo>
                    <a:pt x="0" y="125"/>
                    <a:pt x="0" y="135"/>
                    <a:pt x="1" y="145"/>
                  </a:cubicBezTo>
                  <a:cubicBezTo>
                    <a:pt x="1" y="151"/>
                    <a:pt x="1" y="157"/>
                    <a:pt x="1" y="163"/>
                  </a:cubicBezTo>
                  <a:cubicBezTo>
                    <a:pt x="5" y="162"/>
                    <a:pt x="10" y="164"/>
                    <a:pt x="14" y="164"/>
                  </a:cubicBezTo>
                  <a:cubicBezTo>
                    <a:pt x="18" y="164"/>
                    <a:pt x="23" y="165"/>
                    <a:pt x="28" y="165"/>
                  </a:cubicBezTo>
                  <a:cubicBezTo>
                    <a:pt x="38" y="166"/>
                    <a:pt x="47" y="165"/>
                    <a:pt x="57" y="165"/>
                  </a:cubicBezTo>
                  <a:cubicBezTo>
                    <a:pt x="67" y="164"/>
                    <a:pt x="77" y="163"/>
                    <a:pt x="87" y="163"/>
                  </a:cubicBezTo>
                  <a:cubicBezTo>
                    <a:pt x="91" y="163"/>
                    <a:pt x="96" y="163"/>
                    <a:pt x="101" y="163"/>
                  </a:cubicBezTo>
                  <a:cubicBezTo>
                    <a:pt x="101" y="160"/>
                    <a:pt x="101" y="156"/>
                    <a:pt x="101" y="152"/>
                  </a:cubicBezTo>
                  <a:cubicBezTo>
                    <a:pt x="101" y="145"/>
                    <a:pt x="101" y="137"/>
                    <a:pt x="101" y="129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îṩḷíḓè"/>
            <p:cNvSpPr/>
            <p:nvPr/>
          </p:nvSpPr>
          <p:spPr bwMode="auto">
            <a:xfrm>
              <a:off x="6538284" y="3271312"/>
              <a:ext cx="206639" cy="1134816"/>
            </a:xfrm>
            <a:custGeom>
              <a:avLst/>
              <a:gdLst>
                <a:gd name="T0" fmla="*/ 24 w 29"/>
                <a:gd name="T1" fmla="*/ 127 h 161"/>
                <a:gd name="T2" fmla="*/ 24 w 29"/>
                <a:gd name="T3" fmla="*/ 127 h 161"/>
                <a:gd name="T4" fmla="*/ 27 w 29"/>
                <a:gd name="T5" fmla="*/ 79 h 161"/>
                <a:gd name="T6" fmla="*/ 29 w 29"/>
                <a:gd name="T7" fmla="*/ 57 h 161"/>
                <a:gd name="T8" fmla="*/ 17 w 29"/>
                <a:gd name="T9" fmla="*/ 18 h 161"/>
                <a:gd name="T10" fmla="*/ 22 w 29"/>
                <a:gd name="T11" fmla="*/ 1 h 161"/>
                <a:gd name="T12" fmla="*/ 16 w 29"/>
                <a:gd name="T13" fmla="*/ 0 h 161"/>
                <a:gd name="T14" fmla="*/ 11 w 29"/>
                <a:gd name="T15" fmla="*/ 0 h 161"/>
                <a:gd name="T16" fmla="*/ 8 w 29"/>
                <a:gd name="T17" fmla="*/ 73 h 161"/>
                <a:gd name="T18" fmla="*/ 0 w 29"/>
                <a:gd name="T19" fmla="*/ 161 h 161"/>
                <a:gd name="T20" fmla="*/ 10 w 29"/>
                <a:gd name="T21" fmla="*/ 161 h 161"/>
                <a:gd name="T22" fmla="*/ 24 w 29"/>
                <a:gd name="T23" fmla="*/ 161 h 161"/>
                <a:gd name="T24" fmla="*/ 24 w 29"/>
                <a:gd name="T25" fmla="*/ 150 h 161"/>
                <a:gd name="T26" fmla="*/ 24 w 29"/>
                <a:gd name="T27" fmla="*/ 12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161">
                  <a:moveTo>
                    <a:pt x="24" y="127"/>
                  </a:moveTo>
                  <a:cubicBezTo>
                    <a:pt x="24" y="127"/>
                    <a:pt x="24" y="127"/>
                    <a:pt x="24" y="127"/>
                  </a:cubicBezTo>
                  <a:cubicBezTo>
                    <a:pt x="25" y="111"/>
                    <a:pt x="26" y="95"/>
                    <a:pt x="27" y="79"/>
                  </a:cubicBezTo>
                  <a:cubicBezTo>
                    <a:pt x="28" y="71"/>
                    <a:pt x="28" y="64"/>
                    <a:pt x="29" y="57"/>
                  </a:cubicBezTo>
                  <a:cubicBezTo>
                    <a:pt x="17" y="47"/>
                    <a:pt x="15" y="32"/>
                    <a:pt x="17" y="18"/>
                  </a:cubicBezTo>
                  <a:cubicBezTo>
                    <a:pt x="17" y="15"/>
                    <a:pt x="19" y="6"/>
                    <a:pt x="22" y="1"/>
                  </a:cubicBezTo>
                  <a:cubicBezTo>
                    <a:pt x="20" y="1"/>
                    <a:pt x="18" y="1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1" y="0"/>
                    <a:pt x="6" y="13"/>
                    <a:pt x="8" y="73"/>
                  </a:cubicBezTo>
                  <a:cubicBezTo>
                    <a:pt x="9" y="112"/>
                    <a:pt x="8" y="143"/>
                    <a:pt x="0" y="161"/>
                  </a:cubicBezTo>
                  <a:cubicBezTo>
                    <a:pt x="3" y="161"/>
                    <a:pt x="6" y="161"/>
                    <a:pt x="10" y="161"/>
                  </a:cubicBezTo>
                  <a:cubicBezTo>
                    <a:pt x="14" y="161"/>
                    <a:pt x="19" y="161"/>
                    <a:pt x="24" y="161"/>
                  </a:cubicBezTo>
                  <a:cubicBezTo>
                    <a:pt x="24" y="158"/>
                    <a:pt x="24" y="154"/>
                    <a:pt x="24" y="150"/>
                  </a:cubicBezTo>
                  <a:cubicBezTo>
                    <a:pt x="24" y="143"/>
                    <a:pt x="24" y="135"/>
                    <a:pt x="24" y="127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iṣ1iďe"/>
            <p:cNvSpPr/>
            <p:nvPr/>
          </p:nvSpPr>
          <p:spPr bwMode="auto">
            <a:xfrm>
              <a:off x="6968496" y="1909534"/>
              <a:ext cx="121950" cy="1053516"/>
            </a:xfrm>
            <a:custGeom>
              <a:avLst/>
              <a:gdLst>
                <a:gd name="T0" fmla="*/ 13 w 17"/>
                <a:gd name="T1" fmla="*/ 144 h 150"/>
                <a:gd name="T2" fmla="*/ 13 w 17"/>
                <a:gd name="T3" fmla="*/ 150 h 150"/>
                <a:gd name="T4" fmla="*/ 13 w 17"/>
                <a:gd name="T5" fmla="*/ 144 h 150"/>
                <a:gd name="T6" fmla="*/ 4 w 17"/>
                <a:gd name="T7" fmla="*/ 6 h 150"/>
                <a:gd name="T8" fmla="*/ 4 w 17"/>
                <a:gd name="T9" fmla="*/ 0 h 150"/>
                <a:gd name="T10" fmla="*/ 4 w 17"/>
                <a:gd name="T11" fmla="*/ 6 h 150"/>
                <a:gd name="T12" fmla="*/ 11 w 17"/>
                <a:gd name="T13" fmla="*/ 26 h 150"/>
                <a:gd name="T14" fmla="*/ 7 w 17"/>
                <a:gd name="T15" fmla="*/ 26 h 150"/>
                <a:gd name="T16" fmla="*/ 6 w 17"/>
                <a:gd name="T17" fmla="*/ 25 h 150"/>
                <a:gd name="T18" fmla="*/ 6 w 17"/>
                <a:gd name="T19" fmla="*/ 22 h 150"/>
                <a:gd name="T20" fmla="*/ 9 w 17"/>
                <a:gd name="T21" fmla="*/ 21 h 150"/>
                <a:gd name="T22" fmla="*/ 11 w 17"/>
                <a:gd name="T23" fmla="*/ 22 h 150"/>
                <a:gd name="T24" fmla="*/ 11 w 17"/>
                <a:gd name="T25" fmla="*/ 25 h 150"/>
                <a:gd name="T26" fmla="*/ 11 w 17"/>
                <a:gd name="T27" fmla="*/ 26 h 150"/>
                <a:gd name="T28" fmla="*/ 8 w 17"/>
                <a:gd name="T29" fmla="*/ 39 h 150"/>
                <a:gd name="T30" fmla="*/ 11 w 17"/>
                <a:gd name="T31" fmla="*/ 42 h 150"/>
                <a:gd name="T32" fmla="*/ 11 w 17"/>
                <a:gd name="T33" fmla="*/ 44 h 150"/>
                <a:gd name="T34" fmla="*/ 8 w 17"/>
                <a:gd name="T35" fmla="*/ 46 h 150"/>
                <a:gd name="T36" fmla="*/ 6 w 17"/>
                <a:gd name="T37" fmla="*/ 44 h 150"/>
                <a:gd name="T38" fmla="*/ 6 w 17"/>
                <a:gd name="T39" fmla="*/ 42 h 150"/>
                <a:gd name="T40" fmla="*/ 8 w 17"/>
                <a:gd name="T41" fmla="*/ 39 h 150"/>
                <a:gd name="T42" fmla="*/ 9 w 17"/>
                <a:gd name="T43" fmla="*/ 75 h 150"/>
                <a:gd name="T44" fmla="*/ 12 w 17"/>
                <a:gd name="T45" fmla="*/ 78 h 150"/>
                <a:gd name="T46" fmla="*/ 9 w 17"/>
                <a:gd name="T47" fmla="*/ 81 h 150"/>
                <a:gd name="T48" fmla="*/ 7 w 17"/>
                <a:gd name="T49" fmla="*/ 78 h 150"/>
                <a:gd name="T50" fmla="*/ 9 w 17"/>
                <a:gd name="T51" fmla="*/ 75 h 150"/>
                <a:gd name="T52" fmla="*/ 10 w 17"/>
                <a:gd name="T53" fmla="*/ 92 h 150"/>
                <a:gd name="T54" fmla="*/ 12 w 17"/>
                <a:gd name="T55" fmla="*/ 93 h 150"/>
                <a:gd name="T56" fmla="*/ 13 w 17"/>
                <a:gd name="T57" fmla="*/ 96 h 150"/>
                <a:gd name="T58" fmla="*/ 13 w 17"/>
                <a:gd name="T59" fmla="*/ 97 h 150"/>
                <a:gd name="T60" fmla="*/ 10 w 17"/>
                <a:gd name="T61" fmla="*/ 99 h 150"/>
                <a:gd name="T62" fmla="*/ 7 w 17"/>
                <a:gd name="T63" fmla="*/ 97 h 150"/>
                <a:gd name="T64" fmla="*/ 7 w 17"/>
                <a:gd name="T65" fmla="*/ 96 h 150"/>
                <a:gd name="T66" fmla="*/ 8 w 17"/>
                <a:gd name="T67" fmla="*/ 94 h 150"/>
                <a:gd name="T68" fmla="*/ 10 w 17"/>
                <a:gd name="T69" fmla="*/ 92 h 150"/>
                <a:gd name="T70" fmla="*/ 11 w 17"/>
                <a:gd name="T71" fmla="*/ 119 h 150"/>
                <a:gd name="T72" fmla="*/ 8 w 17"/>
                <a:gd name="T73" fmla="*/ 115 h 150"/>
                <a:gd name="T74" fmla="*/ 11 w 17"/>
                <a:gd name="T75" fmla="*/ 112 h 150"/>
                <a:gd name="T76" fmla="*/ 14 w 17"/>
                <a:gd name="T77" fmla="*/ 115 h 150"/>
                <a:gd name="T78" fmla="*/ 11 w 17"/>
                <a:gd name="T79" fmla="*/ 119 h 150"/>
                <a:gd name="T80" fmla="*/ 8 w 17"/>
                <a:gd name="T81" fmla="*/ 129 h 150"/>
                <a:gd name="T82" fmla="*/ 10 w 17"/>
                <a:gd name="T83" fmla="*/ 129 h 150"/>
                <a:gd name="T84" fmla="*/ 10 w 17"/>
                <a:gd name="T85" fmla="*/ 129 h 150"/>
                <a:gd name="T86" fmla="*/ 11 w 17"/>
                <a:gd name="T87" fmla="*/ 129 h 150"/>
                <a:gd name="T88" fmla="*/ 13 w 17"/>
                <a:gd name="T89" fmla="*/ 129 h 150"/>
                <a:gd name="T90" fmla="*/ 13 w 17"/>
                <a:gd name="T91" fmla="*/ 131 h 150"/>
                <a:gd name="T92" fmla="*/ 13 w 17"/>
                <a:gd name="T93" fmla="*/ 133 h 150"/>
                <a:gd name="T94" fmla="*/ 11 w 17"/>
                <a:gd name="T95" fmla="*/ 134 h 150"/>
                <a:gd name="T96" fmla="*/ 10 w 17"/>
                <a:gd name="T97" fmla="*/ 134 h 150"/>
                <a:gd name="T98" fmla="*/ 10 w 17"/>
                <a:gd name="T99" fmla="*/ 134 h 150"/>
                <a:gd name="T100" fmla="*/ 8 w 17"/>
                <a:gd name="T101" fmla="*/ 133 h 150"/>
                <a:gd name="T102" fmla="*/ 8 w 17"/>
                <a:gd name="T103" fmla="*/ 133 h 150"/>
                <a:gd name="T104" fmla="*/ 7 w 17"/>
                <a:gd name="T105" fmla="*/ 131 h 150"/>
                <a:gd name="T106" fmla="*/ 8 w 17"/>
                <a:gd name="T107" fmla="*/ 129 h 150"/>
                <a:gd name="T108" fmla="*/ 8 w 17"/>
                <a:gd name="T109" fmla="*/ 12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" h="150">
                  <a:moveTo>
                    <a:pt x="13" y="144"/>
                  </a:moveTo>
                  <a:cubicBezTo>
                    <a:pt x="17" y="144"/>
                    <a:pt x="17" y="150"/>
                    <a:pt x="13" y="150"/>
                  </a:cubicBezTo>
                  <a:cubicBezTo>
                    <a:pt x="9" y="150"/>
                    <a:pt x="9" y="144"/>
                    <a:pt x="13" y="144"/>
                  </a:cubicBezTo>
                  <a:close/>
                  <a:moveTo>
                    <a:pt x="4" y="6"/>
                  </a:moveTo>
                  <a:cubicBezTo>
                    <a:pt x="0" y="6"/>
                    <a:pt x="0" y="0"/>
                    <a:pt x="4" y="0"/>
                  </a:cubicBezTo>
                  <a:cubicBezTo>
                    <a:pt x="8" y="0"/>
                    <a:pt x="8" y="6"/>
                    <a:pt x="4" y="6"/>
                  </a:cubicBezTo>
                  <a:close/>
                  <a:moveTo>
                    <a:pt x="11" y="26"/>
                  </a:moveTo>
                  <a:cubicBezTo>
                    <a:pt x="10" y="28"/>
                    <a:pt x="7" y="28"/>
                    <a:pt x="7" y="26"/>
                  </a:cubicBezTo>
                  <a:cubicBezTo>
                    <a:pt x="6" y="26"/>
                    <a:pt x="6" y="26"/>
                    <a:pt x="6" y="25"/>
                  </a:cubicBezTo>
                  <a:cubicBezTo>
                    <a:pt x="6" y="24"/>
                    <a:pt x="6" y="23"/>
                    <a:pt x="6" y="22"/>
                  </a:cubicBezTo>
                  <a:cubicBezTo>
                    <a:pt x="7" y="22"/>
                    <a:pt x="8" y="21"/>
                    <a:pt x="9" y="21"/>
                  </a:cubicBezTo>
                  <a:cubicBezTo>
                    <a:pt x="10" y="21"/>
                    <a:pt x="11" y="22"/>
                    <a:pt x="11" y="22"/>
                  </a:cubicBezTo>
                  <a:cubicBezTo>
                    <a:pt x="12" y="23"/>
                    <a:pt x="12" y="24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lose/>
                  <a:moveTo>
                    <a:pt x="8" y="39"/>
                  </a:moveTo>
                  <a:cubicBezTo>
                    <a:pt x="10" y="39"/>
                    <a:pt x="11" y="40"/>
                    <a:pt x="11" y="42"/>
                  </a:cubicBezTo>
                  <a:cubicBezTo>
                    <a:pt x="11" y="43"/>
                    <a:pt x="11" y="43"/>
                    <a:pt x="11" y="44"/>
                  </a:cubicBezTo>
                  <a:cubicBezTo>
                    <a:pt x="10" y="45"/>
                    <a:pt x="9" y="46"/>
                    <a:pt x="8" y="46"/>
                  </a:cubicBezTo>
                  <a:cubicBezTo>
                    <a:pt x="7" y="46"/>
                    <a:pt x="6" y="45"/>
                    <a:pt x="6" y="44"/>
                  </a:cubicBezTo>
                  <a:cubicBezTo>
                    <a:pt x="6" y="43"/>
                    <a:pt x="6" y="43"/>
                    <a:pt x="6" y="42"/>
                  </a:cubicBezTo>
                  <a:cubicBezTo>
                    <a:pt x="6" y="40"/>
                    <a:pt x="7" y="39"/>
                    <a:pt x="8" y="39"/>
                  </a:cubicBezTo>
                  <a:close/>
                  <a:moveTo>
                    <a:pt x="9" y="75"/>
                  </a:moveTo>
                  <a:cubicBezTo>
                    <a:pt x="11" y="75"/>
                    <a:pt x="12" y="76"/>
                    <a:pt x="12" y="78"/>
                  </a:cubicBezTo>
                  <a:cubicBezTo>
                    <a:pt x="12" y="79"/>
                    <a:pt x="11" y="81"/>
                    <a:pt x="9" y="81"/>
                  </a:cubicBezTo>
                  <a:cubicBezTo>
                    <a:pt x="8" y="81"/>
                    <a:pt x="7" y="79"/>
                    <a:pt x="7" y="78"/>
                  </a:cubicBezTo>
                  <a:cubicBezTo>
                    <a:pt x="7" y="76"/>
                    <a:pt x="8" y="75"/>
                    <a:pt x="9" y="75"/>
                  </a:cubicBezTo>
                  <a:close/>
                  <a:moveTo>
                    <a:pt x="10" y="92"/>
                  </a:moveTo>
                  <a:cubicBezTo>
                    <a:pt x="11" y="92"/>
                    <a:pt x="12" y="93"/>
                    <a:pt x="12" y="93"/>
                  </a:cubicBezTo>
                  <a:cubicBezTo>
                    <a:pt x="13" y="94"/>
                    <a:pt x="13" y="95"/>
                    <a:pt x="13" y="96"/>
                  </a:cubicBezTo>
                  <a:cubicBezTo>
                    <a:pt x="13" y="96"/>
                    <a:pt x="13" y="97"/>
                    <a:pt x="13" y="97"/>
                  </a:cubicBezTo>
                  <a:cubicBezTo>
                    <a:pt x="13" y="98"/>
                    <a:pt x="11" y="99"/>
                    <a:pt x="10" y="99"/>
                  </a:cubicBezTo>
                  <a:cubicBezTo>
                    <a:pt x="9" y="99"/>
                    <a:pt x="8" y="98"/>
                    <a:pt x="7" y="97"/>
                  </a:cubicBezTo>
                  <a:cubicBezTo>
                    <a:pt x="7" y="97"/>
                    <a:pt x="7" y="96"/>
                    <a:pt x="7" y="96"/>
                  </a:cubicBezTo>
                  <a:cubicBezTo>
                    <a:pt x="7" y="95"/>
                    <a:pt x="7" y="95"/>
                    <a:pt x="8" y="94"/>
                  </a:cubicBezTo>
                  <a:cubicBezTo>
                    <a:pt x="8" y="93"/>
                    <a:pt x="9" y="92"/>
                    <a:pt x="10" y="92"/>
                  </a:cubicBezTo>
                  <a:close/>
                  <a:moveTo>
                    <a:pt x="11" y="119"/>
                  </a:moveTo>
                  <a:cubicBezTo>
                    <a:pt x="9" y="119"/>
                    <a:pt x="8" y="117"/>
                    <a:pt x="8" y="115"/>
                  </a:cubicBezTo>
                  <a:cubicBezTo>
                    <a:pt x="8" y="114"/>
                    <a:pt x="9" y="112"/>
                    <a:pt x="11" y="112"/>
                  </a:cubicBezTo>
                  <a:cubicBezTo>
                    <a:pt x="13" y="112"/>
                    <a:pt x="14" y="114"/>
                    <a:pt x="14" y="115"/>
                  </a:cubicBezTo>
                  <a:cubicBezTo>
                    <a:pt x="14" y="117"/>
                    <a:pt x="13" y="119"/>
                    <a:pt x="11" y="119"/>
                  </a:cubicBezTo>
                  <a:close/>
                  <a:moveTo>
                    <a:pt x="8" y="129"/>
                  </a:moveTo>
                  <a:cubicBezTo>
                    <a:pt x="9" y="129"/>
                    <a:pt x="9" y="129"/>
                    <a:pt x="10" y="129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10" y="129"/>
                    <a:pt x="11" y="129"/>
                    <a:pt x="11" y="129"/>
                  </a:cubicBezTo>
                  <a:cubicBezTo>
                    <a:pt x="12" y="129"/>
                    <a:pt x="12" y="129"/>
                    <a:pt x="13" y="129"/>
                  </a:cubicBezTo>
                  <a:cubicBezTo>
                    <a:pt x="13" y="130"/>
                    <a:pt x="13" y="131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2" y="134"/>
                    <a:pt x="12" y="134"/>
                    <a:pt x="11" y="134"/>
                  </a:cubicBezTo>
                  <a:cubicBezTo>
                    <a:pt x="11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9" y="134"/>
                    <a:pt x="9" y="134"/>
                    <a:pt x="8" y="133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8" y="133"/>
                    <a:pt x="7" y="132"/>
                    <a:pt x="7" y="131"/>
                  </a:cubicBezTo>
                  <a:cubicBezTo>
                    <a:pt x="7" y="131"/>
                    <a:pt x="8" y="130"/>
                    <a:pt x="8" y="129"/>
                  </a:cubicBezTo>
                  <a:cubicBezTo>
                    <a:pt x="8" y="129"/>
                    <a:pt x="8" y="129"/>
                    <a:pt x="8" y="12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5" name="íṥļíḍé"/>
            <p:cNvSpPr/>
            <p:nvPr/>
          </p:nvSpPr>
          <p:spPr bwMode="auto">
            <a:xfrm>
              <a:off x="6019994" y="2349910"/>
              <a:ext cx="399726" cy="149050"/>
            </a:xfrm>
            <a:custGeom>
              <a:avLst/>
              <a:gdLst>
                <a:gd name="T0" fmla="*/ 26 w 57"/>
                <a:gd name="T1" fmla="*/ 20 h 21"/>
                <a:gd name="T2" fmla="*/ 10 w 57"/>
                <a:gd name="T3" fmla="*/ 17 h 21"/>
                <a:gd name="T4" fmla="*/ 3 w 57"/>
                <a:gd name="T5" fmla="*/ 3 h 21"/>
                <a:gd name="T6" fmla="*/ 9 w 57"/>
                <a:gd name="T7" fmla="*/ 2 h 21"/>
                <a:gd name="T8" fmla="*/ 16 w 57"/>
                <a:gd name="T9" fmla="*/ 8 h 21"/>
                <a:gd name="T10" fmla="*/ 26 w 57"/>
                <a:gd name="T11" fmla="*/ 10 h 21"/>
                <a:gd name="T12" fmla="*/ 52 w 57"/>
                <a:gd name="T13" fmla="*/ 2 h 21"/>
                <a:gd name="T14" fmla="*/ 56 w 57"/>
                <a:gd name="T15" fmla="*/ 4 h 21"/>
                <a:gd name="T16" fmla="*/ 26 w 57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21">
                  <a:moveTo>
                    <a:pt x="26" y="20"/>
                  </a:moveTo>
                  <a:cubicBezTo>
                    <a:pt x="20" y="21"/>
                    <a:pt x="15" y="19"/>
                    <a:pt x="10" y="17"/>
                  </a:cubicBezTo>
                  <a:cubicBezTo>
                    <a:pt x="5" y="15"/>
                    <a:pt x="0" y="9"/>
                    <a:pt x="3" y="3"/>
                  </a:cubicBezTo>
                  <a:cubicBezTo>
                    <a:pt x="4" y="1"/>
                    <a:pt x="7" y="1"/>
                    <a:pt x="9" y="2"/>
                  </a:cubicBezTo>
                  <a:cubicBezTo>
                    <a:pt x="12" y="3"/>
                    <a:pt x="13" y="6"/>
                    <a:pt x="16" y="8"/>
                  </a:cubicBezTo>
                  <a:cubicBezTo>
                    <a:pt x="19" y="9"/>
                    <a:pt x="23" y="9"/>
                    <a:pt x="26" y="10"/>
                  </a:cubicBezTo>
                  <a:cubicBezTo>
                    <a:pt x="35" y="10"/>
                    <a:pt x="47" y="9"/>
                    <a:pt x="52" y="2"/>
                  </a:cubicBezTo>
                  <a:cubicBezTo>
                    <a:pt x="54" y="0"/>
                    <a:pt x="57" y="2"/>
                    <a:pt x="56" y="4"/>
                  </a:cubicBezTo>
                  <a:cubicBezTo>
                    <a:pt x="50" y="15"/>
                    <a:pt x="38" y="20"/>
                    <a:pt x="26" y="2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6" name="îṡ1ïḓè"/>
            <p:cNvSpPr/>
            <p:nvPr/>
          </p:nvSpPr>
          <p:spPr bwMode="auto">
            <a:xfrm>
              <a:off x="5813357" y="2092460"/>
              <a:ext cx="226964" cy="196475"/>
            </a:xfrm>
            <a:custGeom>
              <a:avLst/>
              <a:gdLst>
                <a:gd name="T0" fmla="*/ 16 w 32"/>
                <a:gd name="T1" fmla="*/ 28 h 28"/>
                <a:gd name="T2" fmla="*/ 4 w 32"/>
                <a:gd name="T3" fmla="*/ 10 h 28"/>
                <a:gd name="T4" fmla="*/ 13 w 32"/>
                <a:gd name="T5" fmla="*/ 1 h 28"/>
                <a:gd name="T6" fmla="*/ 25 w 32"/>
                <a:gd name="T7" fmla="*/ 3 h 28"/>
                <a:gd name="T8" fmla="*/ 28 w 32"/>
                <a:gd name="T9" fmla="*/ 5 h 28"/>
                <a:gd name="T10" fmla="*/ 32 w 32"/>
                <a:gd name="T11" fmla="*/ 14 h 28"/>
                <a:gd name="T12" fmla="*/ 16 w 3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8">
                  <a:moveTo>
                    <a:pt x="16" y="28"/>
                  </a:moveTo>
                  <a:cubicBezTo>
                    <a:pt x="7" y="27"/>
                    <a:pt x="0" y="19"/>
                    <a:pt x="4" y="10"/>
                  </a:cubicBezTo>
                  <a:cubicBezTo>
                    <a:pt x="6" y="5"/>
                    <a:pt x="9" y="3"/>
                    <a:pt x="13" y="1"/>
                  </a:cubicBezTo>
                  <a:cubicBezTo>
                    <a:pt x="16" y="0"/>
                    <a:pt x="22" y="1"/>
                    <a:pt x="25" y="3"/>
                  </a:cubicBezTo>
                  <a:cubicBezTo>
                    <a:pt x="26" y="4"/>
                    <a:pt x="27" y="4"/>
                    <a:pt x="28" y="5"/>
                  </a:cubicBezTo>
                  <a:cubicBezTo>
                    <a:pt x="31" y="7"/>
                    <a:pt x="32" y="11"/>
                    <a:pt x="32" y="14"/>
                  </a:cubicBezTo>
                  <a:cubicBezTo>
                    <a:pt x="31" y="22"/>
                    <a:pt x="25" y="28"/>
                    <a:pt x="16" y="28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7" name="iśḻîḍê"/>
            <p:cNvSpPr/>
            <p:nvPr/>
          </p:nvSpPr>
          <p:spPr bwMode="auto">
            <a:xfrm>
              <a:off x="6433270" y="2099235"/>
              <a:ext cx="220189" cy="189700"/>
            </a:xfrm>
            <a:custGeom>
              <a:avLst/>
              <a:gdLst>
                <a:gd name="T0" fmla="*/ 6 w 31"/>
                <a:gd name="T1" fmla="*/ 7 h 27"/>
                <a:gd name="T2" fmla="*/ 19 w 31"/>
                <a:gd name="T3" fmla="*/ 1 h 27"/>
                <a:gd name="T4" fmla="*/ 24 w 31"/>
                <a:gd name="T5" fmla="*/ 5 h 27"/>
                <a:gd name="T6" fmla="*/ 25 w 31"/>
                <a:gd name="T7" fmla="*/ 5 h 27"/>
                <a:gd name="T8" fmla="*/ 30 w 31"/>
                <a:gd name="T9" fmla="*/ 18 h 27"/>
                <a:gd name="T10" fmla="*/ 16 w 31"/>
                <a:gd name="T11" fmla="*/ 27 h 27"/>
                <a:gd name="T12" fmla="*/ 6 w 3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6" y="7"/>
                  </a:moveTo>
                  <a:cubicBezTo>
                    <a:pt x="9" y="2"/>
                    <a:pt x="14" y="0"/>
                    <a:pt x="19" y="1"/>
                  </a:cubicBezTo>
                  <a:cubicBezTo>
                    <a:pt x="21" y="2"/>
                    <a:pt x="23" y="3"/>
                    <a:pt x="24" y="5"/>
                  </a:cubicBezTo>
                  <a:cubicBezTo>
                    <a:pt x="24" y="5"/>
                    <a:pt x="24" y="5"/>
                    <a:pt x="25" y="5"/>
                  </a:cubicBezTo>
                  <a:cubicBezTo>
                    <a:pt x="29" y="8"/>
                    <a:pt x="31" y="13"/>
                    <a:pt x="30" y="18"/>
                  </a:cubicBezTo>
                  <a:cubicBezTo>
                    <a:pt x="29" y="24"/>
                    <a:pt x="22" y="27"/>
                    <a:pt x="16" y="27"/>
                  </a:cubicBezTo>
                  <a:cubicBezTo>
                    <a:pt x="6" y="27"/>
                    <a:pt x="0" y="15"/>
                    <a:pt x="6" y="7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505756" y="2151044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505756" y="4457280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505758" y="4161009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9.xml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16.png"/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7.png"/><Relationship Id="rId3" Type="http://schemas.openxmlformats.org/officeDocument/2006/relationships/tags" Target="../tags/tag11.xml"/><Relationship Id="rId2" Type="http://schemas.openxmlformats.org/officeDocument/2006/relationships/image" Target="../media/image3.png"/><Relationship Id="rId1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7.png"/><Relationship Id="rId3" Type="http://schemas.openxmlformats.org/officeDocument/2006/relationships/tags" Target="../tags/tag12.xml"/><Relationship Id="rId2" Type="http://schemas.openxmlformats.org/officeDocument/2006/relationships/image" Target="../media/image3.png"/><Relationship Id="rId1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18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18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tags" Target="../tags/tag13.xml"/><Relationship Id="rId3" Type="http://schemas.openxmlformats.org/officeDocument/2006/relationships/image" Target="../media/image18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20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22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24.png"/><Relationship Id="rId3" Type="http://schemas.openxmlformats.org/officeDocument/2006/relationships/image" Target="../media/image23.png"/><Relationship Id="rId2" Type="http://schemas.openxmlformats.org/officeDocument/2006/relationships/image" Target="../media/image3.png"/><Relationship Id="rId1" Type="http://schemas.openxmlformats.org/officeDocument/2006/relationships/image" Target="../media/image4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22.png"/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28.png"/><Relationship Id="rId3" Type="http://schemas.openxmlformats.org/officeDocument/2006/relationships/image" Target="../media/image27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10.png"/><Relationship Id="rId3" Type="http://schemas.openxmlformats.org/officeDocument/2006/relationships/tags" Target="../tags/tag14.xml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3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15.xml"/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7" Type="http://schemas.openxmlformats.org/officeDocument/2006/relationships/slideLayout" Target="../slideLayouts/slideLayout6.xml"/><Relationship Id="rId6" Type="http://schemas.openxmlformats.org/officeDocument/2006/relationships/themeOverride" Target="../theme/themeOverride2.xml"/><Relationship Id="rId5" Type="http://schemas.openxmlformats.org/officeDocument/2006/relationships/image" Target="../media/image30.png"/><Relationship Id="rId4" Type="http://schemas.openxmlformats.org/officeDocument/2006/relationships/tags" Target="../tags/tag17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16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6.png"/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3.xml"/><Relationship Id="rId7" Type="http://schemas.openxmlformats.org/officeDocument/2006/relationships/image" Target="../media/image15.png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5171135" y="1553265"/>
            <a:ext cx="5084333" cy="320027"/>
          </a:xfrm>
        </p:spPr>
        <p:txBody>
          <a:bodyPr/>
          <a:lstStyle/>
          <a:p>
            <a:pPr algn="ctr"/>
            <a:r>
              <a:rPr lang="zh-CN" altLang="en-US" sz="2500" b="1" dirty="0">
                <a:solidFill>
                  <a:srgbClr val="FF9933"/>
                </a:solidFill>
              </a:rPr>
              <a:t>浙江省初中</a:t>
            </a:r>
            <a:r>
              <a:rPr lang="en-US" altLang="zh-CN" sz="2500" b="1" dirty="0" smtClean="0">
                <a:solidFill>
                  <a:srgbClr val="FF9933"/>
                </a:solidFill>
              </a:rPr>
              <a:t>Python</a:t>
            </a:r>
            <a:r>
              <a:rPr lang="zh-CN" altLang="en-US" sz="2500" b="1" dirty="0" smtClean="0">
                <a:solidFill>
                  <a:srgbClr val="FF9933"/>
                </a:solidFill>
              </a:rPr>
              <a:t>同步</a:t>
            </a:r>
            <a:r>
              <a:rPr lang="zh-CN" altLang="en-US" sz="2500" b="1" dirty="0">
                <a:solidFill>
                  <a:srgbClr val="FF9933"/>
                </a:solidFill>
              </a:rPr>
              <a:t>教学设计</a:t>
            </a:r>
            <a:endParaRPr lang="zh-CN" altLang="en-US" sz="2500" b="1" dirty="0">
              <a:solidFill>
                <a:srgbClr val="FF9933"/>
              </a:solidFill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1533863" y="1377273"/>
            <a:ext cx="3556202" cy="1081040"/>
            <a:chOff x="1880735" y="1863100"/>
            <a:chExt cx="5267679" cy="1671092"/>
          </a:xfrm>
        </p:grpSpPr>
        <p:grpSp>
          <p:nvGrpSpPr>
            <p:cNvPr id="16" name="组合 15"/>
            <p:cNvGrpSpPr/>
            <p:nvPr/>
          </p:nvGrpSpPr>
          <p:grpSpPr>
            <a:xfrm>
              <a:off x="1880735" y="1863100"/>
              <a:ext cx="5267679" cy="1671092"/>
              <a:chOff x="1880735" y="1863100"/>
              <a:chExt cx="5267679" cy="1671092"/>
            </a:xfrm>
            <a:solidFill>
              <a:srgbClr val="603913"/>
            </a:solidFill>
          </p:grpSpPr>
          <p:sp>
            <p:nvSpPr>
              <p:cNvPr id="19" name="任意多边形: 形状 18"/>
              <p:cNvSpPr/>
              <p:nvPr/>
            </p:nvSpPr>
            <p:spPr>
              <a:xfrm>
                <a:off x="6225194" y="1933445"/>
                <a:ext cx="923220" cy="1194165"/>
              </a:xfrm>
              <a:custGeom>
                <a:avLst/>
                <a:gdLst>
                  <a:gd name="connsiteX0" fmla="*/ 0 w 923219"/>
                  <a:gd name="connsiteY0" fmla="*/ 290062 h 1194164"/>
                  <a:gd name="connsiteX1" fmla="*/ 279425 w 923219"/>
                  <a:gd name="connsiteY1" fmla="*/ 290062 h 1194164"/>
                  <a:gd name="connsiteX2" fmla="*/ 165678 w 923219"/>
                  <a:gd name="connsiteY2" fmla="*/ 0 h 1194164"/>
                  <a:gd name="connsiteX3" fmla="*/ 394877 w 923219"/>
                  <a:gd name="connsiteY3" fmla="*/ 0 h 1194164"/>
                  <a:gd name="connsiteX4" fmla="*/ 508624 w 923219"/>
                  <a:gd name="connsiteY4" fmla="*/ 290062 h 1194164"/>
                  <a:gd name="connsiteX5" fmla="*/ 642491 w 923219"/>
                  <a:gd name="connsiteY5" fmla="*/ 290062 h 1194164"/>
                  <a:gd name="connsiteX6" fmla="*/ 557143 w 923219"/>
                  <a:gd name="connsiteY6" fmla="*/ 42398 h 1194164"/>
                  <a:gd name="connsiteX7" fmla="*/ 784687 w 923219"/>
                  <a:gd name="connsiteY7" fmla="*/ 42398 h 1194164"/>
                  <a:gd name="connsiteX8" fmla="*/ 925177 w 923219"/>
                  <a:gd name="connsiteY8" fmla="*/ 454636 h 1194164"/>
                  <a:gd name="connsiteX9" fmla="*/ 829844 w 923219"/>
                  <a:gd name="connsiteY9" fmla="*/ 454636 h 1194164"/>
                  <a:gd name="connsiteX10" fmla="*/ 699339 w 923219"/>
                  <a:gd name="connsiteY10" fmla="*/ 454636 h 1194164"/>
                  <a:gd name="connsiteX11" fmla="*/ 575557 w 923219"/>
                  <a:gd name="connsiteY11" fmla="*/ 454636 h 1194164"/>
                  <a:gd name="connsiteX12" fmla="*/ 868329 w 923219"/>
                  <a:gd name="connsiteY12" fmla="*/ 1196021 h 1194164"/>
                  <a:gd name="connsiteX13" fmla="*/ 639129 w 923219"/>
                  <a:gd name="connsiteY13" fmla="*/ 1196021 h 1194164"/>
                  <a:gd name="connsiteX14" fmla="*/ 346358 w 923219"/>
                  <a:gd name="connsiteY14" fmla="*/ 454636 h 1194164"/>
                  <a:gd name="connsiteX15" fmla="*/ 0 w 923219"/>
                  <a:gd name="connsiteY15" fmla="*/ 454636 h 119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23219" h="1194164">
                    <a:moveTo>
                      <a:pt x="0" y="290062"/>
                    </a:moveTo>
                    <a:lnTo>
                      <a:pt x="279425" y="290062"/>
                    </a:lnTo>
                    <a:lnTo>
                      <a:pt x="165678" y="0"/>
                    </a:lnTo>
                    <a:lnTo>
                      <a:pt x="394877" y="0"/>
                    </a:lnTo>
                    <a:lnTo>
                      <a:pt x="508624" y="290062"/>
                    </a:lnTo>
                    <a:lnTo>
                      <a:pt x="642491" y="290062"/>
                    </a:lnTo>
                    <a:lnTo>
                      <a:pt x="557143" y="42398"/>
                    </a:lnTo>
                    <a:lnTo>
                      <a:pt x="784687" y="42398"/>
                    </a:lnTo>
                    <a:lnTo>
                      <a:pt x="925177" y="454636"/>
                    </a:lnTo>
                    <a:lnTo>
                      <a:pt x="829844" y="454636"/>
                    </a:lnTo>
                    <a:lnTo>
                      <a:pt x="699339" y="454636"/>
                    </a:lnTo>
                    <a:lnTo>
                      <a:pt x="575557" y="454636"/>
                    </a:lnTo>
                    <a:lnTo>
                      <a:pt x="868329" y="1196021"/>
                    </a:lnTo>
                    <a:lnTo>
                      <a:pt x="639129" y="1196021"/>
                    </a:lnTo>
                    <a:lnTo>
                      <a:pt x="346358" y="454636"/>
                    </a:lnTo>
                    <a:lnTo>
                      <a:pt x="0" y="454636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任意多边形: 形状 19"/>
              <p:cNvSpPr/>
              <p:nvPr/>
            </p:nvSpPr>
            <p:spPr>
              <a:xfrm>
                <a:off x="5932474" y="2223406"/>
                <a:ext cx="235822" cy="908167"/>
              </a:xfrm>
              <a:custGeom>
                <a:avLst/>
                <a:gdLst>
                  <a:gd name="connsiteX0" fmla="*/ 0 w 235822"/>
                  <a:gd name="connsiteY0" fmla="*/ 179225 h 908167"/>
                  <a:gd name="connsiteX1" fmla="*/ 0 w 235822"/>
                  <a:gd name="connsiteY1" fmla="*/ 911981 h 908167"/>
                  <a:gd name="connsiteX2" fmla="*/ 237528 w 235822"/>
                  <a:gd name="connsiteY2" fmla="*/ 911981 h 908167"/>
                  <a:gd name="connsiteX3" fmla="*/ 237528 w 235822"/>
                  <a:gd name="connsiteY3" fmla="*/ 0 h 908167"/>
                  <a:gd name="connsiteX4" fmla="*/ 103712 w 235822"/>
                  <a:gd name="connsiteY4" fmla="*/ 0 h 90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5822" h="908167">
                    <a:moveTo>
                      <a:pt x="0" y="179225"/>
                    </a:moveTo>
                    <a:lnTo>
                      <a:pt x="0" y="911981"/>
                    </a:lnTo>
                    <a:lnTo>
                      <a:pt x="237528" y="911981"/>
                    </a:lnTo>
                    <a:lnTo>
                      <a:pt x="237528" y="0"/>
                    </a:lnTo>
                    <a:lnTo>
                      <a:pt x="103712" y="0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任意多边形: 形状 20"/>
              <p:cNvSpPr/>
              <p:nvPr/>
            </p:nvSpPr>
            <p:spPr>
              <a:xfrm>
                <a:off x="1880735" y="1899715"/>
                <a:ext cx="1332318" cy="1634477"/>
              </a:xfrm>
              <a:custGeom>
                <a:avLst/>
                <a:gdLst>
                  <a:gd name="connsiteX0" fmla="*/ 292570 w 1414934"/>
                  <a:gd name="connsiteY0" fmla="*/ 906311 h 1726019"/>
                  <a:gd name="connsiteX1" fmla="*/ 450521 w 1414934"/>
                  <a:gd name="connsiteY1" fmla="*/ 720663 h 1726019"/>
                  <a:gd name="connsiteX2" fmla="*/ 565422 w 1414934"/>
                  <a:gd name="connsiteY2" fmla="*/ 906311 h 1726019"/>
                  <a:gd name="connsiteX3" fmla="*/ 814942 w 1414934"/>
                  <a:gd name="connsiteY3" fmla="*/ 906311 h 1726019"/>
                  <a:gd name="connsiteX4" fmla="*/ 658747 w 1414934"/>
                  <a:gd name="connsiteY4" fmla="*/ 657142 h 1726019"/>
                  <a:gd name="connsiteX5" fmla="*/ 791561 w 1414934"/>
                  <a:gd name="connsiteY5" fmla="*/ 657142 h 1726019"/>
                  <a:gd name="connsiteX6" fmla="*/ 791561 w 1414934"/>
                  <a:gd name="connsiteY6" fmla="*/ 465473 h 1726019"/>
                  <a:gd name="connsiteX7" fmla="*/ 558197 w 1414934"/>
                  <a:gd name="connsiteY7" fmla="*/ 465473 h 1726019"/>
                  <a:gd name="connsiteX8" fmla="*/ 558197 w 1414934"/>
                  <a:gd name="connsiteY8" fmla="*/ 327342 h 1726019"/>
                  <a:gd name="connsiteX9" fmla="*/ 780773 w 1414934"/>
                  <a:gd name="connsiteY9" fmla="*/ 327342 h 1726019"/>
                  <a:gd name="connsiteX10" fmla="*/ 780773 w 1414934"/>
                  <a:gd name="connsiteY10" fmla="*/ 85498 h 1726019"/>
                  <a:gd name="connsiteX11" fmla="*/ 310533 w 1414934"/>
                  <a:gd name="connsiteY11" fmla="*/ 85498 h 1726019"/>
                  <a:gd name="connsiteX12" fmla="*/ 332058 w 1414934"/>
                  <a:gd name="connsiteY12" fmla="*/ 0 h 1726019"/>
                  <a:gd name="connsiteX13" fmla="*/ 84344 w 1414934"/>
                  <a:gd name="connsiteY13" fmla="*/ 0 h 1726019"/>
                  <a:gd name="connsiteX14" fmla="*/ 0 w 1414934"/>
                  <a:gd name="connsiteY14" fmla="*/ 327342 h 1726019"/>
                  <a:gd name="connsiteX15" fmla="*/ 308727 w 1414934"/>
                  <a:gd name="connsiteY15" fmla="*/ 327342 h 1726019"/>
                  <a:gd name="connsiteX16" fmla="*/ 308727 w 1414934"/>
                  <a:gd name="connsiteY16" fmla="*/ 465473 h 1726019"/>
                  <a:gd name="connsiteX17" fmla="*/ 0 w 1414934"/>
                  <a:gd name="connsiteY17" fmla="*/ 465473 h 1726019"/>
                  <a:gd name="connsiteX18" fmla="*/ 0 w 1414934"/>
                  <a:gd name="connsiteY18" fmla="*/ 657142 h 1726019"/>
                  <a:gd name="connsiteX19" fmla="*/ 215401 w 1414934"/>
                  <a:gd name="connsiteY19" fmla="*/ 657142 h 1726019"/>
                  <a:gd name="connsiteX20" fmla="*/ 3613 w 1414934"/>
                  <a:gd name="connsiteY20" fmla="*/ 906311 h 1726019"/>
                  <a:gd name="connsiteX21" fmla="*/ 292570 w 1414934"/>
                  <a:gd name="connsiteY21" fmla="*/ 906311 h 1726019"/>
                  <a:gd name="connsiteX22" fmla="*/ 1105656 w 1414934"/>
                  <a:gd name="connsiteY22" fmla="*/ 31008 h 1726019"/>
                  <a:gd name="connsiteX23" fmla="*/ 1105656 w 1414934"/>
                  <a:gd name="connsiteY23" fmla="*/ 264573 h 1726019"/>
                  <a:gd name="connsiteX24" fmla="*/ 1263657 w 1414934"/>
                  <a:gd name="connsiteY24" fmla="*/ 264573 h 1726019"/>
                  <a:gd name="connsiteX25" fmla="*/ 1263657 w 1414934"/>
                  <a:gd name="connsiteY25" fmla="*/ 599591 h 1726019"/>
                  <a:gd name="connsiteX26" fmla="*/ 1247451 w 1414934"/>
                  <a:gd name="connsiteY26" fmla="*/ 651472 h 1726019"/>
                  <a:gd name="connsiteX27" fmla="*/ 1207762 w 1414934"/>
                  <a:gd name="connsiteY27" fmla="*/ 672696 h 1726019"/>
                  <a:gd name="connsiteX28" fmla="*/ 1049059 w 1414934"/>
                  <a:gd name="connsiteY28" fmla="*/ 672696 h 1726019"/>
                  <a:gd name="connsiteX29" fmla="*/ 1049059 w 1414934"/>
                  <a:gd name="connsiteY29" fmla="*/ 31008 h 1726019"/>
                  <a:gd name="connsiteX30" fmla="*/ 878664 w 1414934"/>
                  <a:gd name="connsiteY30" fmla="*/ 31008 h 1726019"/>
                  <a:gd name="connsiteX31" fmla="*/ 878664 w 1414934"/>
                  <a:gd name="connsiteY31" fmla="*/ 906311 h 1726019"/>
                  <a:gd name="connsiteX32" fmla="*/ 1220607 w 1414934"/>
                  <a:gd name="connsiteY32" fmla="*/ 906311 h 1726019"/>
                  <a:gd name="connsiteX33" fmla="*/ 1298178 w 1414934"/>
                  <a:gd name="connsiteY33" fmla="*/ 886241 h 1726019"/>
                  <a:gd name="connsiteX34" fmla="*/ 1361298 w 1414934"/>
                  <a:gd name="connsiteY34" fmla="*/ 830797 h 1726019"/>
                  <a:gd name="connsiteX35" fmla="*/ 1403696 w 1414934"/>
                  <a:gd name="connsiteY35" fmla="*/ 748209 h 1726019"/>
                  <a:gd name="connsiteX36" fmla="*/ 1418999 w 1414934"/>
                  <a:gd name="connsiteY36" fmla="*/ 646756 h 1726019"/>
                  <a:gd name="connsiteX37" fmla="*/ 1418999 w 1414934"/>
                  <a:gd name="connsiteY37" fmla="*/ 31008 h 1726019"/>
                  <a:gd name="connsiteX38" fmla="*/ 1105656 w 1414934"/>
                  <a:gd name="connsiteY38" fmla="*/ 31008 h 1726019"/>
                  <a:gd name="connsiteX39" fmla="*/ 27897 w 1414934"/>
                  <a:gd name="connsiteY39" fmla="*/ 1729682 h 1726019"/>
                  <a:gd name="connsiteX40" fmla="*/ 1209017 w 1414934"/>
                  <a:gd name="connsiteY40" fmla="*/ 1729682 h 1726019"/>
                  <a:gd name="connsiteX41" fmla="*/ 1284781 w 1414934"/>
                  <a:gd name="connsiteY41" fmla="*/ 1706150 h 1726019"/>
                  <a:gd name="connsiteX42" fmla="*/ 1347901 w 1414934"/>
                  <a:gd name="connsiteY42" fmla="*/ 1642679 h 1726019"/>
                  <a:gd name="connsiteX43" fmla="*/ 1390299 w 1414934"/>
                  <a:gd name="connsiteY43" fmla="*/ 1548601 h 1726019"/>
                  <a:gd name="connsiteX44" fmla="*/ 1407409 w 1414934"/>
                  <a:gd name="connsiteY44" fmla="*/ 1430940 h 1726019"/>
                  <a:gd name="connsiteX45" fmla="*/ 1407409 w 1414934"/>
                  <a:gd name="connsiteY45" fmla="*/ 967574 h 1726019"/>
                  <a:gd name="connsiteX46" fmla="*/ 27897 w 1414934"/>
                  <a:gd name="connsiteY46" fmla="*/ 967574 h 1726019"/>
                  <a:gd name="connsiteX47" fmla="*/ 27897 w 1414934"/>
                  <a:gd name="connsiteY47" fmla="*/ 1729682 h 1726019"/>
                  <a:gd name="connsiteX48" fmla="*/ 208678 w 1414934"/>
                  <a:gd name="connsiteY48" fmla="*/ 1140126 h 1726019"/>
                  <a:gd name="connsiteX49" fmla="*/ 1231194 w 1414934"/>
                  <a:gd name="connsiteY49" fmla="*/ 1140126 h 1726019"/>
                  <a:gd name="connsiteX50" fmla="*/ 1231194 w 1414934"/>
                  <a:gd name="connsiteY50" fmla="*/ 1269628 h 1726019"/>
                  <a:gd name="connsiteX51" fmla="*/ 321923 w 1414934"/>
                  <a:gd name="connsiteY51" fmla="*/ 1269628 h 1726019"/>
                  <a:gd name="connsiteX52" fmla="*/ 321923 w 1414934"/>
                  <a:gd name="connsiteY52" fmla="*/ 1430037 h 1726019"/>
                  <a:gd name="connsiteX53" fmla="*/ 1231194 w 1414934"/>
                  <a:gd name="connsiteY53" fmla="*/ 1430037 h 1726019"/>
                  <a:gd name="connsiteX54" fmla="*/ 1231194 w 1414934"/>
                  <a:gd name="connsiteY54" fmla="*/ 1434653 h 1726019"/>
                  <a:gd name="connsiteX55" fmla="*/ 1214937 w 1414934"/>
                  <a:gd name="connsiteY55" fmla="*/ 1496770 h 1726019"/>
                  <a:gd name="connsiteX56" fmla="*/ 1173443 w 1414934"/>
                  <a:gd name="connsiteY56" fmla="*/ 1522058 h 1726019"/>
                  <a:gd name="connsiteX57" fmla="*/ 208678 w 1414934"/>
                  <a:gd name="connsiteY57" fmla="*/ 1522058 h 1726019"/>
                  <a:gd name="connsiteX58" fmla="*/ 208678 w 1414934"/>
                  <a:gd name="connsiteY58" fmla="*/ 1140126 h 1726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414934" h="1726019">
                    <a:moveTo>
                      <a:pt x="292570" y="906311"/>
                    </a:moveTo>
                    <a:lnTo>
                      <a:pt x="450521" y="720663"/>
                    </a:lnTo>
                    <a:lnTo>
                      <a:pt x="565422" y="906311"/>
                    </a:lnTo>
                    <a:lnTo>
                      <a:pt x="814942" y="906311"/>
                    </a:lnTo>
                    <a:lnTo>
                      <a:pt x="658747" y="657142"/>
                    </a:lnTo>
                    <a:lnTo>
                      <a:pt x="791561" y="657142"/>
                    </a:lnTo>
                    <a:lnTo>
                      <a:pt x="791561" y="465473"/>
                    </a:lnTo>
                    <a:lnTo>
                      <a:pt x="558197" y="465473"/>
                    </a:lnTo>
                    <a:lnTo>
                      <a:pt x="558197" y="327342"/>
                    </a:lnTo>
                    <a:lnTo>
                      <a:pt x="780773" y="327342"/>
                    </a:lnTo>
                    <a:lnTo>
                      <a:pt x="780773" y="85498"/>
                    </a:lnTo>
                    <a:lnTo>
                      <a:pt x="310533" y="85498"/>
                    </a:lnTo>
                    <a:lnTo>
                      <a:pt x="332058" y="0"/>
                    </a:lnTo>
                    <a:lnTo>
                      <a:pt x="84344" y="0"/>
                    </a:lnTo>
                    <a:lnTo>
                      <a:pt x="0" y="327342"/>
                    </a:lnTo>
                    <a:lnTo>
                      <a:pt x="308727" y="327342"/>
                    </a:lnTo>
                    <a:lnTo>
                      <a:pt x="308727" y="465473"/>
                    </a:lnTo>
                    <a:lnTo>
                      <a:pt x="0" y="465473"/>
                    </a:lnTo>
                    <a:lnTo>
                      <a:pt x="0" y="657142"/>
                    </a:lnTo>
                    <a:lnTo>
                      <a:pt x="215401" y="657142"/>
                    </a:lnTo>
                    <a:lnTo>
                      <a:pt x="3613" y="906311"/>
                    </a:lnTo>
                    <a:lnTo>
                      <a:pt x="292570" y="906311"/>
                    </a:lnTo>
                    <a:close/>
                    <a:moveTo>
                      <a:pt x="1105656" y="31008"/>
                    </a:moveTo>
                    <a:lnTo>
                      <a:pt x="1105656" y="264573"/>
                    </a:lnTo>
                    <a:lnTo>
                      <a:pt x="1263657" y="264573"/>
                    </a:lnTo>
                    <a:lnTo>
                      <a:pt x="1263657" y="599591"/>
                    </a:lnTo>
                    <a:cubicBezTo>
                      <a:pt x="1263657" y="620063"/>
                      <a:pt x="1258238" y="637323"/>
                      <a:pt x="1247451" y="651472"/>
                    </a:cubicBezTo>
                    <a:cubicBezTo>
                      <a:pt x="1236613" y="665621"/>
                      <a:pt x="1223367" y="672696"/>
                      <a:pt x="1207762" y="672696"/>
                    </a:cubicBezTo>
                    <a:lnTo>
                      <a:pt x="1049059" y="672696"/>
                    </a:lnTo>
                    <a:lnTo>
                      <a:pt x="1049059" y="31008"/>
                    </a:lnTo>
                    <a:lnTo>
                      <a:pt x="878664" y="31008"/>
                    </a:lnTo>
                    <a:lnTo>
                      <a:pt x="878664" y="906311"/>
                    </a:lnTo>
                    <a:lnTo>
                      <a:pt x="1220607" y="906311"/>
                    </a:lnTo>
                    <a:cubicBezTo>
                      <a:pt x="1248253" y="906311"/>
                      <a:pt x="1274094" y="899638"/>
                      <a:pt x="1298178" y="886241"/>
                    </a:cubicBezTo>
                    <a:cubicBezTo>
                      <a:pt x="1322211" y="872894"/>
                      <a:pt x="1343285" y="854380"/>
                      <a:pt x="1361298" y="830797"/>
                    </a:cubicBezTo>
                    <a:cubicBezTo>
                      <a:pt x="1379311" y="807215"/>
                      <a:pt x="1393460" y="779719"/>
                      <a:pt x="1403696" y="748209"/>
                    </a:cubicBezTo>
                    <a:cubicBezTo>
                      <a:pt x="1413881" y="716750"/>
                      <a:pt x="1418999" y="682982"/>
                      <a:pt x="1418999" y="646756"/>
                    </a:cubicBezTo>
                    <a:lnTo>
                      <a:pt x="1418999" y="31008"/>
                    </a:lnTo>
                    <a:lnTo>
                      <a:pt x="1105656" y="31008"/>
                    </a:lnTo>
                    <a:close/>
                    <a:moveTo>
                      <a:pt x="27897" y="1729682"/>
                    </a:moveTo>
                    <a:lnTo>
                      <a:pt x="1209017" y="1729682"/>
                    </a:lnTo>
                    <a:cubicBezTo>
                      <a:pt x="1235459" y="1729682"/>
                      <a:pt x="1260697" y="1721855"/>
                      <a:pt x="1284781" y="1706150"/>
                    </a:cubicBezTo>
                    <a:cubicBezTo>
                      <a:pt x="1308815" y="1690496"/>
                      <a:pt x="1329888" y="1669322"/>
                      <a:pt x="1347901" y="1642679"/>
                    </a:cubicBezTo>
                    <a:cubicBezTo>
                      <a:pt x="1365914" y="1616036"/>
                      <a:pt x="1380063" y="1584626"/>
                      <a:pt x="1390299" y="1548601"/>
                    </a:cubicBezTo>
                    <a:cubicBezTo>
                      <a:pt x="1400484" y="1512525"/>
                      <a:pt x="1406204" y="1473338"/>
                      <a:pt x="1407409" y="1430940"/>
                    </a:cubicBezTo>
                    <a:lnTo>
                      <a:pt x="1407409" y="967574"/>
                    </a:lnTo>
                    <a:lnTo>
                      <a:pt x="27897" y="967574"/>
                    </a:lnTo>
                    <a:lnTo>
                      <a:pt x="27897" y="1729682"/>
                    </a:lnTo>
                    <a:close/>
                    <a:moveTo>
                      <a:pt x="208678" y="1140126"/>
                    </a:moveTo>
                    <a:lnTo>
                      <a:pt x="1231194" y="1140126"/>
                    </a:lnTo>
                    <a:lnTo>
                      <a:pt x="1231194" y="1269628"/>
                    </a:lnTo>
                    <a:lnTo>
                      <a:pt x="321923" y="1269628"/>
                    </a:lnTo>
                    <a:lnTo>
                      <a:pt x="321923" y="1430037"/>
                    </a:lnTo>
                    <a:lnTo>
                      <a:pt x="1231194" y="1430037"/>
                    </a:lnTo>
                    <a:lnTo>
                      <a:pt x="1231194" y="1434653"/>
                    </a:lnTo>
                    <a:cubicBezTo>
                      <a:pt x="1231194" y="1459189"/>
                      <a:pt x="1225775" y="1479861"/>
                      <a:pt x="1214937" y="1496770"/>
                    </a:cubicBezTo>
                    <a:cubicBezTo>
                      <a:pt x="1204099" y="1513679"/>
                      <a:pt x="1190301" y="1522058"/>
                      <a:pt x="1173443" y="1522058"/>
                    </a:cubicBezTo>
                    <a:lnTo>
                      <a:pt x="208678" y="1522058"/>
                    </a:lnTo>
                    <a:lnTo>
                      <a:pt x="208678" y="1140126"/>
                    </a:lnTo>
                    <a:close/>
                  </a:path>
                </a:pathLst>
              </a:custGeom>
              <a:solidFill>
                <a:schemeClr val="accent5"/>
              </a:solidFill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任意多边形: 形状 21"/>
              <p:cNvSpPr/>
              <p:nvPr/>
            </p:nvSpPr>
            <p:spPr>
              <a:xfrm>
                <a:off x="4036361" y="1905447"/>
                <a:ext cx="516802" cy="577012"/>
              </a:xfrm>
              <a:custGeom>
                <a:avLst/>
                <a:gdLst>
                  <a:gd name="connsiteX0" fmla="*/ 40541 w 516802"/>
                  <a:gd name="connsiteY0" fmla="*/ 534514 h 577012"/>
                  <a:gd name="connsiteX1" fmla="*/ 85498 w 516802"/>
                  <a:gd name="connsiteY1" fmla="*/ 569135 h 577012"/>
                  <a:gd name="connsiteX2" fmla="*/ 137730 w 516802"/>
                  <a:gd name="connsiteY2" fmla="*/ 581227 h 577012"/>
                  <a:gd name="connsiteX3" fmla="*/ 494475 w 516802"/>
                  <a:gd name="connsiteY3" fmla="*/ 581227 h 577012"/>
                  <a:gd name="connsiteX4" fmla="*/ 504560 w 516802"/>
                  <a:gd name="connsiteY4" fmla="*/ 427290 h 577012"/>
                  <a:gd name="connsiteX5" fmla="*/ 233414 w 516802"/>
                  <a:gd name="connsiteY5" fmla="*/ 427290 h 577012"/>
                  <a:gd name="connsiteX6" fmla="*/ 200048 w 516802"/>
                  <a:gd name="connsiteY6" fmla="*/ 413442 h 577012"/>
                  <a:gd name="connsiteX7" fmla="*/ 188457 w 516802"/>
                  <a:gd name="connsiteY7" fmla="*/ 373653 h 577012"/>
                  <a:gd name="connsiteX8" fmla="*/ 282736 w 516802"/>
                  <a:gd name="connsiteY8" fmla="*/ 373653 h 577012"/>
                  <a:gd name="connsiteX9" fmla="*/ 519110 w 516802"/>
                  <a:gd name="connsiteY9" fmla="*/ 19066 h 577012"/>
                  <a:gd name="connsiteX10" fmla="*/ 330603 w 516802"/>
                  <a:gd name="connsiteY10" fmla="*/ 19066 h 577012"/>
                  <a:gd name="connsiteX11" fmla="*/ 188507 w 516802"/>
                  <a:gd name="connsiteY11" fmla="*/ 235271 h 577012"/>
                  <a:gd name="connsiteX12" fmla="*/ 188507 w 516802"/>
                  <a:gd name="connsiteY12" fmla="*/ 0 h 577012"/>
                  <a:gd name="connsiteX13" fmla="*/ 0 w 516802"/>
                  <a:gd name="connsiteY13" fmla="*/ 0 h 577012"/>
                  <a:gd name="connsiteX14" fmla="*/ 0 w 516802"/>
                  <a:gd name="connsiteY14" fmla="*/ 418610 h 577012"/>
                  <a:gd name="connsiteX15" fmla="*/ 11590 w 516802"/>
                  <a:gd name="connsiteY15" fmla="*/ 482633 h 577012"/>
                  <a:gd name="connsiteX16" fmla="*/ 40541 w 516802"/>
                  <a:gd name="connsiteY16" fmla="*/ 534514 h 577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16802" h="577012">
                    <a:moveTo>
                      <a:pt x="40541" y="534514"/>
                    </a:moveTo>
                    <a:cubicBezTo>
                      <a:pt x="52132" y="549516"/>
                      <a:pt x="67134" y="561057"/>
                      <a:pt x="85498" y="569135"/>
                    </a:cubicBezTo>
                    <a:cubicBezTo>
                      <a:pt x="100952" y="577213"/>
                      <a:pt x="118363" y="581227"/>
                      <a:pt x="137730" y="581227"/>
                    </a:cubicBezTo>
                    <a:lnTo>
                      <a:pt x="494475" y="581227"/>
                    </a:lnTo>
                    <a:lnTo>
                      <a:pt x="504560" y="427290"/>
                    </a:lnTo>
                    <a:lnTo>
                      <a:pt x="233414" y="427290"/>
                    </a:lnTo>
                    <a:cubicBezTo>
                      <a:pt x="221824" y="427290"/>
                      <a:pt x="210685" y="422674"/>
                      <a:pt x="200048" y="413442"/>
                    </a:cubicBezTo>
                    <a:cubicBezTo>
                      <a:pt x="192321" y="400748"/>
                      <a:pt x="188457" y="387501"/>
                      <a:pt x="188457" y="373653"/>
                    </a:cubicBezTo>
                    <a:lnTo>
                      <a:pt x="282736" y="373653"/>
                    </a:lnTo>
                    <a:lnTo>
                      <a:pt x="519110" y="19066"/>
                    </a:lnTo>
                    <a:lnTo>
                      <a:pt x="330603" y="19066"/>
                    </a:lnTo>
                    <a:lnTo>
                      <a:pt x="188507" y="235271"/>
                    </a:lnTo>
                    <a:lnTo>
                      <a:pt x="188507" y="0"/>
                    </a:lnTo>
                    <a:lnTo>
                      <a:pt x="0" y="0"/>
                    </a:lnTo>
                    <a:lnTo>
                      <a:pt x="0" y="418610"/>
                    </a:lnTo>
                    <a:cubicBezTo>
                      <a:pt x="0" y="439382"/>
                      <a:pt x="3863" y="460707"/>
                      <a:pt x="11590" y="482633"/>
                    </a:cubicBezTo>
                    <a:cubicBezTo>
                      <a:pt x="18314" y="503355"/>
                      <a:pt x="27947" y="520666"/>
                      <a:pt x="40541" y="534514"/>
                    </a:cubicBez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任意多边形: 形状 22"/>
              <p:cNvSpPr/>
              <p:nvPr/>
            </p:nvSpPr>
            <p:spPr>
              <a:xfrm>
                <a:off x="3308271" y="2322301"/>
                <a:ext cx="667327" cy="827887"/>
              </a:xfrm>
              <a:custGeom>
                <a:avLst/>
                <a:gdLst>
                  <a:gd name="connsiteX0" fmla="*/ 543847 w 667327"/>
                  <a:gd name="connsiteY0" fmla="*/ 0 h 827887"/>
                  <a:gd name="connsiteX1" fmla="*/ 27546 w 667327"/>
                  <a:gd name="connsiteY1" fmla="*/ 0 h 827887"/>
                  <a:gd name="connsiteX2" fmla="*/ 27546 w 667327"/>
                  <a:gd name="connsiteY2" fmla="*/ 664267 h 827887"/>
                  <a:gd name="connsiteX3" fmla="*/ 0 w 667327"/>
                  <a:gd name="connsiteY3" fmla="*/ 832052 h 827887"/>
                  <a:gd name="connsiteX4" fmla="*/ 158051 w 667327"/>
                  <a:gd name="connsiteY4" fmla="*/ 832052 h 827887"/>
                  <a:gd name="connsiteX5" fmla="*/ 189963 w 667327"/>
                  <a:gd name="connsiteY5" fmla="*/ 664267 h 827887"/>
                  <a:gd name="connsiteX6" fmla="*/ 189963 w 667327"/>
                  <a:gd name="connsiteY6" fmla="*/ 605462 h 827887"/>
                  <a:gd name="connsiteX7" fmla="*/ 189963 w 667327"/>
                  <a:gd name="connsiteY7" fmla="*/ 472247 h 827887"/>
                  <a:gd name="connsiteX8" fmla="*/ 189963 w 667327"/>
                  <a:gd name="connsiteY8" fmla="*/ 377115 h 827887"/>
                  <a:gd name="connsiteX9" fmla="*/ 189963 w 667327"/>
                  <a:gd name="connsiteY9" fmla="*/ 243901 h 827887"/>
                  <a:gd name="connsiteX10" fmla="*/ 189963 w 667327"/>
                  <a:gd name="connsiteY10" fmla="*/ 164323 h 827887"/>
                  <a:gd name="connsiteX11" fmla="*/ 189963 w 667327"/>
                  <a:gd name="connsiteY11" fmla="*/ 152231 h 827887"/>
                  <a:gd name="connsiteX12" fmla="*/ 449568 w 667327"/>
                  <a:gd name="connsiteY12" fmla="*/ 152231 h 827887"/>
                  <a:gd name="connsiteX13" fmla="*/ 482182 w 667327"/>
                  <a:gd name="connsiteY13" fmla="*/ 168688 h 827887"/>
                  <a:gd name="connsiteX14" fmla="*/ 495980 w 667327"/>
                  <a:gd name="connsiteY14" fmla="*/ 207624 h 827887"/>
                  <a:gd name="connsiteX15" fmla="*/ 495980 w 667327"/>
                  <a:gd name="connsiteY15" fmla="*/ 243951 h 827887"/>
                  <a:gd name="connsiteX16" fmla="*/ 277719 w 667327"/>
                  <a:gd name="connsiteY16" fmla="*/ 243951 h 827887"/>
                  <a:gd name="connsiteX17" fmla="*/ 277719 w 667327"/>
                  <a:gd name="connsiteY17" fmla="*/ 377165 h 827887"/>
                  <a:gd name="connsiteX18" fmla="*/ 495980 w 667327"/>
                  <a:gd name="connsiteY18" fmla="*/ 377165 h 827887"/>
                  <a:gd name="connsiteX19" fmla="*/ 495980 w 667327"/>
                  <a:gd name="connsiteY19" fmla="*/ 472297 h 827887"/>
                  <a:gd name="connsiteX20" fmla="*/ 277719 w 667327"/>
                  <a:gd name="connsiteY20" fmla="*/ 472297 h 827887"/>
                  <a:gd name="connsiteX21" fmla="*/ 277719 w 667327"/>
                  <a:gd name="connsiteY21" fmla="*/ 605512 h 827887"/>
                  <a:gd name="connsiteX22" fmla="*/ 495980 w 667327"/>
                  <a:gd name="connsiteY22" fmla="*/ 605512 h 827887"/>
                  <a:gd name="connsiteX23" fmla="*/ 495980 w 667327"/>
                  <a:gd name="connsiteY23" fmla="*/ 697181 h 827887"/>
                  <a:gd name="connsiteX24" fmla="*/ 493070 w 667327"/>
                  <a:gd name="connsiteY24" fmla="*/ 705812 h 827887"/>
                  <a:gd name="connsiteX25" fmla="*/ 488704 w 667327"/>
                  <a:gd name="connsiteY25" fmla="*/ 712736 h 827887"/>
                  <a:gd name="connsiteX26" fmla="*/ 477114 w 667327"/>
                  <a:gd name="connsiteY26" fmla="*/ 717954 h 827887"/>
                  <a:gd name="connsiteX27" fmla="*/ 453933 w 667327"/>
                  <a:gd name="connsiteY27" fmla="*/ 717954 h 827887"/>
                  <a:gd name="connsiteX28" fmla="*/ 413342 w 667327"/>
                  <a:gd name="connsiteY28" fmla="*/ 832102 h 827887"/>
                  <a:gd name="connsiteX29" fmla="*/ 572848 w 667327"/>
                  <a:gd name="connsiteY29" fmla="*/ 832102 h 827887"/>
                  <a:gd name="connsiteX30" fmla="*/ 604759 w 667327"/>
                  <a:gd name="connsiteY30" fmla="*/ 826884 h 827887"/>
                  <a:gd name="connsiteX31" fmla="*/ 633760 w 667327"/>
                  <a:gd name="connsiteY31" fmla="*/ 802649 h 827887"/>
                  <a:gd name="connsiteX32" fmla="*/ 659851 w 667327"/>
                  <a:gd name="connsiteY32" fmla="*/ 757693 h 827887"/>
                  <a:gd name="connsiteX33" fmla="*/ 668582 w 667327"/>
                  <a:gd name="connsiteY33" fmla="*/ 691963 h 827887"/>
                  <a:gd name="connsiteX34" fmla="*/ 668582 w 667327"/>
                  <a:gd name="connsiteY34" fmla="*/ 148769 h 827887"/>
                  <a:gd name="connsiteX35" fmla="*/ 631603 w 667327"/>
                  <a:gd name="connsiteY35" fmla="*/ 44104 h 827887"/>
                  <a:gd name="connsiteX36" fmla="*/ 543847 w 667327"/>
                  <a:gd name="connsiteY36" fmla="*/ 0 h 82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67327" h="827887">
                    <a:moveTo>
                      <a:pt x="543847" y="0"/>
                    </a:moveTo>
                    <a:lnTo>
                      <a:pt x="27546" y="0"/>
                    </a:lnTo>
                    <a:lnTo>
                      <a:pt x="27546" y="664267"/>
                    </a:lnTo>
                    <a:lnTo>
                      <a:pt x="0" y="832052"/>
                    </a:lnTo>
                    <a:lnTo>
                      <a:pt x="158051" y="832052"/>
                    </a:lnTo>
                    <a:lnTo>
                      <a:pt x="189963" y="664267"/>
                    </a:lnTo>
                    <a:lnTo>
                      <a:pt x="189963" y="605462"/>
                    </a:lnTo>
                    <a:lnTo>
                      <a:pt x="189963" y="472247"/>
                    </a:lnTo>
                    <a:lnTo>
                      <a:pt x="189963" y="377115"/>
                    </a:lnTo>
                    <a:lnTo>
                      <a:pt x="189963" y="243901"/>
                    </a:lnTo>
                    <a:lnTo>
                      <a:pt x="189963" y="164323"/>
                    </a:lnTo>
                    <a:lnTo>
                      <a:pt x="189963" y="152231"/>
                    </a:lnTo>
                    <a:lnTo>
                      <a:pt x="449568" y="152231"/>
                    </a:lnTo>
                    <a:cubicBezTo>
                      <a:pt x="462112" y="152231"/>
                      <a:pt x="473000" y="157700"/>
                      <a:pt x="482182" y="168688"/>
                    </a:cubicBezTo>
                    <a:cubicBezTo>
                      <a:pt x="491364" y="179677"/>
                      <a:pt x="495980" y="192622"/>
                      <a:pt x="495980" y="207624"/>
                    </a:cubicBezTo>
                    <a:lnTo>
                      <a:pt x="495980" y="243951"/>
                    </a:lnTo>
                    <a:lnTo>
                      <a:pt x="277719" y="243951"/>
                    </a:lnTo>
                    <a:lnTo>
                      <a:pt x="277719" y="377165"/>
                    </a:lnTo>
                    <a:lnTo>
                      <a:pt x="495980" y="377165"/>
                    </a:lnTo>
                    <a:lnTo>
                      <a:pt x="495980" y="472297"/>
                    </a:lnTo>
                    <a:lnTo>
                      <a:pt x="277719" y="472297"/>
                    </a:lnTo>
                    <a:lnTo>
                      <a:pt x="277719" y="605512"/>
                    </a:lnTo>
                    <a:lnTo>
                      <a:pt x="495980" y="605512"/>
                    </a:lnTo>
                    <a:lnTo>
                      <a:pt x="495980" y="697181"/>
                    </a:lnTo>
                    <a:lnTo>
                      <a:pt x="493070" y="705812"/>
                    </a:lnTo>
                    <a:cubicBezTo>
                      <a:pt x="490160" y="709274"/>
                      <a:pt x="488704" y="711582"/>
                      <a:pt x="488704" y="712736"/>
                    </a:cubicBezTo>
                    <a:cubicBezTo>
                      <a:pt x="486748" y="716198"/>
                      <a:pt x="482884" y="717954"/>
                      <a:pt x="477114" y="717954"/>
                    </a:cubicBezTo>
                    <a:lnTo>
                      <a:pt x="453933" y="717954"/>
                    </a:lnTo>
                    <a:lnTo>
                      <a:pt x="413342" y="832102"/>
                    </a:lnTo>
                    <a:lnTo>
                      <a:pt x="572848" y="832102"/>
                    </a:lnTo>
                    <a:cubicBezTo>
                      <a:pt x="582481" y="832102"/>
                      <a:pt x="593169" y="830346"/>
                      <a:pt x="604759" y="826884"/>
                    </a:cubicBezTo>
                    <a:cubicBezTo>
                      <a:pt x="615396" y="822268"/>
                      <a:pt x="625080" y="814190"/>
                      <a:pt x="633760" y="802649"/>
                    </a:cubicBezTo>
                    <a:cubicBezTo>
                      <a:pt x="645351" y="788801"/>
                      <a:pt x="654081" y="773849"/>
                      <a:pt x="659851" y="757693"/>
                    </a:cubicBezTo>
                    <a:cubicBezTo>
                      <a:pt x="665672" y="741536"/>
                      <a:pt x="668582" y="719660"/>
                      <a:pt x="668582" y="691963"/>
                    </a:cubicBezTo>
                    <a:lnTo>
                      <a:pt x="668582" y="148769"/>
                    </a:lnTo>
                    <a:cubicBezTo>
                      <a:pt x="668582" y="108428"/>
                      <a:pt x="656239" y="73506"/>
                      <a:pt x="631603" y="44104"/>
                    </a:cubicBezTo>
                    <a:cubicBezTo>
                      <a:pt x="606917" y="14701"/>
                      <a:pt x="577665" y="0"/>
                      <a:pt x="543847" y="0"/>
                    </a:cubicBez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" name="任意多边形: 形状 23"/>
              <p:cNvSpPr/>
              <p:nvPr/>
            </p:nvSpPr>
            <p:spPr>
              <a:xfrm>
                <a:off x="3331502" y="1893305"/>
                <a:ext cx="662310" cy="361260"/>
              </a:xfrm>
              <a:custGeom>
                <a:avLst/>
                <a:gdLst>
                  <a:gd name="connsiteX0" fmla="*/ 408976 w 662309"/>
                  <a:gd name="connsiteY0" fmla="*/ 119366 h 361259"/>
                  <a:gd name="connsiteX1" fmla="*/ 440837 w 662309"/>
                  <a:gd name="connsiteY1" fmla="*/ 216254 h 361259"/>
                  <a:gd name="connsiteX2" fmla="*/ 234919 w 662309"/>
                  <a:gd name="connsiteY2" fmla="*/ 216254 h 361259"/>
                  <a:gd name="connsiteX3" fmla="*/ 320468 w 662309"/>
                  <a:gd name="connsiteY3" fmla="*/ 0 h 361259"/>
                  <a:gd name="connsiteX4" fmla="*/ 133415 w 662309"/>
                  <a:gd name="connsiteY4" fmla="*/ 0 h 361259"/>
                  <a:gd name="connsiteX5" fmla="*/ 0 w 662309"/>
                  <a:gd name="connsiteY5" fmla="*/ 365023 h 361259"/>
                  <a:gd name="connsiteX6" fmla="*/ 561207 w 662309"/>
                  <a:gd name="connsiteY6" fmla="*/ 365023 h 361259"/>
                  <a:gd name="connsiteX7" fmla="*/ 561207 w 662309"/>
                  <a:gd name="connsiteY7" fmla="*/ 363267 h 361259"/>
                  <a:gd name="connsiteX8" fmla="*/ 667077 w 662309"/>
                  <a:gd name="connsiteY8" fmla="*/ 363267 h 361259"/>
                  <a:gd name="connsiteX9" fmla="*/ 587348 w 662309"/>
                  <a:gd name="connsiteY9" fmla="*/ 119366 h 361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2309" h="361259">
                    <a:moveTo>
                      <a:pt x="408976" y="119366"/>
                    </a:moveTo>
                    <a:lnTo>
                      <a:pt x="440837" y="216254"/>
                    </a:lnTo>
                    <a:lnTo>
                      <a:pt x="234919" y="216254"/>
                    </a:lnTo>
                    <a:lnTo>
                      <a:pt x="320468" y="0"/>
                    </a:lnTo>
                    <a:lnTo>
                      <a:pt x="133415" y="0"/>
                    </a:lnTo>
                    <a:lnTo>
                      <a:pt x="0" y="365023"/>
                    </a:lnTo>
                    <a:lnTo>
                      <a:pt x="561207" y="365023"/>
                    </a:lnTo>
                    <a:lnTo>
                      <a:pt x="561207" y="363267"/>
                    </a:lnTo>
                    <a:lnTo>
                      <a:pt x="667077" y="363267"/>
                    </a:lnTo>
                    <a:lnTo>
                      <a:pt x="587348" y="119366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任意多边形: 形状 24"/>
              <p:cNvSpPr/>
              <p:nvPr/>
            </p:nvSpPr>
            <p:spPr>
              <a:xfrm>
                <a:off x="4036361" y="2536147"/>
                <a:ext cx="1073745" cy="592065"/>
              </a:xfrm>
              <a:custGeom>
                <a:avLst/>
                <a:gdLst>
                  <a:gd name="connsiteX0" fmla="*/ 233414 w 1073744"/>
                  <a:gd name="connsiteY0" fmla="*/ 437024 h 592064"/>
                  <a:gd name="connsiteX1" fmla="*/ 200048 w 1073744"/>
                  <a:gd name="connsiteY1" fmla="*/ 421018 h 592064"/>
                  <a:gd name="connsiteX2" fmla="*/ 188457 w 1073744"/>
                  <a:gd name="connsiteY2" fmla="*/ 381932 h 592064"/>
                  <a:gd name="connsiteX3" fmla="*/ 282736 w 1073744"/>
                  <a:gd name="connsiteY3" fmla="*/ 381932 h 592064"/>
                  <a:gd name="connsiteX4" fmla="*/ 519110 w 1073744"/>
                  <a:gd name="connsiteY4" fmla="*/ 15956 h 592064"/>
                  <a:gd name="connsiteX5" fmla="*/ 330603 w 1073744"/>
                  <a:gd name="connsiteY5" fmla="*/ 15956 h 592064"/>
                  <a:gd name="connsiteX6" fmla="*/ 188507 w 1073744"/>
                  <a:gd name="connsiteY6" fmla="*/ 241593 h 592064"/>
                  <a:gd name="connsiteX7" fmla="*/ 188507 w 1073744"/>
                  <a:gd name="connsiteY7" fmla="*/ 0 h 592064"/>
                  <a:gd name="connsiteX8" fmla="*/ 0 w 1073744"/>
                  <a:gd name="connsiteY8" fmla="*/ 0 h 592064"/>
                  <a:gd name="connsiteX9" fmla="*/ 0 w 1073744"/>
                  <a:gd name="connsiteY9" fmla="*/ 426337 h 592064"/>
                  <a:gd name="connsiteX10" fmla="*/ 11590 w 1073744"/>
                  <a:gd name="connsiteY10" fmla="*/ 492066 h 592064"/>
                  <a:gd name="connsiteX11" fmla="*/ 40592 w 1073744"/>
                  <a:gd name="connsiteY11" fmla="*/ 545352 h 592064"/>
                  <a:gd name="connsiteX12" fmla="*/ 61615 w 1073744"/>
                  <a:gd name="connsiteY12" fmla="*/ 565773 h 592064"/>
                  <a:gd name="connsiteX13" fmla="*/ 85548 w 1073744"/>
                  <a:gd name="connsiteY13" fmla="*/ 580876 h 592064"/>
                  <a:gd name="connsiteX14" fmla="*/ 137780 w 1073744"/>
                  <a:gd name="connsiteY14" fmla="*/ 593319 h 592064"/>
                  <a:gd name="connsiteX15" fmla="*/ 1009119 w 1073744"/>
                  <a:gd name="connsiteY15" fmla="*/ 593319 h 592064"/>
                  <a:gd name="connsiteX16" fmla="*/ 1074397 w 1073744"/>
                  <a:gd name="connsiteY16" fmla="*/ 436974 h 592064"/>
                  <a:gd name="connsiteX17" fmla="*/ 233414 w 1073744"/>
                  <a:gd name="connsiteY17" fmla="*/ 436974 h 592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73744" h="592064">
                    <a:moveTo>
                      <a:pt x="233414" y="437024"/>
                    </a:moveTo>
                    <a:cubicBezTo>
                      <a:pt x="221824" y="437024"/>
                      <a:pt x="210685" y="431706"/>
                      <a:pt x="200048" y="421018"/>
                    </a:cubicBezTo>
                    <a:cubicBezTo>
                      <a:pt x="192321" y="411535"/>
                      <a:pt x="188457" y="398540"/>
                      <a:pt x="188457" y="381932"/>
                    </a:cubicBezTo>
                    <a:lnTo>
                      <a:pt x="282736" y="381932"/>
                    </a:lnTo>
                    <a:lnTo>
                      <a:pt x="519110" y="15956"/>
                    </a:lnTo>
                    <a:lnTo>
                      <a:pt x="330603" y="15956"/>
                    </a:lnTo>
                    <a:lnTo>
                      <a:pt x="188507" y="241593"/>
                    </a:lnTo>
                    <a:lnTo>
                      <a:pt x="188507" y="0"/>
                    </a:lnTo>
                    <a:lnTo>
                      <a:pt x="0" y="0"/>
                    </a:lnTo>
                    <a:lnTo>
                      <a:pt x="0" y="426337"/>
                    </a:lnTo>
                    <a:cubicBezTo>
                      <a:pt x="0" y="448865"/>
                      <a:pt x="3863" y="470742"/>
                      <a:pt x="11590" y="492066"/>
                    </a:cubicBezTo>
                    <a:cubicBezTo>
                      <a:pt x="18364" y="514595"/>
                      <a:pt x="27998" y="532357"/>
                      <a:pt x="40592" y="545352"/>
                    </a:cubicBezTo>
                    <a:cubicBezTo>
                      <a:pt x="47365" y="552477"/>
                      <a:pt x="54390" y="559301"/>
                      <a:pt x="61615" y="565773"/>
                    </a:cubicBezTo>
                    <a:cubicBezTo>
                      <a:pt x="68840" y="572296"/>
                      <a:pt x="76818" y="577313"/>
                      <a:pt x="85548" y="580876"/>
                    </a:cubicBezTo>
                    <a:cubicBezTo>
                      <a:pt x="100049" y="589155"/>
                      <a:pt x="117460" y="593319"/>
                      <a:pt x="137780" y="593319"/>
                    </a:cubicBezTo>
                    <a:lnTo>
                      <a:pt x="1009119" y="593319"/>
                    </a:lnTo>
                    <a:lnTo>
                      <a:pt x="1074397" y="436974"/>
                    </a:lnTo>
                    <a:lnTo>
                      <a:pt x="233414" y="436974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任意多边形: 形状 25"/>
              <p:cNvSpPr/>
              <p:nvPr/>
            </p:nvSpPr>
            <p:spPr>
              <a:xfrm>
                <a:off x="5191740" y="1863100"/>
                <a:ext cx="551925" cy="1269427"/>
              </a:xfrm>
              <a:custGeom>
                <a:avLst/>
                <a:gdLst>
                  <a:gd name="connsiteX0" fmla="*/ 555236 w 551924"/>
                  <a:gd name="connsiteY0" fmla="*/ 86251 h 1269427"/>
                  <a:gd name="connsiteX1" fmla="*/ 510430 w 551924"/>
                  <a:gd name="connsiteY1" fmla="*/ 86251 h 1269427"/>
                  <a:gd name="connsiteX2" fmla="*/ 510430 w 551924"/>
                  <a:gd name="connsiteY2" fmla="*/ 0 h 1269427"/>
                  <a:gd name="connsiteX3" fmla="*/ 499592 w 551924"/>
                  <a:gd name="connsiteY3" fmla="*/ 0 h 1269427"/>
                  <a:gd name="connsiteX4" fmla="*/ 353985 w 551924"/>
                  <a:gd name="connsiteY4" fmla="*/ 0 h 1269427"/>
                  <a:gd name="connsiteX5" fmla="*/ 264021 w 551924"/>
                  <a:gd name="connsiteY5" fmla="*/ 0 h 1269427"/>
                  <a:gd name="connsiteX6" fmla="*/ 264021 w 551924"/>
                  <a:gd name="connsiteY6" fmla="*/ 86251 h 1269427"/>
                  <a:gd name="connsiteX7" fmla="*/ 0 w 551924"/>
                  <a:gd name="connsiteY7" fmla="*/ 86251 h 1269427"/>
                  <a:gd name="connsiteX8" fmla="*/ 0 w 551924"/>
                  <a:gd name="connsiteY8" fmla="*/ 211789 h 1269427"/>
                  <a:gd name="connsiteX9" fmla="*/ 264021 w 551924"/>
                  <a:gd name="connsiteY9" fmla="*/ 211789 h 1269427"/>
                  <a:gd name="connsiteX10" fmla="*/ 264021 w 551924"/>
                  <a:gd name="connsiteY10" fmla="*/ 1112530 h 1269427"/>
                  <a:gd name="connsiteX11" fmla="*/ 96185 w 551924"/>
                  <a:gd name="connsiteY11" fmla="*/ 1112530 h 1269427"/>
                  <a:gd name="connsiteX12" fmla="*/ 28449 w 551924"/>
                  <a:gd name="connsiteY12" fmla="*/ 1273241 h 1269427"/>
                  <a:gd name="connsiteX13" fmla="*/ 264021 w 551924"/>
                  <a:gd name="connsiteY13" fmla="*/ 1273241 h 1269427"/>
                  <a:gd name="connsiteX14" fmla="*/ 370542 w 551924"/>
                  <a:gd name="connsiteY14" fmla="*/ 1273241 h 1269427"/>
                  <a:gd name="connsiteX15" fmla="*/ 510430 w 551924"/>
                  <a:gd name="connsiteY15" fmla="*/ 1273241 h 1269427"/>
                  <a:gd name="connsiteX16" fmla="*/ 510430 w 551924"/>
                  <a:gd name="connsiteY16" fmla="*/ 211789 h 1269427"/>
                  <a:gd name="connsiteX17" fmla="*/ 555236 w 551924"/>
                  <a:gd name="connsiteY17" fmla="*/ 211789 h 1269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1924" h="1269427">
                    <a:moveTo>
                      <a:pt x="555236" y="86251"/>
                    </a:moveTo>
                    <a:lnTo>
                      <a:pt x="510430" y="86251"/>
                    </a:lnTo>
                    <a:lnTo>
                      <a:pt x="510430" y="0"/>
                    </a:lnTo>
                    <a:lnTo>
                      <a:pt x="499592" y="0"/>
                    </a:lnTo>
                    <a:lnTo>
                      <a:pt x="353985" y="0"/>
                    </a:lnTo>
                    <a:lnTo>
                      <a:pt x="264021" y="0"/>
                    </a:lnTo>
                    <a:lnTo>
                      <a:pt x="264021" y="86251"/>
                    </a:lnTo>
                    <a:lnTo>
                      <a:pt x="0" y="86251"/>
                    </a:lnTo>
                    <a:lnTo>
                      <a:pt x="0" y="211789"/>
                    </a:lnTo>
                    <a:lnTo>
                      <a:pt x="264021" y="211789"/>
                    </a:lnTo>
                    <a:lnTo>
                      <a:pt x="264021" y="1112530"/>
                    </a:lnTo>
                    <a:lnTo>
                      <a:pt x="96185" y="1112530"/>
                    </a:lnTo>
                    <a:lnTo>
                      <a:pt x="28449" y="1273241"/>
                    </a:lnTo>
                    <a:lnTo>
                      <a:pt x="264021" y="1273241"/>
                    </a:lnTo>
                    <a:lnTo>
                      <a:pt x="370542" y="1273241"/>
                    </a:lnTo>
                    <a:lnTo>
                      <a:pt x="510430" y="1273241"/>
                    </a:lnTo>
                    <a:lnTo>
                      <a:pt x="510430" y="211789"/>
                    </a:lnTo>
                    <a:lnTo>
                      <a:pt x="555236" y="211789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/>
              <p:cNvSpPr/>
              <p:nvPr/>
            </p:nvSpPr>
            <p:spPr>
              <a:xfrm>
                <a:off x="4623408" y="1933445"/>
                <a:ext cx="516802" cy="908167"/>
              </a:xfrm>
              <a:custGeom>
                <a:avLst/>
                <a:gdLst>
                  <a:gd name="connsiteX0" fmla="*/ 0 w 516802"/>
                  <a:gd name="connsiteY0" fmla="*/ 0 h 908167"/>
                  <a:gd name="connsiteX1" fmla="*/ 0 w 516802"/>
                  <a:gd name="connsiteY1" fmla="*/ 909472 h 908167"/>
                  <a:gd name="connsiteX2" fmla="*/ 393121 w 516802"/>
                  <a:gd name="connsiteY2" fmla="*/ 909472 h 908167"/>
                  <a:gd name="connsiteX3" fmla="*/ 441640 w 516802"/>
                  <a:gd name="connsiteY3" fmla="*/ 898684 h 908167"/>
                  <a:gd name="connsiteX4" fmla="*/ 480727 w 516802"/>
                  <a:gd name="connsiteY4" fmla="*/ 870135 h 908167"/>
                  <a:gd name="connsiteX5" fmla="*/ 507369 w 516802"/>
                  <a:gd name="connsiteY5" fmla="*/ 827636 h 908167"/>
                  <a:gd name="connsiteX6" fmla="*/ 517455 w 516802"/>
                  <a:gd name="connsiteY6" fmla="*/ 775003 h 908167"/>
                  <a:gd name="connsiteX7" fmla="*/ 517455 w 516802"/>
                  <a:gd name="connsiteY7" fmla="*/ 0 h 908167"/>
                  <a:gd name="connsiteX8" fmla="*/ 0 w 516802"/>
                  <a:gd name="connsiteY8" fmla="*/ 0 h 908167"/>
                  <a:gd name="connsiteX9" fmla="*/ 216706 w 516802"/>
                  <a:gd name="connsiteY9" fmla="*/ 621066 h 908167"/>
                  <a:gd name="connsiteX10" fmla="*/ 216706 w 516802"/>
                  <a:gd name="connsiteY10" fmla="*/ 516200 h 908167"/>
                  <a:gd name="connsiteX11" fmla="*/ 216706 w 516802"/>
                  <a:gd name="connsiteY11" fmla="*/ 390662 h 908167"/>
                  <a:gd name="connsiteX12" fmla="*/ 216706 w 516802"/>
                  <a:gd name="connsiteY12" fmla="*/ 258752 h 908167"/>
                  <a:gd name="connsiteX13" fmla="*/ 216706 w 516802"/>
                  <a:gd name="connsiteY13" fmla="*/ 119216 h 908167"/>
                  <a:gd name="connsiteX14" fmla="*/ 343398 w 516802"/>
                  <a:gd name="connsiteY14" fmla="*/ 119216 h 908167"/>
                  <a:gd name="connsiteX15" fmla="*/ 343398 w 516802"/>
                  <a:gd name="connsiteY15" fmla="*/ 390662 h 908167"/>
                  <a:gd name="connsiteX16" fmla="*/ 245757 w 516802"/>
                  <a:gd name="connsiteY16" fmla="*/ 390662 h 908167"/>
                  <a:gd name="connsiteX17" fmla="*/ 245757 w 516802"/>
                  <a:gd name="connsiteY17" fmla="*/ 516250 h 908167"/>
                  <a:gd name="connsiteX18" fmla="*/ 343398 w 516802"/>
                  <a:gd name="connsiteY18" fmla="*/ 516250 h 908167"/>
                  <a:gd name="connsiteX19" fmla="*/ 343398 w 516802"/>
                  <a:gd name="connsiteY19" fmla="*/ 785138 h 908167"/>
                  <a:gd name="connsiteX20" fmla="*/ 216706 w 516802"/>
                  <a:gd name="connsiteY20" fmla="*/ 785138 h 908167"/>
                  <a:gd name="connsiteX21" fmla="*/ 216706 w 516802"/>
                  <a:gd name="connsiteY21" fmla="*/ 621066 h 90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16802" h="908167">
                    <a:moveTo>
                      <a:pt x="0" y="0"/>
                    </a:moveTo>
                    <a:lnTo>
                      <a:pt x="0" y="909472"/>
                    </a:lnTo>
                    <a:lnTo>
                      <a:pt x="393121" y="909472"/>
                    </a:lnTo>
                    <a:cubicBezTo>
                      <a:pt x="410482" y="909472"/>
                      <a:pt x="426638" y="905909"/>
                      <a:pt x="441640" y="898684"/>
                    </a:cubicBezTo>
                    <a:cubicBezTo>
                      <a:pt x="456643" y="891509"/>
                      <a:pt x="469638" y="881976"/>
                      <a:pt x="480727" y="870135"/>
                    </a:cubicBezTo>
                    <a:cubicBezTo>
                      <a:pt x="491765" y="858293"/>
                      <a:pt x="500646" y="844144"/>
                      <a:pt x="507369" y="827636"/>
                    </a:cubicBezTo>
                    <a:cubicBezTo>
                      <a:pt x="514043" y="811129"/>
                      <a:pt x="517455" y="793618"/>
                      <a:pt x="517455" y="775003"/>
                    </a:cubicBezTo>
                    <a:lnTo>
                      <a:pt x="517455" y="0"/>
                    </a:lnTo>
                    <a:lnTo>
                      <a:pt x="0" y="0"/>
                    </a:lnTo>
                    <a:close/>
                    <a:moveTo>
                      <a:pt x="216706" y="621066"/>
                    </a:moveTo>
                    <a:lnTo>
                      <a:pt x="216706" y="516200"/>
                    </a:lnTo>
                    <a:lnTo>
                      <a:pt x="216706" y="390662"/>
                    </a:lnTo>
                    <a:lnTo>
                      <a:pt x="216706" y="258752"/>
                    </a:lnTo>
                    <a:lnTo>
                      <a:pt x="216706" y="119216"/>
                    </a:lnTo>
                    <a:lnTo>
                      <a:pt x="343398" y="119216"/>
                    </a:lnTo>
                    <a:lnTo>
                      <a:pt x="343398" y="390662"/>
                    </a:lnTo>
                    <a:lnTo>
                      <a:pt x="245757" y="390662"/>
                    </a:lnTo>
                    <a:lnTo>
                      <a:pt x="245757" y="516250"/>
                    </a:lnTo>
                    <a:lnTo>
                      <a:pt x="343398" y="516250"/>
                    </a:lnTo>
                    <a:lnTo>
                      <a:pt x="343398" y="785138"/>
                    </a:lnTo>
                    <a:lnTo>
                      <a:pt x="216706" y="785138"/>
                    </a:lnTo>
                    <a:lnTo>
                      <a:pt x="216706" y="621066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7" name="任意多边形: 形状 16"/>
            <p:cNvSpPr/>
            <p:nvPr/>
          </p:nvSpPr>
          <p:spPr>
            <a:xfrm>
              <a:off x="5210656" y="1893305"/>
              <a:ext cx="978412" cy="958342"/>
            </a:xfrm>
            <a:custGeom>
              <a:avLst/>
              <a:gdLst>
                <a:gd name="connsiteX0" fmla="*/ 0 w 978412"/>
                <a:gd name="connsiteY0" fmla="*/ 241593 h 958342"/>
                <a:gd name="connsiteX1" fmla="*/ 193675 w 978412"/>
                <a:gd name="connsiteY1" fmla="*/ 241593 h 958342"/>
                <a:gd name="connsiteX2" fmla="*/ 430050 w 978412"/>
                <a:gd name="connsiteY2" fmla="*/ 607669 h 958342"/>
                <a:gd name="connsiteX3" fmla="*/ 754431 w 978412"/>
                <a:gd name="connsiteY3" fmla="*/ 0 h 958342"/>
                <a:gd name="connsiteX4" fmla="*/ 979817 w 978412"/>
                <a:gd name="connsiteY4" fmla="*/ 0 h 958342"/>
                <a:gd name="connsiteX5" fmla="*/ 441038 w 978412"/>
                <a:gd name="connsiteY5" fmla="*/ 960098 h 95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8412" h="958342">
                  <a:moveTo>
                    <a:pt x="0" y="241593"/>
                  </a:moveTo>
                  <a:lnTo>
                    <a:pt x="193675" y="241593"/>
                  </a:lnTo>
                  <a:lnTo>
                    <a:pt x="430050" y="607669"/>
                  </a:lnTo>
                  <a:lnTo>
                    <a:pt x="754431" y="0"/>
                  </a:lnTo>
                  <a:lnTo>
                    <a:pt x="979817" y="0"/>
                  </a:lnTo>
                  <a:lnTo>
                    <a:pt x="441038" y="960098"/>
                  </a:lnTo>
                  <a:close/>
                </a:path>
              </a:pathLst>
            </a:custGeom>
            <a:solidFill>
              <a:srgbClr val="FB7420"/>
            </a:solidFill>
            <a:ln w="762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/>
            <p:cNvSpPr/>
            <p:nvPr/>
          </p:nvSpPr>
          <p:spPr>
            <a:xfrm>
              <a:off x="5205610" y="1885394"/>
              <a:ext cx="978412" cy="958342"/>
            </a:xfrm>
            <a:custGeom>
              <a:avLst/>
              <a:gdLst>
                <a:gd name="connsiteX0" fmla="*/ 0 w 978412"/>
                <a:gd name="connsiteY0" fmla="*/ 241593 h 958342"/>
                <a:gd name="connsiteX1" fmla="*/ 193675 w 978412"/>
                <a:gd name="connsiteY1" fmla="*/ 241593 h 958342"/>
                <a:gd name="connsiteX2" fmla="*/ 430050 w 978412"/>
                <a:gd name="connsiteY2" fmla="*/ 607669 h 958342"/>
                <a:gd name="connsiteX3" fmla="*/ 754431 w 978412"/>
                <a:gd name="connsiteY3" fmla="*/ 0 h 958342"/>
                <a:gd name="connsiteX4" fmla="*/ 979817 w 978412"/>
                <a:gd name="connsiteY4" fmla="*/ 0 h 958342"/>
                <a:gd name="connsiteX5" fmla="*/ 441038 w 978412"/>
                <a:gd name="connsiteY5" fmla="*/ 960098 h 95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8412" h="958342">
                  <a:moveTo>
                    <a:pt x="0" y="241593"/>
                  </a:moveTo>
                  <a:lnTo>
                    <a:pt x="193675" y="241593"/>
                  </a:lnTo>
                  <a:lnTo>
                    <a:pt x="430050" y="607669"/>
                  </a:lnTo>
                  <a:lnTo>
                    <a:pt x="754431" y="0"/>
                  </a:lnTo>
                  <a:lnTo>
                    <a:pt x="979817" y="0"/>
                  </a:lnTo>
                  <a:lnTo>
                    <a:pt x="441038" y="960098"/>
                  </a:lnTo>
                  <a:close/>
                </a:path>
              </a:pathLst>
            </a:custGeom>
            <a:solidFill>
              <a:srgbClr val="FB7420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</p:grpSp>
      <p:sp>
        <p:nvSpPr>
          <p:cNvPr id="4" name="iŝḷiḑè"/>
          <p:cNvSpPr txBox="1"/>
          <p:nvPr/>
        </p:nvSpPr>
        <p:spPr>
          <a:xfrm>
            <a:off x="2355850" y="2433320"/>
            <a:ext cx="5786755" cy="1087120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 fontScale="90000"/>
          </a:bodyPr>
          <a:lstStyle/>
          <a:p>
            <a:r>
              <a:rPr sz="4000" b="1" dirty="0">
                <a:solidFill>
                  <a:srgbClr val="FF6600"/>
                </a:solidFill>
              </a:rPr>
              <a:t>第</a:t>
            </a:r>
            <a:r>
              <a:rPr lang="en-US" sz="4000" b="1" dirty="0">
                <a:solidFill>
                  <a:srgbClr val="FF6600"/>
                </a:solidFill>
              </a:rPr>
              <a:t>6</a:t>
            </a:r>
            <a:r>
              <a:rPr sz="4000" b="1" dirty="0">
                <a:solidFill>
                  <a:srgbClr val="FF6600"/>
                </a:solidFill>
              </a:rPr>
              <a:t>课 </a:t>
            </a:r>
            <a:r>
              <a:rPr lang="zh-CN" sz="4000" b="1" dirty="0">
                <a:solidFill>
                  <a:srgbClr val="FF6600"/>
                </a:solidFill>
              </a:rPr>
              <a:t>多分支结构程序设计</a:t>
            </a:r>
            <a:endParaRPr lang="zh-CN" sz="4000" b="1" dirty="0">
              <a:solidFill>
                <a:srgbClr val="FF6600"/>
              </a:solidFill>
            </a:endParaRPr>
          </a:p>
        </p:txBody>
      </p:sp>
      <p:sp>
        <p:nvSpPr>
          <p:cNvPr id="28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69019" y="3999874"/>
            <a:ext cx="3381163" cy="287010"/>
          </a:xfrm>
        </p:spPr>
        <p:txBody>
          <a:bodyPr/>
          <a:lstStyle/>
          <a:p>
            <a:r>
              <a:rPr lang="en-US" altLang="zh-CN" sz="1600" dirty="0"/>
              <a:t>51maker</a:t>
            </a:r>
            <a:r>
              <a:rPr lang="zh-CN" altLang="en-US" sz="1600" dirty="0"/>
              <a:t>团队</a:t>
            </a:r>
            <a:r>
              <a:rPr lang="en-US" altLang="zh-CN" sz="1600" dirty="0" smtClean="0"/>
              <a:t>Python3</a:t>
            </a:r>
            <a:r>
              <a:rPr lang="zh-CN" altLang="en-US" sz="1600" dirty="0"/>
              <a:t>实验</a:t>
            </a:r>
            <a:r>
              <a:rPr lang="zh-CN" altLang="en-US" sz="1600" dirty="0" smtClean="0"/>
              <a:t>教程开发</a:t>
            </a:r>
            <a:endParaRPr lang="en-US" altLang="zh-CN" sz="1600" dirty="0" smtClean="0"/>
          </a:p>
        </p:txBody>
      </p:sp>
      <p:sp>
        <p:nvSpPr>
          <p:cNvPr id="29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267633" y="4287081"/>
            <a:ext cx="3816762" cy="296271"/>
          </a:xfrm>
        </p:spPr>
        <p:txBody>
          <a:bodyPr/>
          <a:lstStyle/>
          <a:p>
            <a:r>
              <a:rPr lang="zh-CN" altLang="en-US" sz="1600" dirty="0"/>
              <a:t>江苏省启东市海复</a:t>
            </a:r>
            <a:r>
              <a:rPr lang="zh-CN" altLang="en-US" sz="1600" dirty="0" smtClean="0"/>
              <a:t>小学 顾黄凯</a:t>
            </a:r>
            <a:endParaRPr lang="zh-CN" alt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8505" y="0"/>
            <a:ext cx="10850880" cy="1006475"/>
          </a:xfrm>
        </p:spPr>
        <p:txBody>
          <a:bodyPr/>
          <a:lstStyle/>
          <a:p>
            <a:r>
              <a:rPr lang="en-US" dirty="0">
                <a:sym typeface="+mn-ea"/>
              </a:rPr>
              <a:t>if - elif </a:t>
            </a:r>
            <a:r>
              <a:rPr lang="zh-CN" altLang="en-US" dirty="0">
                <a:sym typeface="+mn-ea"/>
              </a:rPr>
              <a:t>条件语句</a:t>
            </a:r>
            <a:endParaRPr lang="zh-CN" altLang="en-US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3" name="灯片编号占位符 3"/>
          <p:cNvSpPr>
            <a:spLocks noGrp="1"/>
          </p:cNvSpPr>
          <p:nvPr/>
        </p:nvSpPr>
        <p:spPr>
          <a:xfrm>
            <a:off x="928179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276994"/>
            <a:ext cx="730160" cy="730160"/>
          </a:xfrm>
          <a:prstGeom prst="rect">
            <a:avLst/>
          </a:prstGeom>
        </p:spPr>
      </p:pic>
      <p:pic>
        <p:nvPicPr>
          <p:cNvPr id="4" name="ECB019B1-382A-4266-B25C-5B523AA43C14-2" descr="qt_temp"/>
          <p:cNvPicPr>
            <a:picLocks noChangeAspect="1"/>
          </p:cNvPicPr>
          <p:nvPr/>
        </p:nvPicPr>
        <p:blipFill>
          <a:blip r:embed="rId3"/>
          <a:srcRect l="5239" t="9841" r="8427" b="12153"/>
          <a:stretch>
            <a:fillRect/>
          </a:stretch>
        </p:blipFill>
        <p:spPr>
          <a:xfrm>
            <a:off x="738505" y="1587500"/>
            <a:ext cx="6655435" cy="434911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311275" y="1274445"/>
            <a:ext cx="89458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grpSp>
        <p:nvGrpSpPr>
          <p:cNvPr id="8" name="组合 7"/>
          <p:cNvGrpSpPr/>
          <p:nvPr/>
        </p:nvGrpSpPr>
        <p:grpSpPr>
          <a:xfrm>
            <a:off x="8764905" y="1837690"/>
            <a:ext cx="2645410" cy="3849370"/>
            <a:chOff x="2442" y="2100"/>
            <a:chExt cx="4166" cy="6062"/>
          </a:xfrm>
        </p:grpSpPr>
        <p:sp>
          <p:nvSpPr>
            <p:cNvPr id="6" name="矩形 5"/>
            <p:cNvSpPr/>
            <p:nvPr/>
          </p:nvSpPr>
          <p:spPr>
            <a:xfrm>
              <a:off x="2442" y="2100"/>
              <a:ext cx="4166" cy="606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2957" y="2178"/>
              <a:ext cx="3546" cy="59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if 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条件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1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&gt;: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    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语句块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1&gt;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elif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 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条件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2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&gt;: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    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语句块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2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&gt;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endParaRPr>
            </a:p>
            <a:p>
              <a:pPr fontAlgn="auto">
                <a:lnSpc>
                  <a:spcPts val="1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.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endParaRPr>
            </a:p>
            <a:p>
              <a:pPr fontAlgn="auto">
                <a:lnSpc>
                  <a:spcPts val="1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.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endParaRPr>
            </a:p>
            <a:p>
              <a:pPr fontAlgn="auto">
                <a:lnSpc>
                  <a:spcPts val="1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.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elif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 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条件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n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&gt;: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    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语句块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n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  <a:sym typeface="+mn-ea"/>
                </a:rPr>
                <a:t>&gt;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else: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    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语句块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n+1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&gt;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10469245" y="2033270"/>
            <a:ext cx="144000" cy="320675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4" name="矩形 33"/>
          <p:cNvSpPr/>
          <p:nvPr/>
        </p:nvSpPr>
        <p:spPr>
          <a:xfrm>
            <a:off x="10750550" y="2861310"/>
            <a:ext cx="144000" cy="320675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6" name="矩形 35"/>
          <p:cNvSpPr/>
          <p:nvPr/>
        </p:nvSpPr>
        <p:spPr>
          <a:xfrm>
            <a:off x="10750550" y="4065905"/>
            <a:ext cx="144000" cy="320675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7" name="矩形 36"/>
          <p:cNvSpPr/>
          <p:nvPr/>
        </p:nvSpPr>
        <p:spPr>
          <a:xfrm>
            <a:off x="9744075" y="4879340"/>
            <a:ext cx="144000" cy="320675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39" name="图片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785" y="2526030"/>
            <a:ext cx="542290" cy="151130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785" y="3345815"/>
            <a:ext cx="542290" cy="151130"/>
          </a:xfrm>
          <a:prstGeom prst="rect">
            <a:avLst/>
          </a:prstGeom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785" y="4550410"/>
            <a:ext cx="542290" cy="151130"/>
          </a:xfrm>
          <a:prstGeom prst="rect">
            <a:avLst/>
          </a:prstGeom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785" y="5371465"/>
            <a:ext cx="542290" cy="15113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6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7" grpId="0" animBg="1"/>
      <p:bldP spid="36" grpId="0" animBg="1"/>
      <p:bldP spid="33" grpId="1" animBg="1"/>
      <p:bldP spid="34" grpId="1" animBg="1"/>
      <p:bldP spid="37" grpId="1" animBg="1"/>
      <p:bldP spid="36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41375" y="-57150"/>
            <a:ext cx="3503295" cy="1028700"/>
          </a:xfrm>
        </p:spPr>
        <p:txBody>
          <a:bodyPr/>
          <a:lstStyle/>
          <a:p>
            <a:r>
              <a:rPr lang="en-US" dirty="0">
                <a:sym typeface="+mn-ea"/>
              </a:rPr>
              <a:t>if - elif </a:t>
            </a:r>
            <a:r>
              <a:rPr lang="zh-CN" altLang="en-US" dirty="0">
                <a:sym typeface="+mn-ea"/>
              </a:rPr>
              <a:t>条件语句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6147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11176635" y="3933825"/>
            <a:ext cx="741045" cy="3683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p>
            <a:endParaRPr lang="en-US" altLang="zh-CN">
              <a:solidFill>
                <a:srgbClr val="FF0000"/>
              </a:solidFill>
            </a:endParaRPr>
          </a:p>
        </p:txBody>
      </p:sp>
      <p:grpSp>
        <p:nvGrpSpPr>
          <p:cNvPr id="54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 rot="20622996">
            <a:off x="10773410" y="5948680"/>
            <a:ext cx="1336675" cy="630555"/>
            <a:chOff x="3558970" y="2488798"/>
            <a:chExt cx="5067710" cy="2391582"/>
          </a:xfrm>
        </p:grpSpPr>
        <p:sp>
          <p:nvSpPr>
            <p:cNvPr id="95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7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7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8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9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0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1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2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3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4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5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6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7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8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9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0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1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2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3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4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5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116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117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118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9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0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1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2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3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4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5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6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7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8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9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0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1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2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3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</p:grpSp>
      <p:sp>
        <p:nvSpPr>
          <p:cNvPr id="8" name="文本框 7"/>
          <p:cNvSpPr txBox="1"/>
          <p:nvPr/>
        </p:nvSpPr>
        <p:spPr>
          <a:xfrm>
            <a:off x="843280" y="1168400"/>
            <a:ext cx="1013714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/>
              <a:t>       </a:t>
            </a:r>
            <a:r>
              <a:rPr lang="zh-CN" altLang="en-US" sz="2400"/>
              <a:t>给出一个百分制成绩，要求输出成绩等级A、B、C、D和E。90分以上为A，89～80为B，79～70为C，69～60为D，</a:t>
            </a:r>
            <a:r>
              <a:rPr lang="en-US" altLang="zh-CN" sz="2400"/>
              <a:t>60</a:t>
            </a:r>
            <a:r>
              <a:rPr lang="zh-CN" altLang="en-US" sz="2400"/>
              <a:t>分以下为</a:t>
            </a:r>
            <a:r>
              <a:rPr lang="en-US" altLang="zh-CN" sz="2400"/>
              <a:t>E</a:t>
            </a:r>
            <a:r>
              <a:rPr lang="zh-CN" altLang="en-US" sz="2400"/>
              <a:t>。</a:t>
            </a:r>
            <a:endParaRPr lang="zh-CN" altLang="en-US" sz="2400"/>
          </a:p>
        </p:txBody>
      </p:sp>
      <p:pic>
        <p:nvPicPr>
          <p:cNvPr id="14" name="ECB019B1-382A-4266-B25C-5B523AA43C14-4" descr="C:/Users/ADMINI~1/AppData/Local/Temp/qt_temp.XP7320qt_temp"/>
          <p:cNvPicPr>
            <a:picLocks noChangeAspect="1"/>
          </p:cNvPicPr>
          <p:nvPr/>
        </p:nvPicPr>
        <p:blipFill>
          <a:blip r:embed="rId4"/>
          <a:srcRect l="4152" t="6282" r="6132" b="7491"/>
          <a:stretch>
            <a:fillRect/>
          </a:stretch>
        </p:blipFill>
        <p:spPr>
          <a:xfrm>
            <a:off x="262890" y="1987551"/>
            <a:ext cx="6417945" cy="486981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837045" y="2180590"/>
            <a:ext cx="4956175" cy="3692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 anchor="t">
            <a:spAutoFit/>
          </a:bodyPr>
          <a:p>
            <a:r>
              <a:rPr lang="zh-CN" altLang="en-US">
                <a:solidFill>
                  <a:srgbClr val="DF0A01"/>
                </a:solidFill>
              </a:rPr>
              <a:t># 百分制转换成A～E等级制</a:t>
            </a:r>
            <a:endParaRPr lang="zh-CN" altLang="en-US">
              <a:solidFill>
                <a:srgbClr val="DF0A01"/>
              </a:solidFill>
            </a:endParaRPr>
          </a:p>
          <a:p>
            <a:r>
              <a:rPr lang="zh-CN" altLang="en-US"/>
              <a:t>score = </a:t>
            </a:r>
            <a:r>
              <a:rPr lang="zh-CN" altLang="en-US">
                <a:solidFill>
                  <a:srgbClr val="9F1AA1"/>
                </a:solidFill>
              </a:rPr>
              <a:t>float</a:t>
            </a:r>
            <a:r>
              <a:rPr lang="zh-CN" altLang="en-US"/>
              <a:t>(</a:t>
            </a:r>
            <a:r>
              <a:rPr lang="zh-CN" altLang="en-US">
                <a:solidFill>
                  <a:srgbClr val="9F1AA1"/>
                </a:solidFill>
              </a:rPr>
              <a:t>inpu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请输入成绩（0-100）：'</a:t>
            </a:r>
            <a:r>
              <a:rPr lang="zh-CN" altLang="en-US"/>
              <a:t>))</a:t>
            </a:r>
            <a:endParaRPr lang="zh-CN" altLang="en-US"/>
          </a:p>
          <a:p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if</a:t>
            </a:r>
            <a:r>
              <a:rPr lang="zh-CN" altLang="en-US"/>
              <a:t> score&gt;=90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A'</a:t>
            </a:r>
            <a:r>
              <a:rPr lang="zh-CN" altLang="en-US"/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elif</a:t>
            </a:r>
            <a:r>
              <a:rPr lang="zh-CN" altLang="en-US"/>
              <a:t> score&gt;=80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B'</a:t>
            </a:r>
            <a:r>
              <a:rPr lang="zh-CN" altLang="en-US"/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elif</a:t>
            </a:r>
            <a:r>
              <a:rPr lang="zh-CN" altLang="en-US"/>
              <a:t> score&gt;=70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C'</a:t>
            </a:r>
            <a:r>
              <a:rPr lang="zh-CN" altLang="en-US"/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elif</a:t>
            </a:r>
            <a:r>
              <a:rPr lang="zh-CN" altLang="en-US"/>
              <a:t> score&gt;=60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D'</a:t>
            </a:r>
            <a:r>
              <a:rPr lang="zh-CN" altLang="en-US"/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else</a:t>
            </a:r>
            <a:r>
              <a:rPr lang="zh-CN" altLang="en-US"/>
              <a:t>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E'</a:t>
            </a:r>
            <a:r>
              <a:rPr lang="zh-CN" altLang="en-US"/>
              <a:t>)</a:t>
            </a:r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9016365" y="2908300"/>
            <a:ext cx="2116455" cy="32918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t">
            <a:spAutoFit/>
          </a:bodyPr>
          <a:p>
            <a:r>
              <a:rPr lang="zh-CN" altLang="en-US" sz="1600">
                <a:solidFill>
                  <a:srgbClr val="FF790B"/>
                </a:solidFill>
                <a:sym typeface="+mn-ea"/>
              </a:rPr>
              <a:t>if</a:t>
            </a:r>
            <a:r>
              <a:rPr lang="zh-CN" altLang="en-US" sz="1600">
                <a:sym typeface="+mn-ea"/>
              </a:rPr>
              <a:t> score&gt;=90: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    </a:t>
            </a:r>
            <a:r>
              <a:rPr lang="zh-CN" altLang="en-US" sz="1600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 sz="1600">
                <a:sym typeface="+mn-ea"/>
              </a:rPr>
              <a:t>(</a:t>
            </a:r>
            <a:r>
              <a:rPr lang="zh-CN" altLang="en-US" sz="1600">
                <a:solidFill>
                  <a:srgbClr val="19B66B"/>
                </a:solidFill>
                <a:sym typeface="+mn-ea"/>
              </a:rPr>
              <a:t>'A'</a:t>
            </a:r>
            <a:r>
              <a:rPr lang="zh-CN" altLang="en-US" sz="1600">
                <a:sym typeface="+mn-ea"/>
              </a:rPr>
              <a:t>)</a:t>
            </a:r>
            <a:endParaRPr lang="zh-CN" altLang="en-US" sz="1600"/>
          </a:p>
          <a:p>
            <a:r>
              <a:rPr lang="zh-CN" altLang="en-US" sz="1600">
                <a:solidFill>
                  <a:srgbClr val="FF790B"/>
                </a:solidFill>
                <a:sym typeface="+mn-ea"/>
              </a:rPr>
              <a:t>el</a:t>
            </a:r>
            <a:r>
              <a:rPr lang="en-US" altLang="zh-CN" sz="1600">
                <a:solidFill>
                  <a:srgbClr val="FF790B"/>
                </a:solidFill>
                <a:sym typeface="+mn-ea"/>
              </a:rPr>
              <a:t>se</a:t>
            </a:r>
            <a:r>
              <a:rPr lang="en-US" altLang="zh-CN" sz="1600">
                <a:solidFill>
                  <a:schemeClr val="tx1"/>
                </a:solidFill>
                <a:sym typeface="+mn-ea"/>
              </a:rPr>
              <a:t>:</a:t>
            </a:r>
            <a:endParaRPr lang="en-US" altLang="zh-CN" sz="1600">
              <a:solidFill>
                <a:srgbClr val="FF790B"/>
              </a:solidFill>
              <a:sym typeface="+mn-ea"/>
            </a:endParaRPr>
          </a:p>
          <a:p>
            <a:r>
              <a:rPr lang="en-US" altLang="zh-CN" sz="1600">
                <a:solidFill>
                  <a:srgbClr val="FF790B"/>
                </a:solidFill>
                <a:sym typeface="+mn-ea"/>
              </a:rPr>
              <a:t>    </a:t>
            </a:r>
            <a:r>
              <a:rPr lang="zh-CN" altLang="en-US" sz="1600">
                <a:solidFill>
                  <a:srgbClr val="FF790B"/>
                </a:solidFill>
                <a:sym typeface="+mn-ea"/>
              </a:rPr>
              <a:t>if</a:t>
            </a:r>
            <a:r>
              <a:rPr lang="zh-CN" altLang="en-US" sz="1600">
                <a:sym typeface="+mn-ea"/>
              </a:rPr>
              <a:t> score&gt;=80: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        </a:t>
            </a:r>
            <a:r>
              <a:rPr lang="zh-CN" altLang="en-US" sz="1600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 sz="1600">
                <a:sym typeface="+mn-ea"/>
              </a:rPr>
              <a:t>(</a:t>
            </a:r>
            <a:r>
              <a:rPr lang="zh-CN" altLang="en-US" sz="1600">
                <a:solidFill>
                  <a:srgbClr val="19B66B"/>
                </a:solidFill>
                <a:sym typeface="+mn-ea"/>
              </a:rPr>
              <a:t>'B'</a:t>
            </a:r>
            <a:r>
              <a:rPr lang="zh-CN" altLang="en-US" sz="1600">
                <a:sym typeface="+mn-ea"/>
              </a:rPr>
              <a:t>)</a:t>
            </a:r>
            <a:endParaRPr lang="zh-CN" altLang="en-US" sz="1600"/>
          </a:p>
          <a:p>
            <a:r>
              <a:rPr lang="zh-CN" altLang="en-US" sz="1600">
                <a:solidFill>
                  <a:srgbClr val="FF790B"/>
                </a:solidFill>
                <a:sym typeface="+mn-ea"/>
              </a:rPr>
              <a:t>    el</a:t>
            </a:r>
            <a:r>
              <a:rPr lang="en-US" altLang="zh-CN" sz="1600">
                <a:solidFill>
                  <a:srgbClr val="FF790B"/>
                </a:solidFill>
                <a:sym typeface="+mn-ea"/>
              </a:rPr>
              <a:t>se</a:t>
            </a:r>
            <a:r>
              <a:rPr lang="en-US" altLang="zh-CN" sz="1600">
                <a:sym typeface="+mn-ea"/>
              </a:rPr>
              <a:t>:</a:t>
            </a:r>
            <a:endParaRPr lang="en-US" altLang="zh-CN" sz="1600">
              <a:solidFill>
                <a:srgbClr val="FF790B"/>
              </a:solidFill>
              <a:sym typeface="+mn-ea"/>
            </a:endParaRPr>
          </a:p>
          <a:p>
            <a:r>
              <a:rPr lang="zh-CN" altLang="en-US" sz="1600">
                <a:solidFill>
                  <a:srgbClr val="FF790B"/>
                </a:solidFill>
                <a:sym typeface="+mn-ea"/>
              </a:rPr>
              <a:t>        if</a:t>
            </a:r>
            <a:r>
              <a:rPr lang="zh-CN" altLang="en-US" sz="1600">
                <a:sym typeface="+mn-ea"/>
              </a:rPr>
              <a:t> score&gt;=70: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            </a:t>
            </a:r>
            <a:r>
              <a:rPr lang="zh-CN" altLang="en-US" sz="1600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 sz="1600">
                <a:sym typeface="+mn-ea"/>
              </a:rPr>
              <a:t>(</a:t>
            </a:r>
            <a:r>
              <a:rPr lang="zh-CN" altLang="en-US" sz="1600">
                <a:solidFill>
                  <a:srgbClr val="19B66B"/>
                </a:solidFill>
                <a:sym typeface="+mn-ea"/>
              </a:rPr>
              <a:t>'C'</a:t>
            </a:r>
            <a:r>
              <a:rPr lang="zh-CN" altLang="en-US" sz="1600">
                <a:sym typeface="+mn-ea"/>
              </a:rPr>
              <a:t>)</a:t>
            </a:r>
            <a:endParaRPr lang="zh-CN" altLang="en-US" sz="1600"/>
          </a:p>
          <a:p>
            <a:r>
              <a:rPr lang="zh-CN" altLang="en-US" sz="1600">
                <a:solidFill>
                  <a:srgbClr val="FF790B"/>
                </a:solidFill>
                <a:sym typeface="+mn-ea"/>
              </a:rPr>
              <a:t>        el</a:t>
            </a:r>
            <a:r>
              <a:rPr lang="en-US" altLang="zh-CN" sz="1600">
                <a:solidFill>
                  <a:srgbClr val="FF790B"/>
                </a:solidFill>
                <a:sym typeface="+mn-ea"/>
              </a:rPr>
              <a:t>se</a:t>
            </a:r>
            <a:r>
              <a:rPr lang="en-US" altLang="zh-CN" sz="1600">
                <a:sym typeface="+mn-ea"/>
              </a:rPr>
              <a:t>:</a:t>
            </a:r>
            <a:endParaRPr lang="en-US" altLang="zh-CN" sz="1600">
              <a:solidFill>
                <a:srgbClr val="FF790B"/>
              </a:solidFill>
              <a:sym typeface="+mn-ea"/>
            </a:endParaRPr>
          </a:p>
          <a:p>
            <a:r>
              <a:rPr lang="zh-CN" altLang="en-US" sz="1600">
                <a:solidFill>
                  <a:srgbClr val="FF790B"/>
                </a:solidFill>
                <a:sym typeface="+mn-ea"/>
              </a:rPr>
              <a:t>            if</a:t>
            </a:r>
            <a:r>
              <a:rPr lang="zh-CN" altLang="en-US" sz="1600">
                <a:sym typeface="+mn-ea"/>
              </a:rPr>
              <a:t> score&gt;=60: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                </a:t>
            </a:r>
            <a:r>
              <a:rPr lang="zh-CN" altLang="en-US" sz="1600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 sz="1600">
                <a:sym typeface="+mn-ea"/>
              </a:rPr>
              <a:t>(</a:t>
            </a:r>
            <a:r>
              <a:rPr lang="zh-CN" altLang="en-US" sz="1600">
                <a:solidFill>
                  <a:srgbClr val="19B66B"/>
                </a:solidFill>
                <a:sym typeface="+mn-ea"/>
              </a:rPr>
              <a:t>'D'</a:t>
            </a:r>
            <a:r>
              <a:rPr lang="zh-CN" altLang="en-US" sz="1600">
                <a:sym typeface="+mn-ea"/>
              </a:rPr>
              <a:t>)</a:t>
            </a:r>
            <a:endParaRPr lang="zh-CN" altLang="en-US" sz="1600"/>
          </a:p>
          <a:p>
            <a:r>
              <a:rPr lang="zh-CN" altLang="en-US" sz="1600">
                <a:solidFill>
                  <a:srgbClr val="FF790B"/>
                </a:solidFill>
                <a:sym typeface="+mn-ea"/>
              </a:rPr>
              <a:t>            else</a:t>
            </a:r>
            <a:r>
              <a:rPr lang="zh-CN" altLang="en-US" sz="1600">
                <a:sym typeface="+mn-ea"/>
              </a:rPr>
              <a:t>: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                </a:t>
            </a:r>
            <a:r>
              <a:rPr lang="zh-CN" altLang="en-US" sz="1600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 sz="1600">
                <a:sym typeface="+mn-ea"/>
              </a:rPr>
              <a:t>(</a:t>
            </a:r>
            <a:r>
              <a:rPr lang="zh-CN" altLang="en-US" sz="1600">
                <a:solidFill>
                  <a:srgbClr val="19B66B"/>
                </a:solidFill>
                <a:sym typeface="+mn-ea"/>
              </a:rPr>
              <a:t>'E'</a:t>
            </a:r>
            <a:r>
              <a:rPr lang="zh-CN" altLang="en-US" sz="1600">
                <a:sym typeface="+mn-ea"/>
              </a:rPr>
              <a:t>)</a:t>
            </a:r>
            <a:endParaRPr lang="zh-CN" altLang="en-US" sz="1600"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8" grpId="1"/>
      <p:bldP spid="5" grpId="0"/>
      <p:bldP spid="6" grpId="0" bldLvl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41375" y="-57150"/>
            <a:ext cx="3503295" cy="1028700"/>
          </a:xfrm>
        </p:spPr>
        <p:txBody>
          <a:bodyPr/>
          <a:lstStyle/>
          <a:p>
            <a:r>
              <a:rPr lang="en-US" dirty="0">
                <a:sym typeface="+mn-ea"/>
              </a:rPr>
              <a:t>if - elif </a:t>
            </a:r>
            <a:r>
              <a:rPr lang="zh-CN" altLang="en-US" dirty="0">
                <a:sym typeface="+mn-ea"/>
              </a:rPr>
              <a:t>条件语句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6147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11176635" y="3933825"/>
            <a:ext cx="741045" cy="3683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p>
            <a:endParaRPr lang="en-US" altLang="zh-CN">
              <a:solidFill>
                <a:srgbClr val="FF0000"/>
              </a:solidFill>
            </a:endParaRPr>
          </a:p>
        </p:txBody>
      </p:sp>
      <p:grpSp>
        <p:nvGrpSpPr>
          <p:cNvPr id="54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 rot="20622996">
            <a:off x="10773410" y="5948680"/>
            <a:ext cx="1336675" cy="630555"/>
            <a:chOff x="3558970" y="2488798"/>
            <a:chExt cx="5067710" cy="2391582"/>
          </a:xfrm>
        </p:grpSpPr>
        <p:sp>
          <p:nvSpPr>
            <p:cNvPr id="95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7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7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8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9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0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1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2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3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4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5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6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7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8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9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0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1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2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3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4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5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116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117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118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9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0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1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2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3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4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5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6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7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8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9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0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1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2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3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</p:grpSp>
      <p:sp>
        <p:nvSpPr>
          <p:cNvPr id="8" name="文本框 7"/>
          <p:cNvSpPr txBox="1"/>
          <p:nvPr/>
        </p:nvSpPr>
        <p:spPr>
          <a:xfrm>
            <a:off x="843280" y="1168400"/>
            <a:ext cx="1013714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/>
              <a:t>       </a:t>
            </a:r>
            <a:r>
              <a:rPr lang="zh-CN" altLang="en-US" sz="2400"/>
              <a:t>给出一个百分制成绩，要求输出成绩等级A、B、C、D和E。90分以上为A，89～80为B，79～70为C，69～60为D，</a:t>
            </a:r>
            <a:r>
              <a:rPr lang="en-US" altLang="zh-CN" sz="2400"/>
              <a:t>60</a:t>
            </a:r>
            <a:r>
              <a:rPr lang="zh-CN" altLang="en-US" sz="2400"/>
              <a:t>分以下为</a:t>
            </a:r>
            <a:r>
              <a:rPr lang="en-US" altLang="zh-CN" sz="2400"/>
              <a:t>E</a:t>
            </a:r>
            <a:r>
              <a:rPr lang="zh-CN" altLang="en-US" sz="2400"/>
              <a:t>。</a:t>
            </a:r>
            <a:endParaRPr lang="zh-CN" altLang="en-US" sz="2400"/>
          </a:p>
        </p:txBody>
      </p:sp>
      <p:pic>
        <p:nvPicPr>
          <p:cNvPr id="14" name="ECB019B1-382A-4266-B25C-5B523AA43C14-44" descr="C:/Users/ADMINI~1/AppData/Local/Temp/qt_temp.XP7320qt_temp"/>
          <p:cNvPicPr>
            <a:picLocks noChangeAspect="1"/>
          </p:cNvPicPr>
          <p:nvPr/>
        </p:nvPicPr>
        <p:blipFill>
          <a:blip r:embed="rId4"/>
          <a:srcRect l="4152" t="6282" r="6132" b="7491"/>
          <a:stretch>
            <a:fillRect/>
          </a:stretch>
        </p:blipFill>
        <p:spPr>
          <a:xfrm>
            <a:off x="262890" y="1987551"/>
            <a:ext cx="6417945" cy="486981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837045" y="2180590"/>
            <a:ext cx="4956175" cy="3692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 anchor="t">
            <a:spAutoFit/>
          </a:bodyPr>
          <a:p>
            <a:r>
              <a:rPr lang="zh-CN" altLang="en-US">
                <a:solidFill>
                  <a:srgbClr val="DF0A01"/>
                </a:solidFill>
              </a:rPr>
              <a:t># 百分制转换成A～E等级制</a:t>
            </a:r>
            <a:endParaRPr lang="zh-CN" altLang="en-US">
              <a:solidFill>
                <a:srgbClr val="DF0A01"/>
              </a:solidFill>
            </a:endParaRPr>
          </a:p>
          <a:p>
            <a:r>
              <a:rPr lang="zh-CN" altLang="en-US"/>
              <a:t>score = </a:t>
            </a:r>
            <a:r>
              <a:rPr lang="zh-CN" altLang="en-US">
                <a:solidFill>
                  <a:srgbClr val="9F1AA1"/>
                </a:solidFill>
              </a:rPr>
              <a:t>float</a:t>
            </a:r>
            <a:r>
              <a:rPr lang="zh-CN" altLang="en-US"/>
              <a:t>(</a:t>
            </a:r>
            <a:r>
              <a:rPr lang="zh-CN" altLang="en-US">
                <a:solidFill>
                  <a:srgbClr val="9F1AA1"/>
                </a:solidFill>
              </a:rPr>
              <a:t>inpu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请输入成绩（0-100）：'</a:t>
            </a:r>
            <a:r>
              <a:rPr lang="zh-CN" altLang="en-US"/>
              <a:t>))</a:t>
            </a:r>
            <a:endParaRPr lang="zh-CN" altLang="en-US"/>
          </a:p>
          <a:p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if</a:t>
            </a:r>
            <a:r>
              <a:rPr lang="zh-CN" altLang="en-US"/>
              <a:t> score&gt;=90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A'</a:t>
            </a:r>
            <a:r>
              <a:rPr lang="zh-CN" altLang="en-US"/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elif</a:t>
            </a:r>
            <a:r>
              <a:rPr lang="zh-CN" altLang="en-US"/>
              <a:t> score&gt;=80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B'</a:t>
            </a:r>
            <a:r>
              <a:rPr lang="zh-CN" altLang="en-US"/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elif</a:t>
            </a:r>
            <a:r>
              <a:rPr lang="zh-CN" altLang="en-US"/>
              <a:t> score&gt;=70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C'</a:t>
            </a:r>
            <a:r>
              <a:rPr lang="zh-CN" altLang="en-US"/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elif</a:t>
            </a:r>
            <a:r>
              <a:rPr lang="zh-CN" altLang="en-US"/>
              <a:t> score&gt;=60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D'</a:t>
            </a:r>
            <a:r>
              <a:rPr lang="zh-CN" altLang="en-US"/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</a:rPr>
              <a:t>else</a:t>
            </a:r>
            <a:r>
              <a:rPr lang="zh-CN" altLang="en-US"/>
              <a:t>:</a:t>
            </a:r>
            <a:endParaRPr lang="zh-CN" altLang="en-US"/>
          </a:p>
          <a:p>
            <a:r>
              <a:rPr lang="zh-CN" altLang="en-US"/>
              <a:t>    </a:t>
            </a:r>
            <a:r>
              <a:rPr lang="zh-CN" altLang="en-US">
                <a:solidFill>
                  <a:srgbClr val="9F1AA1"/>
                </a:solidFill>
              </a:rPr>
              <a:t>print</a:t>
            </a:r>
            <a:r>
              <a:rPr lang="zh-CN" altLang="en-US"/>
              <a:t>(</a:t>
            </a:r>
            <a:r>
              <a:rPr lang="zh-CN" altLang="en-US">
                <a:solidFill>
                  <a:srgbClr val="19B66B"/>
                </a:solidFill>
              </a:rPr>
              <a:t>'E'</a:t>
            </a:r>
            <a:r>
              <a:rPr lang="zh-CN" altLang="en-US"/>
              <a:t>)</a:t>
            </a:r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9261475" y="3068320"/>
            <a:ext cx="2116455" cy="286131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t">
            <a:spAutoFit/>
          </a:bodyPr>
          <a:p>
            <a:r>
              <a:rPr lang="zh-CN" altLang="en-US">
                <a:solidFill>
                  <a:srgbClr val="FF790B"/>
                </a:solidFill>
                <a:sym typeface="+mn-ea"/>
              </a:rPr>
              <a:t>if</a:t>
            </a:r>
            <a:r>
              <a:rPr lang="zh-CN" altLang="en-US">
                <a:sym typeface="+mn-ea"/>
              </a:rPr>
              <a:t> score&gt;=</a:t>
            </a:r>
            <a:r>
              <a:rPr lang="en-US" altLang="zh-CN">
                <a:sym typeface="+mn-ea"/>
              </a:rPr>
              <a:t>6</a:t>
            </a:r>
            <a:r>
              <a:rPr lang="zh-CN" altLang="en-US">
                <a:sym typeface="+mn-ea"/>
              </a:rPr>
              <a:t>0:</a:t>
            </a:r>
            <a:endParaRPr lang="zh-CN" altLang="en-US"/>
          </a:p>
          <a:p>
            <a:r>
              <a:rPr lang="zh-CN" altLang="en-US">
                <a:sym typeface="+mn-ea"/>
              </a:rPr>
              <a:t>   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</a:t>
            </a:r>
            <a:r>
              <a:rPr lang="en-US" altLang="zh-CN">
                <a:solidFill>
                  <a:srgbClr val="19B66B"/>
                </a:solidFill>
                <a:sym typeface="+mn-ea"/>
              </a:rPr>
              <a:t>D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</a:t>
            </a:r>
            <a:r>
              <a:rPr lang="zh-CN" altLang="en-US">
                <a:sym typeface="+mn-ea"/>
              </a:rPr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  <a:sym typeface="+mn-ea"/>
              </a:rPr>
              <a:t>elif</a:t>
            </a:r>
            <a:r>
              <a:rPr lang="zh-CN" altLang="en-US">
                <a:sym typeface="+mn-ea"/>
              </a:rPr>
              <a:t> score&gt;=</a:t>
            </a:r>
            <a:r>
              <a:rPr lang="en-US" altLang="zh-CN">
                <a:sym typeface="+mn-ea"/>
              </a:rPr>
              <a:t>7</a:t>
            </a:r>
            <a:r>
              <a:rPr lang="zh-CN" altLang="en-US">
                <a:sym typeface="+mn-ea"/>
              </a:rPr>
              <a:t>0:</a:t>
            </a:r>
            <a:endParaRPr lang="zh-CN" altLang="en-US"/>
          </a:p>
          <a:p>
            <a:r>
              <a:rPr lang="zh-CN" altLang="en-US">
                <a:sym typeface="+mn-ea"/>
              </a:rPr>
              <a:t>   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</a:t>
            </a:r>
            <a:r>
              <a:rPr lang="en-US" altLang="zh-CN">
                <a:solidFill>
                  <a:srgbClr val="19B66B"/>
                </a:solidFill>
                <a:sym typeface="+mn-ea"/>
              </a:rPr>
              <a:t>C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</a:t>
            </a:r>
            <a:r>
              <a:rPr lang="zh-CN" altLang="en-US">
                <a:sym typeface="+mn-ea"/>
              </a:rPr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  <a:sym typeface="+mn-ea"/>
              </a:rPr>
              <a:t>elif</a:t>
            </a:r>
            <a:r>
              <a:rPr lang="zh-CN" altLang="en-US">
                <a:sym typeface="+mn-ea"/>
              </a:rPr>
              <a:t> score&gt;=</a:t>
            </a:r>
            <a:r>
              <a:rPr lang="en-US" altLang="zh-CN">
                <a:sym typeface="+mn-ea"/>
              </a:rPr>
              <a:t>8</a:t>
            </a:r>
            <a:r>
              <a:rPr lang="zh-CN" altLang="en-US">
                <a:sym typeface="+mn-ea"/>
              </a:rPr>
              <a:t>0:</a:t>
            </a:r>
            <a:endParaRPr lang="zh-CN" altLang="en-US"/>
          </a:p>
          <a:p>
            <a:r>
              <a:rPr lang="zh-CN" altLang="en-US">
                <a:sym typeface="+mn-ea"/>
              </a:rPr>
              <a:t>   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</a:t>
            </a:r>
            <a:r>
              <a:rPr lang="en-US" altLang="zh-CN">
                <a:solidFill>
                  <a:srgbClr val="19B66B"/>
                </a:solidFill>
                <a:sym typeface="+mn-ea"/>
              </a:rPr>
              <a:t>B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</a:t>
            </a:r>
            <a:r>
              <a:rPr lang="zh-CN" altLang="en-US">
                <a:sym typeface="+mn-ea"/>
              </a:rPr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  <a:sym typeface="+mn-ea"/>
              </a:rPr>
              <a:t>elif</a:t>
            </a:r>
            <a:r>
              <a:rPr lang="zh-CN" altLang="en-US">
                <a:sym typeface="+mn-ea"/>
              </a:rPr>
              <a:t> score&gt;=</a:t>
            </a:r>
            <a:r>
              <a:rPr lang="en-US" altLang="zh-CN">
                <a:sym typeface="+mn-ea"/>
              </a:rPr>
              <a:t>9</a:t>
            </a:r>
            <a:r>
              <a:rPr lang="zh-CN" altLang="en-US">
                <a:sym typeface="+mn-ea"/>
              </a:rPr>
              <a:t>0:</a:t>
            </a:r>
            <a:endParaRPr lang="zh-CN" altLang="en-US"/>
          </a:p>
          <a:p>
            <a:r>
              <a:rPr lang="zh-CN" altLang="en-US">
                <a:sym typeface="+mn-ea"/>
              </a:rPr>
              <a:t>   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</a:t>
            </a:r>
            <a:r>
              <a:rPr lang="en-US" altLang="zh-CN">
                <a:solidFill>
                  <a:srgbClr val="19B66B"/>
                </a:solidFill>
                <a:sym typeface="+mn-ea"/>
              </a:rPr>
              <a:t>A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</a:t>
            </a:r>
            <a:r>
              <a:rPr lang="zh-CN" altLang="en-US">
                <a:sym typeface="+mn-ea"/>
              </a:rPr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  <a:sym typeface="+mn-ea"/>
              </a:rPr>
              <a:t>else</a:t>
            </a:r>
            <a:r>
              <a:rPr lang="zh-CN" altLang="en-US">
                <a:sym typeface="+mn-ea"/>
              </a:rPr>
              <a:t>:</a:t>
            </a:r>
            <a:endParaRPr lang="zh-CN" altLang="en-US"/>
          </a:p>
          <a:p>
            <a:r>
              <a:rPr lang="zh-CN" altLang="en-US">
                <a:sym typeface="+mn-ea"/>
              </a:rPr>
              <a:t>   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E'</a:t>
            </a:r>
            <a:r>
              <a:rPr lang="zh-CN" altLang="en-US">
                <a:sym typeface="+mn-ea"/>
              </a:rPr>
              <a:t>)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  <p:bldLst>
      <p:bldP spid="8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ym typeface="+mn-ea"/>
              </a:rPr>
              <a:t>求最大的数</a:t>
            </a:r>
            <a:endParaRPr lang="zh-CN" altLang="en-US" sz="2800" dirty="0"/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求最大的数</a:t>
            </a:r>
            <a:endParaRPr lang="zh-CN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grpSp>
        <p:nvGrpSpPr>
          <p:cNvPr id="27" name="组合 26"/>
          <p:cNvGrpSpPr/>
          <p:nvPr/>
        </p:nvGrpSpPr>
        <p:grpSpPr>
          <a:xfrm rot="1920000">
            <a:off x="667385" y="1409065"/>
            <a:ext cx="571500" cy="573405"/>
            <a:chOff x="17704" y="7751"/>
            <a:chExt cx="1382" cy="1386"/>
          </a:xfrm>
        </p:grpSpPr>
        <p:sp>
          <p:nvSpPr>
            <p:cNvPr id="16" name="ïsľiďê"/>
            <p:cNvSpPr/>
            <p:nvPr/>
          </p:nvSpPr>
          <p:spPr bwMode="auto">
            <a:xfrm>
              <a:off x="17704" y="7751"/>
              <a:ext cx="1383" cy="1386"/>
            </a:xfrm>
            <a:prstGeom prst="ellipse">
              <a:avLst/>
            </a:prstGeom>
            <a:solidFill>
              <a:srgbClr val="F4A229"/>
            </a:solidFill>
            <a:ln w="2857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ctr" anchorCtr="0" compatLnSpc="1">
              <a:normAutofit fontScale="6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3" name="íśľîde"/>
            <p:cNvSpPr/>
            <p:nvPr/>
          </p:nvSpPr>
          <p:spPr bwMode="auto">
            <a:xfrm>
              <a:off x="18070" y="8090"/>
              <a:ext cx="650" cy="708"/>
            </a:xfrm>
            <a:custGeom>
              <a:avLst/>
              <a:gdLst>
                <a:gd name="connsiteX0" fmla="*/ 176272 w 556267"/>
                <a:gd name="connsiteY0" fmla="*/ 555492 h 606087"/>
                <a:gd name="connsiteX1" fmla="*/ 380065 w 556267"/>
                <a:gd name="connsiteY1" fmla="*/ 555492 h 606087"/>
                <a:gd name="connsiteX2" fmla="*/ 379295 w 556267"/>
                <a:gd name="connsiteY2" fmla="*/ 574730 h 606087"/>
                <a:gd name="connsiteX3" fmla="*/ 379295 w 556267"/>
                <a:gd name="connsiteY3" fmla="*/ 606087 h 606087"/>
                <a:gd name="connsiteX4" fmla="*/ 177043 w 556267"/>
                <a:gd name="connsiteY4" fmla="*/ 606087 h 606087"/>
                <a:gd name="connsiteX5" fmla="*/ 177043 w 556267"/>
                <a:gd name="connsiteY5" fmla="*/ 580116 h 606087"/>
                <a:gd name="connsiteX6" fmla="*/ 176272 w 556267"/>
                <a:gd name="connsiteY6" fmla="*/ 555492 h 606087"/>
                <a:gd name="connsiteX7" fmla="*/ 170486 w 556267"/>
                <a:gd name="connsiteY7" fmla="*/ 504967 h 606087"/>
                <a:gd name="connsiteX8" fmla="*/ 386134 w 556267"/>
                <a:gd name="connsiteY8" fmla="*/ 504967 h 606087"/>
                <a:gd name="connsiteX9" fmla="*/ 382185 w 556267"/>
                <a:gd name="connsiteY9" fmla="*/ 530300 h 606087"/>
                <a:gd name="connsiteX10" fmla="*/ 174050 w 556267"/>
                <a:gd name="connsiteY10" fmla="*/ 530300 h 606087"/>
                <a:gd name="connsiteX11" fmla="*/ 170486 w 556267"/>
                <a:gd name="connsiteY11" fmla="*/ 504967 h 606087"/>
                <a:gd name="connsiteX12" fmla="*/ 481527 w 556267"/>
                <a:gd name="connsiteY12" fmla="*/ 380419 h 606087"/>
                <a:gd name="connsiteX13" fmla="*/ 525359 w 556267"/>
                <a:gd name="connsiteY13" fmla="*/ 405623 h 606087"/>
                <a:gd name="connsiteX14" fmla="*/ 512643 w 556267"/>
                <a:gd name="connsiteY14" fmla="*/ 427557 h 606087"/>
                <a:gd name="connsiteX15" fmla="*/ 468907 w 556267"/>
                <a:gd name="connsiteY15" fmla="*/ 402256 h 606087"/>
                <a:gd name="connsiteX16" fmla="*/ 74740 w 556267"/>
                <a:gd name="connsiteY16" fmla="*/ 380419 h 606087"/>
                <a:gd name="connsiteX17" fmla="*/ 87360 w 556267"/>
                <a:gd name="connsiteY17" fmla="*/ 402353 h 606087"/>
                <a:gd name="connsiteX18" fmla="*/ 43528 w 556267"/>
                <a:gd name="connsiteY18" fmla="*/ 427557 h 606087"/>
                <a:gd name="connsiteX19" fmla="*/ 30908 w 556267"/>
                <a:gd name="connsiteY19" fmla="*/ 405720 h 606087"/>
                <a:gd name="connsiteX20" fmla="*/ 505742 w 556267"/>
                <a:gd name="connsiteY20" fmla="*/ 265115 h 606087"/>
                <a:gd name="connsiteX21" fmla="*/ 556267 w 556267"/>
                <a:gd name="connsiteY21" fmla="*/ 265115 h 606087"/>
                <a:gd name="connsiteX22" fmla="*/ 556267 w 556267"/>
                <a:gd name="connsiteY22" fmla="*/ 290448 h 606087"/>
                <a:gd name="connsiteX23" fmla="*/ 505742 w 556267"/>
                <a:gd name="connsiteY23" fmla="*/ 290448 h 606087"/>
                <a:gd name="connsiteX24" fmla="*/ 0 w 556267"/>
                <a:gd name="connsiteY24" fmla="*/ 265115 h 606087"/>
                <a:gd name="connsiteX25" fmla="*/ 50525 w 556267"/>
                <a:gd name="connsiteY25" fmla="*/ 265115 h 606087"/>
                <a:gd name="connsiteX26" fmla="*/ 50525 w 556267"/>
                <a:gd name="connsiteY26" fmla="*/ 290448 h 606087"/>
                <a:gd name="connsiteX27" fmla="*/ 0 w 556267"/>
                <a:gd name="connsiteY27" fmla="*/ 290448 h 606087"/>
                <a:gd name="connsiteX28" fmla="*/ 512739 w 556267"/>
                <a:gd name="connsiteY28" fmla="*/ 128006 h 606087"/>
                <a:gd name="connsiteX29" fmla="*/ 525359 w 556267"/>
                <a:gd name="connsiteY29" fmla="*/ 149823 h 606087"/>
                <a:gd name="connsiteX30" fmla="*/ 481527 w 556267"/>
                <a:gd name="connsiteY30" fmla="*/ 175003 h 606087"/>
                <a:gd name="connsiteX31" fmla="*/ 468907 w 556267"/>
                <a:gd name="connsiteY31" fmla="*/ 153186 h 606087"/>
                <a:gd name="connsiteX32" fmla="*/ 43528 w 556267"/>
                <a:gd name="connsiteY32" fmla="*/ 127935 h 606087"/>
                <a:gd name="connsiteX33" fmla="*/ 87360 w 556267"/>
                <a:gd name="connsiteY33" fmla="*/ 153197 h 606087"/>
                <a:gd name="connsiteX34" fmla="*/ 74740 w 556267"/>
                <a:gd name="connsiteY34" fmla="*/ 175002 h 606087"/>
                <a:gd name="connsiteX35" fmla="*/ 30908 w 556267"/>
                <a:gd name="connsiteY35" fmla="*/ 149836 h 606087"/>
                <a:gd name="connsiteX36" fmla="*/ 297059 w 556267"/>
                <a:gd name="connsiteY36" fmla="*/ 76575 h 606087"/>
                <a:gd name="connsiteX37" fmla="*/ 404602 w 556267"/>
                <a:gd name="connsiteY37" fmla="*/ 124032 h 606087"/>
                <a:gd name="connsiteX38" fmla="*/ 467778 w 556267"/>
                <a:gd name="connsiteY38" fmla="*/ 265117 h 606087"/>
                <a:gd name="connsiteX39" fmla="*/ 441583 w 556267"/>
                <a:gd name="connsiteY39" fmla="*/ 361098 h 606087"/>
                <a:gd name="connsiteX40" fmla="*/ 391794 w 556267"/>
                <a:gd name="connsiteY40" fmla="*/ 479775 h 606087"/>
                <a:gd name="connsiteX41" fmla="*/ 165285 w 556267"/>
                <a:gd name="connsiteY41" fmla="*/ 479775 h 606087"/>
                <a:gd name="connsiteX42" fmla="*/ 118192 w 556267"/>
                <a:gd name="connsiteY42" fmla="*/ 366676 h 606087"/>
                <a:gd name="connsiteX43" fmla="*/ 89879 w 556267"/>
                <a:gd name="connsiteY43" fmla="*/ 242420 h 606087"/>
                <a:gd name="connsiteX44" fmla="*/ 256582 w 556267"/>
                <a:gd name="connsiteY44" fmla="*/ 76907 h 606087"/>
                <a:gd name="connsiteX45" fmla="*/ 297059 w 556267"/>
                <a:gd name="connsiteY45" fmla="*/ 76575 h 606087"/>
                <a:gd name="connsiteX46" fmla="*/ 150042 w 556267"/>
                <a:gd name="connsiteY46" fmla="*/ 30978 h 606087"/>
                <a:gd name="connsiteX47" fmla="*/ 175284 w 556267"/>
                <a:gd name="connsiteY47" fmla="*/ 74605 h 606087"/>
                <a:gd name="connsiteX48" fmla="*/ 153414 w 556267"/>
                <a:gd name="connsiteY48" fmla="*/ 87289 h 606087"/>
                <a:gd name="connsiteX49" fmla="*/ 128076 w 556267"/>
                <a:gd name="connsiteY49" fmla="*/ 43566 h 606087"/>
                <a:gd name="connsiteX50" fmla="*/ 406225 w 556267"/>
                <a:gd name="connsiteY50" fmla="*/ 30837 h 606087"/>
                <a:gd name="connsiteX51" fmla="*/ 428191 w 556267"/>
                <a:gd name="connsiteY51" fmla="*/ 43441 h 606087"/>
                <a:gd name="connsiteX52" fmla="*/ 402853 w 556267"/>
                <a:gd name="connsiteY52" fmla="*/ 87219 h 606087"/>
                <a:gd name="connsiteX53" fmla="*/ 380983 w 556267"/>
                <a:gd name="connsiteY53" fmla="*/ 74615 h 606087"/>
                <a:gd name="connsiteX54" fmla="*/ 265538 w 556267"/>
                <a:gd name="connsiteY54" fmla="*/ 0 h 606087"/>
                <a:gd name="connsiteX55" fmla="*/ 290730 w 556267"/>
                <a:gd name="connsiteY55" fmla="*/ 0 h 606087"/>
                <a:gd name="connsiteX56" fmla="*/ 290730 w 556267"/>
                <a:gd name="connsiteY56" fmla="*/ 50525 h 606087"/>
                <a:gd name="connsiteX57" fmla="*/ 265538 w 556267"/>
                <a:gd name="connsiteY57" fmla="*/ 50525 h 60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56267" h="606087">
                  <a:moveTo>
                    <a:pt x="176272" y="555492"/>
                  </a:moveTo>
                  <a:lnTo>
                    <a:pt x="380065" y="555492"/>
                  </a:lnTo>
                  <a:cubicBezTo>
                    <a:pt x="379680" y="561937"/>
                    <a:pt x="379295" y="568381"/>
                    <a:pt x="379295" y="574730"/>
                  </a:cubicBezTo>
                  <a:lnTo>
                    <a:pt x="379295" y="606087"/>
                  </a:lnTo>
                  <a:lnTo>
                    <a:pt x="177043" y="606087"/>
                  </a:lnTo>
                  <a:lnTo>
                    <a:pt x="177043" y="580116"/>
                  </a:lnTo>
                  <a:cubicBezTo>
                    <a:pt x="177043" y="571844"/>
                    <a:pt x="176657" y="563668"/>
                    <a:pt x="176272" y="555492"/>
                  </a:cubicBezTo>
                  <a:close/>
                  <a:moveTo>
                    <a:pt x="170486" y="504967"/>
                  </a:moveTo>
                  <a:lnTo>
                    <a:pt x="386134" y="504967"/>
                  </a:lnTo>
                  <a:cubicBezTo>
                    <a:pt x="384593" y="513443"/>
                    <a:pt x="383245" y="521824"/>
                    <a:pt x="382185" y="530300"/>
                  </a:cubicBezTo>
                  <a:lnTo>
                    <a:pt x="174050" y="530300"/>
                  </a:lnTo>
                  <a:cubicBezTo>
                    <a:pt x="173087" y="521727"/>
                    <a:pt x="171931" y="513347"/>
                    <a:pt x="170486" y="504967"/>
                  </a:cubicBezTo>
                  <a:close/>
                  <a:moveTo>
                    <a:pt x="481527" y="380419"/>
                  </a:moveTo>
                  <a:lnTo>
                    <a:pt x="525359" y="405623"/>
                  </a:lnTo>
                  <a:lnTo>
                    <a:pt x="512643" y="427557"/>
                  </a:lnTo>
                  <a:lnTo>
                    <a:pt x="468907" y="402256"/>
                  </a:lnTo>
                  <a:close/>
                  <a:moveTo>
                    <a:pt x="74740" y="380419"/>
                  </a:moveTo>
                  <a:lnTo>
                    <a:pt x="87360" y="402353"/>
                  </a:lnTo>
                  <a:lnTo>
                    <a:pt x="43528" y="427557"/>
                  </a:lnTo>
                  <a:lnTo>
                    <a:pt x="30908" y="405720"/>
                  </a:lnTo>
                  <a:close/>
                  <a:moveTo>
                    <a:pt x="505742" y="265115"/>
                  </a:moveTo>
                  <a:lnTo>
                    <a:pt x="556267" y="265115"/>
                  </a:lnTo>
                  <a:lnTo>
                    <a:pt x="556267" y="290448"/>
                  </a:lnTo>
                  <a:lnTo>
                    <a:pt x="505742" y="290448"/>
                  </a:lnTo>
                  <a:close/>
                  <a:moveTo>
                    <a:pt x="0" y="265115"/>
                  </a:moveTo>
                  <a:lnTo>
                    <a:pt x="50525" y="265115"/>
                  </a:lnTo>
                  <a:lnTo>
                    <a:pt x="50525" y="290448"/>
                  </a:lnTo>
                  <a:lnTo>
                    <a:pt x="0" y="290448"/>
                  </a:lnTo>
                  <a:close/>
                  <a:moveTo>
                    <a:pt x="512739" y="128006"/>
                  </a:moveTo>
                  <a:lnTo>
                    <a:pt x="525359" y="149823"/>
                  </a:lnTo>
                  <a:lnTo>
                    <a:pt x="481527" y="175003"/>
                  </a:lnTo>
                  <a:lnTo>
                    <a:pt x="468907" y="153186"/>
                  </a:lnTo>
                  <a:close/>
                  <a:moveTo>
                    <a:pt x="43528" y="127935"/>
                  </a:moveTo>
                  <a:lnTo>
                    <a:pt x="87360" y="153197"/>
                  </a:lnTo>
                  <a:lnTo>
                    <a:pt x="74740" y="175002"/>
                  </a:lnTo>
                  <a:lnTo>
                    <a:pt x="30908" y="149836"/>
                  </a:lnTo>
                  <a:close/>
                  <a:moveTo>
                    <a:pt x="297059" y="76575"/>
                  </a:moveTo>
                  <a:cubicBezTo>
                    <a:pt x="336834" y="80411"/>
                    <a:pt x="374049" y="96623"/>
                    <a:pt x="404602" y="124032"/>
                  </a:cubicBezTo>
                  <a:cubicBezTo>
                    <a:pt x="444761" y="159808"/>
                    <a:pt x="467778" y="211357"/>
                    <a:pt x="467778" y="265117"/>
                  </a:cubicBezTo>
                  <a:cubicBezTo>
                    <a:pt x="467778" y="298874"/>
                    <a:pt x="458726" y="332053"/>
                    <a:pt x="441583" y="361098"/>
                  </a:cubicBezTo>
                  <a:cubicBezTo>
                    <a:pt x="418567" y="400144"/>
                    <a:pt x="402002" y="439767"/>
                    <a:pt x="391794" y="479775"/>
                  </a:cubicBezTo>
                  <a:lnTo>
                    <a:pt x="165285" y="479775"/>
                  </a:lnTo>
                  <a:cubicBezTo>
                    <a:pt x="155462" y="438709"/>
                    <a:pt x="139861" y="400529"/>
                    <a:pt x="118192" y="366676"/>
                  </a:cubicBezTo>
                  <a:cubicBezTo>
                    <a:pt x="94405" y="329649"/>
                    <a:pt x="84678" y="286660"/>
                    <a:pt x="89879" y="242420"/>
                  </a:cubicBezTo>
                  <a:cubicBezTo>
                    <a:pt x="99894" y="156057"/>
                    <a:pt x="170100" y="86524"/>
                    <a:pt x="256582" y="76907"/>
                  </a:cubicBezTo>
                  <a:cubicBezTo>
                    <a:pt x="270258" y="75392"/>
                    <a:pt x="283800" y="75296"/>
                    <a:pt x="297059" y="76575"/>
                  </a:cubicBezTo>
                  <a:close/>
                  <a:moveTo>
                    <a:pt x="150042" y="30978"/>
                  </a:moveTo>
                  <a:lnTo>
                    <a:pt x="175284" y="74605"/>
                  </a:lnTo>
                  <a:lnTo>
                    <a:pt x="153414" y="87289"/>
                  </a:lnTo>
                  <a:lnTo>
                    <a:pt x="128076" y="43566"/>
                  </a:lnTo>
                  <a:close/>
                  <a:moveTo>
                    <a:pt x="406225" y="30837"/>
                  </a:moveTo>
                  <a:lnTo>
                    <a:pt x="428191" y="43441"/>
                  </a:lnTo>
                  <a:lnTo>
                    <a:pt x="402853" y="87219"/>
                  </a:lnTo>
                  <a:lnTo>
                    <a:pt x="380983" y="74615"/>
                  </a:lnTo>
                  <a:close/>
                  <a:moveTo>
                    <a:pt x="265538" y="0"/>
                  </a:moveTo>
                  <a:lnTo>
                    <a:pt x="290730" y="0"/>
                  </a:lnTo>
                  <a:lnTo>
                    <a:pt x="290730" y="50525"/>
                  </a:lnTo>
                  <a:lnTo>
                    <a:pt x="265538" y="505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7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8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9" name="ísḷîḑê"/>
          <p:cNvSpPr/>
          <p:nvPr/>
        </p:nvSpPr>
        <p:spPr>
          <a:xfrm>
            <a:off x="1561465" y="1235710"/>
            <a:ext cx="9540875" cy="92075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scene3d>
              <a:camera prst="orthographicFront"/>
              <a:lightRig rig="threePt" dir="t"/>
            </a:scene3d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zh-CN" altLang="en-US" sz="4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比较三个数</a:t>
            </a:r>
            <a:r>
              <a:rPr lang="en-US" altLang="zh-CN" sz="4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</a:t>
            </a:r>
            <a:r>
              <a:rPr lang="zh-CN" altLang="en-US" sz="4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、</a:t>
            </a:r>
            <a:r>
              <a:rPr lang="en-US" altLang="zh-CN" sz="4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</a:t>
            </a:r>
            <a:r>
              <a:rPr lang="zh-CN" altLang="en-US" sz="4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、</a:t>
            </a:r>
            <a:r>
              <a:rPr lang="en-US" altLang="zh-CN" sz="4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</a:t>
            </a:r>
            <a:r>
              <a:rPr lang="zh-CN" altLang="en-US" sz="4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，输出其中最大的数。</a:t>
            </a:r>
            <a:endParaRPr lang="zh-CN" altLang="en-US" sz="4000" dirty="0">
              <a:solidFill>
                <a:srgbClr val="00B05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5262245" y="2642235"/>
            <a:ext cx="1666875" cy="101219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</a:bodyPr>
          <a:p>
            <a:pPr algn="ctr"/>
            <a:r>
              <a:rPr lang="en-US" altLang="zh-CN" sz="660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a</a:t>
            </a:r>
            <a:endParaRPr lang="en-US" altLang="zh-CN" sz="660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3092450" y="4451985"/>
            <a:ext cx="1666875" cy="101219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</a:bodyPr>
          <a:p>
            <a:pPr algn="ctr"/>
            <a:r>
              <a:rPr lang="en-US" altLang="zh-CN" sz="660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b</a:t>
            </a:r>
            <a:endParaRPr lang="en-US" altLang="zh-CN" sz="660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7472045" y="4451985"/>
            <a:ext cx="1666875" cy="101219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</a:bodyPr>
          <a:p>
            <a:pPr algn="ctr"/>
            <a:r>
              <a:rPr lang="en-US" altLang="zh-CN" sz="660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c</a:t>
            </a:r>
            <a:endParaRPr lang="en-US" altLang="zh-CN" sz="660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sp>
        <p:nvSpPr>
          <p:cNvPr id="14" name="iṥļîďé"/>
          <p:cNvSpPr txBox="1"/>
          <p:nvPr/>
        </p:nvSpPr>
        <p:spPr>
          <a:xfrm>
            <a:off x="2534920" y="5942965"/>
            <a:ext cx="7594600" cy="4813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zh-CN" altLang="en-US" sz="2000" dirty="0"/>
              <a:t>如何找出三个数中的最大数？请同学们尝试使用自然语言进行描述。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1" grpId="0" animBg="1"/>
      <p:bldP spid="12" grpId="0" animBg="1"/>
      <p:bldP spid="13" grpId="0" animBg="1"/>
      <p:bldP spid="11" grpId="1" animBg="1"/>
      <p:bldP spid="12" grpId="1" animBg="1"/>
      <p:bldP spid="13" grpId="1" animBg="1"/>
      <p:bldP spid="14" grpId="0"/>
      <p:bldP spid="14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lstStyle/>
          <a:p>
            <a:r>
              <a:rPr lang="zh-CN" dirty="0"/>
              <a:t>求最大的数</a:t>
            </a:r>
            <a:endParaRPr lang="zh-CN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8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38" name="ïśḷíḍé"/>
          <p:cNvGrpSpPr/>
          <p:nvPr/>
        </p:nvGrpSpPr>
        <p:grpSpPr>
          <a:xfrm>
            <a:off x="1635310" y="1130300"/>
            <a:ext cx="4543548" cy="4858551"/>
            <a:chOff x="1731169" y="1028700"/>
            <a:chExt cx="4351830" cy="4653542"/>
          </a:xfrm>
        </p:grpSpPr>
        <p:sp>
          <p:nvSpPr>
            <p:cNvPr id="92" name="iṡ1iḍe"/>
            <p:cNvSpPr/>
            <p:nvPr/>
          </p:nvSpPr>
          <p:spPr bwMode="auto">
            <a:xfrm>
              <a:off x="3325212" y="1028700"/>
              <a:ext cx="1163744" cy="4653542"/>
            </a:xfrm>
            <a:custGeom>
              <a:avLst/>
              <a:gdLst>
                <a:gd name="T0" fmla="*/ 1764 w 4053"/>
                <a:gd name="T1" fmla="*/ 0 h 16197"/>
                <a:gd name="T2" fmla="*/ 2323 w 4053"/>
                <a:gd name="T3" fmla="*/ 0 h 16197"/>
                <a:gd name="T4" fmla="*/ 2323 w 4053"/>
                <a:gd name="T5" fmla="*/ 892 h 16197"/>
                <a:gd name="T6" fmla="*/ 1764 w 4053"/>
                <a:gd name="T7" fmla="*/ 892 h 16197"/>
                <a:gd name="T8" fmla="*/ 1764 w 4053"/>
                <a:gd name="T9" fmla="*/ 0 h 16197"/>
                <a:gd name="T10" fmla="*/ 1831 w 4053"/>
                <a:gd name="T11" fmla="*/ 11317 h 16197"/>
                <a:gd name="T12" fmla="*/ 2256 w 4053"/>
                <a:gd name="T13" fmla="*/ 11317 h 16197"/>
                <a:gd name="T14" fmla="*/ 2256 w 4053"/>
                <a:gd name="T15" fmla="*/ 13709 h 16197"/>
                <a:gd name="T16" fmla="*/ 4053 w 4053"/>
                <a:gd name="T17" fmla="*/ 15988 h 16197"/>
                <a:gd name="T18" fmla="*/ 3787 w 4053"/>
                <a:gd name="T19" fmla="*/ 16197 h 16197"/>
                <a:gd name="T20" fmla="*/ 2256 w 4053"/>
                <a:gd name="T21" fmla="*/ 14256 h 16197"/>
                <a:gd name="T22" fmla="*/ 2256 w 4053"/>
                <a:gd name="T23" fmla="*/ 16151 h 16197"/>
                <a:gd name="T24" fmla="*/ 1831 w 4053"/>
                <a:gd name="T25" fmla="*/ 16151 h 16197"/>
                <a:gd name="T26" fmla="*/ 1831 w 4053"/>
                <a:gd name="T27" fmla="*/ 14215 h 16197"/>
                <a:gd name="T28" fmla="*/ 266 w 4053"/>
                <a:gd name="T29" fmla="*/ 16197 h 16197"/>
                <a:gd name="T30" fmla="*/ 0 w 4053"/>
                <a:gd name="T31" fmla="*/ 15988 h 16197"/>
                <a:gd name="T32" fmla="*/ 1831 w 4053"/>
                <a:gd name="T33" fmla="*/ 13668 h 16197"/>
                <a:gd name="T34" fmla="*/ 1831 w 4053"/>
                <a:gd name="T35" fmla="*/ 11317 h 16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53" h="16197">
                  <a:moveTo>
                    <a:pt x="1764" y="0"/>
                  </a:moveTo>
                  <a:lnTo>
                    <a:pt x="2323" y="0"/>
                  </a:lnTo>
                  <a:lnTo>
                    <a:pt x="2323" y="892"/>
                  </a:lnTo>
                  <a:lnTo>
                    <a:pt x="1764" y="892"/>
                  </a:lnTo>
                  <a:lnTo>
                    <a:pt x="1764" y="0"/>
                  </a:lnTo>
                  <a:close/>
                  <a:moveTo>
                    <a:pt x="1831" y="11317"/>
                  </a:moveTo>
                  <a:lnTo>
                    <a:pt x="2256" y="11317"/>
                  </a:lnTo>
                  <a:lnTo>
                    <a:pt x="2256" y="13709"/>
                  </a:lnTo>
                  <a:lnTo>
                    <a:pt x="4053" y="15988"/>
                  </a:lnTo>
                  <a:lnTo>
                    <a:pt x="3787" y="16197"/>
                  </a:lnTo>
                  <a:lnTo>
                    <a:pt x="2256" y="14256"/>
                  </a:lnTo>
                  <a:lnTo>
                    <a:pt x="2256" y="16151"/>
                  </a:lnTo>
                  <a:lnTo>
                    <a:pt x="1831" y="16151"/>
                  </a:lnTo>
                  <a:lnTo>
                    <a:pt x="1831" y="14215"/>
                  </a:lnTo>
                  <a:lnTo>
                    <a:pt x="266" y="16197"/>
                  </a:lnTo>
                  <a:lnTo>
                    <a:pt x="0" y="15988"/>
                  </a:lnTo>
                  <a:lnTo>
                    <a:pt x="1831" y="13668"/>
                  </a:lnTo>
                  <a:lnTo>
                    <a:pt x="1831" y="113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90" name="işļïḋè"/>
            <p:cNvSpPr/>
            <p:nvPr/>
          </p:nvSpPr>
          <p:spPr bwMode="auto">
            <a:xfrm>
              <a:off x="1731169" y="1284435"/>
              <a:ext cx="4351830" cy="3543459"/>
            </a:xfrm>
            <a:custGeom>
              <a:avLst/>
              <a:gdLst>
                <a:gd name="T0" fmla="*/ 233 w 15146"/>
                <a:gd name="T1" fmla="*/ 466 h 10425"/>
                <a:gd name="T2" fmla="*/ 186 w 15146"/>
                <a:gd name="T3" fmla="*/ 460 h 10425"/>
                <a:gd name="T4" fmla="*/ 142 w 15146"/>
                <a:gd name="T5" fmla="*/ 447 h 10425"/>
                <a:gd name="T6" fmla="*/ 68 w 15146"/>
                <a:gd name="T7" fmla="*/ 397 h 10425"/>
                <a:gd name="T8" fmla="*/ 19 w 15146"/>
                <a:gd name="T9" fmla="*/ 323 h 10425"/>
                <a:gd name="T10" fmla="*/ 5 w 15146"/>
                <a:gd name="T11" fmla="*/ 279 h 10425"/>
                <a:gd name="T12" fmla="*/ 0 w 15146"/>
                <a:gd name="T13" fmla="*/ 233 h 10425"/>
                <a:gd name="T14" fmla="*/ 3 w 15146"/>
                <a:gd name="T15" fmla="*/ 197 h 10425"/>
                <a:gd name="T16" fmla="*/ 15 w 15146"/>
                <a:gd name="T17" fmla="*/ 154 h 10425"/>
                <a:gd name="T18" fmla="*/ 54 w 15146"/>
                <a:gd name="T19" fmla="*/ 85 h 10425"/>
                <a:gd name="T20" fmla="*/ 123 w 15146"/>
                <a:gd name="T21" fmla="*/ 28 h 10425"/>
                <a:gd name="T22" fmla="*/ 175 w 15146"/>
                <a:gd name="T23" fmla="*/ 8 h 10425"/>
                <a:gd name="T24" fmla="*/ 221 w 15146"/>
                <a:gd name="T25" fmla="*/ 1 h 10425"/>
                <a:gd name="T26" fmla="*/ 14938 w 15146"/>
                <a:gd name="T27" fmla="*/ 2 h 10425"/>
                <a:gd name="T28" fmla="*/ 14983 w 15146"/>
                <a:gd name="T29" fmla="*/ 11 h 10425"/>
                <a:gd name="T30" fmla="*/ 15044 w 15146"/>
                <a:gd name="T31" fmla="*/ 40 h 10425"/>
                <a:gd name="T32" fmla="*/ 15106 w 15146"/>
                <a:gd name="T33" fmla="*/ 104 h 10425"/>
                <a:gd name="T34" fmla="*/ 15135 w 15146"/>
                <a:gd name="T35" fmla="*/ 164 h 10425"/>
                <a:gd name="T36" fmla="*/ 15145 w 15146"/>
                <a:gd name="T37" fmla="*/ 209 h 10425"/>
                <a:gd name="T38" fmla="*/ 15146 w 15146"/>
                <a:gd name="T39" fmla="*/ 245 h 10425"/>
                <a:gd name="T40" fmla="*/ 15138 w 15146"/>
                <a:gd name="T41" fmla="*/ 291 h 10425"/>
                <a:gd name="T42" fmla="*/ 15118 w 15146"/>
                <a:gd name="T43" fmla="*/ 343 h 10425"/>
                <a:gd name="T44" fmla="*/ 15061 w 15146"/>
                <a:gd name="T45" fmla="*/ 412 h 10425"/>
                <a:gd name="T46" fmla="*/ 14993 w 15146"/>
                <a:gd name="T47" fmla="*/ 451 h 10425"/>
                <a:gd name="T48" fmla="*/ 14949 w 15146"/>
                <a:gd name="T49" fmla="*/ 462 h 10425"/>
                <a:gd name="T50" fmla="*/ 14729 w 15146"/>
                <a:gd name="T51" fmla="*/ 466 h 10425"/>
                <a:gd name="T52" fmla="*/ 14938 w 15146"/>
                <a:gd name="T53" fmla="*/ 9960 h 10425"/>
                <a:gd name="T54" fmla="*/ 14983 w 15146"/>
                <a:gd name="T55" fmla="*/ 9970 h 10425"/>
                <a:gd name="T56" fmla="*/ 15044 w 15146"/>
                <a:gd name="T57" fmla="*/ 9999 h 10425"/>
                <a:gd name="T58" fmla="*/ 15106 w 15146"/>
                <a:gd name="T59" fmla="*/ 10062 h 10425"/>
                <a:gd name="T60" fmla="*/ 15135 w 15146"/>
                <a:gd name="T61" fmla="*/ 10123 h 10425"/>
                <a:gd name="T62" fmla="*/ 15145 w 15146"/>
                <a:gd name="T63" fmla="*/ 10168 h 10425"/>
                <a:gd name="T64" fmla="*/ 15146 w 15146"/>
                <a:gd name="T65" fmla="*/ 10203 h 10425"/>
                <a:gd name="T66" fmla="*/ 15138 w 15146"/>
                <a:gd name="T67" fmla="*/ 10249 h 10425"/>
                <a:gd name="T68" fmla="*/ 15118 w 15146"/>
                <a:gd name="T69" fmla="*/ 10303 h 10425"/>
                <a:gd name="T70" fmla="*/ 15061 w 15146"/>
                <a:gd name="T71" fmla="*/ 10371 h 10425"/>
                <a:gd name="T72" fmla="*/ 14993 w 15146"/>
                <a:gd name="T73" fmla="*/ 10410 h 10425"/>
                <a:gd name="T74" fmla="*/ 14949 w 15146"/>
                <a:gd name="T75" fmla="*/ 10421 h 10425"/>
                <a:gd name="T76" fmla="*/ 233 w 15146"/>
                <a:gd name="T77" fmla="*/ 10425 h 10425"/>
                <a:gd name="T78" fmla="*/ 186 w 15146"/>
                <a:gd name="T79" fmla="*/ 10419 h 10425"/>
                <a:gd name="T80" fmla="*/ 142 w 15146"/>
                <a:gd name="T81" fmla="*/ 10406 h 10425"/>
                <a:gd name="T82" fmla="*/ 68 w 15146"/>
                <a:gd name="T83" fmla="*/ 10356 h 10425"/>
                <a:gd name="T84" fmla="*/ 19 w 15146"/>
                <a:gd name="T85" fmla="*/ 10282 h 10425"/>
                <a:gd name="T86" fmla="*/ 5 w 15146"/>
                <a:gd name="T87" fmla="*/ 10238 h 10425"/>
                <a:gd name="T88" fmla="*/ 0 w 15146"/>
                <a:gd name="T89" fmla="*/ 10191 h 10425"/>
                <a:gd name="T90" fmla="*/ 3 w 15146"/>
                <a:gd name="T91" fmla="*/ 10156 h 10425"/>
                <a:gd name="T92" fmla="*/ 15 w 15146"/>
                <a:gd name="T93" fmla="*/ 10112 h 10425"/>
                <a:gd name="T94" fmla="*/ 54 w 15146"/>
                <a:gd name="T95" fmla="*/ 10044 h 10425"/>
                <a:gd name="T96" fmla="*/ 123 w 15146"/>
                <a:gd name="T97" fmla="*/ 9987 h 10425"/>
                <a:gd name="T98" fmla="*/ 175 w 15146"/>
                <a:gd name="T99" fmla="*/ 9967 h 10425"/>
                <a:gd name="T100" fmla="*/ 221 w 15146"/>
                <a:gd name="T101" fmla="*/ 9959 h 10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46" h="10425">
                  <a:moveTo>
                    <a:pt x="233" y="9959"/>
                  </a:moveTo>
                  <a:lnTo>
                    <a:pt x="418" y="9959"/>
                  </a:lnTo>
                  <a:lnTo>
                    <a:pt x="418" y="466"/>
                  </a:lnTo>
                  <a:lnTo>
                    <a:pt x="233" y="466"/>
                  </a:lnTo>
                  <a:lnTo>
                    <a:pt x="221" y="466"/>
                  </a:lnTo>
                  <a:lnTo>
                    <a:pt x="209" y="465"/>
                  </a:lnTo>
                  <a:lnTo>
                    <a:pt x="198" y="462"/>
                  </a:lnTo>
                  <a:lnTo>
                    <a:pt x="186" y="460"/>
                  </a:lnTo>
                  <a:lnTo>
                    <a:pt x="175" y="458"/>
                  </a:lnTo>
                  <a:lnTo>
                    <a:pt x="164" y="455"/>
                  </a:lnTo>
                  <a:lnTo>
                    <a:pt x="153" y="451"/>
                  </a:lnTo>
                  <a:lnTo>
                    <a:pt x="142" y="447"/>
                  </a:lnTo>
                  <a:lnTo>
                    <a:pt x="123" y="437"/>
                  </a:lnTo>
                  <a:lnTo>
                    <a:pt x="103" y="425"/>
                  </a:lnTo>
                  <a:lnTo>
                    <a:pt x="85" y="412"/>
                  </a:lnTo>
                  <a:lnTo>
                    <a:pt x="68" y="397"/>
                  </a:lnTo>
                  <a:lnTo>
                    <a:pt x="54" y="381"/>
                  </a:lnTo>
                  <a:lnTo>
                    <a:pt x="40" y="363"/>
                  </a:lnTo>
                  <a:lnTo>
                    <a:pt x="29" y="343"/>
                  </a:lnTo>
                  <a:lnTo>
                    <a:pt x="19" y="323"/>
                  </a:lnTo>
                  <a:lnTo>
                    <a:pt x="15" y="313"/>
                  </a:lnTo>
                  <a:lnTo>
                    <a:pt x="10" y="302"/>
                  </a:lnTo>
                  <a:lnTo>
                    <a:pt x="8" y="291"/>
                  </a:lnTo>
                  <a:lnTo>
                    <a:pt x="5" y="279"/>
                  </a:lnTo>
                  <a:lnTo>
                    <a:pt x="3" y="268"/>
                  </a:lnTo>
                  <a:lnTo>
                    <a:pt x="2" y="256"/>
                  </a:lnTo>
                  <a:lnTo>
                    <a:pt x="0" y="245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21"/>
                  </a:lnTo>
                  <a:lnTo>
                    <a:pt x="2" y="209"/>
                  </a:lnTo>
                  <a:lnTo>
                    <a:pt x="3" y="197"/>
                  </a:lnTo>
                  <a:lnTo>
                    <a:pt x="5" y="186"/>
                  </a:lnTo>
                  <a:lnTo>
                    <a:pt x="8" y="174"/>
                  </a:lnTo>
                  <a:lnTo>
                    <a:pt x="10" y="164"/>
                  </a:lnTo>
                  <a:lnTo>
                    <a:pt x="15" y="154"/>
                  </a:lnTo>
                  <a:lnTo>
                    <a:pt x="19" y="143"/>
                  </a:lnTo>
                  <a:lnTo>
                    <a:pt x="29" y="122"/>
                  </a:lnTo>
                  <a:lnTo>
                    <a:pt x="40" y="104"/>
                  </a:lnTo>
                  <a:lnTo>
                    <a:pt x="54" y="85"/>
                  </a:lnTo>
                  <a:lnTo>
                    <a:pt x="68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2" y="19"/>
                  </a:lnTo>
                  <a:lnTo>
                    <a:pt x="153" y="14"/>
                  </a:lnTo>
                  <a:lnTo>
                    <a:pt x="164" y="11"/>
                  </a:lnTo>
                  <a:lnTo>
                    <a:pt x="175" y="8"/>
                  </a:lnTo>
                  <a:lnTo>
                    <a:pt x="186" y="5"/>
                  </a:lnTo>
                  <a:lnTo>
                    <a:pt x="198" y="3"/>
                  </a:lnTo>
                  <a:lnTo>
                    <a:pt x="209" y="2"/>
                  </a:lnTo>
                  <a:lnTo>
                    <a:pt x="221" y="1"/>
                  </a:lnTo>
                  <a:lnTo>
                    <a:pt x="233" y="0"/>
                  </a:lnTo>
                  <a:lnTo>
                    <a:pt x="14914" y="0"/>
                  </a:lnTo>
                  <a:lnTo>
                    <a:pt x="14926" y="1"/>
                  </a:lnTo>
                  <a:lnTo>
                    <a:pt x="14938" y="2"/>
                  </a:lnTo>
                  <a:lnTo>
                    <a:pt x="14949" y="3"/>
                  </a:lnTo>
                  <a:lnTo>
                    <a:pt x="14961" y="5"/>
                  </a:lnTo>
                  <a:lnTo>
                    <a:pt x="14972" y="8"/>
                  </a:lnTo>
                  <a:lnTo>
                    <a:pt x="14983" y="11"/>
                  </a:lnTo>
                  <a:lnTo>
                    <a:pt x="14993" y="14"/>
                  </a:lnTo>
                  <a:lnTo>
                    <a:pt x="15004" y="19"/>
                  </a:lnTo>
                  <a:lnTo>
                    <a:pt x="15024" y="28"/>
                  </a:lnTo>
                  <a:lnTo>
                    <a:pt x="15044" y="40"/>
                  </a:lnTo>
                  <a:lnTo>
                    <a:pt x="15061" y="53"/>
                  </a:lnTo>
                  <a:lnTo>
                    <a:pt x="15077" y="69"/>
                  </a:lnTo>
                  <a:lnTo>
                    <a:pt x="15093" y="85"/>
                  </a:lnTo>
                  <a:lnTo>
                    <a:pt x="15106" y="104"/>
                  </a:lnTo>
                  <a:lnTo>
                    <a:pt x="15118" y="122"/>
                  </a:lnTo>
                  <a:lnTo>
                    <a:pt x="15127" y="143"/>
                  </a:lnTo>
                  <a:lnTo>
                    <a:pt x="15132" y="154"/>
                  </a:lnTo>
                  <a:lnTo>
                    <a:pt x="15135" y="164"/>
                  </a:lnTo>
                  <a:lnTo>
                    <a:pt x="15138" y="174"/>
                  </a:lnTo>
                  <a:lnTo>
                    <a:pt x="15142" y="186"/>
                  </a:lnTo>
                  <a:lnTo>
                    <a:pt x="15144" y="197"/>
                  </a:lnTo>
                  <a:lnTo>
                    <a:pt x="15145" y="209"/>
                  </a:lnTo>
                  <a:lnTo>
                    <a:pt x="15146" y="221"/>
                  </a:lnTo>
                  <a:lnTo>
                    <a:pt x="15146" y="233"/>
                  </a:lnTo>
                  <a:lnTo>
                    <a:pt x="15146" y="233"/>
                  </a:lnTo>
                  <a:lnTo>
                    <a:pt x="15146" y="245"/>
                  </a:lnTo>
                  <a:lnTo>
                    <a:pt x="15145" y="256"/>
                  </a:lnTo>
                  <a:lnTo>
                    <a:pt x="15144" y="268"/>
                  </a:lnTo>
                  <a:lnTo>
                    <a:pt x="15142" y="279"/>
                  </a:lnTo>
                  <a:lnTo>
                    <a:pt x="15138" y="291"/>
                  </a:lnTo>
                  <a:lnTo>
                    <a:pt x="15135" y="302"/>
                  </a:lnTo>
                  <a:lnTo>
                    <a:pt x="15132" y="313"/>
                  </a:lnTo>
                  <a:lnTo>
                    <a:pt x="15127" y="323"/>
                  </a:lnTo>
                  <a:lnTo>
                    <a:pt x="15118" y="343"/>
                  </a:lnTo>
                  <a:lnTo>
                    <a:pt x="15106" y="363"/>
                  </a:lnTo>
                  <a:lnTo>
                    <a:pt x="15093" y="381"/>
                  </a:lnTo>
                  <a:lnTo>
                    <a:pt x="15077" y="397"/>
                  </a:lnTo>
                  <a:lnTo>
                    <a:pt x="15061" y="412"/>
                  </a:lnTo>
                  <a:lnTo>
                    <a:pt x="15044" y="425"/>
                  </a:lnTo>
                  <a:lnTo>
                    <a:pt x="15024" y="437"/>
                  </a:lnTo>
                  <a:lnTo>
                    <a:pt x="15004" y="447"/>
                  </a:lnTo>
                  <a:lnTo>
                    <a:pt x="14993" y="451"/>
                  </a:lnTo>
                  <a:lnTo>
                    <a:pt x="14983" y="455"/>
                  </a:lnTo>
                  <a:lnTo>
                    <a:pt x="14972" y="458"/>
                  </a:lnTo>
                  <a:lnTo>
                    <a:pt x="14961" y="460"/>
                  </a:lnTo>
                  <a:lnTo>
                    <a:pt x="14949" y="462"/>
                  </a:lnTo>
                  <a:lnTo>
                    <a:pt x="14938" y="465"/>
                  </a:lnTo>
                  <a:lnTo>
                    <a:pt x="14926" y="466"/>
                  </a:lnTo>
                  <a:lnTo>
                    <a:pt x="14914" y="466"/>
                  </a:lnTo>
                  <a:lnTo>
                    <a:pt x="14729" y="466"/>
                  </a:lnTo>
                  <a:lnTo>
                    <a:pt x="14729" y="9959"/>
                  </a:lnTo>
                  <a:lnTo>
                    <a:pt x="14914" y="9959"/>
                  </a:lnTo>
                  <a:lnTo>
                    <a:pt x="14926" y="9959"/>
                  </a:lnTo>
                  <a:lnTo>
                    <a:pt x="14938" y="9960"/>
                  </a:lnTo>
                  <a:lnTo>
                    <a:pt x="14949" y="9962"/>
                  </a:lnTo>
                  <a:lnTo>
                    <a:pt x="14961" y="9964"/>
                  </a:lnTo>
                  <a:lnTo>
                    <a:pt x="14972" y="9967"/>
                  </a:lnTo>
                  <a:lnTo>
                    <a:pt x="14983" y="9970"/>
                  </a:lnTo>
                  <a:lnTo>
                    <a:pt x="14993" y="9973"/>
                  </a:lnTo>
                  <a:lnTo>
                    <a:pt x="15004" y="9978"/>
                  </a:lnTo>
                  <a:lnTo>
                    <a:pt x="15024" y="9987"/>
                  </a:lnTo>
                  <a:lnTo>
                    <a:pt x="15044" y="9999"/>
                  </a:lnTo>
                  <a:lnTo>
                    <a:pt x="15061" y="10012"/>
                  </a:lnTo>
                  <a:lnTo>
                    <a:pt x="15077" y="10028"/>
                  </a:lnTo>
                  <a:lnTo>
                    <a:pt x="15093" y="10044"/>
                  </a:lnTo>
                  <a:lnTo>
                    <a:pt x="15106" y="10062"/>
                  </a:lnTo>
                  <a:lnTo>
                    <a:pt x="15118" y="10081"/>
                  </a:lnTo>
                  <a:lnTo>
                    <a:pt x="15127" y="10102"/>
                  </a:lnTo>
                  <a:lnTo>
                    <a:pt x="15132" y="10112"/>
                  </a:lnTo>
                  <a:lnTo>
                    <a:pt x="15135" y="10123"/>
                  </a:lnTo>
                  <a:lnTo>
                    <a:pt x="15138" y="10133"/>
                  </a:lnTo>
                  <a:lnTo>
                    <a:pt x="15142" y="10145"/>
                  </a:lnTo>
                  <a:lnTo>
                    <a:pt x="15144" y="10156"/>
                  </a:lnTo>
                  <a:lnTo>
                    <a:pt x="15145" y="10168"/>
                  </a:lnTo>
                  <a:lnTo>
                    <a:pt x="15146" y="10179"/>
                  </a:lnTo>
                  <a:lnTo>
                    <a:pt x="15146" y="10191"/>
                  </a:lnTo>
                  <a:lnTo>
                    <a:pt x="15146" y="10191"/>
                  </a:lnTo>
                  <a:lnTo>
                    <a:pt x="15146" y="10203"/>
                  </a:lnTo>
                  <a:lnTo>
                    <a:pt x="15145" y="10215"/>
                  </a:lnTo>
                  <a:lnTo>
                    <a:pt x="15144" y="10227"/>
                  </a:lnTo>
                  <a:lnTo>
                    <a:pt x="15142" y="10238"/>
                  </a:lnTo>
                  <a:lnTo>
                    <a:pt x="15138" y="10249"/>
                  </a:lnTo>
                  <a:lnTo>
                    <a:pt x="15135" y="10261"/>
                  </a:lnTo>
                  <a:lnTo>
                    <a:pt x="15132" y="10271"/>
                  </a:lnTo>
                  <a:lnTo>
                    <a:pt x="15127" y="10282"/>
                  </a:lnTo>
                  <a:lnTo>
                    <a:pt x="15118" y="10303"/>
                  </a:lnTo>
                  <a:lnTo>
                    <a:pt x="15106" y="10321"/>
                  </a:lnTo>
                  <a:lnTo>
                    <a:pt x="15093" y="10340"/>
                  </a:lnTo>
                  <a:lnTo>
                    <a:pt x="15077" y="10356"/>
                  </a:lnTo>
                  <a:lnTo>
                    <a:pt x="15061" y="10371"/>
                  </a:lnTo>
                  <a:lnTo>
                    <a:pt x="15044" y="10384"/>
                  </a:lnTo>
                  <a:lnTo>
                    <a:pt x="15024" y="10396"/>
                  </a:lnTo>
                  <a:lnTo>
                    <a:pt x="15004" y="10406"/>
                  </a:lnTo>
                  <a:lnTo>
                    <a:pt x="14993" y="10410"/>
                  </a:lnTo>
                  <a:lnTo>
                    <a:pt x="14983" y="10414"/>
                  </a:lnTo>
                  <a:lnTo>
                    <a:pt x="14972" y="10417"/>
                  </a:lnTo>
                  <a:lnTo>
                    <a:pt x="14961" y="10419"/>
                  </a:lnTo>
                  <a:lnTo>
                    <a:pt x="14949" y="10421"/>
                  </a:lnTo>
                  <a:lnTo>
                    <a:pt x="14938" y="10422"/>
                  </a:lnTo>
                  <a:lnTo>
                    <a:pt x="14926" y="10424"/>
                  </a:lnTo>
                  <a:lnTo>
                    <a:pt x="14914" y="10425"/>
                  </a:lnTo>
                  <a:lnTo>
                    <a:pt x="233" y="10425"/>
                  </a:lnTo>
                  <a:lnTo>
                    <a:pt x="221" y="10424"/>
                  </a:lnTo>
                  <a:lnTo>
                    <a:pt x="209" y="10422"/>
                  </a:lnTo>
                  <a:lnTo>
                    <a:pt x="198" y="10421"/>
                  </a:lnTo>
                  <a:lnTo>
                    <a:pt x="186" y="10419"/>
                  </a:lnTo>
                  <a:lnTo>
                    <a:pt x="175" y="10417"/>
                  </a:lnTo>
                  <a:lnTo>
                    <a:pt x="164" y="10414"/>
                  </a:lnTo>
                  <a:lnTo>
                    <a:pt x="153" y="10410"/>
                  </a:lnTo>
                  <a:lnTo>
                    <a:pt x="142" y="10406"/>
                  </a:lnTo>
                  <a:lnTo>
                    <a:pt x="123" y="10396"/>
                  </a:lnTo>
                  <a:lnTo>
                    <a:pt x="103" y="10384"/>
                  </a:lnTo>
                  <a:lnTo>
                    <a:pt x="85" y="10371"/>
                  </a:lnTo>
                  <a:lnTo>
                    <a:pt x="68" y="10356"/>
                  </a:lnTo>
                  <a:lnTo>
                    <a:pt x="54" y="10340"/>
                  </a:lnTo>
                  <a:lnTo>
                    <a:pt x="40" y="10321"/>
                  </a:lnTo>
                  <a:lnTo>
                    <a:pt x="29" y="10303"/>
                  </a:lnTo>
                  <a:lnTo>
                    <a:pt x="19" y="10282"/>
                  </a:lnTo>
                  <a:lnTo>
                    <a:pt x="15" y="10271"/>
                  </a:lnTo>
                  <a:lnTo>
                    <a:pt x="10" y="10261"/>
                  </a:lnTo>
                  <a:lnTo>
                    <a:pt x="8" y="10249"/>
                  </a:lnTo>
                  <a:lnTo>
                    <a:pt x="5" y="10238"/>
                  </a:lnTo>
                  <a:lnTo>
                    <a:pt x="3" y="10227"/>
                  </a:lnTo>
                  <a:lnTo>
                    <a:pt x="2" y="10215"/>
                  </a:lnTo>
                  <a:lnTo>
                    <a:pt x="0" y="10203"/>
                  </a:lnTo>
                  <a:lnTo>
                    <a:pt x="0" y="10191"/>
                  </a:lnTo>
                  <a:lnTo>
                    <a:pt x="0" y="10191"/>
                  </a:lnTo>
                  <a:lnTo>
                    <a:pt x="0" y="10179"/>
                  </a:lnTo>
                  <a:lnTo>
                    <a:pt x="2" y="10168"/>
                  </a:lnTo>
                  <a:lnTo>
                    <a:pt x="3" y="10156"/>
                  </a:lnTo>
                  <a:lnTo>
                    <a:pt x="5" y="10145"/>
                  </a:lnTo>
                  <a:lnTo>
                    <a:pt x="8" y="10133"/>
                  </a:lnTo>
                  <a:lnTo>
                    <a:pt x="10" y="10123"/>
                  </a:lnTo>
                  <a:lnTo>
                    <a:pt x="15" y="10112"/>
                  </a:lnTo>
                  <a:lnTo>
                    <a:pt x="19" y="10102"/>
                  </a:lnTo>
                  <a:lnTo>
                    <a:pt x="29" y="10081"/>
                  </a:lnTo>
                  <a:lnTo>
                    <a:pt x="40" y="10062"/>
                  </a:lnTo>
                  <a:lnTo>
                    <a:pt x="54" y="10044"/>
                  </a:lnTo>
                  <a:lnTo>
                    <a:pt x="68" y="10028"/>
                  </a:lnTo>
                  <a:lnTo>
                    <a:pt x="85" y="10012"/>
                  </a:lnTo>
                  <a:lnTo>
                    <a:pt x="103" y="9999"/>
                  </a:lnTo>
                  <a:lnTo>
                    <a:pt x="123" y="9987"/>
                  </a:lnTo>
                  <a:lnTo>
                    <a:pt x="142" y="9978"/>
                  </a:lnTo>
                  <a:lnTo>
                    <a:pt x="153" y="9973"/>
                  </a:lnTo>
                  <a:lnTo>
                    <a:pt x="164" y="9970"/>
                  </a:lnTo>
                  <a:lnTo>
                    <a:pt x="175" y="9967"/>
                  </a:lnTo>
                  <a:lnTo>
                    <a:pt x="186" y="9964"/>
                  </a:lnTo>
                  <a:lnTo>
                    <a:pt x="198" y="9962"/>
                  </a:lnTo>
                  <a:lnTo>
                    <a:pt x="209" y="9960"/>
                  </a:lnTo>
                  <a:lnTo>
                    <a:pt x="221" y="9959"/>
                  </a:lnTo>
                  <a:lnTo>
                    <a:pt x="233" y="995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91" name="íSḷîḍè"/>
            <p:cNvSpPr/>
            <p:nvPr/>
          </p:nvSpPr>
          <p:spPr bwMode="auto">
            <a:xfrm>
              <a:off x="1896392" y="1419487"/>
              <a:ext cx="4021384" cy="32321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</p:grpSp>
      <p:grpSp>
        <p:nvGrpSpPr>
          <p:cNvPr id="40" name="islíḍè"/>
          <p:cNvGrpSpPr/>
          <p:nvPr/>
        </p:nvGrpSpPr>
        <p:grpSpPr>
          <a:xfrm>
            <a:off x="303035" y="2938686"/>
            <a:ext cx="2082800" cy="3127533"/>
            <a:chOff x="794543" y="1404144"/>
            <a:chExt cx="2733675" cy="4700588"/>
          </a:xfrm>
        </p:grpSpPr>
        <p:sp>
          <p:nvSpPr>
            <p:cNvPr id="41" name="ïŝľíḋé"/>
            <p:cNvSpPr/>
            <p:nvPr/>
          </p:nvSpPr>
          <p:spPr bwMode="auto">
            <a:xfrm>
              <a:off x="1381918" y="4166394"/>
              <a:ext cx="989013" cy="1736725"/>
            </a:xfrm>
            <a:custGeom>
              <a:avLst/>
              <a:gdLst>
                <a:gd name="T0" fmla="*/ 0 w 3117"/>
                <a:gd name="T1" fmla="*/ 0 h 5469"/>
                <a:gd name="T2" fmla="*/ 3117 w 3117"/>
                <a:gd name="T3" fmla="*/ 0 h 5469"/>
                <a:gd name="T4" fmla="*/ 2488 w 3117"/>
                <a:gd name="T5" fmla="*/ 5469 h 5469"/>
                <a:gd name="T6" fmla="*/ 1859 w 3117"/>
                <a:gd name="T7" fmla="*/ 5469 h 5469"/>
                <a:gd name="T8" fmla="*/ 1339 w 3117"/>
                <a:gd name="T9" fmla="*/ 1313 h 5469"/>
                <a:gd name="T10" fmla="*/ 957 w 3117"/>
                <a:gd name="T11" fmla="*/ 5333 h 5469"/>
                <a:gd name="T12" fmla="*/ 246 w 3117"/>
                <a:gd name="T13" fmla="*/ 5333 h 5469"/>
                <a:gd name="T14" fmla="*/ 0 w 3117"/>
                <a:gd name="T15" fmla="*/ 0 h 5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17" h="5469">
                  <a:moveTo>
                    <a:pt x="0" y="0"/>
                  </a:moveTo>
                  <a:lnTo>
                    <a:pt x="3117" y="0"/>
                  </a:lnTo>
                  <a:lnTo>
                    <a:pt x="2488" y="5469"/>
                  </a:lnTo>
                  <a:lnTo>
                    <a:pt x="1859" y="5469"/>
                  </a:lnTo>
                  <a:lnTo>
                    <a:pt x="1339" y="1313"/>
                  </a:lnTo>
                  <a:lnTo>
                    <a:pt x="957" y="5333"/>
                  </a:lnTo>
                  <a:lnTo>
                    <a:pt x="246" y="5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2" name="ïṡḻîḑè"/>
            <p:cNvSpPr/>
            <p:nvPr/>
          </p:nvSpPr>
          <p:spPr bwMode="auto">
            <a:xfrm>
              <a:off x="3185318" y="2393157"/>
              <a:ext cx="342900" cy="468313"/>
            </a:xfrm>
            <a:custGeom>
              <a:avLst/>
              <a:gdLst>
                <a:gd name="T0" fmla="*/ 14 w 1078"/>
                <a:gd name="T1" fmla="*/ 965 h 1477"/>
                <a:gd name="T2" fmla="*/ 106 w 1078"/>
                <a:gd name="T3" fmla="*/ 882 h 1477"/>
                <a:gd name="T4" fmla="*/ 244 w 1078"/>
                <a:gd name="T5" fmla="*/ 759 h 1477"/>
                <a:gd name="T6" fmla="*/ 351 w 1078"/>
                <a:gd name="T7" fmla="*/ 672 h 1477"/>
                <a:gd name="T8" fmla="*/ 413 w 1078"/>
                <a:gd name="T9" fmla="*/ 627 h 1477"/>
                <a:gd name="T10" fmla="*/ 463 w 1078"/>
                <a:gd name="T11" fmla="*/ 598 h 1477"/>
                <a:gd name="T12" fmla="*/ 509 w 1078"/>
                <a:gd name="T13" fmla="*/ 569 h 1477"/>
                <a:gd name="T14" fmla="*/ 551 w 1078"/>
                <a:gd name="T15" fmla="*/ 538 h 1477"/>
                <a:gd name="T16" fmla="*/ 593 w 1078"/>
                <a:gd name="T17" fmla="*/ 506 h 1477"/>
                <a:gd name="T18" fmla="*/ 653 w 1078"/>
                <a:gd name="T19" fmla="*/ 455 h 1477"/>
                <a:gd name="T20" fmla="*/ 730 w 1078"/>
                <a:gd name="T21" fmla="*/ 382 h 1477"/>
                <a:gd name="T22" fmla="*/ 788 w 1078"/>
                <a:gd name="T23" fmla="*/ 320 h 1477"/>
                <a:gd name="T24" fmla="*/ 826 w 1078"/>
                <a:gd name="T25" fmla="*/ 267 h 1477"/>
                <a:gd name="T26" fmla="*/ 884 w 1078"/>
                <a:gd name="T27" fmla="*/ 173 h 1477"/>
                <a:gd name="T28" fmla="*/ 939 w 1078"/>
                <a:gd name="T29" fmla="*/ 83 h 1477"/>
                <a:gd name="T30" fmla="*/ 966 w 1078"/>
                <a:gd name="T31" fmla="*/ 47 h 1477"/>
                <a:gd name="T32" fmla="*/ 983 w 1078"/>
                <a:gd name="T33" fmla="*/ 28 h 1477"/>
                <a:gd name="T34" fmla="*/ 999 w 1078"/>
                <a:gd name="T35" fmla="*/ 12 h 1477"/>
                <a:gd name="T36" fmla="*/ 1016 w 1078"/>
                <a:gd name="T37" fmla="*/ 4 h 1477"/>
                <a:gd name="T38" fmla="*/ 1032 w 1078"/>
                <a:gd name="T39" fmla="*/ 0 h 1477"/>
                <a:gd name="T40" fmla="*/ 1047 w 1078"/>
                <a:gd name="T41" fmla="*/ 5 h 1477"/>
                <a:gd name="T42" fmla="*/ 1060 w 1078"/>
                <a:gd name="T43" fmla="*/ 16 h 1477"/>
                <a:gd name="T44" fmla="*/ 1070 w 1078"/>
                <a:gd name="T45" fmla="*/ 34 h 1477"/>
                <a:gd name="T46" fmla="*/ 1076 w 1078"/>
                <a:gd name="T47" fmla="*/ 59 h 1477"/>
                <a:gd name="T48" fmla="*/ 1078 w 1078"/>
                <a:gd name="T49" fmla="*/ 88 h 1477"/>
                <a:gd name="T50" fmla="*/ 1076 w 1078"/>
                <a:gd name="T51" fmla="*/ 121 h 1477"/>
                <a:gd name="T52" fmla="*/ 1070 w 1078"/>
                <a:gd name="T53" fmla="*/ 157 h 1477"/>
                <a:gd name="T54" fmla="*/ 1058 w 1078"/>
                <a:gd name="T55" fmla="*/ 216 h 1477"/>
                <a:gd name="T56" fmla="*/ 1033 w 1078"/>
                <a:gd name="T57" fmla="*/ 298 h 1477"/>
                <a:gd name="T58" fmla="*/ 1002 w 1078"/>
                <a:gd name="T59" fmla="*/ 379 h 1477"/>
                <a:gd name="T60" fmla="*/ 967 w 1078"/>
                <a:gd name="T61" fmla="*/ 451 h 1477"/>
                <a:gd name="T62" fmla="*/ 939 w 1078"/>
                <a:gd name="T63" fmla="*/ 497 h 1477"/>
                <a:gd name="T64" fmla="*/ 922 w 1078"/>
                <a:gd name="T65" fmla="*/ 521 h 1477"/>
                <a:gd name="T66" fmla="*/ 905 w 1078"/>
                <a:gd name="T67" fmla="*/ 540 h 1477"/>
                <a:gd name="T68" fmla="*/ 888 w 1078"/>
                <a:gd name="T69" fmla="*/ 563 h 1477"/>
                <a:gd name="T70" fmla="*/ 864 w 1078"/>
                <a:gd name="T71" fmla="*/ 603 h 1477"/>
                <a:gd name="T72" fmla="*/ 834 w 1078"/>
                <a:gd name="T73" fmla="*/ 668 h 1477"/>
                <a:gd name="T74" fmla="*/ 803 w 1078"/>
                <a:gd name="T75" fmla="*/ 740 h 1477"/>
                <a:gd name="T76" fmla="*/ 760 w 1078"/>
                <a:gd name="T77" fmla="*/ 855 h 1477"/>
                <a:gd name="T78" fmla="*/ 717 w 1078"/>
                <a:gd name="T79" fmla="*/ 968 h 1477"/>
                <a:gd name="T80" fmla="*/ 689 w 1078"/>
                <a:gd name="T81" fmla="*/ 1034 h 1477"/>
                <a:gd name="T82" fmla="*/ 658 w 1078"/>
                <a:gd name="T83" fmla="*/ 1093 h 1477"/>
                <a:gd name="T84" fmla="*/ 619 w 1078"/>
                <a:gd name="T85" fmla="*/ 1154 h 1477"/>
                <a:gd name="T86" fmla="*/ 571 w 1078"/>
                <a:gd name="T87" fmla="*/ 1217 h 1477"/>
                <a:gd name="T88" fmla="*/ 520 w 1078"/>
                <a:gd name="T89" fmla="*/ 1280 h 1477"/>
                <a:gd name="T90" fmla="*/ 444 w 1078"/>
                <a:gd name="T91" fmla="*/ 1365 h 1477"/>
                <a:gd name="T92" fmla="*/ 359 w 1078"/>
                <a:gd name="T93" fmla="*/ 1451 h 1477"/>
                <a:gd name="T94" fmla="*/ 327 w 1078"/>
                <a:gd name="T95" fmla="*/ 1477 h 1477"/>
                <a:gd name="T96" fmla="*/ 313 w 1078"/>
                <a:gd name="T97" fmla="*/ 1471 h 1477"/>
                <a:gd name="T98" fmla="*/ 294 w 1078"/>
                <a:gd name="T99" fmla="*/ 1456 h 1477"/>
                <a:gd name="T100" fmla="*/ 271 w 1078"/>
                <a:gd name="T101" fmla="*/ 1430 h 1477"/>
                <a:gd name="T102" fmla="*/ 233 w 1078"/>
                <a:gd name="T103" fmla="*/ 1378 h 1477"/>
                <a:gd name="T104" fmla="*/ 176 w 1078"/>
                <a:gd name="T105" fmla="*/ 1290 h 1477"/>
                <a:gd name="T106" fmla="*/ 91 w 1078"/>
                <a:gd name="T107" fmla="*/ 1146 h 1477"/>
                <a:gd name="T108" fmla="*/ 12 w 1078"/>
                <a:gd name="T109" fmla="*/ 1001 h 1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8" h="1477">
                  <a:moveTo>
                    <a:pt x="0" y="979"/>
                  </a:moveTo>
                  <a:lnTo>
                    <a:pt x="14" y="965"/>
                  </a:lnTo>
                  <a:lnTo>
                    <a:pt x="51" y="931"/>
                  </a:lnTo>
                  <a:lnTo>
                    <a:pt x="106" y="882"/>
                  </a:lnTo>
                  <a:lnTo>
                    <a:pt x="172" y="822"/>
                  </a:lnTo>
                  <a:lnTo>
                    <a:pt x="244" y="759"/>
                  </a:lnTo>
                  <a:lnTo>
                    <a:pt x="317" y="699"/>
                  </a:lnTo>
                  <a:lnTo>
                    <a:pt x="351" y="672"/>
                  </a:lnTo>
                  <a:lnTo>
                    <a:pt x="384" y="648"/>
                  </a:lnTo>
                  <a:lnTo>
                    <a:pt x="413" y="627"/>
                  </a:lnTo>
                  <a:lnTo>
                    <a:pt x="439" y="611"/>
                  </a:lnTo>
                  <a:lnTo>
                    <a:pt x="463" y="598"/>
                  </a:lnTo>
                  <a:lnTo>
                    <a:pt x="486" y="584"/>
                  </a:lnTo>
                  <a:lnTo>
                    <a:pt x="509" y="569"/>
                  </a:lnTo>
                  <a:lnTo>
                    <a:pt x="531" y="553"/>
                  </a:lnTo>
                  <a:lnTo>
                    <a:pt x="551" y="538"/>
                  </a:lnTo>
                  <a:lnTo>
                    <a:pt x="573" y="523"/>
                  </a:lnTo>
                  <a:lnTo>
                    <a:pt x="593" y="506"/>
                  </a:lnTo>
                  <a:lnTo>
                    <a:pt x="614" y="490"/>
                  </a:lnTo>
                  <a:lnTo>
                    <a:pt x="653" y="455"/>
                  </a:lnTo>
                  <a:lnTo>
                    <a:pt x="692" y="419"/>
                  </a:lnTo>
                  <a:lnTo>
                    <a:pt x="730" y="382"/>
                  </a:lnTo>
                  <a:lnTo>
                    <a:pt x="768" y="343"/>
                  </a:lnTo>
                  <a:lnTo>
                    <a:pt x="788" y="320"/>
                  </a:lnTo>
                  <a:lnTo>
                    <a:pt x="807" y="295"/>
                  </a:lnTo>
                  <a:lnTo>
                    <a:pt x="826" y="267"/>
                  </a:lnTo>
                  <a:lnTo>
                    <a:pt x="846" y="236"/>
                  </a:lnTo>
                  <a:lnTo>
                    <a:pt x="884" y="173"/>
                  </a:lnTo>
                  <a:lnTo>
                    <a:pt x="921" y="112"/>
                  </a:lnTo>
                  <a:lnTo>
                    <a:pt x="939" y="83"/>
                  </a:lnTo>
                  <a:lnTo>
                    <a:pt x="957" y="58"/>
                  </a:lnTo>
                  <a:lnTo>
                    <a:pt x="966" y="47"/>
                  </a:lnTo>
                  <a:lnTo>
                    <a:pt x="974" y="36"/>
                  </a:lnTo>
                  <a:lnTo>
                    <a:pt x="983" y="28"/>
                  </a:lnTo>
                  <a:lnTo>
                    <a:pt x="992" y="19"/>
                  </a:lnTo>
                  <a:lnTo>
                    <a:pt x="999" y="12"/>
                  </a:lnTo>
                  <a:lnTo>
                    <a:pt x="1008" y="7"/>
                  </a:lnTo>
                  <a:lnTo>
                    <a:pt x="1016" y="4"/>
                  </a:lnTo>
                  <a:lnTo>
                    <a:pt x="1025" y="0"/>
                  </a:lnTo>
                  <a:lnTo>
                    <a:pt x="1032" y="0"/>
                  </a:lnTo>
                  <a:lnTo>
                    <a:pt x="1040" y="2"/>
                  </a:lnTo>
                  <a:lnTo>
                    <a:pt x="1047" y="5"/>
                  </a:lnTo>
                  <a:lnTo>
                    <a:pt x="1054" y="9"/>
                  </a:lnTo>
                  <a:lnTo>
                    <a:pt x="1060" y="16"/>
                  </a:lnTo>
                  <a:lnTo>
                    <a:pt x="1066" y="24"/>
                  </a:lnTo>
                  <a:lnTo>
                    <a:pt x="1070" y="34"/>
                  </a:lnTo>
                  <a:lnTo>
                    <a:pt x="1074" y="46"/>
                  </a:lnTo>
                  <a:lnTo>
                    <a:pt x="1076" y="59"/>
                  </a:lnTo>
                  <a:lnTo>
                    <a:pt x="1078" y="72"/>
                  </a:lnTo>
                  <a:lnTo>
                    <a:pt x="1078" y="88"/>
                  </a:lnTo>
                  <a:lnTo>
                    <a:pt x="1077" y="104"/>
                  </a:lnTo>
                  <a:lnTo>
                    <a:pt x="1076" y="121"/>
                  </a:lnTo>
                  <a:lnTo>
                    <a:pt x="1074" y="139"/>
                  </a:lnTo>
                  <a:lnTo>
                    <a:pt x="1070" y="157"/>
                  </a:lnTo>
                  <a:lnTo>
                    <a:pt x="1067" y="176"/>
                  </a:lnTo>
                  <a:lnTo>
                    <a:pt x="1058" y="216"/>
                  </a:lnTo>
                  <a:lnTo>
                    <a:pt x="1046" y="257"/>
                  </a:lnTo>
                  <a:lnTo>
                    <a:pt x="1033" y="298"/>
                  </a:lnTo>
                  <a:lnTo>
                    <a:pt x="1018" y="340"/>
                  </a:lnTo>
                  <a:lnTo>
                    <a:pt x="1002" y="379"/>
                  </a:lnTo>
                  <a:lnTo>
                    <a:pt x="984" y="417"/>
                  </a:lnTo>
                  <a:lnTo>
                    <a:pt x="967" y="451"/>
                  </a:lnTo>
                  <a:lnTo>
                    <a:pt x="948" y="482"/>
                  </a:lnTo>
                  <a:lnTo>
                    <a:pt x="939" y="497"/>
                  </a:lnTo>
                  <a:lnTo>
                    <a:pt x="931" y="509"/>
                  </a:lnTo>
                  <a:lnTo>
                    <a:pt x="922" y="521"/>
                  </a:lnTo>
                  <a:lnTo>
                    <a:pt x="913" y="530"/>
                  </a:lnTo>
                  <a:lnTo>
                    <a:pt x="905" y="540"/>
                  </a:lnTo>
                  <a:lnTo>
                    <a:pt x="897" y="551"/>
                  </a:lnTo>
                  <a:lnTo>
                    <a:pt x="888" y="563"/>
                  </a:lnTo>
                  <a:lnTo>
                    <a:pt x="881" y="575"/>
                  </a:lnTo>
                  <a:lnTo>
                    <a:pt x="864" y="603"/>
                  </a:lnTo>
                  <a:lnTo>
                    <a:pt x="849" y="634"/>
                  </a:lnTo>
                  <a:lnTo>
                    <a:pt x="834" y="668"/>
                  </a:lnTo>
                  <a:lnTo>
                    <a:pt x="818" y="703"/>
                  </a:lnTo>
                  <a:lnTo>
                    <a:pt x="803" y="740"/>
                  </a:lnTo>
                  <a:lnTo>
                    <a:pt x="789" y="778"/>
                  </a:lnTo>
                  <a:lnTo>
                    <a:pt x="760" y="855"/>
                  </a:lnTo>
                  <a:lnTo>
                    <a:pt x="731" y="932"/>
                  </a:lnTo>
                  <a:lnTo>
                    <a:pt x="717" y="968"/>
                  </a:lnTo>
                  <a:lnTo>
                    <a:pt x="703" y="1003"/>
                  </a:lnTo>
                  <a:lnTo>
                    <a:pt x="689" y="1034"/>
                  </a:lnTo>
                  <a:lnTo>
                    <a:pt x="675" y="1065"/>
                  </a:lnTo>
                  <a:lnTo>
                    <a:pt x="658" y="1093"/>
                  </a:lnTo>
                  <a:lnTo>
                    <a:pt x="640" y="1123"/>
                  </a:lnTo>
                  <a:lnTo>
                    <a:pt x="619" y="1154"/>
                  </a:lnTo>
                  <a:lnTo>
                    <a:pt x="596" y="1186"/>
                  </a:lnTo>
                  <a:lnTo>
                    <a:pt x="571" y="1217"/>
                  </a:lnTo>
                  <a:lnTo>
                    <a:pt x="546" y="1248"/>
                  </a:lnTo>
                  <a:lnTo>
                    <a:pt x="520" y="1280"/>
                  </a:lnTo>
                  <a:lnTo>
                    <a:pt x="494" y="1309"/>
                  </a:lnTo>
                  <a:lnTo>
                    <a:pt x="444" y="1365"/>
                  </a:lnTo>
                  <a:lnTo>
                    <a:pt x="397" y="1414"/>
                  </a:lnTo>
                  <a:lnTo>
                    <a:pt x="359" y="1451"/>
                  </a:lnTo>
                  <a:lnTo>
                    <a:pt x="332" y="1475"/>
                  </a:lnTo>
                  <a:lnTo>
                    <a:pt x="327" y="1477"/>
                  </a:lnTo>
                  <a:lnTo>
                    <a:pt x="320" y="1476"/>
                  </a:lnTo>
                  <a:lnTo>
                    <a:pt x="313" y="1471"/>
                  </a:lnTo>
                  <a:lnTo>
                    <a:pt x="304" y="1465"/>
                  </a:lnTo>
                  <a:lnTo>
                    <a:pt x="294" y="1456"/>
                  </a:lnTo>
                  <a:lnTo>
                    <a:pt x="283" y="1444"/>
                  </a:lnTo>
                  <a:lnTo>
                    <a:pt x="271" y="1430"/>
                  </a:lnTo>
                  <a:lnTo>
                    <a:pt x="259" y="1415"/>
                  </a:lnTo>
                  <a:lnTo>
                    <a:pt x="233" y="1378"/>
                  </a:lnTo>
                  <a:lnTo>
                    <a:pt x="205" y="1336"/>
                  </a:lnTo>
                  <a:lnTo>
                    <a:pt x="176" y="1290"/>
                  </a:lnTo>
                  <a:lnTo>
                    <a:pt x="147" y="1242"/>
                  </a:lnTo>
                  <a:lnTo>
                    <a:pt x="91" y="1146"/>
                  </a:lnTo>
                  <a:lnTo>
                    <a:pt x="45" y="1061"/>
                  </a:lnTo>
                  <a:lnTo>
                    <a:pt x="12" y="1001"/>
                  </a:lnTo>
                  <a:lnTo>
                    <a:pt x="0" y="979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3" name="ïśľîdé"/>
            <p:cNvSpPr/>
            <p:nvPr/>
          </p:nvSpPr>
          <p:spPr bwMode="auto">
            <a:xfrm>
              <a:off x="1299368" y="5857082"/>
              <a:ext cx="385763" cy="201613"/>
            </a:xfrm>
            <a:custGeom>
              <a:avLst/>
              <a:gdLst>
                <a:gd name="T0" fmla="*/ 612 w 1214"/>
                <a:gd name="T1" fmla="*/ 7 h 637"/>
                <a:gd name="T2" fmla="*/ 555 w 1214"/>
                <a:gd name="T3" fmla="*/ 50 h 637"/>
                <a:gd name="T4" fmla="*/ 468 w 1214"/>
                <a:gd name="T5" fmla="*/ 116 h 637"/>
                <a:gd name="T6" fmla="*/ 379 w 1214"/>
                <a:gd name="T7" fmla="*/ 180 h 637"/>
                <a:gd name="T8" fmla="*/ 334 w 1214"/>
                <a:gd name="T9" fmla="*/ 210 h 637"/>
                <a:gd name="T10" fmla="*/ 313 w 1214"/>
                <a:gd name="T11" fmla="*/ 219 h 637"/>
                <a:gd name="T12" fmla="*/ 275 w 1214"/>
                <a:gd name="T13" fmla="*/ 230 h 637"/>
                <a:gd name="T14" fmla="*/ 215 w 1214"/>
                <a:gd name="T15" fmla="*/ 246 h 637"/>
                <a:gd name="T16" fmla="*/ 151 w 1214"/>
                <a:gd name="T17" fmla="*/ 264 h 637"/>
                <a:gd name="T18" fmla="*/ 105 w 1214"/>
                <a:gd name="T19" fmla="*/ 284 h 637"/>
                <a:gd name="T20" fmla="*/ 78 w 1214"/>
                <a:gd name="T21" fmla="*/ 299 h 637"/>
                <a:gd name="T22" fmla="*/ 53 w 1214"/>
                <a:gd name="T23" fmla="*/ 318 h 637"/>
                <a:gd name="T24" fmla="*/ 31 w 1214"/>
                <a:gd name="T25" fmla="*/ 340 h 637"/>
                <a:gd name="T26" fmla="*/ 15 w 1214"/>
                <a:gd name="T27" fmla="*/ 368 h 637"/>
                <a:gd name="T28" fmla="*/ 4 w 1214"/>
                <a:gd name="T29" fmla="*/ 400 h 637"/>
                <a:gd name="T30" fmla="*/ 0 w 1214"/>
                <a:gd name="T31" fmla="*/ 438 h 637"/>
                <a:gd name="T32" fmla="*/ 4 w 1214"/>
                <a:gd name="T33" fmla="*/ 481 h 637"/>
                <a:gd name="T34" fmla="*/ 16 w 1214"/>
                <a:gd name="T35" fmla="*/ 529 h 637"/>
                <a:gd name="T36" fmla="*/ 40 w 1214"/>
                <a:gd name="T37" fmla="*/ 568 h 637"/>
                <a:gd name="T38" fmla="*/ 75 w 1214"/>
                <a:gd name="T39" fmla="*/ 598 h 637"/>
                <a:gd name="T40" fmla="*/ 118 w 1214"/>
                <a:gd name="T41" fmla="*/ 619 h 637"/>
                <a:gd name="T42" fmla="*/ 170 w 1214"/>
                <a:gd name="T43" fmla="*/ 631 h 637"/>
                <a:gd name="T44" fmla="*/ 229 w 1214"/>
                <a:gd name="T45" fmla="*/ 637 h 637"/>
                <a:gd name="T46" fmla="*/ 294 w 1214"/>
                <a:gd name="T47" fmla="*/ 637 h 637"/>
                <a:gd name="T48" fmla="*/ 360 w 1214"/>
                <a:gd name="T49" fmla="*/ 632 h 637"/>
                <a:gd name="T50" fmla="*/ 430 w 1214"/>
                <a:gd name="T51" fmla="*/ 623 h 637"/>
                <a:gd name="T52" fmla="*/ 501 w 1214"/>
                <a:gd name="T53" fmla="*/ 612 h 637"/>
                <a:gd name="T54" fmla="*/ 604 w 1214"/>
                <a:gd name="T55" fmla="*/ 591 h 637"/>
                <a:gd name="T56" fmla="*/ 732 w 1214"/>
                <a:gd name="T57" fmla="*/ 562 h 637"/>
                <a:gd name="T58" fmla="*/ 835 w 1214"/>
                <a:gd name="T59" fmla="*/ 540 h 637"/>
                <a:gd name="T60" fmla="*/ 911 w 1214"/>
                <a:gd name="T61" fmla="*/ 529 h 637"/>
                <a:gd name="T62" fmla="*/ 980 w 1214"/>
                <a:gd name="T63" fmla="*/ 516 h 637"/>
                <a:gd name="T64" fmla="*/ 1030 w 1214"/>
                <a:gd name="T65" fmla="*/ 503 h 637"/>
                <a:gd name="T66" fmla="*/ 1061 w 1214"/>
                <a:gd name="T67" fmla="*/ 491 h 637"/>
                <a:gd name="T68" fmla="*/ 1091 w 1214"/>
                <a:gd name="T69" fmla="*/ 477 h 637"/>
                <a:gd name="T70" fmla="*/ 1119 w 1214"/>
                <a:gd name="T71" fmla="*/ 460 h 637"/>
                <a:gd name="T72" fmla="*/ 1143 w 1214"/>
                <a:gd name="T73" fmla="*/ 441 h 637"/>
                <a:gd name="T74" fmla="*/ 1165 w 1214"/>
                <a:gd name="T75" fmla="*/ 417 h 637"/>
                <a:gd name="T76" fmla="*/ 1183 w 1214"/>
                <a:gd name="T77" fmla="*/ 390 h 637"/>
                <a:gd name="T78" fmla="*/ 1197 w 1214"/>
                <a:gd name="T79" fmla="*/ 359 h 637"/>
                <a:gd name="T80" fmla="*/ 1207 w 1214"/>
                <a:gd name="T81" fmla="*/ 323 h 637"/>
                <a:gd name="T82" fmla="*/ 1212 w 1214"/>
                <a:gd name="T83" fmla="*/ 283 h 637"/>
                <a:gd name="T84" fmla="*/ 1214 w 1214"/>
                <a:gd name="T85" fmla="*/ 238 h 637"/>
                <a:gd name="T86" fmla="*/ 1208 w 1214"/>
                <a:gd name="T87" fmla="*/ 187 h 637"/>
                <a:gd name="T88" fmla="*/ 1195 w 1214"/>
                <a:gd name="T89" fmla="*/ 115 h 637"/>
                <a:gd name="T90" fmla="*/ 1179 w 1214"/>
                <a:gd name="T91" fmla="*/ 35 h 637"/>
                <a:gd name="T92" fmla="*/ 621 w 1214"/>
                <a:gd name="T93" fmla="*/ 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14" h="637">
                  <a:moveTo>
                    <a:pt x="621" y="0"/>
                  </a:moveTo>
                  <a:lnTo>
                    <a:pt x="612" y="7"/>
                  </a:lnTo>
                  <a:lnTo>
                    <a:pt x="589" y="24"/>
                  </a:lnTo>
                  <a:lnTo>
                    <a:pt x="555" y="50"/>
                  </a:lnTo>
                  <a:lnTo>
                    <a:pt x="514" y="82"/>
                  </a:lnTo>
                  <a:lnTo>
                    <a:pt x="468" y="116"/>
                  </a:lnTo>
                  <a:lnTo>
                    <a:pt x="422" y="149"/>
                  </a:lnTo>
                  <a:lnTo>
                    <a:pt x="379" y="180"/>
                  </a:lnTo>
                  <a:lnTo>
                    <a:pt x="343" y="205"/>
                  </a:lnTo>
                  <a:lnTo>
                    <a:pt x="334" y="210"/>
                  </a:lnTo>
                  <a:lnTo>
                    <a:pt x="324" y="215"/>
                  </a:lnTo>
                  <a:lnTo>
                    <a:pt x="313" y="219"/>
                  </a:lnTo>
                  <a:lnTo>
                    <a:pt x="301" y="223"/>
                  </a:lnTo>
                  <a:lnTo>
                    <a:pt x="275" y="230"/>
                  </a:lnTo>
                  <a:lnTo>
                    <a:pt x="246" y="238"/>
                  </a:lnTo>
                  <a:lnTo>
                    <a:pt x="215" y="246"/>
                  </a:lnTo>
                  <a:lnTo>
                    <a:pt x="184" y="254"/>
                  </a:lnTo>
                  <a:lnTo>
                    <a:pt x="151" y="264"/>
                  </a:lnTo>
                  <a:lnTo>
                    <a:pt x="120" y="276"/>
                  </a:lnTo>
                  <a:lnTo>
                    <a:pt x="105" y="284"/>
                  </a:lnTo>
                  <a:lnTo>
                    <a:pt x="91" y="290"/>
                  </a:lnTo>
                  <a:lnTo>
                    <a:pt x="78" y="299"/>
                  </a:lnTo>
                  <a:lnTo>
                    <a:pt x="65" y="308"/>
                  </a:lnTo>
                  <a:lnTo>
                    <a:pt x="53" y="318"/>
                  </a:lnTo>
                  <a:lnTo>
                    <a:pt x="41" y="328"/>
                  </a:lnTo>
                  <a:lnTo>
                    <a:pt x="31" y="340"/>
                  </a:lnTo>
                  <a:lnTo>
                    <a:pt x="22" y="354"/>
                  </a:lnTo>
                  <a:lnTo>
                    <a:pt x="15" y="368"/>
                  </a:lnTo>
                  <a:lnTo>
                    <a:pt x="9" y="384"/>
                  </a:lnTo>
                  <a:lnTo>
                    <a:pt x="4" y="400"/>
                  </a:lnTo>
                  <a:lnTo>
                    <a:pt x="1" y="418"/>
                  </a:lnTo>
                  <a:lnTo>
                    <a:pt x="0" y="438"/>
                  </a:lnTo>
                  <a:lnTo>
                    <a:pt x="0" y="458"/>
                  </a:lnTo>
                  <a:lnTo>
                    <a:pt x="4" y="481"/>
                  </a:lnTo>
                  <a:lnTo>
                    <a:pt x="8" y="505"/>
                  </a:lnTo>
                  <a:lnTo>
                    <a:pt x="16" y="529"/>
                  </a:lnTo>
                  <a:lnTo>
                    <a:pt x="27" y="550"/>
                  </a:lnTo>
                  <a:lnTo>
                    <a:pt x="40" y="568"/>
                  </a:lnTo>
                  <a:lnTo>
                    <a:pt x="56" y="584"/>
                  </a:lnTo>
                  <a:lnTo>
                    <a:pt x="75" y="598"/>
                  </a:lnTo>
                  <a:lnTo>
                    <a:pt x="95" y="609"/>
                  </a:lnTo>
                  <a:lnTo>
                    <a:pt x="118" y="619"/>
                  </a:lnTo>
                  <a:lnTo>
                    <a:pt x="144" y="625"/>
                  </a:lnTo>
                  <a:lnTo>
                    <a:pt x="170" y="631"/>
                  </a:lnTo>
                  <a:lnTo>
                    <a:pt x="200" y="635"/>
                  </a:lnTo>
                  <a:lnTo>
                    <a:pt x="229" y="637"/>
                  </a:lnTo>
                  <a:lnTo>
                    <a:pt x="261" y="637"/>
                  </a:lnTo>
                  <a:lnTo>
                    <a:pt x="294" y="637"/>
                  </a:lnTo>
                  <a:lnTo>
                    <a:pt x="326" y="635"/>
                  </a:lnTo>
                  <a:lnTo>
                    <a:pt x="360" y="632"/>
                  </a:lnTo>
                  <a:lnTo>
                    <a:pt x="395" y="628"/>
                  </a:lnTo>
                  <a:lnTo>
                    <a:pt x="430" y="623"/>
                  </a:lnTo>
                  <a:lnTo>
                    <a:pt x="465" y="617"/>
                  </a:lnTo>
                  <a:lnTo>
                    <a:pt x="501" y="612"/>
                  </a:lnTo>
                  <a:lnTo>
                    <a:pt x="536" y="605"/>
                  </a:lnTo>
                  <a:lnTo>
                    <a:pt x="604" y="591"/>
                  </a:lnTo>
                  <a:lnTo>
                    <a:pt x="670" y="576"/>
                  </a:lnTo>
                  <a:lnTo>
                    <a:pt x="732" y="562"/>
                  </a:lnTo>
                  <a:lnTo>
                    <a:pt x="787" y="550"/>
                  </a:lnTo>
                  <a:lnTo>
                    <a:pt x="835" y="540"/>
                  </a:lnTo>
                  <a:lnTo>
                    <a:pt x="876" y="533"/>
                  </a:lnTo>
                  <a:lnTo>
                    <a:pt x="911" y="529"/>
                  </a:lnTo>
                  <a:lnTo>
                    <a:pt x="945" y="524"/>
                  </a:lnTo>
                  <a:lnTo>
                    <a:pt x="980" y="516"/>
                  </a:lnTo>
                  <a:lnTo>
                    <a:pt x="1014" y="508"/>
                  </a:lnTo>
                  <a:lnTo>
                    <a:pt x="1030" y="503"/>
                  </a:lnTo>
                  <a:lnTo>
                    <a:pt x="1046" y="497"/>
                  </a:lnTo>
                  <a:lnTo>
                    <a:pt x="1061" y="491"/>
                  </a:lnTo>
                  <a:lnTo>
                    <a:pt x="1076" y="484"/>
                  </a:lnTo>
                  <a:lnTo>
                    <a:pt x="1091" y="477"/>
                  </a:lnTo>
                  <a:lnTo>
                    <a:pt x="1105" y="469"/>
                  </a:lnTo>
                  <a:lnTo>
                    <a:pt x="1119" y="460"/>
                  </a:lnTo>
                  <a:lnTo>
                    <a:pt x="1131" y="451"/>
                  </a:lnTo>
                  <a:lnTo>
                    <a:pt x="1143" y="441"/>
                  </a:lnTo>
                  <a:lnTo>
                    <a:pt x="1155" y="429"/>
                  </a:lnTo>
                  <a:lnTo>
                    <a:pt x="1165" y="417"/>
                  </a:lnTo>
                  <a:lnTo>
                    <a:pt x="1174" y="404"/>
                  </a:lnTo>
                  <a:lnTo>
                    <a:pt x="1183" y="390"/>
                  </a:lnTo>
                  <a:lnTo>
                    <a:pt x="1191" y="375"/>
                  </a:lnTo>
                  <a:lnTo>
                    <a:pt x="1197" y="359"/>
                  </a:lnTo>
                  <a:lnTo>
                    <a:pt x="1203" y="342"/>
                  </a:lnTo>
                  <a:lnTo>
                    <a:pt x="1207" y="323"/>
                  </a:lnTo>
                  <a:lnTo>
                    <a:pt x="1210" y="303"/>
                  </a:lnTo>
                  <a:lnTo>
                    <a:pt x="1212" y="283"/>
                  </a:lnTo>
                  <a:lnTo>
                    <a:pt x="1214" y="261"/>
                  </a:lnTo>
                  <a:lnTo>
                    <a:pt x="1214" y="238"/>
                  </a:lnTo>
                  <a:lnTo>
                    <a:pt x="1211" y="213"/>
                  </a:lnTo>
                  <a:lnTo>
                    <a:pt x="1208" y="187"/>
                  </a:lnTo>
                  <a:lnTo>
                    <a:pt x="1204" y="159"/>
                  </a:lnTo>
                  <a:lnTo>
                    <a:pt x="1195" y="115"/>
                  </a:lnTo>
                  <a:lnTo>
                    <a:pt x="1187" y="73"/>
                  </a:lnTo>
                  <a:lnTo>
                    <a:pt x="1179" y="35"/>
                  </a:lnTo>
                  <a:lnTo>
                    <a:pt x="1171" y="0"/>
                  </a:lnTo>
                  <a:lnTo>
                    <a:pt x="621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4" name="ï$ḷíďê"/>
            <p:cNvSpPr/>
            <p:nvPr/>
          </p:nvSpPr>
          <p:spPr bwMode="auto">
            <a:xfrm>
              <a:off x="1967706" y="5903119"/>
              <a:ext cx="384175" cy="201613"/>
            </a:xfrm>
            <a:custGeom>
              <a:avLst/>
              <a:gdLst>
                <a:gd name="T0" fmla="*/ 602 w 1213"/>
                <a:gd name="T1" fmla="*/ 7 h 637"/>
                <a:gd name="T2" fmla="*/ 658 w 1213"/>
                <a:gd name="T3" fmla="*/ 50 h 637"/>
                <a:gd name="T4" fmla="*/ 745 w 1213"/>
                <a:gd name="T5" fmla="*/ 115 h 637"/>
                <a:gd name="T6" fmla="*/ 835 w 1213"/>
                <a:gd name="T7" fmla="*/ 179 h 637"/>
                <a:gd name="T8" fmla="*/ 880 w 1213"/>
                <a:gd name="T9" fmla="*/ 210 h 637"/>
                <a:gd name="T10" fmla="*/ 900 w 1213"/>
                <a:gd name="T11" fmla="*/ 218 h 637"/>
                <a:gd name="T12" fmla="*/ 938 w 1213"/>
                <a:gd name="T13" fmla="*/ 230 h 637"/>
                <a:gd name="T14" fmla="*/ 998 w 1213"/>
                <a:gd name="T15" fmla="*/ 246 h 637"/>
                <a:gd name="T16" fmla="*/ 1063 w 1213"/>
                <a:gd name="T17" fmla="*/ 264 h 637"/>
                <a:gd name="T18" fmla="*/ 1108 w 1213"/>
                <a:gd name="T19" fmla="*/ 283 h 637"/>
                <a:gd name="T20" fmla="*/ 1137 w 1213"/>
                <a:gd name="T21" fmla="*/ 299 h 637"/>
                <a:gd name="T22" fmla="*/ 1162 w 1213"/>
                <a:gd name="T23" fmla="*/ 317 h 637"/>
                <a:gd name="T24" fmla="*/ 1183 w 1213"/>
                <a:gd name="T25" fmla="*/ 340 h 637"/>
                <a:gd name="T26" fmla="*/ 1199 w 1213"/>
                <a:gd name="T27" fmla="*/ 368 h 637"/>
                <a:gd name="T28" fmla="*/ 1210 w 1213"/>
                <a:gd name="T29" fmla="*/ 400 h 637"/>
                <a:gd name="T30" fmla="*/ 1213 w 1213"/>
                <a:gd name="T31" fmla="*/ 437 h 637"/>
                <a:gd name="T32" fmla="*/ 1210 w 1213"/>
                <a:gd name="T33" fmla="*/ 481 h 637"/>
                <a:gd name="T34" fmla="*/ 1198 w 1213"/>
                <a:gd name="T35" fmla="*/ 529 h 637"/>
                <a:gd name="T36" fmla="*/ 1174 w 1213"/>
                <a:gd name="T37" fmla="*/ 567 h 637"/>
                <a:gd name="T38" fmla="*/ 1139 w 1213"/>
                <a:gd name="T39" fmla="*/ 597 h 637"/>
                <a:gd name="T40" fmla="*/ 1095 w 1213"/>
                <a:gd name="T41" fmla="*/ 617 h 637"/>
                <a:gd name="T42" fmla="*/ 1043 w 1213"/>
                <a:gd name="T43" fmla="*/ 630 h 637"/>
                <a:gd name="T44" fmla="*/ 984 w 1213"/>
                <a:gd name="T45" fmla="*/ 636 h 637"/>
                <a:gd name="T46" fmla="*/ 921 w 1213"/>
                <a:gd name="T47" fmla="*/ 636 h 637"/>
                <a:gd name="T48" fmla="*/ 853 w 1213"/>
                <a:gd name="T49" fmla="*/ 632 h 637"/>
                <a:gd name="T50" fmla="*/ 784 w 1213"/>
                <a:gd name="T51" fmla="*/ 623 h 637"/>
                <a:gd name="T52" fmla="*/ 714 w 1213"/>
                <a:gd name="T53" fmla="*/ 611 h 637"/>
                <a:gd name="T54" fmla="*/ 609 w 1213"/>
                <a:gd name="T55" fmla="*/ 590 h 637"/>
                <a:gd name="T56" fmla="*/ 483 w 1213"/>
                <a:gd name="T57" fmla="*/ 562 h 637"/>
                <a:gd name="T58" fmla="*/ 378 w 1213"/>
                <a:gd name="T59" fmla="*/ 540 h 637"/>
                <a:gd name="T60" fmla="*/ 303 w 1213"/>
                <a:gd name="T61" fmla="*/ 529 h 637"/>
                <a:gd name="T62" fmla="*/ 234 w 1213"/>
                <a:gd name="T63" fmla="*/ 516 h 637"/>
                <a:gd name="T64" fmla="*/ 184 w 1213"/>
                <a:gd name="T65" fmla="*/ 503 h 637"/>
                <a:gd name="T66" fmla="*/ 153 w 1213"/>
                <a:gd name="T67" fmla="*/ 491 h 637"/>
                <a:gd name="T68" fmla="*/ 123 w 1213"/>
                <a:gd name="T69" fmla="*/ 477 h 637"/>
                <a:gd name="T70" fmla="*/ 96 w 1213"/>
                <a:gd name="T71" fmla="*/ 460 h 637"/>
                <a:gd name="T72" fmla="*/ 71 w 1213"/>
                <a:gd name="T73" fmla="*/ 440 h 637"/>
                <a:gd name="T74" fmla="*/ 49 w 1213"/>
                <a:gd name="T75" fmla="*/ 417 h 637"/>
                <a:gd name="T76" fmla="*/ 30 w 1213"/>
                <a:gd name="T77" fmla="*/ 389 h 637"/>
                <a:gd name="T78" fmla="*/ 16 w 1213"/>
                <a:gd name="T79" fmla="*/ 358 h 637"/>
                <a:gd name="T80" fmla="*/ 6 w 1213"/>
                <a:gd name="T81" fmla="*/ 323 h 637"/>
                <a:gd name="T82" fmla="*/ 1 w 1213"/>
                <a:gd name="T83" fmla="*/ 283 h 637"/>
                <a:gd name="T84" fmla="*/ 0 w 1213"/>
                <a:gd name="T85" fmla="*/ 237 h 637"/>
                <a:gd name="T86" fmla="*/ 5 w 1213"/>
                <a:gd name="T87" fmla="*/ 187 h 637"/>
                <a:gd name="T88" fmla="*/ 18 w 1213"/>
                <a:gd name="T89" fmla="*/ 114 h 637"/>
                <a:gd name="T90" fmla="*/ 35 w 1213"/>
                <a:gd name="T91" fmla="*/ 35 h 637"/>
                <a:gd name="T92" fmla="*/ 593 w 1213"/>
                <a:gd name="T93" fmla="*/ 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13" h="637">
                  <a:moveTo>
                    <a:pt x="593" y="0"/>
                  </a:moveTo>
                  <a:lnTo>
                    <a:pt x="602" y="7"/>
                  </a:lnTo>
                  <a:lnTo>
                    <a:pt x="624" y="24"/>
                  </a:lnTo>
                  <a:lnTo>
                    <a:pt x="658" y="50"/>
                  </a:lnTo>
                  <a:lnTo>
                    <a:pt x="701" y="81"/>
                  </a:lnTo>
                  <a:lnTo>
                    <a:pt x="745" y="115"/>
                  </a:lnTo>
                  <a:lnTo>
                    <a:pt x="791" y="148"/>
                  </a:lnTo>
                  <a:lnTo>
                    <a:pt x="835" y="179"/>
                  </a:lnTo>
                  <a:lnTo>
                    <a:pt x="871" y="204"/>
                  </a:lnTo>
                  <a:lnTo>
                    <a:pt x="880" y="210"/>
                  </a:lnTo>
                  <a:lnTo>
                    <a:pt x="889" y="214"/>
                  </a:lnTo>
                  <a:lnTo>
                    <a:pt x="900" y="218"/>
                  </a:lnTo>
                  <a:lnTo>
                    <a:pt x="912" y="223"/>
                  </a:lnTo>
                  <a:lnTo>
                    <a:pt x="938" y="230"/>
                  </a:lnTo>
                  <a:lnTo>
                    <a:pt x="968" y="238"/>
                  </a:lnTo>
                  <a:lnTo>
                    <a:pt x="998" y="246"/>
                  </a:lnTo>
                  <a:lnTo>
                    <a:pt x="1031" y="254"/>
                  </a:lnTo>
                  <a:lnTo>
                    <a:pt x="1063" y="264"/>
                  </a:lnTo>
                  <a:lnTo>
                    <a:pt x="1093" y="276"/>
                  </a:lnTo>
                  <a:lnTo>
                    <a:pt x="1108" y="283"/>
                  </a:lnTo>
                  <a:lnTo>
                    <a:pt x="1123" y="290"/>
                  </a:lnTo>
                  <a:lnTo>
                    <a:pt x="1137" y="299"/>
                  </a:lnTo>
                  <a:lnTo>
                    <a:pt x="1150" y="308"/>
                  </a:lnTo>
                  <a:lnTo>
                    <a:pt x="1162" y="317"/>
                  </a:lnTo>
                  <a:lnTo>
                    <a:pt x="1173" y="328"/>
                  </a:lnTo>
                  <a:lnTo>
                    <a:pt x="1183" y="340"/>
                  </a:lnTo>
                  <a:lnTo>
                    <a:pt x="1191" y="353"/>
                  </a:lnTo>
                  <a:lnTo>
                    <a:pt x="1199" y="368"/>
                  </a:lnTo>
                  <a:lnTo>
                    <a:pt x="1204" y="383"/>
                  </a:lnTo>
                  <a:lnTo>
                    <a:pt x="1210" y="400"/>
                  </a:lnTo>
                  <a:lnTo>
                    <a:pt x="1212" y="418"/>
                  </a:lnTo>
                  <a:lnTo>
                    <a:pt x="1213" y="437"/>
                  </a:lnTo>
                  <a:lnTo>
                    <a:pt x="1213" y="458"/>
                  </a:lnTo>
                  <a:lnTo>
                    <a:pt x="1210" y="481"/>
                  </a:lnTo>
                  <a:lnTo>
                    <a:pt x="1205" y="505"/>
                  </a:lnTo>
                  <a:lnTo>
                    <a:pt x="1198" y="529"/>
                  </a:lnTo>
                  <a:lnTo>
                    <a:pt x="1187" y="550"/>
                  </a:lnTo>
                  <a:lnTo>
                    <a:pt x="1174" y="567"/>
                  </a:lnTo>
                  <a:lnTo>
                    <a:pt x="1158" y="584"/>
                  </a:lnTo>
                  <a:lnTo>
                    <a:pt x="1139" y="597"/>
                  </a:lnTo>
                  <a:lnTo>
                    <a:pt x="1118" y="609"/>
                  </a:lnTo>
                  <a:lnTo>
                    <a:pt x="1095" y="617"/>
                  </a:lnTo>
                  <a:lnTo>
                    <a:pt x="1070" y="625"/>
                  </a:lnTo>
                  <a:lnTo>
                    <a:pt x="1043" y="630"/>
                  </a:lnTo>
                  <a:lnTo>
                    <a:pt x="1015" y="634"/>
                  </a:lnTo>
                  <a:lnTo>
                    <a:pt x="984" y="636"/>
                  </a:lnTo>
                  <a:lnTo>
                    <a:pt x="953" y="637"/>
                  </a:lnTo>
                  <a:lnTo>
                    <a:pt x="921" y="636"/>
                  </a:lnTo>
                  <a:lnTo>
                    <a:pt x="887" y="635"/>
                  </a:lnTo>
                  <a:lnTo>
                    <a:pt x="853" y="632"/>
                  </a:lnTo>
                  <a:lnTo>
                    <a:pt x="819" y="627"/>
                  </a:lnTo>
                  <a:lnTo>
                    <a:pt x="784" y="623"/>
                  </a:lnTo>
                  <a:lnTo>
                    <a:pt x="749" y="617"/>
                  </a:lnTo>
                  <a:lnTo>
                    <a:pt x="714" y="611"/>
                  </a:lnTo>
                  <a:lnTo>
                    <a:pt x="678" y="604"/>
                  </a:lnTo>
                  <a:lnTo>
                    <a:pt x="609" y="590"/>
                  </a:lnTo>
                  <a:lnTo>
                    <a:pt x="544" y="576"/>
                  </a:lnTo>
                  <a:lnTo>
                    <a:pt x="483" y="562"/>
                  </a:lnTo>
                  <a:lnTo>
                    <a:pt x="427" y="550"/>
                  </a:lnTo>
                  <a:lnTo>
                    <a:pt x="378" y="540"/>
                  </a:lnTo>
                  <a:lnTo>
                    <a:pt x="339" y="533"/>
                  </a:lnTo>
                  <a:lnTo>
                    <a:pt x="303" y="529"/>
                  </a:lnTo>
                  <a:lnTo>
                    <a:pt x="268" y="523"/>
                  </a:lnTo>
                  <a:lnTo>
                    <a:pt x="234" y="516"/>
                  </a:lnTo>
                  <a:lnTo>
                    <a:pt x="200" y="507"/>
                  </a:lnTo>
                  <a:lnTo>
                    <a:pt x="184" y="503"/>
                  </a:lnTo>
                  <a:lnTo>
                    <a:pt x="168" y="497"/>
                  </a:lnTo>
                  <a:lnTo>
                    <a:pt x="153" y="491"/>
                  </a:lnTo>
                  <a:lnTo>
                    <a:pt x="137" y="484"/>
                  </a:lnTo>
                  <a:lnTo>
                    <a:pt x="123" y="477"/>
                  </a:lnTo>
                  <a:lnTo>
                    <a:pt x="109" y="469"/>
                  </a:lnTo>
                  <a:lnTo>
                    <a:pt x="96" y="460"/>
                  </a:lnTo>
                  <a:lnTo>
                    <a:pt x="83" y="451"/>
                  </a:lnTo>
                  <a:lnTo>
                    <a:pt x="71" y="440"/>
                  </a:lnTo>
                  <a:lnTo>
                    <a:pt x="60" y="429"/>
                  </a:lnTo>
                  <a:lnTo>
                    <a:pt x="49" y="417"/>
                  </a:lnTo>
                  <a:lnTo>
                    <a:pt x="39" y="404"/>
                  </a:lnTo>
                  <a:lnTo>
                    <a:pt x="30" y="389"/>
                  </a:lnTo>
                  <a:lnTo>
                    <a:pt x="23" y="374"/>
                  </a:lnTo>
                  <a:lnTo>
                    <a:pt x="16" y="358"/>
                  </a:lnTo>
                  <a:lnTo>
                    <a:pt x="11" y="341"/>
                  </a:lnTo>
                  <a:lnTo>
                    <a:pt x="6" y="323"/>
                  </a:lnTo>
                  <a:lnTo>
                    <a:pt x="3" y="303"/>
                  </a:lnTo>
                  <a:lnTo>
                    <a:pt x="1" y="283"/>
                  </a:lnTo>
                  <a:lnTo>
                    <a:pt x="0" y="261"/>
                  </a:lnTo>
                  <a:lnTo>
                    <a:pt x="0" y="237"/>
                  </a:lnTo>
                  <a:lnTo>
                    <a:pt x="2" y="213"/>
                  </a:lnTo>
                  <a:lnTo>
                    <a:pt x="5" y="187"/>
                  </a:lnTo>
                  <a:lnTo>
                    <a:pt x="10" y="159"/>
                  </a:lnTo>
                  <a:lnTo>
                    <a:pt x="18" y="114"/>
                  </a:lnTo>
                  <a:lnTo>
                    <a:pt x="27" y="72"/>
                  </a:lnTo>
                  <a:lnTo>
                    <a:pt x="35" y="35"/>
                  </a:lnTo>
                  <a:lnTo>
                    <a:pt x="42" y="0"/>
                  </a:lnTo>
                  <a:lnTo>
                    <a:pt x="59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5" name="ïṧľíde"/>
            <p:cNvSpPr/>
            <p:nvPr/>
          </p:nvSpPr>
          <p:spPr bwMode="auto">
            <a:xfrm>
              <a:off x="794543" y="2688432"/>
              <a:ext cx="2544763" cy="1682750"/>
            </a:xfrm>
            <a:custGeom>
              <a:avLst/>
              <a:gdLst>
                <a:gd name="T0" fmla="*/ 2284 w 8015"/>
                <a:gd name="T1" fmla="*/ 1089 h 5302"/>
                <a:gd name="T2" fmla="*/ 1553 w 8015"/>
                <a:gd name="T3" fmla="*/ 1499 h 5302"/>
                <a:gd name="T4" fmla="*/ 1115 w 8015"/>
                <a:gd name="T5" fmla="*/ 1763 h 5302"/>
                <a:gd name="T6" fmla="*/ 692 w 8015"/>
                <a:gd name="T7" fmla="*/ 2036 h 5302"/>
                <a:gd name="T8" fmla="*/ 334 w 8015"/>
                <a:gd name="T9" fmla="*/ 2301 h 5302"/>
                <a:gd name="T10" fmla="*/ 87 w 8015"/>
                <a:gd name="T11" fmla="*/ 2535 h 5302"/>
                <a:gd name="T12" fmla="*/ 0 w 8015"/>
                <a:gd name="T13" fmla="*/ 2715 h 5302"/>
                <a:gd name="T14" fmla="*/ 62 w 8015"/>
                <a:gd name="T15" fmla="*/ 2915 h 5302"/>
                <a:gd name="T16" fmla="*/ 208 w 8015"/>
                <a:gd name="T17" fmla="*/ 3178 h 5302"/>
                <a:gd name="T18" fmla="*/ 410 w 8015"/>
                <a:gd name="T19" fmla="*/ 3477 h 5302"/>
                <a:gd name="T20" fmla="*/ 639 w 8015"/>
                <a:gd name="T21" fmla="*/ 3783 h 5302"/>
                <a:gd name="T22" fmla="*/ 868 w 8015"/>
                <a:gd name="T23" fmla="*/ 4070 h 5302"/>
                <a:gd name="T24" fmla="*/ 1204 w 8015"/>
                <a:gd name="T25" fmla="*/ 4473 h 5302"/>
                <a:gd name="T26" fmla="*/ 1631 w 8015"/>
                <a:gd name="T27" fmla="*/ 3882 h 5302"/>
                <a:gd name="T28" fmla="*/ 1442 w 8015"/>
                <a:gd name="T29" fmla="*/ 3705 h 5302"/>
                <a:gd name="T30" fmla="*/ 1174 w 8015"/>
                <a:gd name="T31" fmla="*/ 3429 h 5302"/>
                <a:gd name="T32" fmla="*/ 1022 w 8015"/>
                <a:gd name="T33" fmla="*/ 3253 h 5302"/>
                <a:gd name="T34" fmla="*/ 898 w 8015"/>
                <a:gd name="T35" fmla="*/ 3082 h 5302"/>
                <a:gd name="T36" fmla="*/ 821 w 8015"/>
                <a:gd name="T37" fmla="*/ 2930 h 5302"/>
                <a:gd name="T38" fmla="*/ 812 w 8015"/>
                <a:gd name="T39" fmla="*/ 2813 h 5302"/>
                <a:gd name="T40" fmla="*/ 899 w 8015"/>
                <a:gd name="T41" fmla="*/ 2691 h 5302"/>
                <a:gd name="T42" fmla="*/ 1069 w 8015"/>
                <a:gd name="T43" fmla="*/ 2544 h 5302"/>
                <a:gd name="T44" fmla="*/ 1295 w 8015"/>
                <a:gd name="T45" fmla="*/ 2385 h 5302"/>
                <a:gd name="T46" fmla="*/ 1616 w 8015"/>
                <a:gd name="T47" fmla="*/ 2186 h 5302"/>
                <a:gd name="T48" fmla="*/ 2098 w 8015"/>
                <a:gd name="T49" fmla="*/ 1912 h 5302"/>
                <a:gd name="T50" fmla="*/ 1759 w 8015"/>
                <a:gd name="T51" fmla="*/ 4761 h 5302"/>
                <a:gd name="T52" fmla="*/ 1869 w 8015"/>
                <a:gd name="T53" fmla="*/ 4856 h 5302"/>
                <a:gd name="T54" fmla="*/ 2005 w 8015"/>
                <a:gd name="T55" fmla="*/ 4951 h 5302"/>
                <a:gd name="T56" fmla="*/ 2190 w 8015"/>
                <a:gd name="T57" fmla="*/ 5059 h 5302"/>
                <a:gd name="T58" fmla="*/ 2424 w 8015"/>
                <a:gd name="T59" fmla="*/ 5161 h 5302"/>
                <a:gd name="T60" fmla="*/ 2705 w 8015"/>
                <a:gd name="T61" fmla="*/ 5245 h 5302"/>
                <a:gd name="T62" fmla="*/ 3031 w 8015"/>
                <a:gd name="T63" fmla="*/ 5295 h 5302"/>
                <a:gd name="T64" fmla="*/ 3400 w 8015"/>
                <a:gd name="T65" fmla="*/ 5295 h 5302"/>
                <a:gd name="T66" fmla="*/ 3770 w 8015"/>
                <a:gd name="T67" fmla="*/ 5241 h 5302"/>
                <a:gd name="T68" fmla="*/ 4101 w 8015"/>
                <a:gd name="T69" fmla="*/ 5151 h 5302"/>
                <a:gd name="T70" fmla="*/ 4388 w 8015"/>
                <a:gd name="T71" fmla="*/ 5037 h 5302"/>
                <a:gd name="T72" fmla="*/ 4630 w 8015"/>
                <a:gd name="T73" fmla="*/ 4915 h 5302"/>
                <a:gd name="T74" fmla="*/ 4823 w 8015"/>
                <a:gd name="T75" fmla="*/ 4796 h 5302"/>
                <a:gd name="T76" fmla="*/ 4965 w 8015"/>
                <a:gd name="T77" fmla="*/ 4695 h 5302"/>
                <a:gd name="T78" fmla="*/ 5082 w 8015"/>
                <a:gd name="T79" fmla="*/ 4597 h 5302"/>
                <a:gd name="T80" fmla="*/ 4659 w 8015"/>
                <a:gd name="T81" fmla="*/ 1594 h 5302"/>
                <a:gd name="T82" fmla="*/ 5004 w 8015"/>
                <a:gd name="T83" fmla="*/ 1598 h 5302"/>
                <a:gd name="T84" fmla="*/ 5300 w 8015"/>
                <a:gd name="T85" fmla="*/ 1583 h 5302"/>
                <a:gd name="T86" fmla="*/ 5509 w 8015"/>
                <a:gd name="T87" fmla="*/ 1561 h 5302"/>
                <a:gd name="T88" fmla="*/ 5723 w 8015"/>
                <a:gd name="T89" fmla="*/ 1527 h 5302"/>
                <a:gd name="T90" fmla="*/ 5938 w 8015"/>
                <a:gd name="T91" fmla="*/ 1479 h 5302"/>
                <a:gd name="T92" fmla="*/ 6215 w 8015"/>
                <a:gd name="T93" fmla="*/ 1396 h 5302"/>
                <a:gd name="T94" fmla="*/ 6559 w 8015"/>
                <a:gd name="T95" fmla="*/ 1263 h 5302"/>
                <a:gd name="T96" fmla="*/ 6898 w 8015"/>
                <a:gd name="T97" fmla="*/ 1109 h 5302"/>
                <a:gd name="T98" fmla="*/ 7217 w 8015"/>
                <a:gd name="T99" fmla="*/ 947 h 5302"/>
                <a:gd name="T100" fmla="*/ 7627 w 8015"/>
                <a:gd name="T101" fmla="*/ 717 h 5302"/>
                <a:gd name="T102" fmla="*/ 7967 w 8015"/>
                <a:gd name="T103" fmla="*/ 510 h 5302"/>
                <a:gd name="T104" fmla="*/ 7542 w 8015"/>
                <a:gd name="T105" fmla="*/ 8 h 5302"/>
                <a:gd name="T106" fmla="*/ 7393 w 8015"/>
                <a:gd name="T107" fmla="*/ 152 h 5302"/>
                <a:gd name="T108" fmla="*/ 7235 w 8015"/>
                <a:gd name="T109" fmla="*/ 290 h 5302"/>
                <a:gd name="T110" fmla="*/ 7057 w 8015"/>
                <a:gd name="T111" fmla="*/ 431 h 5302"/>
                <a:gd name="T112" fmla="*/ 6900 w 8015"/>
                <a:gd name="T113" fmla="*/ 515 h 5302"/>
                <a:gd name="T114" fmla="*/ 6695 w 8015"/>
                <a:gd name="T115" fmla="*/ 600 h 5302"/>
                <a:gd name="T116" fmla="*/ 6405 w 8015"/>
                <a:gd name="T117" fmla="*/ 702 h 5302"/>
                <a:gd name="T118" fmla="*/ 5968 w 8015"/>
                <a:gd name="T119" fmla="*/ 832 h 5302"/>
                <a:gd name="T120" fmla="*/ 5717 w 8015"/>
                <a:gd name="T121" fmla="*/ 899 h 5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15" h="5302">
                  <a:moveTo>
                    <a:pt x="2484" y="959"/>
                  </a:moveTo>
                  <a:lnTo>
                    <a:pt x="2480" y="984"/>
                  </a:lnTo>
                  <a:lnTo>
                    <a:pt x="2400" y="1025"/>
                  </a:lnTo>
                  <a:lnTo>
                    <a:pt x="2284" y="1089"/>
                  </a:lnTo>
                  <a:lnTo>
                    <a:pt x="2134" y="1169"/>
                  </a:lnTo>
                  <a:lnTo>
                    <a:pt x="1959" y="1268"/>
                  </a:lnTo>
                  <a:lnTo>
                    <a:pt x="1764" y="1378"/>
                  </a:lnTo>
                  <a:lnTo>
                    <a:pt x="1553" y="1499"/>
                  </a:lnTo>
                  <a:lnTo>
                    <a:pt x="1445" y="1563"/>
                  </a:lnTo>
                  <a:lnTo>
                    <a:pt x="1335" y="1627"/>
                  </a:lnTo>
                  <a:lnTo>
                    <a:pt x="1225" y="1695"/>
                  </a:lnTo>
                  <a:lnTo>
                    <a:pt x="1115" y="1763"/>
                  </a:lnTo>
                  <a:lnTo>
                    <a:pt x="1006" y="1830"/>
                  </a:lnTo>
                  <a:lnTo>
                    <a:pt x="899" y="1900"/>
                  </a:lnTo>
                  <a:lnTo>
                    <a:pt x="794" y="1969"/>
                  </a:lnTo>
                  <a:lnTo>
                    <a:pt x="692" y="2036"/>
                  </a:lnTo>
                  <a:lnTo>
                    <a:pt x="595" y="2105"/>
                  </a:lnTo>
                  <a:lnTo>
                    <a:pt x="502" y="2171"/>
                  </a:lnTo>
                  <a:lnTo>
                    <a:pt x="414" y="2237"/>
                  </a:lnTo>
                  <a:lnTo>
                    <a:pt x="334" y="2301"/>
                  </a:lnTo>
                  <a:lnTo>
                    <a:pt x="259" y="2363"/>
                  </a:lnTo>
                  <a:lnTo>
                    <a:pt x="193" y="2422"/>
                  </a:lnTo>
                  <a:lnTo>
                    <a:pt x="135" y="2480"/>
                  </a:lnTo>
                  <a:lnTo>
                    <a:pt x="87" y="2535"/>
                  </a:lnTo>
                  <a:lnTo>
                    <a:pt x="48" y="2585"/>
                  </a:lnTo>
                  <a:lnTo>
                    <a:pt x="21" y="2633"/>
                  </a:lnTo>
                  <a:lnTo>
                    <a:pt x="4" y="2676"/>
                  </a:lnTo>
                  <a:lnTo>
                    <a:pt x="0" y="2715"/>
                  </a:lnTo>
                  <a:lnTo>
                    <a:pt x="7" y="2757"/>
                  </a:lnTo>
                  <a:lnTo>
                    <a:pt x="19" y="2805"/>
                  </a:lnTo>
                  <a:lnTo>
                    <a:pt x="38" y="2857"/>
                  </a:lnTo>
                  <a:lnTo>
                    <a:pt x="62" y="2915"/>
                  </a:lnTo>
                  <a:lnTo>
                    <a:pt x="92" y="2976"/>
                  </a:lnTo>
                  <a:lnTo>
                    <a:pt x="126" y="3041"/>
                  </a:lnTo>
                  <a:lnTo>
                    <a:pt x="166" y="3108"/>
                  </a:lnTo>
                  <a:lnTo>
                    <a:pt x="208" y="3178"/>
                  </a:lnTo>
                  <a:lnTo>
                    <a:pt x="255" y="3251"/>
                  </a:lnTo>
                  <a:lnTo>
                    <a:pt x="304" y="3325"/>
                  </a:lnTo>
                  <a:lnTo>
                    <a:pt x="356" y="3400"/>
                  </a:lnTo>
                  <a:lnTo>
                    <a:pt x="410" y="3477"/>
                  </a:lnTo>
                  <a:lnTo>
                    <a:pt x="467" y="3554"/>
                  </a:lnTo>
                  <a:lnTo>
                    <a:pt x="523" y="3630"/>
                  </a:lnTo>
                  <a:lnTo>
                    <a:pt x="581" y="3708"/>
                  </a:lnTo>
                  <a:lnTo>
                    <a:pt x="639" y="3783"/>
                  </a:lnTo>
                  <a:lnTo>
                    <a:pt x="698" y="3858"/>
                  </a:lnTo>
                  <a:lnTo>
                    <a:pt x="755" y="3931"/>
                  </a:lnTo>
                  <a:lnTo>
                    <a:pt x="812" y="4002"/>
                  </a:lnTo>
                  <a:lnTo>
                    <a:pt x="868" y="4070"/>
                  </a:lnTo>
                  <a:lnTo>
                    <a:pt x="971" y="4198"/>
                  </a:lnTo>
                  <a:lnTo>
                    <a:pt x="1065" y="4309"/>
                  </a:lnTo>
                  <a:lnTo>
                    <a:pt x="1145" y="4403"/>
                  </a:lnTo>
                  <a:lnTo>
                    <a:pt x="1204" y="4473"/>
                  </a:lnTo>
                  <a:lnTo>
                    <a:pt x="1244" y="4518"/>
                  </a:lnTo>
                  <a:lnTo>
                    <a:pt x="1258" y="4533"/>
                  </a:lnTo>
                  <a:lnTo>
                    <a:pt x="1640" y="3891"/>
                  </a:lnTo>
                  <a:lnTo>
                    <a:pt x="1631" y="3882"/>
                  </a:lnTo>
                  <a:lnTo>
                    <a:pt x="1603" y="3857"/>
                  </a:lnTo>
                  <a:lnTo>
                    <a:pt x="1561" y="3818"/>
                  </a:lnTo>
                  <a:lnTo>
                    <a:pt x="1506" y="3767"/>
                  </a:lnTo>
                  <a:lnTo>
                    <a:pt x="1442" y="3705"/>
                  </a:lnTo>
                  <a:lnTo>
                    <a:pt x="1369" y="3634"/>
                  </a:lnTo>
                  <a:lnTo>
                    <a:pt x="1293" y="3555"/>
                  </a:lnTo>
                  <a:lnTo>
                    <a:pt x="1213" y="3472"/>
                  </a:lnTo>
                  <a:lnTo>
                    <a:pt x="1174" y="3429"/>
                  </a:lnTo>
                  <a:lnTo>
                    <a:pt x="1135" y="3385"/>
                  </a:lnTo>
                  <a:lnTo>
                    <a:pt x="1095" y="3342"/>
                  </a:lnTo>
                  <a:lnTo>
                    <a:pt x="1058" y="3298"/>
                  </a:lnTo>
                  <a:lnTo>
                    <a:pt x="1022" y="3253"/>
                  </a:lnTo>
                  <a:lnTo>
                    <a:pt x="988" y="3210"/>
                  </a:lnTo>
                  <a:lnTo>
                    <a:pt x="956" y="3166"/>
                  </a:lnTo>
                  <a:lnTo>
                    <a:pt x="925" y="3123"/>
                  </a:lnTo>
                  <a:lnTo>
                    <a:pt x="898" y="3082"/>
                  </a:lnTo>
                  <a:lnTo>
                    <a:pt x="873" y="3042"/>
                  </a:lnTo>
                  <a:lnTo>
                    <a:pt x="852" y="3003"/>
                  </a:lnTo>
                  <a:lnTo>
                    <a:pt x="835" y="2965"/>
                  </a:lnTo>
                  <a:lnTo>
                    <a:pt x="821" y="2930"/>
                  </a:lnTo>
                  <a:lnTo>
                    <a:pt x="812" y="2898"/>
                  </a:lnTo>
                  <a:lnTo>
                    <a:pt x="807" y="2866"/>
                  </a:lnTo>
                  <a:lnTo>
                    <a:pt x="807" y="2838"/>
                  </a:lnTo>
                  <a:lnTo>
                    <a:pt x="812" y="2813"/>
                  </a:lnTo>
                  <a:lnTo>
                    <a:pt x="825" y="2785"/>
                  </a:lnTo>
                  <a:lnTo>
                    <a:pt x="845" y="2755"/>
                  </a:lnTo>
                  <a:lnTo>
                    <a:pt x="869" y="2723"/>
                  </a:lnTo>
                  <a:lnTo>
                    <a:pt x="899" y="2691"/>
                  </a:lnTo>
                  <a:lnTo>
                    <a:pt x="935" y="2656"/>
                  </a:lnTo>
                  <a:lnTo>
                    <a:pt x="976" y="2620"/>
                  </a:lnTo>
                  <a:lnTo>
                    <a:pt x="1020" y="2583"/>
                  </a:lnTo>
                  <a:lnTo>
                    <a:pt x="1069" y="2544"/>
                  </a:lnTo>
                  <a:lnTo>
                    <a:pt x="1122" y="2505"/>
                  </a:lnTo>
                  <a:lnTo>
                    <a:pt x="1177" y="2466"/>
                  </a:lnTo>
                  <a:lnTo>
                    <a:pt x="1235" y="2426"/>
                  </a:lnTo>
                  <a:lnTo>
                    <a:pt x="1295" y="2385"/>
                  </a:lnTo>
                  <a:lnTo>
                    <a:pt x="1357" y="2345"/>
                  </a:lnTo>
                  <a:lnTo>
                    <a:pt x="1420" y="2305"/>
                  </a:lnTo>
                  <a:lnTo>
                    <a:pt x="1486" y="2264"/>
                  </a:lnTo>
                  <a:lnTo>
                    <a:pt x="1616" y="2186"/>
                  </a:lnTo>
                  <a:lnTo>
                    <a:pt x="1746" y="2109"/>
                  </a:lnTo>
                  <a:lnTo>
                    <a:pt x="1872" y="2037"/>
                  </a:lnTo>
                  <a:lnTo>
                    <a:pt x="1990" y="1971"/>
                  </a:lnTo>
                  <a:lnTo>
                    <a:pt x="2098" y="1912"/>
                  </a:lnTo>
                  <a:lnTo>
                    <a:pt x="2192" y="1862"/>
                  </a:lnTo>
                  <a:lnTo>
                    <a:pt x="2269" y="1821"/>
                  </a:lnTo>
                  <a:lnTo>
                    <a:pt x="2325" y="1792"/>
                  </a:lnTo>
                  <a:lnTo>
                    <a:pt x="1759" y="4761"/>
                  </a:lnTo>
                  <a:lnTo>
                    <a:pt x="1767" y="4768"/>
                  </a:lnTo>
                  <a:lnTo>
                    <a:pt x="1788" y="4787"/>
                  </a:lnTo>
                  <a:lnTo>
                    <a:pt x="1821" y="4817"/>
                  </a:lnTo>
                  <a:lnTo>
                    <a:pt x="1869" y="4856"/>
                  </a:lnTo>
                  <a:lnTo>
                    <a:pt x="1899" y="4878"/>
                  </a:lnTo>
                  <a:lnTo>
                    <a:pt x="1930" y="4901"/>
                  </a:lnTo>
                  <a:lnTo>
                    <a:pt x="1966" y="4926"/>
                  </a:lnTo>
                  <a:lnTo>
                    <a:pt x="2005" y="4951"/>
                  </a:lnTo>
                  <a:lnTo>
                    <a:pt x="2046" y="4977"/>
                  </a:lnTo>
                  <a:lnTo>
                    <a:pt x="2092" y="5004"/>
                  </a:lnTo>
                  <a:lnTo>
                    <a:pt x="2140" y="5032"/>
                  </a:lnTo>
                  <a:lnTo>
                    <a:pt x="2190" y="5059"/>
                  </a:lnTo>
                  <a:lnTo>
                    <a:pt x="2244" y="5085"/>
                  </a:lnTo>
                  <a:lnTo>
                    <a:pt x="2301" y="5111"/>
                  </a:lnTo>
                  <a:lnTo>
                    <a:pt x="2361" y="5137"/>
                  </a:lnTo>
                  <a:lnTo>
                    <a:pt x="2424" y="5161"/>
                  </a:lnTo>
                  <a:lnTo>
                    <a:pt x="2491" y="5185"/>
                  </a:lnTo>
                  <a:lnTo>
                    <a:pt x="2559" y="5207"/>
                  </a:lnTo>
                  <a:lnTo>
                    <a:pt x="2631" y="5227"/>
                  </a:lnTo>
                  <a:lnTo>
                    <a:pt x="2705" y="5245"/>
                  </a:lnTo>
                  <a:lnTo>
                    <a:pt x="2783" y="5262"/>
                  </a:lnTo>
                  <a:lnTo>
                    <a:pt x="2862" y="5276"/>
                  </a:lnTo>
                  <a:lnTo>
                    <a:pt x="2945" y="5287"/>
                  </a:lnTo>
                  <a:lnTo>
                    <a:pt x="3031" y="5295"/>
                  </a:lnTo>
                  <a:lnTo>
                    <a:pt x="3120" y="5300"/>
                  </a:lnTo>
                  <a:lnTo>
                    <a:pt x="3210" y="5302"/>
                  </a:lnTo>
                  <a:lnTo>
                    <a:pt x="3304" y="5300"/>
                  </a:lnTo>
                  <a:lnTo>
                    <a:pt x="3400" y="5295"/>
                  </a:lnTo>
                  <a:lnTo>
                    <a:pt x="3496" y="5285"/>
                  </a:lnTo>
                  <a:lnTo>
                    <a:pt x="3590" y="5273"/>
                  </a:lnTo>
                  <a:lnTo>
                    <a:pt x="3681" y="5259"/>
                  </a:lnTo>
                  <a:lnTo>
                    <a:pt x="3770" y="5241"/>
                  </a:lnTo>
                  <a:lnTo>
                    <a:pt x="3856" y="5221"/>
                  </a:lnTo>
                  <a:lnTo>
                    <a:pt x="3940" y="5200"/>
                  </a:lnTo>
                  <a:lnTo>
                    <a:pt x="4022" y="5176"/>
                  </a:lnTo>
                  <a:lnTo>
                    <a:pt x="4101" y="5151"/>
                  </a:lnTo>
                  <a:lnTo>
                    <a:pt x="4177" y="5124"/>
                  </a:lnTo>
                  <a:lnTo>
                    <a:pt x="4250" y="5096"/>
                  </a:lnTo>
                  <a:lnTo>
                    <a:pt x="4321" y="5068"/>
                  </a:lnTo>
                  <a:lnTo>
                    <a:pt x="4388" y="5037"/>
                  </a:lnTo>
                  <a:lnTo>
                    <a:pt x="4454" y="5008"/>
                  </a:lnTo>
                  <a:lnTo>
                    <a:pt x="4515" y="4976"/>
                  </a:lnTo>
                  <a:lnTo>
                    <a:pt x="4574" y="4946"/>
                  </a:lnTo>
                  <a:lnTo>
                    <a:pt x="4630" y="4915"/>
                  </a:lnTo>
                  <a:lnTo>
                    <a:pt x="4683" y="4885"/>
                  </a:lnTo>
                  <a:lnTo>
                    <a:pt x="4733" y="4854"/>
                  </a:lnTo>
                  <a:lnTo>
                    <a:pt x="4780" y="4825"/>
                  </a:lnTo>
                  <a:lnTo>
                    <a:pt x="4823" y="4796"/>
                  </a:lnTo>
                  <a:lnTo>
                    <a:pt x="4864" y="4769"/>
                  </a:lnTo>
                  <a:lnTo>
                    <a:pt x="4901" y="4742"/>
                  </a:lnTo>
                  <a:lnTo>
                    <a:pt x="4934" y="4718"/>
                  </a:lnTo>
                  <a:lnTo>
                    <a:pt x="4965" y="4695"/>
                  </a:lnTo>
                  <a:lnTo>
                    <a:pt x="5015" y="4654"/>
                  </a:lnTo>
                  <a:lnTo>
                    <a:pt x="5051" y="4624"/>
                  </a:lnTo>
                  <a:lnTo>
                    <a:pt x="5074" y="4604"/>
                  </a:lnTo>
                  <a:lnTo>
                    <a:pt x="5082" y="4597"/>
                  </a:lnTo>
                  <a:lnTo>
                    <a:pt x="4515" y="1586"/>
                  </a:lnTo>
                  <a:lnTo>
                    <a:pt x="4515" y="1586"/>
                  </a:lnTo>
                  <a:lnTo>
                    <a:pt x="4585" y="1590"/>
                  </a:lnTo>
                  <a:lnTo>
                    <a:pt x="4659" y="1594"/>
                  </a:lnTo>
                  <a:lnTo>
                    <a:pt x="4739" y="1597"/>
                  </a:lnTo>
                  <a:lnTo>
                    <a:pt x="4823" y="1599"/>
                  </a:lnTo>
                  <a:lnTo>
                    <a:pt x="4912" y="1599"/>
                  </a:lnTo>
                  <a:lnTo>
                    <a:pt x="5004" y="1598"/>
                  </a:lnTo>
                  <a:lnTo>
                    <a:pt x="5100" y="1595"/>
                  </a:lnTo>
                  <a:lnTo>
                    <a:pt x="5198" y="1590"/>
                  </a:lnTo>
                  <a:lnTo>
                    <a:pt x="5248" y="1587"/>
                  </a:lnTo>
                  <a:lnTo>
                    <a:pt x="5300" y="1583"/>
                  </a:lnTo>
                  <a:lnTo>
                    <a:pt x="5351" y="1578"/>
                  </a:lnTo>
                  <a:lnTo>
                    <a:pt x="5403" y="1573"/>
                  </a:lnTo>
                  <a:lnTo>
                    <a:pt x="5455" y="1567"/>
                  </a:lnTo>
                  <a:lnTo>
                    <a:pt x="5509" y="1561"/>
                  </a:lnTo>
                  <a:lnTo>
                    <a:pt x="5561" y="1553"/>
                  </a:lnTo>
                  <a:lnTo>
                    <a:pt x="5615" y="1546"/>
                  </a:lnTo>
                  <a:lnTo>
                    <a:pt x="5669" y="1536"/>
                  </a:lnTo>
                  <a:lnTo>
                    <a:pt x="5723" y="1527"/>
                  </a:lnTo>
                  <a:lnTo>
                    <a:pt x="5777" y="1516"/>
                  </a:lnTo>
                  <a:lnTo>
                    <a:pt x="5830" y="1504"/>
                  </a:lnTo>
                  <a:lnTo>
                    <a:pt x="5885" y="1492"/>
                  </a:lnTo>
                  <a:lnTo>
                    <a:pt x="5938" y="1479"/>
                  </a:lnTo>
                  <a:lnTo>
                    <a:pt x="5993" y="1465"/>
                  </a:lnTo>
                  <a:lnTo>
                    <a:pt x="6047" y="1450"/>
                  </a:lnTo>
                  <a:lnTo>
                    <a:pt x="6130" y="1423"/>
                  </a:lnTo>
                  <a:lnTo>
                    <a:pt x="6215" y="1396"/>
                  </a:lnTo>
                  <a:lnTo>
                    <a:pt x="6300" y="1366"/>
                  </a:lnTo>
                  <a:lnTo>
                    <a:pt x="6386" y="1333"/>
                  </a:lnTo>
                  <a:lnTo>
                    <a:pt x="6472" y="1299"/>
                  </a:lnTo>
                  <a:lnTo>
                    <a:pt x="6559" y="1263"/>
                  </a:lnTo>
                  <a:lnTo>
                    <a:pt x="6644" y="1226"/>
                  </a:lnTo>
                  <a:lnTo>
                    <a:pt x="6730" y="1188"/>
                  </a:lnTo>
                  <a:lnTo>
                    <a:pt x="6814" y="1149"/>
                  </a:lnTo>
                  <a:lnTo>
                    <a:pt x="6898" y="1109"/>
                  </a:lnTo>
                  <a:lnTo>
                    <a:pt x="6979" y="1069"/>
                  </a:lnTo>
                  <a:lnTo>
                    <a:pt x="7060" y="1028"/>
                  </a:lnTo>
                  <a:lnTo>
                    <a:pt x="7140" y="987"/>
                  </a:lnTo>
                  <a:lnTo>
                    <a:pt x="7217" y="947"/>
                  </a:lnTo>
                  <a:lnTo>
                    <a:pt x="7291" y="907"/>
                  </a:lnTo>
                  <a:lnTo>
                    <a:pt x="7364" y="866"/>
                  </a:lnTo>
                  <a:lnTo>
                    <a:pt x="7501" y="790"/>
                  </a:lnTo>
                  <a:lnTo>
                    <a:pt x="7627" y="717"/>
                  </a:lnTo>
                  <a:lnTo>
                    <a:pt x="7738" y="651"/>
                  </a:lnTo>
                  <a:lnTo>
                    <a:pt x="7833" y="594"/>
                  </a:lnTo>
                  <a:lnTo>
                    <a:pt x="7910" y="546"/>
                  </a:lnTo>
                  <a:lnTo>
                    <a:pt x="7967" y="510"/>
                  </a:lnTo>
                  <a:lnTo>
                    <a:pt x="8003" y="487"/>
                  </a:lnTo>
                  <a:lnTo>
                    <a:pt x="8015" y="478"/>
                  </a:lnTo>
                  <a:lnTo>
                    <a:pt x="7550" y="0"/>
                  </a:lnTo>
                  <a:lnTo>
                    <a:pt x="7542" y="8"/>
                  </a:lnTo>
                  <a:lnTo>
                    <a:pt x="7518" y="33"/>
                  </a:lnTo>
                  <a:lnTo>
                    <a:pt x="7480" y="72"/>
                  </a:lnTo>
                  <a:lnTo>
                    <a:pt x="7426" y="123"/>
                  </a:lnTo>
                  <a:lnTo>
                    <a:pt x="7393" y="152"/>
                  </a:lnTo>
                  <a:lnTo>
                    <a:pt x="7359" y="185"/>
                  </a:lnTo>
                  <a:lnTo>
                    <a:pt x="7320" y="218"/>
                  </a:lnTo>
                  <a:lnTo>
                    <a:pt x="7279" y="253"/>
                  </a:lnTo>
                  <a:lnTo>
                    <a:pt x="7235" y="290"/>
                  </a:lnTo>
                  <a:lnTo>
                    <a:pt x="7189" y="330"/>
                  </a:lnTo>
                  <a:lnTo>
                    <a:pt x="7138" y="369"/>
                  </a:lnTo>
                  <a:lnTo>
                    <a:pt x="7086" y="410"/>
                  </a:lnTo>
                  <a:lnTo>
                    <a:pt x="7057" y="431"/>
                  </a:lnTo>
                  <a:lnTo>
                    <a:pt x="7023" y="452"/>
                  </a:lnTo>
                  <a:lnTo>
                    <a:pt x="6985" y="473"/>
                  </a:lnTo>
                  <a:lnTo>
                    <a:pt x="6944" y="494"/>
                  </a:lnTo>
                  <a:lnTo>
                    <a:pt x="6900" y="515"/>
                  </a:lnTo>
                  <a:lnTo>
                    <a:pt x="6852" y="537"/>
                  </a:lnTo>
                  <a:lnTo>
                    <a:pt x="6802" y="558"/>
                  </a:lnTo>
                  <a:lnTo>
                    <a:pt x="6749" y="579"/>
                  </a:lnTo>
                  <a:lnTo>
                    <a:pt x="6695" y="600"/>
                  </a:lnTo>
                  <a:lnTo>
                    <a:pt x="6638" y="621"/>
                  </a:lnTo>
                  <a:lnTo>
                    <a:pt x="6581" y="642"/>
                  </a:lnTo>
                  <a:lnTo>
                    <a:pt x="6523" y="662"/>
                  </a:lnTo>
                  <a:lnTo>
                    <a:pt x="6405" y="702"/>
                  </a:lnTo>
                  <a:lnTo>
                    <a:pt x="6288" y="739"/>
                  </a:lnTo>
                  <a:lnTo>
                    <a:pt x="6174" y="772"/>
                  </a:lnTo>
                  <a:lnTo>
                    <a:pt x="6066" y="804"/>
                  </a:lnTo>
                  <a:lnTo>
                    <a:pt x="5968" y="832"/>
                  </a:lnTo>
                  <a:lnTo>
                    <a:pt x="5881" y="856"/>
                  </a:lnTo>
                  <a:lnTo>
                    <a:pt x="5808" y="876"/>
                  </a:lnTo>
                  <a:lnTo>
                    <a:pt x="5753" y="890"/>
                  </a:lnTo>
                  <a:lnTo>
                    <a:pt x="5717" y="899"/>
                  </a:lnTo>
                  <a:lnTo>
                    <a:pt x="5705" y="902"/>
                  </a:lnTo>
                  <a:lnTo>
                    <a:pt x="4206" y="973"/>
                  </a:lnTo>
                  <a:lnTo>
                    <a:pt x="2484" y="959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6" name="îṡlïďé"/>
            <p:cNvSpPr/>
            <p:nvPr/>
          </p:nvSpPr>
          <p:spPr bwMode="auto">
            <a:xfrm>
              <a:off x="1758156" y="2993232"/>
              <a:ext cx="280988" cy="104775"/>
            </a:xfrm>
            <a:custGeom>
              <a:avLst/>
              <a:gdLst>
                <a:gd name="T0" fmla="*/ 886 w 886"/>
                <a:gd name="T1" fmla="*/ 8 h 327"/>
                <a:gd name="T2" fmla="*/ 0 w 886"/>
                <a:gd name="T3" fmla="*/ 0 h 327"/>
                <a:gd name="T4" fmla="*/ 414 w 886"/>
                <a:gd name="T5" fmla="*/ 327 h 327"/>
                <a:gd name="T6" fmla="*/ 886 w 886"/>
                <a:gd name="T7" fmla="*/ 8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6" h="327">
                  <a:moveTo>
                    <a:pt x="886" y="8"/>
                  </a:moveTo>
                  <a:lnTo>
                    <a:pt x="0" y="0"/>
                  </a:lnTo>
                  <a:lnTo>
                    <a:pt x="414" y="327"/>
                  </a:lnTo>
                  <a:lnTo>
                    <a:pt x="886" y="8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7" name="ï$ľïďê"/>
            <p:cNvSpPr/>
            <p:nvPr/>
          </p:nvSpPr>
          <p:spPr bwMode="auto">
            <a:xfrm>
              <a:off x="1194593" y="3904457"/>
              <a:ext cx="265113" cy="304800"/>
            </a:xfrm>
            <a:custGeom>
              <a:avLst/>
              <a:gdLst>
                <a:gd name="T0" fmla="*/ 388 w 835"/>
                <a:gd name="T1" fmla="*/ 57 h 958"/>
                <a:gd name="T2" fmla="*/ 429 w 835"/>
                <a:gd name="T3" fmla="*/ 43 h 958"/>
                <a:gd name="T4" fmla="*/ 500 w 835"/>
                <a:gd name="T5" fmla="*/ 22 h 958"/>
                <a:gd name="T6" fmla="*/ 569 w 835"/>
                <a:gd name="T7" fmla="*/ 8 h 958"/>
                <a:gd name="T8" fmla="*/ 618 w 835"/>
                <a:gd name="T9" fmla="*/ 2 h 958"/>
                <a:gd name="T10" fmla="*/ 668 w 835"/>
                <a:gd name="T11" fmla="*/ 0 h 958"/>
                <a:gd name="T12" fmla="*/ 715 w 835"/>
                <a:gd name="T13" fmla="*/ 3 h 958"/>
                <a:gd name="T14" fmla="*/ 756 w 835"/>
                <a:gd name="T15" fmla="*/ 14 h 958"/>
                <a:gd name="T16" fmla="*/ 790 w 835"/>
                <a:gd name="T17" fmla="*/ 29 h 958"/>
                <a:gd name="T18" fmla="*/ 810 w 835"/>
                <a:gd name="T19" fmla="*/ 44 h 958"/>
                <a:gd name="T20" fmla="*/ 820 w 835"/>
                <a:gd name="T21" fmla="*/ 54 h 958"/>
                <a:gd name="T22" fmla="*/ 827 w 835"/>
                <a:gd name="T23" fmla="*/ 66 h 958"/>
                <a:gd name="T24" fmla="*/ 833 w 835"/>
                <a:gd name="T25" fmla="*/ 78 h 958"/>
                <a:gd name="T26" fmla="*/ 835 w 835"/>
                <a:gd name="T27" fmla="*/ 91 h 958"/>
                <a:gd name="T28" fmla="*/ 834 w 835"/>
                <a:gd name="T29" fmla="*/ 105 h 958"/>
                <a:gd name="T30" fmla="*/ 829 w 835"/>
                <a:gd name="T31" fmla="*/ 119 h 958"/>
                <a:gd name="T32" fmla="*/ 823 w 835"/>
                <a:gd name="T33" fmla="*/ 133 h 958"/>
                <a:gd name="T34" fmla="*/ 791 w 835"/>
                <a:gd name="T35" fmla="*/ 176 h 958"/>
                <a:gd name="T36" fmla="*/ 743 w 835"/>
                <a:gd name="T37" fmla="*/ 249 h 958"/>
                <a:gd name="T38" fmla="*/ 709 w 835"/>
                <a:gd name="T39" fmla="*/ 306 h 958"/>
                <a:gd name="T40" fmla="*/ 678 w 835"/>
                <a:gd name="T41" fmla="*/ 368 h 958"/>
                <a:gd name="T42" fmla="*/ 658 w 835"/>
                <a:gd name="T43" fmla="*/ 415 h 958"/>
                <a:gd name="T44" fmla="*/ 647 w 835"/>
                <a:gd name="T45" fmla="*/ 446 h 958"/>
                <a:gd name="T46" fmla="*/ 640 w 835"/>
                <a:gd name="T47" fmla="*/ 477 h 958"/>
                <a:gd name="T48" fmla="*/ 635 w 835"/>
                <a:gd name="T49" fmla="*/ 507 h 958"/>
                <a:gd name="T50" fmla="*/ 634 w 835"/>
                <a:gd name="T51" fmla="*/ 537 h 958"/>
                <a:gd name="T52" fmla="*/ 636 w 835"/>
                <a:gd name="T53" fmla="*/ 565 h 958"/>
                <a:gd name="T54" fmla="*/ 646 w 835"/>
                <a:gd name="T55" fmla="*/ 605 h 958"/>
                <a:gd name="T56" fmla="*/ 654 w 835"/>
                <a:gd name="T57" fmla="*/ 665 h 958"/>
                <a:gd name="T58" fmla="*/ 655 w 835"/>
                <a:gd name="T59" fmla="*/ 713 h 958"/>
                <a:gd name="T60" fmla="*/ 653 w 835"/>
                <a:gd name="T61" fmla="*/ 746 h 958"/>
                <a:gd name="T62" fmla="*/ 647 w 835"/>
                <a:gd name="T63" fmla="*/ 778 h 958"/>
                <a:gd name="T64" fmla="*/ 640 w 835"/>
                <a:gd name="T65" fmla="*/ 808 h 958"/>
                <a:gd name="T66" fmla="*/ 629 w 835"/>
                <a:gd name="T67" fmla="*/ 838 h 958"/>
                <a:gd name="T68" fmla="*/ 615 w 835"/>
                <a:gd name="T69" fmla="*/ 865 h 958"/>
                <a:gd name="T70" fmla="*/ 597 w 835"/>
                <a:gd name="T71" fmla="*/ 890 h 958"/>
                <a:gd name="T72" fmla="*/ 575 w 835"/>
                <a:gd name="T73" fmla="*/ 911 h 958"/>
                <a:gd name="T74" fmla="*/ 549 w 835"/>
                <a:gd name="T75" fmla="*/ 929 h 958"/>
                <a:gd name="T76" fmla="*/ 520 w 835"/>
                <a:gd name="T77" fmla="*/ 943 h 958"/>
                <a:gd name="T78" fmla="*/ 485 w 835"/>
                <a:gd name="T79" fmla="*/ 953 h 958"/>
                <a:gd name="T80" fmla="*/ 446 w 835"/>
                <a:gd name="T81" fmla="*/ 958 h 958"/>
                <a:gd name="T82" fmla="*/ 402 w 835"/>
                <a:gd name="T83" fmla="*/ 957 h 958"/>
                <a:gd name="T84" fmla="*/ 360 w 835"/>
                <a:gd name="T85" fmla="*/ 950 h 958"/>
                <a:gd name="T86" fmla="*/ 318 w 835"/>
                <a:gd name="T87" fmla="*/ 938 h 958"/>
                <a:gd name="T88" fmla="*/ 278 w 835"/>
                <a:gd name="T89" fmla="*/ 924 h 958"/>
                <a:gd name="T90" fmla="*/ 240 w 835"/>
                <a:gd name="T91" fmla="*/ 905 h 958"/>
                <a:gd name="T92" fmla="*/ 204 w 835"/>
                <a:gd name="T93" fmla="*/ 885 h 958"/>
                <a:gd name="T94" fmla="*/ 154 w 835"/>
                <a:gd name="T95" fmla="*/ 851 h 958"/>
                <a:gd name="T96" fmla="*/ 97 w 835"/>
                <a:gd name="T97" fmla="*/ 804 h 958"/>
                <a:gd name="T98" fmla="*/ 51 w 835"/>
                <a:gd name="T99" fmla="*/ 760 h 958"/>
                <a:gd name="T100" fmla="*/ 9 w 835"/>
                <a:gd name="T101" fmla="*/ 712 h 958"/>
                <a:gd name="T102" fmla="*/ 382 w 835"/>
                <a:gd name="T103" fmla="*/ 59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35" h="958">
                  <a:moveTo>
                    <a:pt x="382" y="59"/>
                  </a:moveTo>
                  <a:lnTo>
                    <a:pt x="388" y="57"/>
                  </a:lnTo>
                  <a:lnTo>
                    <a:pt x="404" y="50"/>
                  </a:lnTo>
                  <a:lnTo>
                    <a:pt x="429" y="43"/>
                  </a:lnTo>
                  <a:lnTo>
                    <a:pt x="462" y="32"/>
                  </a:lnTo>
                  <a:lnTo>
                    <a:pt x="500" y="22"/>
                  </a:lnTo>
                  <a:lnTo>
                    <a:pt x="545" y="12"/>
                  </a:lnTo>
                  <a:lnTo>
                    <a:pt x="569" y="8"/>
                  </a:lnTo>
                  <a:lnTo>
                    <a:pt x="593" y="5"/>
                  </a:lnTo>
                  <a:lnTo>
                    <a:pt x="618" y="2"/>
                  </a:lnTo>
                  <a:lnTo>
                    <a:pt x="643" y="0"/>
                  </a:lnTo>
                  <a:lnTo>
                    <a:pt x="668" y="0"/>
                  </a:lnTo>
                  <a:lnTo>
                    <a:pt x="692" y="1"/>
                  </a:lnTo>
                  <a:lnTo>
                    <a:pt x="715" y="3"/>
                  </a:lnTo>
                  <a:lnTo>
                    <a:pt x="737" y="8"/>
                  </a:lnTo>
                  <a:lnTo>
                    <a:pt x="756" y="14"/>
                  </a:lnTo>
                  <a:lnTo>
                    <a:pt x="774" y="21"/>
                  </a:lnTo>
                  <a:lnTo>
                    <a:pt x="790" y="29"/>
                  </a:lnTo>
                  <a:lnTo>
                    <a:pt x="803" y="38"/>
                  </a:lnTo>
                  <a:lnTo>
                    <a:pt x="810" y="44"/>
                  </a:lnTo>
                  <a:lnTo>
                    <a:pt x="815" y="48"/>
                  </a:lnTo>
                  <a:lnTo>
                    <a:pt x="820" y="54"/>
                  </a:lnTo>
                  <a:lnTo>
                    <a:pt x="824" y="60"/>
                  </a:lnTo>
                  <a:lnTo>
                    <a:pt x="827" y="66"/>
                  </a:lnTo>
                  <a:lnTo>
                    <a:pt x="830" y="72"/>
                  </a:lnTo>
                  <a:lnTo>
                    <a:pt x="833" y="78"/>
                  </a:lnTo>
                  <a:lnTo>
                    <a:pt x="834" y="84"/>
                  </a:lnTo>
                  <a:lnTo>
                    <a:pt x="835" y="91"/>
                  </a:lnTo>
                  <a:lnTo>
                    <a:pt x="835" y="97"/>
                  </a:lnTo>
                  <a:lnTo>
                    <a:pt x="834" y="105"/>
                  </a:lnTo>
                  <a:lnTo>
                    <a:pt x="833" y="111"/>
                  </a:lnTo>
                  <a:lnTo>
                    <a:pt x="829" y="119"/>
                  </a:lnTo>
                  <a:lnTo>
                    <a:pt x="826" y="126"/>
                  </a:lnTo>
                  <a:lnTo>
                    <a:pt x="823" y="133"/>
                  </a:lnTo>
                  <a:lnTo>
                    <a:pt x="817" y="141"/>
                  </a:lnTo>
                  <a:lnTo>
                    <a:pt x="791" y="176"/>
                  </a:lnTo>
                  <a:lnTo>
                    <a:pt x="760" y="223"/>
                  </a:lnTo>
                  <a:lnTo>
                    <a:pt x="743" y="249"/>
                  </a:lnTo>
                  <a:lnTo>
                    <a:pt x="726" y="276"/>
                  </a:lnTo>
                  <a:lnTo>
                    <a:pt x="709" y="306"/>
                  </a:lnTo>
                  <a:lnTo>
                    <a:pt x="693" y="336"/>
                  </a:lnTo>
                  <a:lnTo>
                    <a:pt x="678" y="368"/>
                  </a:lnTo>
                  <a:lnTo>
                    <a:pt x="664" y="398"/>
                  </a:lnTo>
                  <a:lnTo>
                    <a:pt x="658" y="415"/>
                  </a:lnTo>
                  <a:lnTo>
                    <a:pt x="653" y="430"/>
                  </a:lnTo>
                  <a:lnTo>
                    <a:pt x="647" y="446"/>
                  </a:lnTo>
                  <a:lnTo>
                    <a:pt x="644" y="461"/>
                  </a:lnTo>
                  <a:lnTo>
                    <a:pt x="640" y="477"/>
                  </a:lnTo>
                  <a:lnTo>
                    <a:pt x="638" y="492"/>
                  </a:lnTo>
                  <a:lnTo>
                    <a:pt x="635" y="507"/>
                  </a:lnTo>
                  <a:lnTo>
                    <a:pt x="634" y="523"/>
                  </a:lnTo>
                  <a:lnTo>
                    <a:pt x="634" y="537"/>
                  </a:lnTo>
                  <a:lnTo>
                    <a:pt x="635" y="551"/>
                  </a:lnTo>
                  <a:lnTo>
                    <a:pt x="636" y="565"/>
                  </a:lnTo>
                  <a:lnTo>
                    <a:pt x="640" y="578"/>
                  </a:lnTo>
                  <a:lnTo>
                    <a:pt x="646" y="605"/>
                  </a:lnTo>
                  <a:lnTo>
                    <a:pt x="651" y="635"/>
                  </a:lnTo>
                  <a:lnTo>
                    <a:pt x="654" y="665"/>
                  </a:lnTo>
                  <a:lnTo>
                    <a:pt x="655" y="697"/>
                  </a:lnTo>
                  <a:lnTo>
                    <a:pt x="655" y="713"/>
                  </a:lnTo>
                  <a:lnTo>
                    <a:pt x="654" y="730"/>
                  </a:lnTo>
                  <a:lnTo>
                    <a:pt x="653" y="746"/>
                  </a:lnTo>
                  <a:lnTo>
                    <a:pt x="651" y="761"/>
                  </a:lnTo>
                  <a:lnTo>
                    <a:pt x="647" y="778"/>
                  </a:lnTo>
                  <a:lnTo>
                    <a:pt x="644" y="793"/>
                  </a:lnTo>
                  <a:lnTo>
                    <a:pt x="640" y="808"/>
                  </a:lnTo>
                  <a:lnTo>
                    <a:pt x="634" y="822"/>
                  </a:lnTo>
                  <a:lnTo>
                    <a:pt x="629" y="838"/>
                  </a:lnTo>
                  <a:lnTo>
                    <a:pt x="622" y="851"/>
                  </a:lnTo>
                  <a:lnTo>
                    <a:pt x="615" y="865"/>
                  </a:lnTo>
                  <a:lnTo>
                    <a:pt x="606" y="877"/>
                  </a:lnTo>
                  <a:lnTo>
                    <a:pt x="597" y="890"/>
                  </a:lnTo>
                  <a:lnTo>
                    <a:pt x="586" y="901"/>
                  </a:lnTo>
                  <a:lnTo>
                    <a:pt x="575" y="911"/>
                  </a:lnTo>
                  <a:lnTo>
                    <a:pt x="563" y="921"/>
                  </a:lnTo>
                  <a:lnTo>
                    <a:pt x="549" y="929"/>
                  </a:lnTo>
                  <a:lnTo>
                    <a:pt x="535" y="937"/>
                  </a:lnTo>
                  <a:lnTo>
                    <a:pt x="520" y="943"/>
                  </a:lnTo>
                  <a:lnTo>
                    <a:pt x="503" y="949"/>
                  </a:lnTo>
                  <a:lnTo>
                    <a:pt x="485" y="953"/>
                  </a:lnTo>
                  <a:lnTo>
                    <a:pt x="466" y="955"/>
                  </a:lnTo>
                  <a:lnTo>
                    <a:pt x="446" y="958"/>
                  </a:lnTo>
                  <a:lnTo>
                    <a:pt x="425" y="958"/>
                  </a:lnTo>
                  <a:lnTo>
                    <a:pt x="402" y="957"/>
                  </a:lnTo>
                  <a:lnTo>
                    <a:pt x="381" y="953"/>
                  </a:lnTo>
                  <a:lnTo>
                    <a:pt x="360" y="950"/>
                  </a:lnTo>
                  <a:lnTo>
                    <a:pt x="339" y="945"/>
                  </a:lnTo>
                  <a:lnTo>
                    <a:pt x="318" y="938"/>
                  </a:lnTo>
                  <a:lnTo>
                    <a:pt x="297" y="931"/>
                  </a:lnTo>
                  <a:lnTo>
                    <a:pt x="278" y="924"/>
                  </a:lnTo>
                  <a:lnTo>
                    <a:pt x="258" y="915"/>
                  </a:lnTo>
                  <a:lnTo>
                    <a:pt x="240" y="905"/>
                  </a:lnTo>
                  <a:lnTo>
                    <a:pt x="221" y="895"/>
                  </a:lnTo>
                  <a:lnTo>
                    <a:pt x="204" y="885"/>
                  </a:lnTo>
                  <a:lnTo>
                    <a:pt x="186" y="874"/>
                  </a:lnTo>
                  <a:lnTo>
                    <a:pt x="154" y="851"/>
                  </a:lnTo>
                  <a:lnTo>
                    <a:pt x="124" y="827"/>
                  </a:lnTo>
                  <a:lnTo>
                    <a:pt x="97" y="804"/>
                  </a:lnTo>
                  <a:lnTo>
                    <a:pt x="72" y="781"/>
                  </a:lnTo>
                  <a:lnTo>
                    <a:pt x="51" y="760"/>
                  </a:lnTo>
                  <a:lnTo>
                    <a:pt x="33" y="741"/>
                  </a:lnTo>
                  <a:lnTo>
                    <a:pt x="9" y="712"/>
                  </a:lnTo>
                  <a:lnTo>
                    <a:pt x="0" y="701"/>
                  </a:lnTo>
                  <a:lnTo>
                    <a:pt x="382" y="59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8" name="iśliḓé"/>
            <p:cNvSpPr/>
            <p:nvPr/>
          </p:nvSpPr>
          <p:spPr bwMode="auto">
            <a:xfrm>
              <a:off x="1794668" y="2951957"/>
              <a:ext cx="203200" cy="44450"/>
            </a:xfrm>
            <a:custGeom>
              <a:avLst/>
              <a:gdLst>
                <a:gd name="T0" fmla="*/ 641 w 641"/>
                <a:gd name="T1" fmla="*/ 0 h 138"/>
                <a:gd name="T2" fmla="*/ 638 w 641"/>
                <a:gd name="T3" fmla="*/ 19 h 138"/>
                <a:gd name="T4" fmla="*/ 633 w 641"/>
                <a:gd name="T5" fmla="*/ 37 h 138"/>
                <a:gd name="T6" fmla="*/ 628 w 641"/>
                <a:gd name="T7" fmla="*/ 55 h 138"/>
                <a:gd name="T8" fmla="*/ 621 w 641"/>
                <a:gd name="T9" fmla="*/ 72 h 138"/>
                <a:gd name="T10" fmla="*/ 614 w 641"/>
                <a:gd name="T11" fmla="*/ 90 h 138"/>
                <a:gd name="T12" fmla="*/ 606 w 641"/>
                <a:gd name="T13" fmla="*/ 106 h 138"/>
                <a:gd name="T14" fmla="*/ 598 w 641"/>
                <a:gd name="T15" fmla="*/ 121 h 138"/>
                <a:gd name="T16" fmla="*/ 588 w 641"/>
                <a:gd name="T17" fmla="*/ 138 h 138"/>
                <a:gd name="T18" fmla="*/ 47 w 641"/>
                <a:gd name="T19" fmla="*/ 133 h 138"/>
                <a:gd name="T20" fmla="*/ 38 w 641"/>
                <a:gd name="T21" fmla="*/ 120 h 138"/>
                <a:gd name="T22" fmla="*/ 32 w 641"/>
                <a:gd name="T23" fmla="*/ 107 h 138"/>
                <a:gd name="T24" fmla="*/ 24 w 641"/>
                <a:gd name="T25" fmla="*/ 94 h 138"/>
                <a:gd name="T26" fmla="*/ 19 w 641"/>
                <a:gd name="T27" fmla="*/ 80 h 138"/>
                <a:gd name="T28" fmla="*/ 13 w 641"/>
                <a:gd name="T29" fmla="*/ 67 h 138"/>
                <a:gd name="T30" fmla="*/ 8 w 641"/>
                <a:gd name="T31" fmla="*/ 52 h 138"/>
                <a:gd name="T32" fmla="*/ 3 w 641"/>
                <a:gd name="T33" fmla="*/ 37 h 138"/>
                <a:gd name="T34" fmla="*/ 0 w 641"/>
                <a:gd name="T35" fmla="*/ 22 h 138"/>
                <a:gd name="T36" fmla="*/ 33 w 641"/>
                <a:gd name="T37" fmla="*/ 29 h 138"/>
                <a:gd name="T38" fmla="*/ 66 w 641"/>
                <a:gd name="T39" fmla="*/ 33 h 138"/>
                <a:gd name="T40" fmla="*/ 99 w 641"/>
                <a:gd name="T41" fmla="*/ 37 h 138"/>
                <a:gd name="T42" fmla="*/ 133 w 641"/>
                <a:gd name="T43" fmla="*/ 41 h 138"/>
                <a:gd name="T44" fmla="*/ 167 w 641"/>
                <a:gd name="T45" fmla="*/ 44 h 138"/>
                <a:gd name="T46" fmla="*/ 201 w 641"/>
                <a:gd name="T47" fmla="*/ 46 h 138"/>
                <a:gd name="T48" fmla="*/ 236 w 641"/>
                <a:gd name="T49" fmla="*/ 47 h 138"/>
                <a:gd name="T50" fmla="*/ 269 w 641"/>
                <a:gd name="T51" fmla="*/ 47 h 138"/>
                <a:gd name="T52" fmla="*/ 269 w 641"/>
                <a:gd name="T53" fmla="*/ 47 h 138"/>
                <a:gd name="T54" fmla="*/ 317 w 641"/>
                <a:gd name="T55" fmla="*/ 47 h 138"/>
                <a:gd name="T56" fmla="*/ 365 w 641"/>
                <a:gd name="T57" fmla="*/ 44 h 138"/>
                <a:gd name="T58" fmla="*/ 412 w 641"/>
                <a:gd name="T59" fmla="*/ 41 h 138"/>
                <a:gd name="T60" fmla="*/ 459 w 641"/>
                <a:gd name="T61" fmla="*/ 35 h 138"/>
                <a:gd name="T62" fmla="*/ 505 w 641"/>
                <a:gd name="T63" fmla="*/ 29 h 138"/>
                <a:gd name="T64" fmla="*/ 551 w 641"/>
                <a:gd name="T65" fmla="*/ 20 h 138"/>
                <a:gd name="T66" fmla="*/ 596 w 641"/>
                <a:gd name="T67" fmla="*/ 11 h 138"/>
                <a:gd name="T68" fmla="*/ 641 w 641"/>
                <a:gd name="T6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1" h="138">
                  <a:moveTo>
                    <a:pt x="641" y="0"/>
                  </a:moveTo>
                  <a:lnTo>
                    <a:pt x="638" y="19"/>
                  </a:lnTo>
                  <a:lnTo>
                    <a:pt x="633" y="37"/>
                  </a:lnTo>
                  <a:lnTo>
                    <a:pt x="628" y="55"/>
                  </a:lnTo>
                  <a:lnTo>
                    <a:pt x="621" y="72"/>
                  </a:lnTo>
                  <a:lnTo>
                    <a:pt x="614" y="90"/>
                  </a:lnTo>
                  <a:lnTo>
                    <a:pt x="606" y="106"/>
                  </a:lnTo>
                  <a:lnTo>
                    <a:pt x="598" y="121"/>
                  </a:lnTo>
                  <a:lnTo>
                    <a:pt x="588" y="138"/>
                  </a:lnTo>
                  <a:lnTo>
                    <a:pt x="47" y="133"/>
                  </a:lnTo>
                  <a:lnTo>
                    <a:pt x="38" y="120"/>
                  </a:lnTo>
                  <a:lnTo>
                    <a:pt x="32" y="107"/>
                  </a:lnTo>
                  <a:lnTo>
                    <a:pt x="24" y="94"/>
                  </a:lnTo>
                  <a:lnTo>
                    <a:pt x="19" y="80"/>
                  </a:lnTo>
                  <a:lnTo>
                    <a:pt x="13" y="67"/>
                  </a:lnTo>
                  <a:lnTo>
                    <a:pt x="8" y="52"/>
                  </a:lnTo>
                  <a:lnTo>
                    <a:pt x="3" y="37"/>
                  </a:lnTo>
                  <a:lnTo>
                    <a:pt x="0" y="22"/>
                  </a:lnTo>
                  <a:lnTo>
                    <a:pt x="33" y="29"/>
                  </a:lnTo>
                  <a:lnTo>
                    <a:pt x="66" y="33"/>
                  </a:lnTo>
                  <a:lnTo>
                    <a:pt x="99" y="37"/>
                  </a:lnTo>
                  <a:lnTo>
                    <a:pt x="133" y="41"/>
                  </a:lnTo>
                  <a:lnTo>
                    <a:pt x="167" y="44"/>
                  </a:lnTo>
                  <a:lnTo>
                    <a:pt x="201" y="46"/>
                  </a:lnTo>
                  <a:lnTo>
                    <a:pt x="236" y="47"/>
                  </a:lnTo>
                  <a:lnTo>
                    <a:pt x="269" y="47"/>
                  </a:lnTo>
                  <a:lnTo>
                    <a:pt x="269" y="47"/>
                  </a:lnTo>
                  <a:lnTo>
                    <a:pt x="317" y="47"/>
                  </a:lnTo>
                  <a:lnTo>
                    <a:pt x="365" y="44"/>
                  </a:lnTo>
                  <a:lnTo>
                    <a:pt x="412" y="41"/>
                  </a:lnTo>
                  <a:lnTo>
                    <a:pt x="459" y="35"/>
                  </a:lnTo>
                  <a:lnTo>
                    <a:pt x="505" y="29"/>
                  </a:lnTo>
                  <a:lnTo>
                    <a:pt x="551" y="20"/>
                  </a:lnTo>
                  <a:lnTo>
                    <a:pt x="596" y="11"/>
                  </a:lnTo>
                  <a:lnTo>
                    <a:pt x="641" y="0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9" name="îšļïḑê"/>
            <p:cNvSpPr/>
            <p:nvPr/>
          </p:nvSpPr>
          <p:spPr bwMode="auto">
            <a:xfrm>
              <a:off x="2237581" y="2042319"/>
              <a:ext cx="161925" cy="349250"/>
            </a:xfrm>
            <a:custGeom>
              <a:avLst/>
              <a:gdLst>
                <a:gd name="T0" fmla="*/ 264 w 512"/>
                <a:gd name="T1" fmla="*/ 1 h 1101"/>
                <a:gd name="T2" fmla="*/ 317 w 512"/>
                <a:gd name="T3" fmla="*/ 11 h 1101"/>
                <a:gd name="T4" fmla="*/ 353 w 512"/>
                <a:gd name="T5" fmla="*/ 25 h 1101"/>
                <a:gd name="T6" fmla="*/ 378 w 512"/>
                <a:gd name="T7" fmla="*/ 38 h 1101"/>
                <a:gd name="T8" fmla="*/ 405 w 512"/>
                <a:gd name="T9" fmla="*/ 55 h 1101"/>
                <a:gd name="T10" fmla="*/ 430 w 512"/>
                <a:gd name="T11" fmla="*/ 78 h 1101"/>
                <a:gd name="T12" fmla="*/ 452 w 512"/>
                <a:gd name="T13" fmla="*/ 106 h 1101"/>
                <a:gd name="T14" fmla="*/ 473 w 512"/>
                <a:gd name="T15" fmla="*/ 140 h 1101"/>
                <a:gd name="T16" fmla="*/ 491 w 512"/>
                <a:gd name="T17" fmla="*/ 181 h 1101"/>
                <a:gd name="T18" fmla="*/ 504 w 512"/>
                <a:gd name="T19" fmla="*/ 229 h 1101"/>
                <a:gd name="T20" fmla="*/ 511 w 512"/>
                <a:gd name="T21" fmla="*/ 284 h 1101"/>
                <a:gd name="T22" fmla="*/ 512 w 512"/>
                <a:gd name="T23" fmla="*/ 349 h 1101"/>
                <a:gd name="T24" fmla="*/ 507 w 512"/>
                <a:gd name="T25" fmla="*/ 419 h 1101"/>
                <a:gd name="T26" fmla="*/ 491 w 512"/>
                <a:gd name="T27" fmla="*/ 490 h 1101"/>
                <a:gd name="T28" fmla="*/ 466 w 512"/>
                <a:gd name="T29" fmla="*/ 559 h 1101"/>
                <a:gd name="T30" fmla="*/ 433 w 512"/>
                <a:gd name="T31" fmla="*/ 624 h 1101"/>
                <a:gd name="T32" fmla="*/ 394 w 512"/>
                <a:gd name="T33" fmla="*/ 688 h 1101"/>
                <a:gd name="T34" fmla="*/ 349 w 512"/>
                <a:gd name="T35" fmla="*/ 747 h 1101"/>
                <a:gd name="T36" fmla="*/ 302 w 512"/>
                <a:gd name="T37" fmla="*/ 803 h 1101"/>
                <a:gd name="T38" fmla="*/ 253 w 512"/>
                <a:gd name="T39" fmla="*/ 855 h 1101"/>
                <a:gd name="T40" fmla="*/ 181 w 512"/>
                <a:gd name="T41" fmla="*/ 925 h 1101"/>
                <a:gd name="T42" fmla="*/ 94 w 512"/>
                <a:gd name="T43" fmla="*/ 1003 h 1101"/>
                <a:gd name="T44" fmla="*/ 30 w 512"/>
                <a:gd name="T45" fmla="*/ 1060 h 1101"/>
                <a:gd name="T46" fmla="*/ 3 w 512"/>
                <a:gd name="T47" fmla="*/ 1087 h 1101"/>
                <a:gd name="T48" fmla="*/ 0 w 512"/>
                <a:gd name="T49" fmla="*/ 1098 h 1101"/>
                <a:gd name="T50" fmla="*/ 7 w 512"/>
                <a:gd name="T51" fmla="*/ 1100 h 1101"/>
                <a:gd name="T52" fmla="*/ 18 w 512"/>
                <a:gd name="T53" fmla="*/ 1080 h 1101"/>
                <a:gd name="T54" fmla="*/ 30 w 512"/>
                <a:gd name="T55" fmla="*/ 1039 h 1101"/>
                <a:gd name="T56" fmla="*/ 43 w 512"/>
                <a:gd name="T57" fmla="*/ 981 h 1101"/>
                <a:gd name="T58" fmla="*/ 63 w 512"/>
                <a:gd name="T59" fmla="*/ 867 h 1101"/>
                <a:gd name="T60" fmla="*/ 93 w 512"/>
                <a:gd name="T61" fmla="*/ 682 h 1101"/>
                <a:gd name="T62" fmla="*/ 122 w 512"/>
                <a:gd name="T63" fmla="*/ 484 h 1101"/>
                <a:gd name="T64" fmla="*/ 149 w 512"/>
                <a:gd name="T65" fmla="*/ 296 h 1101"/>
                <a:gd name="T66" fmla="*/ 171 w 512"/>
                <a:gd name="T67" fmla="*/ 146 h 1101"/>
                <a:gd name="T68" fmla="*/ 183 w 512"/>
                <a:gd name="T69" fmla="*/ 72 h 1101"/>
                <a:gd name="T70" fmla="*/ 189 w 512"/>
                <a:gd name="T71" fmla="*/ 48 h 1101"/>
                <a:gd name="T72" fmla="*/ 199 w 512"/>
                <a:gd name="T73" fmla="*/ 41 h 1101"/>
                <a:gd name="T74" fmla="*/ 217 w 512"/>
                <a:gd name="T75" fmla="*/ 28 h 1101"/>
                <a:gd name="T76" fmla="*/ 244 w 512"/>
                <a:gd name="T77" fmla="*/ 6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2" h="1101">
                  <a:moveTo>
                    <a:pt x="252" y="0"/>
                  </a:moveTo>
                  <a:lnTo>
                    <a:pt x="264" y="1"/>
                  </a:lnTo>
                  <a:lnTo>
                    <a:pt x="296" y="5"/>
                  </a:lnTo>
                  <a:lnTo>
                    <a:pt x="317" y="11"/>
                  </a:lnTo>
                  <a:lnTo>
                    <a:pt x="341" y="19"/>
                  </a:lnTo>
                  <a:lnTo>
                    <a:pt x="353" y="25"/>
                  </a:lnTo>
                  <a:lnTo>
                    <a:pt x="366" y="30"/>
                  </a:lnTo>
                  <a:lnTo>
                    <a:pt x="378" y="38"/>
                  </a:lnTo>
                  <a:lnTo>
                    <a:pt x="391" y="47"/>
                  </a:lnTo>
                  <a:lnTo>
                    <a:pt x="405" y="55"/>
                  </a:lnTo>
                  <a:lnTo>
                    <a:pt x="417" y="66"/>
                  </a:lnTo>
                  <a:lnTo>
                    <a:pt x="430" y="78"/>
                  </a:lnTo>
                  <a:lnTo>
                    <a:pt x="440" y="91"/>
                  </a:lnTo>
                  <a:lnTo>
                    <a:pt x="452" y="106"/>
                  </a:lnTo>
                  <a:lnTo>
                    <a:pt x="463" y="123"/>
                  </a:lnTo>
                  <a:lnTo>
                    <a:pt x="473" y="140"/>
                  </a:lnTo>
                  <a:lnTo>
                    <a:pt x="482" y="160"/>
                  </a:lnTo>
                  <a:lnTo>
                    <a:pt x="491" y="181"/>
                  </a:lnTo>
                  <a:lnTo>
                    <a:pt x="497" y="204"/>
                  </a:lnTo>
                  <a:lnTo>
                    <a:pt x="504" y="229"/>
                  </a:lnTo>
                  <a:lnTo>
                    <a:pt x="508" y="256"/>
                  </a:lnTo>
                  <a:lnTo>
                    <a:pt x="511" y="284"/>
                  </a:lnTo>
                  <a:lnTo>
                    <a:pt x="512" y="316"/>
                  </a:lnTo>
                  <a:lnTo>
                    <a:pt x="512" y="349"/>
                  </a:lnTo>
                  <a:lnTo>
                    <a:pt x="511" y="383"/>
                  </a:lnTo>
                  <a:lnTo>
                    <a:pt x="507" y="419"/>
                  </a:lnTo>
                  <a:lnTo>
                    <a:pt x="500" y="455"/>
                  </a:lnTo>
                  <a:lnTo>
                    <a:pt x="491" y="490"/>
                  </a:lnTo>
                  <a:lnTo>
                    <a:pt x="480" y="525"/>
                  </a:lnTo>
                  <a:lnTo>
                    <a:pt x="466" y="559"/>
                  </a:lnTo>
                  <a:lnTo>
                    <a:pt x="450" y="592"/>
                  </a:lnTo>
                  <a:lnTo>
                    <a:pt x="433" y="624"/>
                  </a:lnTo>
                  <a:lnTo>
                    <a:pt x="413" y="656"/>
                  </a:lnTo>
                  <a:lnTo>
                    <a:pt x="394" y="688"/>
                  </a:lnTo>
                  <a:lnTo>
                    <a:pt x="372" y="717"/>
                  </a:lnTo>
                  <a:lnTo>
                    <a:pt x="349" y="747"/>
                  </a:lnTo>
                  <a:lnTo>
                    <a:pt x="326" y="775"/>
                  </a:lnTo>
                  <a:lnTo>
                    <a:pt x="302" y="803"/>
                  </a:lnTo>
                  <a:lnTo>
                    <a:pt x="278" y="829"/>
                  </a:lnTo>
                  <a:lnTo>
                    <a:pt x="253" y="855"/>
                  </a:lnTo>
                  <a:lnTo>
                    <a:pt x="229" y="880"/>
                  </a:lnTo>
                  <a:lnTo>
                    <a:pt x="181" y="925"/>
                  </a:lnTo>
                  <a:lnTo>
                    <a:pt x="135" y="966"/>
                  </a:lnTo>
                  <a:lnTo>
                    <a:pt x="94" y="1003"/>
                  </a:lnTo>
                  <a:lnTo>
                    <a:pt x="58" y="1033"/>
                  </a:lnTo>
                  <a:lnTo>
                    <a:pt x="30" y="1060"/>
                  </a:lnTo>
                  <a:lnTo>
                    <a:pt x="10" y="1079"/>
                  </a:lnTo>
                  <a:lnTo>
                    <a:pt x="3" y="1087"/>
                  </a:lnTo>
                  <a:lnTo>
                    <a:pt x="0" y="1093"/>
                  </a:lnTo>
                  <a:lnTo>
                    <a:pt x="0" y="1098"/>
                  </a:lnTo>
                  <a:lnTo>
                    <a:pt x="2" y="1101"/>
                  </a:lnTo>
                  <a:lnTo>
                    <a:pt x="7" y="1100"/>
                  </a:lnTo>
                  <a:lnTo>
                    <a:pt x="12" y="1092"/>
                  </a:lnTo>
                  <a:lnTo>
                    <a:pt x="18" y="1080"/>
                  </a:lnTo>
                  <a:lnTo>
                    <a:pt x="23" y="1062"/>
                  </a:lnTo>
                  <a:lnTo>
                    <a:pt x="30" y="1039"/>
                  </a:lnTo>
                  <a:lnTo>
                    <a:pt x="36" y="1013"/>
                  </a:lnTo>
                  <a:lnTo>
                    <a:pt x="43" y="981"/>
                  </a:lnTo>
                  <a:lnTo>
                    <a:pt x="49" y="946"/>
                  </a:lnTo>
                  <a:lnTo>
                    <a:pt x="63" y="867"/>
                  </a:lnTo>
                  <a:lnTo>
                    <a:pt x="79" y="778"/>
                  </a:lnTo>
                  <a:lnTo>
                    <a:pt x="93" y="682"/>
                  </a:lnTo>
                  <a:lnTo>
                    <a:pt x="108" y="583"/>
                  </a:lnTo>
                  <a:lnTo>
                    <a:pt x="122" y="484"/>
                  </a:lnTo>
                  <a:lnTo>
                    <a:pt x="136" y="387"/>
                  </a:lnTo>
                  <a:lnTo>
                    <a:pt x="149" y="296"/>
                  </a:lnTo>
                  <a:lnTo>
                    <a:pt x="161" y="214"/>
                  </a:lnTo>
                  <a:lnTo>
                    <a:pt x="171" y="146"/>
                  </a:lnTo>
                  <a:lnTo>
                    <a:pt x="180" y="92"/>
                  </a:lnTo>
                  <a:lnTo>
                    <a:pt x="183" y="72"/>
                  </a:lnTo>
                  <a:lnTo>
                    <a:pt x="187" y="57"/>
                  </a:lnTo>
                  <a:lnTo>
                    <a:pt x="189" y="48"/>
                  </a:lnTo>
                  <a:lnTo>
                    <a:pt x="191" y="44"/>
                  </a:lnTo>
                  <a:lnTo>
                    <a:pt x="199" y="41"/>
                  </a:lnTo>
                  <a:lnTo>
                    <a:pt x="207" y="36"/>
                  </a:lnTo>
                  <a:lnTo>
                    <a:pt x="217" y="28"/>
                  </a:lnTo>
                  <a:lnTo>
                    <a:pt x="228" y="20"/>
                  </a:lnTo>
                  <a:lnTo>
                    <a:pt x="244" y="6"/>
                  </a:lnTo>
                  <a:lnTo>
                    <a:pt x="252" y="0"/>
                  </a:lnTo>
                  <a:close/>
                </a:path>
              </a:pathLst>
            </a:custGeom>
            <a:solidFill>
              <a:srgbClr val="D1AD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0" name="ïṥḷîḍè"/>
            <p:cNvSpPr/>
            <p:nvPr/>
          </p:nvSpPr>
          <p:spPr bwMode="auto">
            <a:xfrm>
              <a:off x="1308893" y="2039144"/>
              <a:ext cx="161925" cy="349250"/>
            </a:xfrm>
            <a:custGeom>
              <a:avLst/>
              <a:gdLst>
                <a:gd name="T0" fmla="*/ 248 w 513"/>
                <a:gd name="T1" fmla="*/ 1 h 1101"/>
                <a:gd name="T2" fmla="*/ 195 w 513"/>
                <a:gd name="T3" fmla="*/ 11 h 1101"/>
                <a:gd name="T4" fmla="*/ 159 w 513"/>
                <a:gd name="T5" fmla="*/ 25 h 1101"/>
                <a:gd name="T6" fmla="*/ 134 w 513"/>
                <a:gd name="T7" fmla="*/ 38 h 1101"/>
                <a:gd name="T8" fmla="*/ 107 w 513"/>
                <a:gd name="T9" fmla="*/ 55 h 1101"/>
                <a:gd name="T10" fmla="*/ 83 w 513"/>
                <a:gd name="T11" fmla="*/ 78 h 1101"/>
                <a:gd name="T12" fmla="*/ 60 w 513"/>
                <a:gd name="T13" fmla="*/ 107 h 1101"/>
                <a:gd name="T14" fmla="*/ 39 w 513"/>
                <a:gd name="T15" fmla="*/ 140 h 1101"/>
                <a:gd name="T16" fmla="*/ 22 w 513"/>
                <a:gd name="T17" fmla="*/ 181 h 1101"/>
                <a:gd name="T18" fmla="*/ 9 w 513"/>
                <a:gd name="T19" fmla="*/ 229 h 1101"/>
                <a:gd name="T20" fmla="*/ 2 w 513"/>
                <a:gd name="T21" fmla="*/ 284 h 1101"/>
                <a:gd name="T22" fmla="*/ 0 w 513"/>
                <a:gd name="T23" fmla="*/ 349 h 1101"/>
                <a:gd name="T24" fmla="*/ 5 w 513"/>
                <a:gd name="T25" fmla="*/ 420 h 1101"/>
                <a:gd name="T26" fmla="*/ 21 w 513"/>
                <a:gd name="T27" fmla="*/ 490 h 1101"/>
                <a:gd name="T28" fmla="*/ 46 w 513"/>
                <a:gd name="T29" fmla="*/ 559 h 1101"/>
                <a:gd name="T30" fmla="*/ 80 w 513"/>
                <a:gd name="T31" fmla="*/ 625 h 1101"/>
                <a:gd name="T32" fmla="*/ 119 w 513"/>
                <a:gd name="T33" fmla="*/ 688 h 1101"/>
                <a:gd name="T34" fmla="*/ 163 w 513"/>
                <a:gd name="T35" fmla="*/ 747 h 1101"/>
                <a:gd name="T36" fmla="*/ 210 w 513"/>
                <a:gd name="T37" fmla="*/ 803 h 1101"/>
                <a:gd name="T38" fmla="*/ 259 w 513"/>
                <a:gd name="T39" fmla="*/ 855 h 1101"/>
                <a:gd name="T40" fmla="*/ 331 w 513"/>
                <a:gd name="T41" fmla="*/ 926 h 1101"/>
                <a:gd name="T42" fmla="*/ 418 w 513"/>
                <a:gd name="T43" fmla="*/ 1003 h 1101"/>
                <a:gd name="T44" fmla="*/ 482 w 513"/>
                <a:gd name="T45" fmla="*/ 1060 h 1101"/>
                <a:gd name="T46" fmla="*/ 509 w 513"/>
                <a:gd name="T47" fmla="*/ 1087 h 1101"/>
                <a:gd name="T48" fmla="*/ 513 w 513"/>
                <a:gd name="T49" fmla="*/ 1098 h 1101"/>
                <a:gd name="T50" fmla="*/ 505 w 513"/>
                <a:gd name="T51" fmla="*/ 1100 h 1101"/>
                <a:gd name="T52" fmla="*/ 494 w 513"/>
                <a:gd name="T53" fmla="*/ 1080 h 1101"/>
                <a:gd name="T54" fmla="*/ 482 w 513"/>
                <a:gd name="T55" fmla="*/ 1039 h 1101"/>
                <a:gd name="T56" fmla="*/ 470 w 513"/>
                <a:gd name="T57" fmla="*/ 981 h 1101"/>
                <a:gd name="T58" fmla="*/ 449 w 513"/>
                <a:gd name="T59" fmla="*/ 867 h 1101"/>
                <a:gd name="T60" fmla="*/ 419 w 513"/>
                <a:gd name="T61" fmla="*/ 682 h 1101"/>
                <a:gd name="T62" fmla="*/ 390 w 513"/>
                <a:gd name="T63" fmla="*/ 484 h 1101"/>
                <a:gd name="T64" fmla="*/ 363 w 513"/>
                <a:gd name="T65" fmla="*/ 296 h 1101"/>
                <a:gd name="T66" fmla="*/ 341 w 513"/>
                <a:gd name="T67" fmla="*/ 146 h 1101"/>
                <a:gd name="T68" fmla="*/ 329 w 513"/>
                <a:gd name="T69" fmla="*/ 72 h 1101"/>
                <a:gd name="T70" fmla="*/ 323 w 513"/>
                <a:gd name="T71" fmla="*/ 48 h 1101"/>
                <a:gd name="T72" fmla="*/ 313 w 513"/>
                <a:gd name="T73" fmla="*/ 41 h 1101"/>
                <a:gd name="T74" fmla="*/ 295 w 513"/>
                <a:gd name="T75" fmla="*/ 28 h 1101"/>
                <a:gd name="T76" fmla="*/ 268 w 513"/>
                <a:gd name="T77" fmla="*/ 6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3" h="1101">
                  <a:moveTo>
                    <a:pt x="261" y="0"/>
                  </a:moveTo>
                  <a:lnTo>
                    <a:pt x="248" y="1"/>
                  </a:lnTo>
                  <a:lnTo>
                    <a:pt x="216" y="5"/>
                  </a:lnTo>
                  <a:lnTo>
                    <a:pt x="195" y="11"/>
                  </a:lnTo>
                  <a:lnTo>
                    <a:pt x="172" y="19"/>
                  </a:lnTo>
                  <a:lnTo>
                    <a:pt x="159" y="25"/>
                  </a:lnTo>
                  <a:lnTo>
                    <a:pt x="147" y="30"/>
                  </a:lnTo>
                  <a:lnTo>
                    <a:pt x="134" y="38"/>
                  </a:lnTo>
                  <a:lnTo>
                    <a:pt x="121" y="47"/>
                  </a:lnTo>
                  <a:lnTo>
                    <a:pt x="107" y="55"/>
                  </a:lnTo>
                  <a:lnTo>
                    <a:pt x="95" y="66"/>
                  </a:lnTo>
                  <a:lnTo>
                    <a:pt x="83" y="78"/>
                  </a:lnTo>
                  <a:lnTo>
                    <a:pt x="72" y="91"/>
                  </a:lnTo>
                  <a:lnTo>
                    <a:pt x="60" y="107"/>
                  </a:lnTo>
                  <a:lnTo>
                    <a:pt x="50" y="123"/>
                  </a:lnTo>
                  <a:lnTo>
                    <a:pt x="39" y="140"/>
                  </a:lnTo>
                  <a:lnTo>
                    <a:pt x="30" y="160"/>
                  </a:lnTo>
                  <a:lnTo>
                    <a:pt x="22" y="181"/>
                  </a:lnTo>
                  <a:lnTo>
                    <a:pt x="15" y="204"/>
                  </a:lnTo>
                  <a:lnTo>
                    <a:pt x="9" y="229"/>
                  </a:lnTo>
                  <a:lnTo>
                    <a:pt x="4" y="256"/>
                  </a:lnTo>
                  <a:lnTo>
                    <a:pt x="2" y="284"/>
                  </a:lnTo>
                  <a:lnTo>
                    <a:pt x="0" y="316"/>
                  </a:lnTo>
                  <a:lnTo>
                    <a:pt x="0" y="349"/>
                  </a:lnTo>
                  <a:lnTo>
                    <a:pt x="1" y="384"/>
                  </a:lnTo>
                  <a:lnTo>
                    <a:pt x="5" y="420"/>
                  </a:lnTo>
                  <a:lnTo>
                    <a:pt x="12" y="456"/>
                  </a:lnTo>
                  <a:lnTo>
                    <a:pt x="21" y="490"/>
                  </a:lnTo>
                  <a:lnTo>
                    <a:pt x="32" y="525"/>
                  </a:lnTo>
                  <a:lnTo>
                    <a:pt x="46" y="559"/>
                  </a:lnTo>
                  <a:lnTo>
                    <a:pt x="63" y="592"/>
                  </a:lnTo>
                  <a:lnTo>
                    <a:pt x="80" y="625"/>
                  </a:lnTo>
                  <a:lnTo>
                    <a:pt x="99" y="656"/>
                  </a:lnTo>
                  <a:lnTo>
                    <a:pt x="119" y="688"/>
                  </a:lnTo>
                  <a:lnTo>
                    <a:pt x="141" y="717"/>
                  </a:lnTo>
                  <a:lnTo>
                    <a:pt x="163" y="747"/>
                  </a:lnTo>
                  <a:lnTo>
                    <a:pt x="187" y="775"/>
                  </a:lnTo>
                  <a:lnTo>
                    <a:pt x="210" y="803"/>
                  </a:lnTo>
                  <a:lnTo>
                    <a:pt x="235" y="830"/>
                  </a:lnTo>
                  <a:lnTo>
                    <a:pt x="259" y="855"/>
                  </a:lnTo>
                  <a:lnTo>
                    <a:pt x="283" y="880"/>
                  </a:lnTo>
                  <a:lnTo>
                    <a:pt x="331" y="926"/>
                  </a:lnTo>
                  <a:lnTo>
                    <a:pt x="377" y="966"/>
                  </a:lnTo>
                  <a:lnTo>
                    <a:pt x="418" y="1003"/>
                  </a:lnTo>
                  <a:lnTo>
                    <a:pt x="454" y="1033"/>
                  </a:lnTo>
                  <a:lnTo>
                    <a:pt x="482" y="1060"/>
                  </a:lnTo>
                  <a:lnTo>
                    <a:pt x="503" y="1079"/>
                  </a:lnTo>
                  <a:lnTo>
                    <a:pt x="509" y="1087"/>
                  </a:lnTo>
                  <a:lnTo>
                    <a:pt x="512" y="1093"/>
                  </a:lnTo>
                  <a:lnTo>
                    <a:pt x="513" y="1098"/>
                  </a:lnTo>
                  <a:lnTo>
                    <a:pt x="510" y="1101"/>
                  </a:lnTo>
                  <a:lnTo>
                    <a:pt x="505" y="1100"/>
                  </a:lnTo>
                  <a:lnTo>
                    <a:pt x="500" y="1092"/>
                  </a:lnTo>
                  <a:lnTo>
                    <a:pt x="494" y="1080"/>
                  </a:lnTo>
                  <a:lnTo>
                    <a:pt x="489" y="1062"/>
                  </a:lnTo>
                  <a:lnTo>
                    <a:pt x="482" y="1039"/>
                  </a:lnTo>
                  <a:lnTo>
                    <a:pt x="477" y="1013"/>
                  </a:lnTo>
                  <a:lnTo>
                    <a:pt x="470" y="981"/>
                  </a:lnTo>
                  <a:lnTo>
                    <a:pt x="463" y="946"/>
                  </a:lnTo>
                  <a:lnTo>
                    <a:pt x="449" y="867"/>
                  </a:lnTo>
                  <a:lnTo>
                    <a:pt x="434" y="778"/>
                  </a:lnTo>
                  <a:lnTo>
                    <a:pt x="419" y="682"/>
                  </a:lnTo>
                  <a:lnTo>
                    <a:pt x="404" y="583"/>
                  </a:lnTo>
                  <a:lnTo>
                    <a:pt x="390" y="484"/>
                  </a:lnTo>
                  <a:lnTo>
                    <a:pt x="376" y="387"/>
                  </a:lnTo>
                  <a:lnTo>
                    <a:pt x="363" y="296"/>
                  </a:lnTo>
                  <a:lnTo>
                    <a:pt x="352" y="215"/>
                  </a:lnTo>
                  <a:lnTo>
                    <a:pt x="341" y="146"/>
                  </a:lnTo>
                  <a:lnTo>
                    <a:pt x="332" y="92"/>
                  </a:lnTo>
                  <a:lnTo>
                    <a:pt x="329" y="72"/>
                  </a:lnTo>
                  <a:lnTo>
                    <a:pt x="325" y="58"/>
                  </a:lnTo>
                  <a:lnTo>
                    <a:pt x="323" y="48"/>
                  </a:lnTo>
                  <a:lnTo>
                    <a:pt x="321" y="44"/>
                  </a:lnTo>
                  <a:lnTo>
                    <a:pt x="313" y="41"/>
                  </a:lnTo>
                  <a:lnTo>
                    <a:pt x="305" y="36"/>
                  </a:lnTo>
                  <a:lnTo>
                    <a:pt x="295" y="28"/>
                  </a:lnTo>
                  <a:lnTo>
                    <a:pt x="285" y="20"/>
                  </a:lnTo>
                  <a:lnTo>
                    <a:pt x="268" y="6"/>
                  </a:lnTo>
                  <a:lnTo>
                    <a:pt x="261" y="0"/>
                  </a:lnTo>
                  <a:close/>
                </a:path>
              </a:pathLst>
            </a:custGeom>
            <a:solidFill>
              <a:srgbClr val="D1AD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1" name="iṣľïdè"/>
            <p:cNvSpPr/>
            <p:nvPr/>
          </p:nvSpPr>
          <p:spPr bwMode="auto">
            <a:xfrm>
              <a:off x="1405731" y="2267744"/>
              <a:ext cx="904875" cy="755650"/>
            </a:xfrm>
            <a:custGeom>
              <a:avLst/>
              <a:gdLst>
                <a:gd name="T0" fmla="*/ 1 w 2850"/>
                <a:gd name="T1" fmla="*/ 20 h 2377"/>
                <a:gd name="T2" fmla="*/ 16 w 2850"/>
                <a:gd name="T3" fmla="*/ 119 h 2377"/>
                <a:gd name="T4" fmla="*/ 42 w 2850"/>
                <a:gd name="T5" fmla="*/ 293 h 2377"/>
                <a:gd name="T6" fmla="*/ 75 w 2850"/>
                <a:gd name="T7" fmla="*/ 522 h 2377"/>
                <a:gd name="T8" fmla="*/ 113 w 2850"/>
                <a:gd name="T9" fmla="*/ 784 h 2377"/>
                <a:gd name="T10" fmla="*/ 152 w 2850"/>
                <a:gd name="T11" fmla="*/ 1056 h 2377"/>
                <a:gd name="T12" fmla="*/ 188 w 2850"/>
                <a:gd name="T13" fmla="*/ 1317 h 2377"/>
                <a:gd name="T14" fmla="*/ 218 w 2850"/>
                <a:gd name="T15" fmla="*/ 1544 h 2377"/>
                <a:gd name="T16" fmla="*/ 236 w 2850"/>
                <a:gd name="T17" fmla="*/ 1680 h 2377"/>
                <a:gd name="T18" fmla="*/ 256 w 2850"/>
                <a:gd name="T19" fmla="*/ 1759 h 2377"/>
                <a:gd name="T20" fmla="*/ 287 w 2850"/>
                <a:gd name="T21" fmla="*/ 1831 h 2377"/>
                <a:gd name="T22" fmla="*/ 325 w 2850"/>
                <a:gd name="T23" fmla="*/ 1896 h 2377"/>
                <a:gd name="T24" fmla="*/ 370 w 2850"/>
                <a:gd name="T25" fmla="*/ 1956 h 2377"/>
                <a:gd name="T26" fmla="*/ 422 w 2850"/>
                <a:gd name="T27" fmla="*/ 2009 h 2377"/>
                <a:gd name="T28" fmla="*/ 480 w 2850"/>
                <a:gd name="T29" fmla="*/ 2057 h 2377"/>
                <a:gd name="T30" fmla="*/ 541 w 2850"/>
                <a:gd name="T31" fmla="*/ 2101 h 2377"/>
                <a:gd name="T32" fmla="*/ 606 w 2850"/>
                <a:gd name="T33" fmla="*/ 2140 h 2377"/>
                <a:gd name="T34" fmla="*/ 675 w 2850"/>
                <a:gd name="T35" fmla="*/ 2175 h 2377"/>
                <a:gd name="T36" fmla="*/ 744 w 2850"/>
                <a:gd name="T37" fmla="*/ 2207 h 2377"/>
                <a:gd name="T38" fmla="*/ 814 w 2850"/>
                <a:gd name="T39" fmla="*/ 2235 h 2377"/>
                <a:gd name="T40" fmla="*/ 918 w 2850"/>
                <a:gd name="T41" fmla="*/ 2272 h 2377"/>
                <a:gd name="T42" fmla="*/ 1050 w 2850"/>
                <a:gd name="T43" fmla="*/ 2314 h 2377"/>
                <a:gd name="T44" fmla="*/ 1141 w 2850"/>
                <a:gd name="T45" fmla="*/ 2342 h 2377"/>
                <a:gd name="T46" fmla="*/ 1215 w 2850"/>
                <a:gd name="T47" fmla="*/ 2357 h 2377"/>
                <a:gd name="T48" fmla="*/ 1302 w 2850"/>
                <a:gd name="T49" fmla="*/ 2369 h 2377"/>
                <a:gd name="T50" fmla="*/ 1399 w 2850"/>
                <a:gd name="T51" fmla="*/ 2376 h 2377"/>
                <a:gd name="T52" fmla="*/ 1504 w 2850"/>
                <a:gd name="T53" fmla="*/ 2377 h 2377"/>
                <a:gd name="T54" fmla="*/ 1617 w 2850"/>
                <a:gd name="T55" fmla="*/ 2369 h 2377"/>
                <a:gd name="T56" fmla="*/ 1733 w 2850"/>
                <a:gd name="T57" fmla="*/ 2354 h 2377"/>
                <a:gd name="T58" fmla="*/ 1851 w 2850"/>
                <a:gd name="T59" fmla="*/ 2329 h 2377"/>
                <a:gd name="T60" fmla="*/ 1970 w 2850"/>
                <a:gd name="T61" fmla="*/ 2293 h 2377"/>
                <a:gd name="T62" fmla="*/ 2084 w 2850"/>
                <a:gd name="T63" fmla="*/ 2245 h 2377"/>
                <a:gd name="T64" fmla="*/ 2195 w 2850"/>
                <a:gd name="T65" fmla="*/ 2184 h 2377"/>
                <a:gd name="T66" fmla="*/ 2299 w 2850"/>
                <a:gd name="T67" fmla="*/ 2109 h 2377"/>
                <a:gd name="T68" fmla="*/ 2394 w 2850"/>
                <a:gd name="T69" fmla="*/ 2018 h 2377"/>
                <a:gd name="T70" fmla="*/ 2477 w 2850"/>
                <a:gd name="T71" fmla="*/ 1910 h 2377"/>
                <a:gd name="T72" fmla="*/ 2546 w 2850"/>
                <a:gd name="T73" fmla="*/ 1785 h 2377"/>
                <a:gd name="T74" fmla="*/ 2600 w 2850"/>
                <a:gd name="T75" fmla="*/ 1641 h 2377"/>
                <a:gd name="T76" fmla="*/ 2638 w 2850"/>
                <a:gd name="T77" fmla="*/ 1479 h 2377"/>
                <a:gd name="T78" fmla="*/ 2671 w 2850"/>
                <a:gd name="T79" fmla="*/ 1320 h 2377"/>
                <a:gd name="T80" fmla="*/ 2713 w 2850"/>
                <a:gd name="T81" fmla="*/ 1092 h 2377"/>
                <a:gd name="T82" fmla="*/ 2759 w 2850"/>
                <a:gd name="T83" fmla="*/ 811 h 2377"/>
                <a:gd name="T84" fmla="*/ 2794 w 2850"/>
                <a:gd name="T85" fmla="*/ 562 h 2377"/>
                <a:gd name="T86" fmla="*/ 2819 w 2850"/>
                <a:gd name="T87" fmla="*/ 352 h 2377"/>
                <a:gd name="T88" fmla="*/ 2835 w 2850"/>
                <a:gd name="T89" fmla="*/ 186 h 2377"/>
                <a:gd name="T90" fmla="*/ 2845 w 2850"/>
                <a:gd name="T91" fmla="*/ 69 h 2377"/>
                <a:gd name="T92" fmla="*/ 2849 w 2850"/>
                <a:gd name="T93" fmla="*/ 8 h 2377"/>
                <a:gd name="T94" fmla="*/ 0 w 2850"/>
                <a:gd name="T95" fmla="*/ 7 h 2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50" h="2377">
                  <a:moveTo>
                    <a:pt x="0" y="7"/>
                  </a:moveTo>
                  <a:lnTo>
                    <a:pt x="1" y="20"/>
                  </a:lnTo>
                  <a:lnTo>
                    <a:pt x="8" y="59"/>
                  </a:lnTo>
                  <a:lnTo>
                    <a:pt x="16" y="119"/>
                  </a:lnTo>
                  <a:lnTo>
                    <a:pt x="27" y="197"/>
                  </a:lnTo>
                  <a:lnTo>
                    <a:pt x="42" y="293"/>
                  </a:lnTo>
                  <a:lnTo>
                    <a:pt x="58" y="402"/>
                  </a:lnTo>
                  <a:lnTo>
                    <a:pt x="75" y="522"/>
                  </a:lnTo>
                  <a:lnTo>
                    <a:pt x="94" y="650"/>
                  </a:lnTo>
                  <a:lnTo>
                    <a:pt x="113" y="784"/>
                  </a:lnTo>
                  <a:lnTo>
                    <a:pt x="133" y="920"/>
                  </a:lnTo>
                  <a:lnTo>
                    <a:pt x="152" y="1056"/>
                  </a:lnTo>
                  <a:lnTo>
                    <a:pt x="170" y="1189"/>
                  </a:lnTo>
                  <a:lnTo>
                    <a:pt x="188" y="1317"/>
                  </a:lnTo>
                  <a:lnTo>
                    <a:pt x="204" y="1436"/>
                  </a:lnTo>
                  <a:lnTo>
                    <a:pt x="218" y="1544"/>
                  </a:lnTo>
                  <a:lnTo>
                    <a:pt x="229" y="1638"/>
                  </a:lnTo>
                  <a:lnTo>
                    <a:pt x="236" y="1680"/>
                  </a:lnTo>
                  <a:lnTo>
                    <a:pt x="245" y="1720"/>
                  </a:lnTo>
                  <a:lnTo>
                    <a:pt x="256" y="1759"/>
                  </a:lnTo>
                  <a:lnTo>
                    <a:pt x="270" y="1796"/>
                  </a:lnTo>
                  <a:lnTo>
                    <a:pt x="287" y="1831"/>
                  </a:lnTo>
                  <a:lnTo>
                    <a:pt x="304" y="1864"/>
                  </a:lnTo>
                  <a:lnTo>
                    <a:pt x="325" y="1896"/>
                  </a:lnTo>
                  <a:lnTo>
                    <a:pt x="347" y="1927"/>
                  </a:lnTo>
                  <a:lnTo>
                    <a:pt x="370" y="1956"/>
                  </a:lnTo>
                  <a:lnTo>
                    <a:pt x="396" y="1983"/>
                  </a:lnTo>
                  <a:lnTo>
                    <a:pt x="422" y="2009"/>
                  </a:lnTo>
                  <a:lnTo>
                    <a:pt x="450" y="2034"/>
                  </a:lnTo>
                  <a:lnTo>
                    <a:pt x="480" y="2057"/>
                  </a:lnTo>
                  <a:lnTo>
                    <a:pt x="510" y="2080"/>
                  </a:lnTo>
                  <a:lnTo>
                    <a:pt x="541" y="2101"/>
                  </a:lnTo>
                  <a:lnTo>
                    <a:pt x="573" y="2121"/>
                  </a:lnTo>
                  <a:lnTo>
                    <a:pt x="606" y="2140"/>
                  </a:lnTo>
                  <a:lnTo>
                    <a:pt x="640" y="2158"/>
                  </a:lnTo>
                  <a:lnTo>
                    <a:pt x="675" y="2175"/>
                  </a:lnTo>
                  <a:lnTo>
                    <a:pt x="709" y="2191"/>
                  </a:lnTo>
                  <a:lnTo>
                    <a:pt x="744" y="2207"/>
                  </a:lnTo>
                  <a:lnTo>
                    <a:pt x="779" y="2221"/>
                  </a:lnTo>
                  <a:lnTo>
                    <a:pt x="814" y="2235"/>
                  </a:lnTo>
                  <a:lnTo>
                    <a:pt x="849" y="2248"/>
                  </a:lnTo>
                  <a:lnTo>
                    <a:pt x="918" y="2272"/>
                  </a:lnTo>
                  <a:lnTo>
                    <a:pt x="985" y="2294"/>
                  </a:lnTo>
                  <a:lnTo>
                    <a:pt x="1050" y="2314"/>
                  </a:lnTo>
                  <a:lnTo>
                    <a:pt x="1111" y="2333"/>
                  </a:lnTo>
                  <a:lnTo>
                    <a:pt x="1141" y="2342"/>
                  </a:lnTo>
                  <a:lnTo>
                    <a:pt x="1176" y="2351"/>
                  </a:lnTo>
                  <a:lnTo>
                    <a:pt x="1215" y="2357"/>
                  </a:lnTo>
                  <a:lnTo>
                    <a:pt x="1257" y="2364"/>
                  </a:lnTo>
                  <a:lnTo>
                    <a:pt x="1302" y="2369"/>
                  </a:lnTo>
                  <a:lnTo>
                    <a:pt x="1350" y="2374"/>
                  </a:lnTo>
                  <a:lnTo>
                    <a:pt x="1399" y="2376"/>
                  </a:lnTo>
                  <a:lnTo>
                    <a:pt x="1451" y="2377"/>
                  </a:lnTo>
                  <a:lnTo>
                    <a:pt x="1504" y="2377"/>
                  </a:lnTo>
                  <a:lnTo>
                    <a:pt x="1560" y="2375"/>
                  </a:lnTo>
                  <a:lnTo>
                    <a:pt x="1617" y="2369"/>
                  </a:lnTo>
                  <a:lnTo>
                    <a:pt x="1674" y="2363"/>
                  </a:lnTo>
                  <a:lnTo>
                    <a:pt x="1733" y="2354"/>
                  </a:lnTo>
                  <a:lnTo>
                    <a:pt x="1792" y="2343"/>
                  </a:lnTo>
                  <a:lnTo>
                    <a:pt x="1851" y="2329"/>
                  </a:lnTo>
                  <a:lnTo>
                    <a:pt x="1911" y="2313"/>
                  </a:lnTo>
                  <a:lnTo>
                    <a:pt x="1970" y="2293"/>
                  </a:lnTo>
                  <a:lnTo>
                    <a:pt x="2028" y="2271"/>
                  </a:lnTo>
                  <a:lnTo>
                    <a:pt x="2084" y="2245"/>
                  </a:lnTo>
                  <a:lnTo>
                    <a:pt x="2141" y="2217"/>
                  </a:lnTo>
                  <a:lnTo>
                    <a:pt x="2195" y="2184"/>
                  </a:lnTo>
                  <a:lnTo>
                    <a:pt x="2248" y="2148"/>
                  </a:lnTo>
                  <a:lnTo>
                    <a:pt x="2299" y="2109"/>
                  </a:lnTo>
                  <a:lnTo>
                    <a:pt x="2348" y="2065"/>
                  </a:lnTo>
                  <a:lnTo>
                    <a:pt x="2394" y="2018"/>
                  </a:lnTo>
                  <a:lnTo>
                    <a:pt x="2436" y="1966"/>
                  </a:lnTo>
                  <a:lnTo>
                    <a:pt x="2477" y="1910"/>
                  </a:lnTo>
                  <a:lnTo>
                    <a:pt x="2514" y="1850"/>
                  </a:lnTo>
                  <a:lnTo>
                    <a:pt x="2546" y="1785"/>
                  </a:lnTo>
                  <a:lnTo>
                    <a:pt x="2576" y="1715"/>
                  </a:lnTo>
                  <a:lnTo>
                    <a:pt x="2600" y="1641"/>
                  </a:lnTo>
                  <a:lnTo>
                    <a:pt x="2620" y="1561"/>
                  </a:lnTo>
                  <a:lnTo>
                    <a:pt x="2638" y="1479"/>
                  </a:lnTo>
                  <a:lnTo>
                    <a:pt x="2654" y="1400"/>
                  </a:lnTo>
                  <a:lnTo>
                    <a:pt x="2671" y="1320"/>
                  </a:lnTo>
                  <a:lnTo>
                    <a:pt x="2685" y="1243"/>
                  </a:lnTo>
                  <a:lnTo>
                    <a:pt x="2713" y="1092"/>
                  </a:lnTo>
                  <a:lnTo>
                    <a:pt x="2737" y="948"/>
                  </a:lnTo>
                  <a:lnTo>
                    <a:pt x="2759" y="811"/>
                  </a:lnTo>
                  <a:lnTo>
                    <a:pt x="2777" y="682"/>
                  </a:lnTo>
                  <a:lnTo>
                    <a:pt x="2794" y="562"/>
                  </a:lnTo>
                  <a:lnTo>
                    <a:pt x="2807" y="452"/>
                  </a:lnTo>
                  <a:lnTo>
                    <a:pt x="2819" y="352"/>
                  </a:lnTo>
                  <a:lnTo>
                    <a:pt x="2828" y="264"/>
                  </a:lnTo>
                  <a:lnTo>
                    <a:pt x="2835" y="186"/>
                  </a:lnTo>
                  <a:lnTo>
                    <a:pt x="2842" y="121"/>
                  </a:lnTo>
                  <a:lnTo>
                    <a:pt x="2845" y="69"/>
                  </a:lnTo>
                  <a:lnTo>
                    <a:pt x="2848" y="31"/>
                  </a:lnTo>
                  <a:lnTo>
                    <a:pt x="2849" y="8"/>
                  </a:lnTo>
                  <a:lnTo>
                    <a:pt x="285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684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2" name="išľîḓê"/>
            <p:cNvSpPr/>
            <p:nvPr/>
          </p:nvSpPr>
          <p:spPr bwMode="auto">
            <a:xfrm>
              <a:off x="1400968" y="1658144"/>
              <a:ext cx="909638" cy="873125"/>
            </a:xfrm>
            <a:custGeom>
              <a:avLst/>
              <a:gdLst>
                <a:gd name="T0" fmla="*/ 2 w 2865"/>
                <a:gd name="T1" fmla="*/ 1462 h 2749"/>
                <a:gd name="T2" fmla="*/ 13 w 2865"/>
                <a:gd name="T3" fmla="*/ 1871 h 2749"/>
                <a:gd name="T4" fmla="*/ 21 w 2865"/>
                <a:gd name="T5" fmla="*/ 1964 h 2749"/>
                <a:gd name="T6" fmla="*/ 63 w 2865"/>
                <a:gd name="T7" fmla="*/ 2089 h 2749"/>
                <a:gd name="T8" fmla="*/ 156 w 2865"/>
                <a:gd name="T9" fmla="*/ 2294 h 2749"/>
                <a:gd name="T10" fmla="*/ 822 w 2865"/>
                <a:gd name="T11" fmla="*/ 2713 h 2749"/>
                <a:gd name="T12" fmla="*/ 830 w 2865"/>
                <a:gd name="T13" fmla="*/ 2659 h 2749"/>
                <a:gd name="T14" fmla="*/ 852 w 2865"/>
                <a:gd name="T15" fmla="*/ 2610 h 2749"/>
                <a:gd name="T16" fmla="*/ 879 w 2865"/>
                <a:gd name="T17" fmla="*/ 2578 h 2749"/>
                <a:gd name="T18" fmla="*/ 920 w 2865"/>
                <a:gd name="T19" fmla="*/ 2552 h 2749"/>
                <a:gd name="T20" fmla="*/ 974 w 2865"/>
                <a:gd name="T21" fmla="*/ 2536 h 2749"/>
                <a:gd name="T22" fmla="*/ 1102 w 2865"/>
                <a:gd name="T23" fmla="*/ 2530 h 2749"/>
                <a:gd name="T24" fmla="*/ 1378 w 2865"/>
                <a:gd name="T25" fmla="*/ 2527 h 2749"/>
                <a:gd name="T26" fmla="*/ 1675 w 2865"/>
                <a:gd name="T27" fmla="*/ 2525 h 2749"/>
                <a:gd name="T28" fmla="*/ 1879 w 2865"/>
                <a:gd name="T29" fmla="*/ 2525 h 2749"/>
                <a:gd name="T30" fmla="*/ 1950 w 2865"/>
                <a:gd name="T31" fmla="*/ 2543 h 2749"/>
                <a:gd name="T32" fmla="*/ 1985 w 2865"/>
                <a:gd name="T33" fmla="*/ 2571 h 2749"/>
                <a:gd name="T34" fmla="*/ 2014 w 2865"/>
                <a:gd name="T35" fmla="*/ 2612 h 2749"/>
                <a:gd name="T36" fmla="*/ 2046 w 2865"/>
                <a:gd name="T37" fmla="*/ 2705 h 2749"/>
                <a:gd name="T38" fmla="*/ 2137 w 2865"/>
                <a:gd name="T39" fmla="*/ 2689 h 2749"/>
                <a:gd name="T40" fmla="*/ 2534 w 2865"/>
                <a:gd name="T41" fmla="*/ 2411 h 2749"/>
                <a:gd name="T42" fmla="*/ 2675 w 2865"/>
                <a:gd name="T43" fmla="*/ 2315 h 2749"/>
                <a:gd name="T44" fmla="*/ 2723 w 2865"/>
                <a:gd name="T45" fmla="*/ 2246 h 2749"/>
                <a:gd name="T46" fmla="*/ 2790 w 2865"/>
                <a:gd name="T47" fmla="*/ 2108 h 2749"/>
                <a:gd name="T48" fmla="*/ 2865 w 2865"/>
                <a:gd name="T49" fmla="*/ 1921 h 2749"/>
                <a:gd name="T50" fmla="*/ 2844 w 2865"/>
                <a:gd name="T51" fmla="*/ 1157 h 2749"/>
                <a:gd name="T52" fmla="*/ 2791 w 2865"/>
                <a:gd name="T53" fmla="*/ 929 h 2749"/>
                <a:gd name="T54" fmla="*/ 2714 w 2865"/>
                <a:gd name="T55" fmla="*/ 642 h 2749"/>
                <a:gd name="T56" fmla="*/ 2661 w 2865"/>
                <a:gd name="T57" fmla="*/ 480 h 2749"/>
                <a:gd name="T58" fmla="*/ 2618 w 2865"/>
                <a:gd name="T59" fmla="*/ 385 h 2749"/>
                <a:gd name="T60" fmla="*/ 2549 w 2865"/>
                <a:gd name="T61" fmla="*/ 319 h 2749"/>
                <a:gd name="T62" fmla="*/ 2398 w 2865"/>
                <a:gd name="T63" fmla="*/ 250 h 2749"/>
                <a:gd name="T64" fmla="*/ 2183 w 2865"/>
                <a:gd name="T65" fmla="*/ 183 h 2749"/>
                <a:gd name="T66" fmla="*/ 1926 w 2865"/>
                <a:gd name="T67" fmla="*/ 119 h 2749"/>
                <a:gd name="T68" fmla="*/ 1649 w 2865"/>
                <a:gd name="T69" fmla="*/ 66 h 2749"/>
                <a:gd name="T70" fmla="*/ 1374 w 2865"/>
                <a:gd name="T71" fmla="*/ 27 h 2749"/>
                <a:gd name="T72" fmla="*/ 1126 w 2865"/>
                <a:gd name="T73" fmla="*/ 4 h 2749"/>
                <a:gd name="T74" fmla="*/ 925 w 2865"/>
                <a:gd name="T75" fmla="*/ 3 h 2749"/>
                <a:gd name="T76" fmla="*/ 671 w 2865"/>
                <a:gd name="T77" fmla="*/ 34 h 2749"/>
                <a:gd name="T78" fmla="*/ 463 w 2865"/>
                <a:gd name="T79" fmla="*/ 73 h 2749"/>
                <a:gd name="T80" fmla="*/ 365 w 2865"/>
                <a:gd name="T81" fmla="*/ 103 h 2749"/>
                <a:gd name="T82" fmla="*/ 285 w 2865"/>
                <a:gd name="T83" fmla="*/ 141 h 2749"/>
                <a:gd name="T84" fmla="*/ 223 w 2865"/>
                <a:gd name="T85" fmla="*/ 188 h 2749"/>
                <a:gd name="T86" fmla="*/ 181 w 2865"/>
                <a:gd name="T87" fmla="*/ 248 h 2749"/>
                <a:gd name="T88" fmla="*/ 154 w 2865"/>
                <a:gd name="T89" fmla="*/ 347 h 2749"/>
                <a:gd name="T90" fmla="*/ 106 w 2865"/>
                <a:gd name="T91" fmla="*/ 620 h 2749"/>
                <a:gd name="T92" fmla="*/ 52 w 2865"/>
                <a:gd name="T93" fmla="*/ 945 h 2749"/>
                <a:gd name="T94" fmla="*/ 12 w 2865"/>
                <a:gd name="T95" fmla="*/ 1200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65" h="2749">
                  <a:moveTo>
                    <a:pt x="1" y="1272"/>
                  </a:moveTo>
                  <a:lnTo>
                    <a:pt x="0" y="1302"/>
                  </a:lnTo>
                  <a:lnTo>
                    <a:pt x="1" y="1369"/>
                  </a:lnTo>
                  <a:lnTo>
                    <a:pt x="2" y="1462"/>
                  </a:lnTo>
                  <a:lnTo>
                    <a:pt x="4" y="1568"/>
                  </a:lnTo>
                  <a:lnTo>
                    <a:pt x="7" y="1681"/>
                  </a:lnTo>
                  <a:lnTo>
                    <a:pt x="11" y="1784"/>
                  </a:lnTo>
                  <a:lnTo>
                    <a:pt x="13" y="1871"/>
                  </a:lnTo>
                  <a:lnTo>
                    <a:pt x="15" y="1928"/>
                  </a:lnTo>
                  <a:lnTo>
                    <a:pt x="15" y="1938"/>
                  </a:lnTo>
                  <a:lnTo>
                    <a:pt x="17" y="1951"/>
                  </a:lnTo>
                  <a:lnTo>
                    <a:pt x="21" y="1964"/>
                  </a:lnTo>
                  <a:lnTo>
                    <a:pt x="24" y="1980"/>
                  </a:lnTo>
                  <a:lnTo>
                    <a:pt x="35" y="2012"/>
                  </a:lnTo>
                  <a:lnTo>
                    <a:pt x="48" y="2049"/>
                  </a:lnTo>
                  <a:lnTo>
                    <a:pt x="63" y="2089"/>
                  </a:lnTo>
                  <a:lnTo>
                    <a:pt x="81" y="2130"/>
                  </a:lnTo>
                  <a:lnTo>
                    <a:pt x="99" y="2173"/>
                  </a:lnTo>
                  <a:lnTo>
                    <a:pt x="119" y="2215"/>
                  </a:lnTo>
                  <a:lnTo>
                    <a:pt x="156" y="2294"/>
                  </a:lnTo>
                  <a:lnTo>
                    <a:pt x="188" y="2360"/>
                  </a:lnTo>
                  <a:lnTo>
                    <a:pt x="211" y="2406"/>
                  </a:lnTo>
                  <a:lnTo>
                    <a:pt x="220" y="2423"/>
                  </a:lnTo>
                  <a:lnTo>
                    <a:pt x="822" y="2713"/>
                  </a:lnTo>
                  <a:lnTo>
                    <a:pt x="822" y="2706"/>
                  </a:lnTo>
                  <a:lnTo>
                    <a:pt x="824" y="2686"/>
                  </a:lnTo>
                  <a:lnTo>
                    <a:pt x="826" y="2673"/>
                  </a:lnTo>
                  <a:lnTo>
                    <a:pt x="830" y="2659"/>
                  </a:lnTo>
                  <a:lnTo>
                    <a:pt x="836" y="2643"/>
                  </a:lnTo>
                  <a:lnTo>
                    <a:pt x="842" y="2626"/>
                  </a:lnTo>
                  <a:lnTo>
                    <a:pt x="848" y="2617"/>
                  </a:lnTo>
                  <a:lnTo>
                    <a:pt x="852" y="2610"/>
                  </a:lnTo>
                  <a:lnTo>
                    <a:pt x="859" y="2601"/>
                  </a:lnTo>
                  <a:lnTo>
                    <a:pt x="864" y="2593"/>
                  </a:lnTo>
                  <a:lnTo>
                    <a:pt x="872" y="2586"/>
                  </a:lnTo>
                  <a:lnTo>
                    <a:pt x="879" y="2578"/>
                  </a:lnTo>
                  <a:lnTo>
                    <a:pt x="888" y="2572"/>
                  </a:lnTo>
                  <a:lnTo>
                    <a:pt x="898" y="2564"/>
                  </a:lnTo>
                  <a:lnTo>
                    <a:pt x="908" y="2559"/>
                  </a:lnTo>
                  <a:lnTo>
                    <a:pt x="920" y="2552"/>
                  </a:lnTo>
                  <a:lnTo>
                    <a:pt x="932" y="2548"/>
                  </a:lnTo>
                  <a:lnTo>
                    <a:pt x="945" y="2543"/>
                  </a:lnTo>
                  <a:lnTo>
                    <a:pt x="959" y="2539"/>
                  </a:lnTo>
                  <a:lnTo>
                    <a:pt x="974" y="2536"/>
                  </a:lnTo>
                  <a:lnTo>
                    <a:pt x="991" y="2534"/>
                  </a:lnTo>
                  <a:lnTo>
                    <a:pt x="1008" y="2532"/>
                  </a:lnTo>
                  <a:lnTo>
                    <a:pt x="1050" y="2531"/>
                  </a:lnTo>
                  <a:lnTo>
                    <a:pt x="1102" y="2530"/>
                  </a:lnTo>
                  <a:lnTo>
                    <a:pt x="1162" y="2529"/>
                  </a:lnTo>
                  <a:lnTo>
                    <a:pt x="1229" y="2528"/>
                  </a:lnTo>
                  <a:lnTo>
                    <a:pt x="1302" y="2527"/>
                  </a:lnTo>
                  <a:lnTo>
                    <a:pt x="1378" y="2527"/>
                  </a:lnTo>
                  <a:lnTo>
                    <a:pt x="1454" y="2526"/>
                  </a:lnTo>
                  <a:lnTo>
                    <a:pt x="1531" y="2526"/>
                  </a:lnTo>
                  <a:lnTo>
                    <a:pt x="1605" y="2525"/>
                  </a:lnTo>
                  <a:lnTo>
                    <a:pt x="1675" y="2525"/>
                  </a:lnTo>
                  <a:lnTo>
                    <a:pt x="1740" y="2525"/>
                  </a:lnTo>
                  <a:lnTo>
                    <a:pt x="1796" y="2525"/>
                  </a:lnTo>
                  <a:lnTo>
                    <a:pt x="1843" y="2525"/>
                  </a:lnTo>
                  <a:lnTo>
                    <a:pt x="1879" y="2525"/>
                  </a:lnTo>
                  <a:lnTo>
                    <a:pt x="1902" y="2525"/>
                  </a:lnTo>
                  <a:lnTo>
                    <a:pt x="1911" y="2525"/>
                  </a:lnTo>
                  <a:lnTo>
                    <a:pt x="1922" y="2529"/>
                  </a:lnTo>
                  <a:lnTo>
                    <a:pt x="1950" y="2543"/>
                  </a:lnTo>
                  <a:lnTo>
                    <a:pt x="1959" y="2549"/>
                  </a:lnTo>
                  <a:lnTo>
                    <a:pt x="1967" y="2555"/>
                  </a:lnTo>
                  <a:lnTo>
                    <a:pt x="1976" y="2563"/>
                  </a:lnTo>
                  <a:lnTo>
                    <a:pt x="1985" y="2571"/>
                  </a:lnTo>
                  <a:lnTo>
                    <a:pt x="1992" y="2579"/>
                  </a:lnTo>
                  <a:lnTo>
                    <a:pt x="2000" y="2589"/>
                  </a:lnTo>
                  <a:lnTo>
                    <a:pt x="2008" y="2600"/>
                  </a:lnTo>
                  <a:lnTo>
                    <a:pt x="2014" y="2612"/>
                  </a:lnTo>
                  <a:lnTo>
                    <a:pt x="2025" y="2637"/>
                  </a:lnTo>
                  <a:lnTo>
                    <a:pt x="2034" y="2661"/>
                  </a:lnTo>
                  <a:lnTo>
                    <a:pt x="2041" y="2684"/>
                  </a:lnTo>
                  <a:lnTo>
                    <a:pt x="2046" y="2705"/>
                  </a:lnTo>
                  <a:lnTo>
                    <a:pt x="2051" y="2736"/>
                  </a:lnTo>
                  <a:lnTo>
                    <a:pt x="2052" y="2749"/>
                  </a:lnTo>
                  <a:lnTo>
                    <a:pt x="2075" y="2733"/>
                  </a:lnTo>
                  <a:lnTo>
                    <a:pt x="2137" y="2689"/>
                  </a:lnTo>
                  <a:lnTo>
                    <a:pt x="2226" y="2627"/>
                  </a:lnTo>
                  <a:lnTo>
                    <a:pt x="2328" y="2554"/>
                  </a:lnTo>
                  <a:lnTo>
                    <a:pt x="2435" y="2480"/>
                  </a:lnTo>
                  <a:lnTo>
                    <a:pt x="2534" y="2411"/>
                  </a:lnTo>
                  <a:lnTo>
                    <a:pt x="2613" y="2358"/>
                  </a:lnTo>
                  <a:lnTo>
                    <a:pt x="2659" y="2327"/>
                  </a:lnTo>
                  <a:lnTo>
                    <a:pt x="2667" y="2323"/>
                  </a:lnTo>
                  <a:lnTo>
                    <a:pt x="2675" y="2315"/>
                  </a:lnTo>
                  <a:lnTo>
                    <a:pt x="2682" y="2308"/>
                  </a:lnTo>
                  <a:lnTo>
                    <a:pt x="2690" y="2298"/>
                  </a:lnTo>
                  <a:lnTo>
                    <a:pt x="2706" y="2274"/>
                  </a:lnTo>
                  <a:lnTo>
                    <a:pt x="2723" y="2246"/>
                  </a:lnTo>
                  <a:lnTo>
                    <a:pt x="2740" y="2214"/>
                  </a:lnTo>
                  <a:lnTo>
                    <a:pt x="2758" y="2180"/>
                  </a:lnTo>
                  <a:lnTo>
                    <a:pt x="2774" y="2144"/>
                  </a:lnTo>
                  <a:lnTo>
                    <a:pt x="2790" y="2108"/>
                  </a:lnTo>
                  <a:lnTo>
                    <a:pt x="2820" y="2038"/>
                  </a:lnTo>
                  <a:lnTo>
                    <a:pt x="2844" y="1978"/>
                  </a:lnTo>
                  <a:lnTo>
                    <a:pt x="2859" y="1937"/>
                  </a:lnTo>
                  <a:lnTo>
                    <a:pt x="2865" y="1921"/>
                  </a:lnTo>
                  <a:lnTo>
                    <a:pt x="2857" y="1222"/>
                  </a:lnTo>
                  <a:lnTo>
                    <a:pt x="2856" y="1214"/>
                  </a:lnTo>
                  <a:lnTo>
                    <a:pt x="2850" y="1192"/>
                  </a:lnTo>
                  <a:lnTo>
                    <a:pt x="2844" y="1157"/>
                  </a:lnTo>
                  <a:lnTo>
                    <a:pt x="2834" y="1113"/>
                  </a:lnTo>
                  <a:lnTo>
                    <a:pt x="2821" y="1058"/>
                  </a:lnTo>
                  <a:lnTo>
                    <a:pt x="2807" y="996"/>
                  </a:lnTo>
                  <a:lnTo>
                    <a:pt x="2791" y="929"/>
                  </a:lnTo>
                  <a:lnTo>
                    <a:pt x="2774" y="859"/>
                  </a:lnTo>
                  <a:lnTo>
                    <a:pt x="2754" y="786"/>
                  </a:lnTo>
                  <a:lnTo>
                    <a:pt x="2735" y="712"/>
                  </a:lnTo>
                  <a:lnTo>
                    <a:pt x="2714" y="642"/>
                  </a:lnTo>
                  <a:lnTo>
                    <a:pt x="2693" y="573"/>
                  </a:lnTo>
                  <a:lnTo>
                    <a:pt x="2682" y="541"/>
                  </a:lnTo>
                  <a:lnTo>
                    <a:pt x="2671" y="510"/>
                  </a:lnTo>
                  <a:lnTo>
                    <a:pt x="2661" y="480"/>
                  </a:lnTo>
                  <a:lnTo>
                    <a:pt x="2650" y="453"/>
                  </a:lnTo>
                  <a:lnTo>
                    <a:pt x="2640" y="428"/>
                  </a:lnTo>
                  <a:lnTo>
                    <a:pt x="2629" y="406"/>
                  </a:lnTo>
                  <a:lnTo>
                    <a:pt x="2618" y="385"/>
                  </a:lnTo>
                  <a:lnTo>
                    <a:pt x="2608" y="368"/>
                  </a:lnTo>
                  <a:lnTo>
                    <a:pt x="2595" y="352"/>
                  </a:lnTo>
                  <a:lnTo>
                    <a:pt x="2576" y="335"/>
                  </a:lnTo>
                  <a:lnTo>
                    <a:pt x="2549" y="319"/>
                  </a:lnTo>
                  <a:lnTo>
                    <a:pt x="2519" y="301"/>
                  </a:lnTo>
                  <a:lnTo>
                    <a:pt x="2484" y="285"/>
                  </a:lnTo>
                  <a:lnTo>
                    <a:pt x="2443" y="268"/>
                  </a:lnTo>
                  <a:lnTo>
                    <a:pt x="2398" y="250"/>
                  </a:lnTo>
                  <a:lnTo>
                    <a:pt x="2350" y="233"/>
                  </a:lnTo>
                  <a:lnTo>
                    <a:pt x="2298" y="216"/>
                  </a:lnTo>
                  <a:lnTo>
                    <a:pt x="2241" y="199"/>
                  </a:lnTo>
                  <a:lnTo>
                    <a:pt x="2183" y="183"/>
                  </a:lnTo>
                  <a:lnTo>
                    <a:pt x="2121" y="166"/>
                  </a:lnTo>
                  <a:lnTo>
                    <a:pt x="2058" y="150"/>
                  </a:lnTo>
                  <a:lnTo>
                    <a:pt x="1992" y="135"/>
                  </a:lnTo>
                  <a:lnTo>
                    <a:pt x="1926" y="119"/>
                  </a:lnTo>
                  <a:lnTo>
                    <a:pt x="1857" y="105"/>
                  </a:lnTo>
                  <a:lnTo>
                    <a:pt x="1789" y="92"/>
                  </a:lnTo>
                  <a:lnTo>
                    <a:pt x="1719" y="79"/>
                  </a:lnTo>
                  <a:lnTo>
                    <a:pt x="1649" y="66"/>
                  </a:lnTo>
                  <a:lnTo>
                    <a:pt x="1579" y="55"/>
                  </a:lnTo>
                  <a:lnTo>
                    <a:pt x="1510" y="44"/>
                  </a:lnTo>
                  <a:lnTo>
                    <a:pt x="1442" y="34"/>
                  </a:lnTo>
                  <a:lnTo>
                    <a:pt x="1374" y="27"/>
                  </a:lnTo>
                  <a:lnTo>
                    <a:pt x="1309" y="19"/>
                  </a:lnTo>
                  <a:lnTo>
                    <a:pt x="1246" y="12"/>
                  </a:lnTo>
                  <a:lnTo>
                    <a:pt x="1185" y="7"/>
                  </a:lnTo>
                  <a:lnTo>
                    <a:pt x="1126" y="4"/>
                  </a:lnTo>
                  <a:lnTo>
                    <a:pt x="1070" y="2"/>
                  </a:lnTo>
                  <a:lnTo>
                    <a:pt x="1018" y="0"/>
                  </a:lnTo>
                  <a:lnTo>
                    <a:pt x="970" y="0"/>
                  </a:lnTo>
                  <a:lnTo>
                    <a:pt x="925" y="3"/>
                  </a:lnTo>
                  <a:lnTo>
                    <a:pt x="885" y="7"/>
                  </a:lnTo>
                  <a:lnTo>
                    <a:pt x="811" y="16"/>
                  </a:lnTo>
                  <a:lnTo>
                    <a:pt x="739" y="26"/>
                  </a:lnTo>
                  <a:lnTo>
                    <a:pt x="671" y="34"/>
                  </a:lnTo>
                  <a:lnTo>
                    <a:pt x="607" y="44"/>
                  </a:lnTo>
                  <a:lnTo>
                    <a:pt x="547" y="55"/>
                  </a:lnTo>
                  <a:lnTo>
                    <a:pt x="489" y="67"/>
                  </a:lnTo>
                  <a:lnTo>
                    <a:pt x="463" y="73"/>
                  </a:lnTo>
                  <a:lnTo>
                    <a:pt x="437" y="80"/>
                  </a:lnTo>
                  <a:lnTo>
                    <a:pt x="412" y="88"/>
                  </a:lnTo>
                  <a:lnTo>
                    <a:pt x="388" y="95"/>
                  </a:lnTo>
                  <a:lnTo>
                    <a:pt x="365" y="103"/>
                  </a:lnTo>
                  <a:lnTo>
                    <a:pt x="343" y="112"/>
                  </a:lnTo>
                  <a:lnTo>
                    <a:pt x="323" y="120"/>
                  </a:lnTo>
                  <a:lnTo>
                    <a:pt x="304" y="130"/>
                  </a:lnTo>
                  <a:lnTo>
                    <a:pt x="285" y="141"/>
                  </a:lnTo>
                  <a:lnTo>
                    <a:pt x="268" y="152"/>
                  </a:lnTo>
                  <a:lnTo>
                    <a:pt x="252" y="163"/>
                  </a:lnTo>
                  <a:lnTo>
                    <a:pt x="236" y="175"/>
                  </a:lnTo>
                  <a:lnTo>
                    <a:pt x="223" y="188"/>
                  </a:lnTo>
                  <a:lnTo>
                    <a:pt x="210" y="202"/>
                  </a:lnTo>
                  <a:lnTo>
                    <a:pt x="199" y="216"/>
                  </a:lnTo>
                  <a:lnTo>
                    <a:pt x="190" y="232"/>
                  </a:lnTo>
                  <a:lnTo>
                    <a:pt x="181" y="248"/>
                  </a:lnTo>
                  <a:lnTo>
                    <a:pt x="173" y="265"/>
                  </a:lnTo>
                  <a:lnTo>
                    <a:pt x="168" y="283"/>
                  </a:lnTo>
                  <a:lnTo>
                    <a:pt x="162" y="302"/>
                  </a:lnTo>
                  <a:lnTo>
                    <a:pt x="154" y="347"/>
                  </a:lnTo>
                  <a:lnTo>
                    <a:pt x="143" y="404"/>
                  </a:lnTo>
                  <a:lnTo>
                    <a:pt x="132" y="469"/>
                  </a:lnTo>
                  <a:lnTo>
                    <a:pt x="119" y="541"/>
                  </a:lnTo>
                  <a:lnTo>
                    <a:pt x="106" y="620"/>
                  </a:lnTo>
                  <a:lnTo>
                    <a:pt x="93" y="700"/>
                  </a:lnTo>
                  <a:lnTo>
                    <a:pt x="78" y="783"/>
                  </a:lnTo>
                  <a:lnTo>
                    <a:pt x="65" y="865"/>
                  </a:lnTo>
                  <a:lnTo>
                    <a:pt x="52" y="945"/>
                  </a:lnTo>
                  <a:lnTo>
                    <a:pt x="40" y="1020"/>
                  </a:lnTo>
                  <a:lnTo>
                    <a:pt x="29" y="1089"/>
                  </a:lnTo>
                  <a:lnTo>
                    <a:pt x="21" y="1150"/>
                  </a:lnTo>
                  <a:lnTo>
                    <a:pt x="12" y="1200"/>
                  </a:lnTo>
                  <a:lnTo>
                    <a:pt x="6" y="1239"/>
                  </a:lnTo>
                  <a:lnTo>
                    <a:pt x="2" y="1263"/>
                  </a:lnTo>
                  <a:lnTo>
                    <a:pt x="1" y="1272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3" name="işlïḍé"/>
            <p:cNvSpPr/>
            <p:nvPr/>
          </p:nvSpPr>
          <p:spPr bwMode="auto">
            <a:xfrm>
              <a:off x="1351756" y="1404144"/>
              <a:ext cx="1027113" cy="665163"/>
            </a:xfrm>
            <a:custGeom>
              <a:avLst/>
              <a:gdLst>
                <a:gd name="T0" fmla="*/ 194 w 3233"/>
                <a:gd name="T1" fmla="*/ 1942 h 2091"/>
                <a:gd name="T2" fmla="*/ 279 w 3233"/>
                <a:gd name="T3" fmla="*/ 1672 h 2091"/>
                <a:gd name="T4" fmla="*/ 369 w 3233"/>
                <a:gd name="T5" fmla="*/ 1431 h 2091"/>
                <a:gd name="T6" fmla="*/ 522 w 3233"/>
                <a:gd name="T7" fmla="*/ 1098 h 2091"/>
                <a:gd name="T8" fmla="*/ 614 w 3233"/>
                <a:gd name="T9" fmla="*/ 922 h 2091"/>
                <a:gd name="T10" fmla="*/ 662 w 3233"/>
                <a:gd name="T11" fmla="*/ 966 h 2091"/>
                <a:gd name="T12" fmla="*/ 732 w 3233"/>
                <a:gd name="T13" fmla="*/ 1020 h 2091"/>
                <a:gd name="T14" fmla="*/ 822 w 3233"/>
                <a:gd name="T15" fmla="*/ 1070 h 2091"/>
                <a:gd name="T16" fmla="*/ 945 w 3233"/>
                <a:gd name="T17" fmla="*/ 1123 h 2091"/>
                <a:gd name="T18" fmla="*/ 1110 w 3233"/>
                <a:gd name="T19" fmla="*/ 1175 h 2091"/>
                <a:gd name="T20" fmla="*/ 1318 w 3233"/>
                <a:gd name="T21" fmla="*/ 1222 h 2091"/>
                <a:gd name="T22" fmla="*/ 1559 w 3233"/>
                <a:gd name="T23" fmla="*/ 1253 h 2091"/>
                <a:gd name="T24" fmla="*/ 1782 w 3233"/>
                <a:gd name="T25" fmla="*/ 1255 h 2091"/>
                <a:gd name="T26" fmla="*/ 1985 w 3233"/>
                <a:gd name="T27" fmla="*/ 1234 h 2091"/>
                <a:gd name="T28" fmla="*/ 2161 w 3233"/>
                <a:gd name="T29" fmla="*/ 1199 h 2091"/>
                <a:gd name="T30" fmla="*/ 2309 w 3233"/>
                <a:gd name="T31" fmla="*/ 1156 h 2091"/>
                <a:gd name="T32" fmla="*/ 2482 w 3233"/>
                <a:gd name="T33" fmla="*/ 1087 h 2091"/>
                <a:gd name="T34" fmla="*/ 2542 w 3233"/>
                <a:gd name="T35" fmla="*/ 1075 h 2091"/>
                <a:gd name="T36" fmla="*/ 2679 w 3233"/>
                <a:gd name="T37" fmla="*/ 1277 h 2091"/>
                <a:gd name="T38" fmla="*/ 2780 w 3233"/>
                <a:gd name="T39" fmla="*/ 1451 h 2091"/>
                <a:gd name="T40" fmla="*/ 2879 w 3233"/>
                <a:gd name="T41" fmla="*/ 1665 h 2091"/>
                <a:gd name="T42" fmla="*/ 2984 w 3233"/>
                <a:gd name="T43" fmla="*/ 1940 h 2091"/>
                <a:gd name="T44" fmla="*/ 3017 w 3233"/>
                <a:gd name="T45" fmla="*/ 2008 h 2091"/>
                <a:gd name="T46" fmla="*/ 3074 w 3233"/>
                <a:gd name="T47" fmla="*/ 1769 h 2091"/>
                <a:gd name="T48" fmla="*/ 3161 w 3233"/>
                <a:gd name="T49" fmla="*/ 1364 h 2091"/>
                <a:gd name="T50" fmla="*/ 3221 w 3233"/>
                <a:gd name="T51" fmla="*/ 1023 h 2091"/>
                <a:gd name="T52" fmla="*/ 3233 w 3233"/>
                <a:gd name="T53" fmla="*/ 886 h 2091"/>
                <a:gd name="T54" fmla="*/ 3218 w 3233"/>
                <a:gd name="T55" fmla="*/ 804 h 2091"/>
                <a:gd name="T56" fmla="*/ 3167 w 3233"/>
                <a:gd name="T57" fmla="*/ 734 h 2091"/>
                <a:gd name="T58" fmla="*/ 3114 w 3233"/>
                <a:gd name="T59" fmla="*/ 692 h 2091"/>
                <a:gd name="T60" fmla="*/ 3068 w 3233"/>
                <a:gd name="T61" fmla="*/ 670 h 2091"/>
                <a:gd name="T62" fmla="*/ 3041 w 3233"/>
                <a:gd name="T63" fmla="*/ 624 h 2091"/>
                <a:gd name="T64" fmla="*/ 2988 w 3233"/>
                <a:gd name="T65" fmla="*/ 538 h 2091"/>
                <a:gd name="T66" fmla="*/ 2897 w 3233"/>
                <a:gd name="T67" fmla="*/ 423 h 2091"/>
                <a:gd name="T68" fmla="*/ 2764 w 3233"/>
                <a:gd name="T69" fmla="*/ 299 h 2091"/>
                <a:gd name="T70" fmla="*/ 2585 w 3233"/>
                <a:gd name="T71" fmla="*/ 178 h 2091"/>
                <a:gd name="T72" fmla="*/ 2354 w 3233"/>
                <a:gd name="T73" fmla="*/ 78 h 2091"/>
                <a:gd name="T74" fmla="*/ 2067 w 3233"/>
                <a:gd name="T75" fmla="*/ 14 h 2091"/>
                <a:gd name="T76" fmla="*/ 1721 w 3233"/>
                <a:gd name="T77" fmla="*/ 1 h 2091"/>
                <a:gd name="T78" fmla="*/ 1398 w 3233"/>
                <a:gd name="T79" fmla="*/ 13 h 2091"/>
                <a:gd name="T80" fmla="*/ 1130 w 3233"/>
                <a:gd name="T81" fmla="*/ 34 h 2091"/>
                <a:gd name="T82" fmla="*/ 916 w 3233"/>
                <a:gd name="T83" fmla="*/ 66 h 2091"/>
                <a:gd name="T84" fmla="*/ 750 w 3233"/>
                <a:gd name="T85" fmla="*/ 107 h 2091"/>
                <a:gd name="T86" fmla="*/ 631 w 3233"/>
                <a:gd name="T87" fmla="*/ 157 h 2091"/>
                <a:gd name="T88" fmla="*/ 558 w 3233"/>
                <a:gd name="T89" fmla="*/ 219 h 2091"/>
                <a:gd name="T90" fmla="*/ 527 w 3233"/>
                <a:gd name="T91" fmla="*/ 290 h 2091"/>
                <a:gd name="T92" fmla="*/ 546 w 3233"/>
                <a:gd name="T93" fmla="*/ 429 h 2091"/>
                <a:gd name="T94" fmla="*/ 577 w 3233"/>
                <a:gd name="T95" fmla="*/ 623 h 2091"/>
                <a:gd name="T96" fmla="*/ 573 w 3233"/>
                <a:gd name="T97" fmla="*/ 658 h 2091"/>
                <a:gd name="T98" fmla="*/ 475 w 3233"/>
                <a:gd name="T99" fmla="*/ 601 h 2091"/>
                <a:gd name="T100" fmla="*/ 384 w 3233"/>
                <a:gd name="T101" fmla="*/ 563 h 2091"/>
                <a:gd name="T102" fmla="*/ 280 w 3233"/>
                <a:gd name="T103" fmla="*/ 543 h 2091"/>
                <a:gd name="T104" fmla="*/ 179 w 3233"/>
                <a:gd name="T105" fmla="*/ 557 h 2091"/>
                <a:gd name="T106" fmla="*/ 90 w 3233"/>
                <a:gd name="T107" fmla="*/ 622 h 2091"/>
                <a:gd name="T108" fmla="*/ 28 w 3233"/>
                <a:gd name="T109" fmla="*/ 755 h 2091"/>
                <a:gd name="T110" fmla="*/ 2 w 3233"/>
                <a:gd name="T111" fmla="*/ 969 h 2091"/>
                <a:gd name="T112" fmla="*/ 2 w 3233"/>
                <a:gd name="T113" fmla="*/ 1200 h 2091"/>
                <a:gd name="T114" fmla="*/ 16 w 3233"/>
                <a:gd name="T115" fmla="*/ 1416 h 2091"/>
                <a:gd name="T116" fmla="*/ 49 w 3233"/>
                <a:gd name="T117" fmla="*/ 1656 h 2091"/>
                <a:gd name="T118" fmla="*/ 110 w 3233"/>
                <a:gd name="T119" fmla="*/ 1946 h 2091"/>
                <a:gd name="T120" fmla="*/ 150 w 3233"/>
                <a:gd name="T121" fmla="*/ 208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33" h="2091">
                  <a:moveTo>
                    <a:pt x="153" y="2091"/>
                  </a:moveTo>
                  <a:lnTo>
                    <a:pt x="158" y="2072"/>
                  </a:lnTo>
                  <a:lnTo>
                    <a:pt x="172" y="2021"/>
                  </a:lnTo>
                  <a:lnTo>
                    <a:pt x="194" y="1942"/>
                  </a:lnTo>
                  <a:lnTo>
                    <a:pt x="223" y="1843"/>
                  </a:lnTo>
                  <a:lnTo>
                    <a:pt x="241" y="1789"/>
                  </a:lnTo>
                  <a:lnTo>
                    <a:pt x="259" y="1731"/>
                  </a:lnTo>
                  <a:lnTo>
                    <a:pt x="279" y="1672"/>
                  </a:lnTo>
                  <a:lnTo>
                    <a:pt x="300" y="1611"/>
                  </a:lnTo>
                  <a:lnTo>
                    <a:pt x="323" y="1550"/>
                  </a:lnTo>
                  <a:lnTo>
                    <a:pt x="345" y="1490"/>
                  </a:lnTo>
                  <a:lnTo>
                    <a:pt x="369" y="1431"/>
                  </a:lnTo>
                  <a:lnTo>
                    <a:pt x="393" y="1374"/>
                  </a:lnTo>
                  <a:lnTo>
                    <a:pt x="440" y="1269"/>
                  </a:lnTo>
                  <a:lnTo>
                    <a:pt x="484" y="1178"/>
                  </a:lnTo>
                  <a:lnTo>
                    <a:pt x="522" y="1098"/>
                  </a:lnTo>
                  <a:lnTo>
                    <a:pt x="555" y="1033"/>
                  </a:lnTo>
                  <a:lnTo>
                    <a:pt x="581" y="982"/>
                  </a:lnTo>
                  <a:lnTo>
                    <a:pt x="600" y="945"/>
                  </a:lnTo>
                  <a:lnTo>
                    <a:pt x="614" y="922"/>
                  </a:lnTo>
                  <a:lnTo>
                    <a:pt x="618" y="914"/>
                  </a:lnTo>
                  <a:lnTo>
                    <a:pt x="623" y="924"/>
                  </a:lnTo>
                  <a:lnTo>
                    <a:pt x="644" y="949"/>
                  </a:lnTo>
                  <a:lnTo>
                    <a:pt x="662" y="966"/>
                  </a:lnTo>
                  <a:lnTo>
                    <a:pt x="686" y="986"/>
                  </a:lnTo>
                  <a:lnTo>
                    <a:pt x="699" y="997"/>
                  </a:lnTo>
                  <a:lnTo>
                    <a:pt x="715" y="1008"/>
                  </a:lnTo>
                  <a:lnTo>
                    <a:pt x="732" y="1020"/>
                  </a:lnTo>
                  <a:lnTo>
                    <a:pt x="752" y="1032"/>
                  </a:lnTo>
                  <a:lnTo>
                    <a:pt x="773" y="1045"/>
                  </a:lnTo>
                  <a:lnTo>
                    <a:pt x="796" y="1057"/>
                  </a:lnTo>
                  <a:lnTo>
                    <a:pt x="822" y="1070"/>
                  </a:lnTo>
                  <a:lnTo>
                    <a:pt x="849" y="1083"/>
                  </a:lnTo>
                  <a:lnTo>
                    <a:pt x="878" y="1096"/>
                  </a:lnTo>
                  <a:lnTo>
                    <a:pt x="911" y="1109"/>
                  </a:lnTo>
                  <a:lnTo>
                    <a:pt x="945" y="1123"/>
                  </a:lnTo>
                  <a:lnTo>
                    <a:pt x="982" y="1136"/>
                  </a:lnTo>
                  <a:lnTo>
                    <a:pt x="1022" y="1148"/>
                  </a:lnTo>
                  <a:lnTo>
                    <a:pt x="1064" y="1162"/>
                  </a:lnTo>
                  <a:lnTo>
                    <a:pt x="1110" y="1175"/>
                  </a:lnTo>
                  <a:lnTo>
                    <a:pt x="1156" y="1187"/>
                  </a:lnTo>
                  <a:lnTo>
                    <a:pt x="1208" y="1199"/>
                  </a:lnTo>
                  <a:lnTo>
                    <a:pt x="1261" y="1211"/>
                  </a:lnTo>
                  <a:lnTo>
                    <a:pt x="1318" y="1222"/>
                  </a:lnTo>
                  <a:lnTo>
                    <a:pt x="1378" y="1231"/>
                  </a:lnTo>
                  <a:lnTo>
                    <a:pt x="1439" y="1241"/>
                  </a:lnTo>
                  <a:lnTo>
                    <a:pt x="1500" y="1248"/>
                  </a:lnTo>
                  <a:lnTo>
                    <a:pt x="1559" y="1253"/>
                  </a:lnTo>
                  <a:lnTo>
                    <a:pt x="1616" y="1256"/>
                  </a:lnTo>
                  <a:lnTo>
                    <a:pt x="1673" y="1257"/>
                  </a:lnTo>
                  <a:lnTo>
                    <a:pt x="1729" y="1256"/>
                  </a:lnTo>
                  <a:lnTo>
                    <a:pt x="1782" y="1255"/>
                  </a:lnTo>
                  <a:lnTo>
                    <a:pt x="1835" y="1251"/>
                  </a:lnTo>
                  <a:lnTo>
                    <a:pt x="1887" y="1247"/>
                  </a:lnTo>
                  <a:lnTo>
                    <a:pt x="1937" y="1241"/>
                  </a:lnTo>
                  <a:lnTo>
                    <a:pt x="1985" y="1234"/>
                  </a:lnTo>
                  <a:lnTo>
                    <a:pt x="2032" y="1226"/>
                  </a:lnTo>
                  <a:lnTo>
                    <a:pt x="2076" y="1217"/>
                  </a:lnTo>
                  <a:lnTo>
                    <a:pt x="2120" y="1208"/>
                  </a:lnTo>
                  <a:lnTo>
                    <a:pt x="2161" y="1199"/>
                  </a:lnTo>
                  <a:lnTo>
                    <a:pt x="2202" y="1188"/>
                  </a:lnTo>
                  <a:lnTo>
                    <a:pt x="2239" y="1177"/>
                  </a:lnTo>
                  <a:lnTo>
                    <a:pt x="2275" y="1167"/>
                  </a:lnTo>
                  <a:lnTo>
                    <a:pt x="2309" y="1156"/>
                  </a:lnTo>
                  <a:lnTo>
                    <a:pt x="2340" y="1145"/>
                  </a:lnTo>
                  <a:lnTo>
                    <a:pt x="2397" y="1123"/>
                  </a:lnTo>
                  <a:lnTo>
                    <a:pt x="2445" y="1104"/>
                  </a:lnTo>
                  <a:lnTo>
                    <a:pt x="2482" y="1087"/>
                  </a:lnTo>
                  <a:lnTo>
                    <a:pt x="2510" y="1074"/>
                  </a:lnTo>
                  <a:lnTo>
                    <a:pt x="2527" y="1066"/>
                  </a:lnTo>
                  <a:lnTo>
                    <a:pt x="2532" y="1062"/>
                  </a:lnTo>
                  <a:lnTo>
                    <a:pt x="2542" y="1075"/>
                  </a:lnTo>
                  <a:lnTo>
                    <a:pt x="2568" y="1111"/>
                  </a:lnTo>
                  <a:lnTo>
                    <a:pt x="2606" y="1167"/>
                  </a:lnTo>
                  <a:lnTo>
                    <a:pt x="2653" y="1238"/>
                  </a:lnTo>
                  <a:lnTo>
                    <a:pt x="2679" y="1277"/>
                  </a:lnTo>
                  <a:lnTo>
                    <a:pt x="2705" y="1319"/>
                  </a:lnTo>
                  <a:lnTo>
                    <a:pt x="2730" y="1362"/>
                  </a:lnTo>
                  <a:lnTo>
                    <a:pt x="2757" y="1406"/>
                  </a:lnTo>
                  <a:lnTo>
                    <a:pt x="2780" y="1451"/>
                  </a:lnTo>
                  <a:lnTo>
                    <a:pt x="2804" y="1495"/>
                  </a:lnTo>
                  <a:lnTo>
                    <a:pt x="2825" y="1539"/>
                  </a:lnTo>
                  <a:lnTo>
                    <a:pt x="2845" y="1582"/>
                  </a:lnTo>
                  <a:lnTo>
                    <a:pt x="2879" y="1665"/>
                  </a:lnTo>
                  <a:lnTo>
                    <a:pt x="2910" y="1745"/>
                  </a:lnTo>
                  <a:lnTo>
                    <a:pt x="2939" y="1819"/>
                  </a:lnTo>
                  <a:lnTo>
                    <a:pt x="2964" y="1886"/>
                  </a:lnTo>
                  <a:lnTo>
                    <a:pt x="2984" y="1940"/>
                  </a:lnTo>
                  <a:lnTo>
                    <a:pt x="3001" y="1983"/>
                  </a:lnTo>
                  <a:lnTo>
                    <a:pt x="3010" y="2010"/>
                  </a:lnTo>
                  <a:lnTo>
                    <a:pt x="3014" y="2020"/>
                  </a:lnTo>
                  <a:lnTo>
                    <a:pt x="3017" y="2008"/>
                  </a:lnTo>
                  <a:lnTo>
                    <a:pt x="3025" y="1974"/>
                  </a:lnTo>
                  <a:lnTo>
                    <a:pt x="3038" y="1920"/>
                  </a:lnTo>
                  <a:lnTo>
                    <a:pt x="3054" y="1851"/>
                  </a:lnTo>
                  <a:lnTo>
                    <a:pt x="3074" y="1769"/>
                  </a:lnTo>
                  <a:lnTo>
                    <a:pt x="3094" y="1675"/>
                  </a:lnTo>
                  <a:lnTo>
                    <a:pt x="3116" y="1575"/>
                  </a:lnTo>
                  <a:lnTo>
                    <a:pt x="3139" y="1470"/>
                  </a:lnTo>
                  <a:lnTo>
                    <a:pt x="3161" y="1364"/>
                  </a:lnTo>
                  <a:lnTo>
                    <a:pt x="3182" y="1260"/>
                  </a:lnTo>
                  <a:lnTo>
                    <a:pt x="3200" y="1159"/>
                  </a:lnTo>
                  <a:lnTo>
                    <a:pt x="3214" y="1067"/>
                  </a:lnTo>
                  <a:lnTo>
                    <a:pt x="3221" y="1023"/>
                  </a:lnTo>
                  <a:lnTo>
                    <a:pt x="3226" y="984"/>
                  </a:lnTo>
                  <a:lnTo>
                    <a:pt x="3230" y="947"/>
                  </a:lnTo>
                  <a:lnTo>
                    <a:pt x="3232" y="914"/>
                  </a:lnTo>
                  <a:lnTo>
                    <a:pt x="3233" y="886"/>
                  </a:lnTo>
                  <a:lnTo>
                    <a:pt x="3233" y="861"/>
                  </a:lnTo>
                  <a:lnTo>
                    <a:pt x="3231" y="841"/>
                  </a:lnTo>
                  <a:lnTo>
                    <a:pt x="3227" y="827"/>
                  </a:lnTo>
                  <a:lnTo>
                    <a:pt x="3218" y="804"/>
                  </a:lnTo>
                  <a:lnTo>
                    <a:pt x="3206" y="784"/>
                  </a:lnTo>
                  <a:lnTo>
                    <a:pt x="3194" y="766"/>
                  </a:lnTo>
                  <a:lnTo>
                    <a:pt x="3181" y="749"/>
                  </a:lnTo>
                  <a:lnTo>
                    <a:pt x="3167" y="734"/>
                  </a:lnTo>
                  <a:lnTo>
                    <a:pt x="3153" y="721"/>
                  </a:lnTo>
                  <a:lnTo>
                    <a:pt x="3140" y="710"/>
                  </a:lnTo>
                  <a:lnTo>
                    <a:pt x="3127" y="700"/>
                  </a:lnTo>
                  <a:lnTo>
                    <a:pt x="3114" y="692"/>
                  </a:lnTo>
                  <a:lnTo>
                    <a:pt x="3102" y="685"/>
                  </a:lnTo>
                  <a:lnTo>
                    <a:pt x="3091" y="680"/>
                  </a:lnTo>
                  <a:lnTo>
                    <a:pt x="3081" y="675"/>
                  </a:lnTo>
                  <a:lnTo>
                    <a:pt x="3068" y="670"/>
                  </a:lnTo>
                  <a:lnTo>
                    <a:pt x="3063" y="668"/>
                  </a:lnTo>
                  <a:lnTo>
                    <a:pt x="3060" y="660"/>
                  </a:lnTo>
                  <a:lnTo>
                    <a:pt x="3050" y="639"/>
                  </a:lnTo>
                  <a:lnTo>
                    <a:pt x="3041" y="624"/>
                  </a:lnTo>
                  <a:lnTo>
                    <a:pt x="3031" y="605"/>
                  </a:lnTo>
                  <a:lnTo>
                    <a:pt x="3019" y="585"/>
                  </a:lnTo>
                  <a:lnTo>
                    <a:pt x="3004" y="562"/>
                  </a:lnTo>
                  <a:lnTo>
                    <a:pt x="2988" y="538"/>
                  </a:lnTo>
                  <a:lnTo>
                    <a:pt x="2969" y="511"/>
                  </a:lnTo>
                  <a:lnTo>
                    <a:pt x="2947" y="483"/>
                  </a:lnTo>
                  <a:lnTo>
                    <a:pt x="2923" y="454"/>
                  </a:lnTo>
                  <a:lnTo>
                    <a:pt x="2897" y="423"/>
                  </a:lnTo>
                  <a:lnTo>
                    <a:pt x="2868" y="393"/>
                  </a:lnTo>
                  <a:lnTo>
                    <a:pt x="2836" y="361"/>
                  </a:lnTo>
                  <a:lnTo>
                    <a:pt x="2802" y="330"/>
                  </a:lnTo>
                  <a:lnTo>
                    <a:pt x="2764" y="299"/>
                  </a:lnTo>
                  <a:lnTo>
                    <a:pt x="2724" y="267"/>
                  </a:lnTo>
                  <a:lnTo>
                    <a:pt x="2681" y="237"/>
                  </a:lnTo>
                  <a:lnTo>
                    <a:pt x="2634" y="206"/>
                  </a:lnTo>
                  <a:lnTo>
                    <a:pt x="2585" y="178"/>
                  </a:lnTo>
                  <a:lnTo>
                    <a:pt x="2532" y="151"/>
                  </a:lnTo>
                  <a:lnTo>
                    <a:pt x="2476" y="125"/>
                  </a:lnTo>
                  <a:lnTo>
                    <a:pt x="2416" y="99"/>
                  </a:lnTo>
                  <a:lnTo>
                    <a:pt x="2354" y="78"/>
                  </a:lnTo>
                  <a:lnTo>
                    <a:pt x="2288" y="58"/>
                  </a:lnTo>
                  <a:lnTo>
                    <a:pt x="2217" y="41"/>
                  </a:lnTo>
                  <a:lnTo>
                    <a:pt x="2144" y="25"/>
                  </a:lnTo>
                  <a:lnTo>
                    <a:pt x="2067" y="14"/>
                  </a:lnTo>
                  <a:lnTo>
                    <a:pt x="1985" y="6"/>
                  </a:lnTo>
                  <a:lnTo>
                    <a:pt x="1900" y="1"/>
                  </a:lnTo>
                  <a:lnTo>
                    <a:pt x="1810" y="0"/>
                  </a:lnTo>
                  <a:lnTo>
                    <a:pt x="1721" y="1"/>
                  </a:lnTo>
                  <a:lnTo>
                    <a:pt x="1635" y="3"/>
                  </a:lnTo>
                  <a:lnTo>
                    <a:pt x="1552" y="6"/>
                  </a:lnTo>
                  <a:lnTo>
                    <a:pt x="1474" y="9"/>
                  </a:lnTo>
                  <a:lnTo>
                    <a:pt x="1398" y="13"/>
                  </a:lnTo>
                  <a:lnTo>
                    <a:pt x="1326" y="18"/>
                  </a:lnTo>
                  <a:lnTo>
                    <a:pt x="1258" y="22"/>
                  </a:lnTo>
                  <a:lnTo>
                    <a:pt x="1192" y="29"/>
                  </a:lnTo>
                  <a:lnTo>
                    <a:pt x="1130" y="34"/>
                  </a:lnTo>
                  <a:lnTo>
                    <a:pt x="1071" y="42"/>
                  </a:lnTo>
                  <a:lnTo>
                    <a:pt x="1017" y="48"/>
                  </a:lnTo>
                  <a:lnTo>
                    <a:pt x="965" y="57"/>
                  </a:lnTo>
                  <a:lnTo>
                    <a:pt x="916" y="66"/>
                  </a:lnTo>
                  <a:lnTo>
                    <a:pt x="870" y="74"/>
                  </a:lnTo>
                  <a:lnTo>
                    <a:pt x="826" y="85"/>
                  </a:lnTo>
                  <a:lnTo>
                    <a:pt x="787" y="95"/>
                  </a:lnTo>
                  <a:lnTo>
                    <a:pt x="750" y="107"/>
                  </a:lnTo>
                  <a:lnTo>
                    <a:pt x="716" y="118"/>
                  </a:lnTo>
                  <a:lnTo>
                    <a:pt x="684" y="131"/>
                  </a:lnTo>
                  <a:lnTo>
                    <a:pt x="657" y="144"/>
                  </a:lnTo>
                  <a:lnTo>
                    <a:pt x="631" y="157"/>
                  </a:lnTo>
                  <a:lnTo>
                    <a:pt x="609" y="173"/>
                  </a:lnTo>
                  <a:lnTo>
                    <a:pt x="590" y="187"/>
                  </a:lnTo>
                  <a:lnTo>
                    <a:pt x="572" y="203"/>
                  </a:lnTo>
                  <a:lnTo>
                    <a:pt x="558" y="219"/>
                  </a:lnTo>
                  <a:lnTo>
                    <a:pt x="546" y="236"/>
                  </a:lnTo>
                  <a:lnTo>
                    <a:pt x="537" y="253"/>
                  </a:lnTo>
                  <a:lnTo>
                    <a:pt x="531" y="272"/>
                  </a:lnTo>
                  <a:lnTo>
                    <a:pt x="527" y="290"/>
                  </a:lnTo>
                  <a:lnTo>
                    <a:pt x="525" y="310"/>
                  </a:lnTo>
                  <a:lnTo>
                    <a:pt x="526" y="330"/>
                  </a:lnTo>
                  <a:lnTo>
                    <a:pt x="530" y="350"/>
                  </a:lnTo>
                  <a:lnTo>
                    <a:pt x="546" y="429"/>
                  </a:lnTo>
                  <a:lnTo>
                    <a:pt x="558" y="494"/>
                  </a:lnTo>
                  <a:lnTo>
                    <a:pt x="567" y="548"/>
                  </a:lnTo>
                  <a:lnTo>
                    <a:pt x="573" y="591"/>
                  </a:lnTo>
                  <a:lnTo>
                    <a:pt x="577" y="623"/>
                  </a:lnTo>
                  <a:lnTo>
                    <a:pt x="579" y="646"/>
                  </a:lnTo>
                  <a:lnTo>
                    <a:pt x="579" y="659"/>
                  </a:lnTo>
                  <a:lnTo>
                    <a:pt x="580" y="662"/>
                  </a:lnTo>
                  <a:lnTo>
                    <a:pt x="573" y="658"/>
                  </a:lnTo>
                  <a:lnTo>
                    <a:pt x="556" y="647"/>
                  </a:lnTo>
                  <a:lnTo>
                    <a:pt x="530" y="630"/>
                  </a:lnTo>
                  <a:lnTo>
                    <a:pt x="495" y="611"/>
                  </a:lnTo>
                  <a:lnTo>
                    <a:pt x="475" y="601"/>
                  </a:lnTo>
                  <a:lnTo>
                    <a:pt x="453" y="590"/>
                  </a:lnTo>
                  <a:lnTo>
                    <a:pt x="432" y="580"/>
                  </a:lnTo>
                  <a:lnTo>
                    <a:pt x="408" y="572"/>
                  </a:lnTo>
                  <a:lnTo>
                    <a:pt x="384" y="563"/>
                  </a:lnTo>
                  <a:lnTo>
                    <a:pt x="357" y="556"/>
                  </a:lnTo>
                  <a:lnTo>
                    <a:pt x="332" y="550"/>
                  </a:lnTo>
                  <a:lnTo>
                    <a:pt x="306" y="545"/>
                  </a:lnTo>
                  <a:lnTo>
                    <a:pt x="280" y="543"/>
                  </a:lnTo>
                  <a:lnTo>
                    <a:pt x="254" y="543"/>
                  </a:lnTo>
                  <a:lnTo>
                    <a:pt x="229" y="544"/>
                  </a:lnTo>
                  <a:lnTo>
                    <a:pt x="204" y="550"/>
                  </a:lnTo>
                  <a:lnTo>
                    <a:pt x="179" y="557"/>
                  </a:lnTo>
                  <a:lnTo>
                    <a:pt x="155" y="568"/>
                  </a:lnTo>
                  <a:lnTo>
                    <a:pt x="132" y="583"/>
                  </a:lnTo>
                  <a:lnTo>
                    <a:pt x="111" y="600"/>
                  </a:lnTo>
                  <a:lnTo>
                    <a:pt x="90" y="622"/>
                  </a:lnTo>
                  <a:lnTo>
                    <a:pt x="72" y="648"/>
                  </a:lnTo>
                  <a:lnTo>
                    <a:pt x="55" y="678"/>
                  </a:lnTo>
                  <a:lnTo>
                    <a:pt x="40" y="714"/>
                  </a:lnTo>
                  <a:lnTo>
                    <a:pt x="28" y="755"/>
                  </a:lnTo>
                  <a:lnTo>
                    <a:pt x="17" y="801"/>
                  </a:lnTo>
                  <a:lnTo>
                    <a:pt x="10" y="852"/>
                  </a:lnTo>
                  <a:lnTo>
                    <a:pt x="4" y="909"/>
                  </a:lnTo>
                  <a:lnTo>
                    <a:pt x="2" y="969"/>
                  </a:lnTo>
                  <a:lnTo>
                    <a:pt x="0" y="1027"/>
                  </a:lnTo>
                  <a:lnTo>
                    <a:pt x="0" y="1086"/>
                  </a:lnTo>
                  <a:lnTo>
                    <a:pt x="0" y="1143"/>
                  </a:lnTo>
                  <a:lnTo>
                    <a:pt x="2" y="1200"/>
                  </a:lnTo>
                  <a:lnTo>
                    <a:pt x="4" y="1255"/>
                  </a:lnTo>
                  <a:lnTo>
                    <a:pt x="8" y="1310"/>
                  </a:lnTo>
                  <a:lnTo>
                    <a:pt x="12" y="1363"/>
                  </a:lnTo>
                  <a:lnTo>
                    <a:pt x="16" y="1416"/>
                  </a:lnTo>
                  <a:lnTo>
                    <a:pt x="22" y="1467"/>
                  </a:lnTo>
                  <a:lnTo>
                    <a:pt x="28" y="1516"/>
                  </a:lnTo>
                  <a:lnTo>
                    <a:pt x="35" y="1564"/>
                  </a:lnTo>
                  <a:lnTo>
                    <a:pt x="49" y="1656"/>
                  </a:lnTo>
                  <a:lnTo>
                    <a:pt x="64" y="1741"/>
                  </a:lnTo>
                  <a:lnTo>
                    <a:pt x="81" y="1817"/>
                  </a:lnTo>
                  <a:lnTo>
                    <a:pt x="96" y="1886"/>
                  </a:lnTo>
                  <a:lnTo>
                    <a:pt x="110" y="1946"/>
                  </a:lnTo>
                  <a:lnTo>
                    <a:pt x="124" y="1997"/>
                  </a:lnTo>
                  <a:lnTo>
                    <a:pt x="135" y="2037"/>
                  </a:lnTo>
                  <a:lnTo>
                    <a:pt x="145" y="2067"/>
                  </a:lnTo>
                  <a:lnTo>
                    <a:pt x="150" y="2085"/>
                  </a:lnTo>
                  <a:lnTo>
                    <a:pt x="153" y="2091"/>
                  </a:lnTo>
                  <a:close/>
                </a:path>
              </a:pathLst>
            </a:custGeom>
            <a:solidFill>
              <a:srgbClr val="684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4" name="îŝ1ïḓe"/>
            <p:cNvSpPr/>
            <p:nvPr/>
          </p:nvSpPr>
          <p:spPr bwMode="auto">
            <a:xfrm>
              <a:off x="1688306" y="2529682"/>
              <a:ext cx="344488" cy="263525"/>
            </a:xfrm>
            <a:custGeom>
              <a:avLst/>
              <a:gdLst>
                <a:gd name="T0" fmla="*/ 1087 w 1087"/>
                <a:gd name="T1" fmla="*/ 0 h 829"/>
                <a:gd name="T2" fmla="*/ 1086 w 1087"/>
                <a:gd name="T3" fmla="*/ 435 h 829"/>
                <a:gd name="T4" fmla="*/ 1082 w 1087"/>
                <a:gd name="T5" fmla="*/ 478 h 829"/>
                <a:gd name="T6" fmla="*/ 1074 w 1087"/>
                <a:gd name="T7" fmla="*/ 518 h 829"/>
                <a:gd name="T8" fmla="*/ 1062 w 1087"/>
                <a:gd name="T9" fmla="*/ 556 h 829"/>
                <a:gd name="T10" fmla="*/ 1046 w 1087"/>
                <a:gd name="T11" fmla="*/ 593 h 829"/>
                <a:gd name="T12" fmla="*/ 1026 w 1087"/>
                <a:gd name="T13" fmla="*/ 629 h 829"/>
                <a:gd name="T14" fmla="*/ 1004 w 1087"/>
                <a:gd name="T15" fmla="*/ 662 h 829"/>
                <a:gd name="T16" fmla="*/ 979 w 1087"/>
                <a:gd name="T17" fmla="*/ 692 h 829"/>
                <a:gd name="T18" fmla="*/ 951 w 1087"/>
                <a:gd name="T19" fmla="*/ 721 h 829"/>
                <a:gd name="T20" fmla="*/ 920 w 1087"/>
                <a:gd name="T21" fmla="*/ 746 h 829"/>
                <a:gd name="T22" fmla="*/ 887 w 1087"/>
                <a:gd name="T23" fmla="*/ 769 h 829"/>
                <a:gd name="T24" fmla="*/ 852 w 1087"/>
                <a:gd name="T25" fmla="*/ 787 h 829"/>
                <a:gd name="T26" fmla="*/ 815 w 1087"/>
                <a:gd name="T27" fmla="*/ 804 h 829"/>
                <a:gd name="T28" fmla="*/ 775 w 1087"/>
                <a:gd name="T29" fmla="*/ 816 h 829"/>
                <a:gd name="T30" fmla="*/ 735 w 1087"/>
                <a:gd name="T31" fmla="*/ 824 h 829"/>
                <a:gd name="T32" fmla="*/ 694 w 1087"/>
                <a:gd name="T33" fmla="*/ 829 h 829"/>
                <a:gd name="T34" fmla="*/ 614 w 1087"/>
                <a:gd name="T35" fmla="*/ 829 h 829"/>
                <a:gd name="T36" fmla="*/ 663 w 1087"/>
                <a:gd name="T37" fmla="*/ 574 h 829"/>
                <a:gd name="T38" fmla="*/ 675 w 1087"/>
                <a:gd name="T39" fmla="*/ 571 h 829"/>
                <a:gd name="T40" fmla="*/ 685 w 1087"/>
                <a:gd name="T41" fmla="*/ 565 h 829"/>
                <a:gd name="T42" fmla="*/ 693 w 1087"/>
                <a:gd name="T43" fmla="*/ 554 h 829"/>
                <a:gd name="T44" fmla="*/ 695 w 1087"/>
                <a:gd name="T45" fmla="*/ 542 h 829"/>
                <a:gd name="T46" fmla="*/ 694 w 1087"/>
                <a:gd name="T47" fmla="*/ 535 h 829"/>
                <a:gd name="T48" fmla="*/ 689 w 1087"/>
                <a:gd name="T49" fmla="*/ 524 h 829"/>
                <a:gd name="T50" fmla="*/ 681 w 1087"/>
                <a:gd name="T51" fmla="*/ 516 h 829"/>
                <a:gd name="T52" fmla="*/ 669 w 1087"/>
                <a:gd name="T53" fmla="*/ 510 h 829"/>
                <a:gd name="T54" fmla="*/ 409 w 1087"/>
                <a:gd name="T55" fmla="*/ 510 h 829"/>
                <a:gd name="T56" fmla="*/ 396 w 1087"/>
                <a:gd name="T57" fmla="*/ 512 h 829"/>
                <a:gd name="T58" fmla="*/ 386 w 1087"/>
                <a:gd name="T59" fmla="*/ 519 h 829"/>
                <a:gd name="T60" fmla="*/ 380 w 1087"/>
                <a:gd name="T61" fmla="*/ 530 h 829"/>
                <a:gd name="T62" fmla="*/ 377 w 1087"/>
                <a:gd name="T63" fmla="*/ 542 h 829"/>
                <a:gd name="T64" fmla="*/ 378 w 1087"/>
                <a:gd name="T65" fmla="*/ 548 h 829"/>
                <a:gd name="T66" fmla="*/ 382 w 1087"/>
                <a:gd name="T67" fmla="*/ 559 h 829"/>
                <a:gd name="T68" fmla="*/ 391 w 1087"/>
                <a:gd name="T69" fmla="*/ 568 h 829"/>
                <a:gd name="T70" fmla="*/ 403 w 1087"/>
                <a:gd name="T71" fmla="*/ 574 h 829"/>
                <a:gd name="T72" fmla="*/ 468 w 1087"/>
                <a:gd name="T73" fmla="*/ 574 h 829"/>
                <a:gd name="T74" fmla="*/ 416 w 1087"/>
                <a:gd name="T75" fmla="*/ 829 h 829"/>
                <a:gd name="T76" fmla="*/ 373 w 1087"/>
                <a:gd name="T77" fmla="*/ 827 h 829"/>
                <a:gd name="T78" fmla="*/ 332 w 1087"/>
                <a:gd name="T79" fmla="*/ 820 h 829"/>
                <a:gd name="T80" fmla="*/ 293 w 1087"/>
                <a:gd name="T81" fmla="*/ 810 h 829"/>
                <a:gd name="T82" fmla="*/ 254 w 1087"/>
                <a:gd name="T83" fmla="*/ 796 h 829"/>
                <a:gd name="T84" fmla="*/ 218 w 1087"/>
                <a:gd name="T85" fmla="*/ 779 h 829"/>
                <a:gd name="T86" fmla="*/ 184 w 1087"/>
                <a:gd name="T87" fmla="*/ 758 h 829"/>
                <a:gd name="T88" fmla="*/ 152 w 1087"/>
                <a:gd name="T89" fmla="*/ 734 h 829"/>
                <a:gd name="T90" fmla="*/ 123 w 1087"/>
                <a:gd name="T91" fmla="*/ 707 h 829"/>
                <a:gd name="T92" fmla="*/ 95 w 1087"/>
                <a:gd name="T93" fmla="*/ 677 h 829"/>
                <a:gd name="T94" fmla="*/ 71 w 1087"/>
                <a:gd name="T95" fmla="*/ 646 h 829"/>
                <a:gd name="T96" fmla="*/ 51 w 1087"/>
                <a:gd name="T97" fmla="*/ 612 h 829"/>
                <a:gd name="T98" fmla="*/ 33 w 1087"/>
                <a:gd name="T99" fmla="*/ 575 h 829"/>
                <a:gd name="T100" fmla="*/ 20 w 1087"/>
                <a:gd name="T101" fmla="*/ 538 h 829"/>
                <a:gd name="T102" fmla="*/ 9 w 1087"/>
                <a:gd name="T103" fmla="*/ 497 h 829"/>
                <a:gd name="T104" fmla="*/ 3 w 1087"/>
                <a:gd name="T105" fmla="*/ 457 h 829"/>
                <a:gd name="T106" fmla="*/ 0 w 1087"/>
                <a:gd name="T107" fmla="*/ 414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87" h="829">
                  <a:moveTo>
                    <a:pt x="0" y="0"/>
                  </a:moveTo>
                  <a:lnTo>
                    <a:pt x="1087" y="0"/>
                  </a:lnTo>
                  <a:lnTo>
                    <a:pt x="1087" y="414"/>
                  </a:lnTo>
                  <a:lnTo>
                    <a:pt x="1086" y="435"/>
                  </a:lnTo>
                  <a:lnTo>
                    <a:pt x="1085" y="457"/>
                  </a:lnTo>
                  <a:lnTo>
                    <a:pt x="1082" y="478"/>
                  </a:lnTo>
                  <a:lnTo>
                    <a:pt x="1078" y="497"/>
                  </a:lnTo>
                  <a:lnTo>
                    <a:pt x="1074" y="518"/>
                  </a:lnTo>
                  <a:lnTo>
                    <a:pt x="1069" y="538"/>
                  </a:lnTo>
                  <a:lnTo>
                    <a:pt x="1062" y="556"/>
                  </a:lnTo>
                  <a:lnTo>
                    <a:pt x="1055" y="575"/>
                  </a:lnTo>
                  <a:lnTo>
                    <a:pt x="1046" y="593"/>
                  </a:lnTo>
                  <a:lnTo>
                    <a:pt x="1037" y="612"/>
                  </a:lnTo>
                  <a:lnTo>
                    <a:pt x="1026" y="629"/>
                  </a:lnTo>
                  <a:lnTo>
                    <a:pt x="1016" y="646"/>
                  </a:lnTo>
                  <a:lnTo>
                    <a:pt x="1004" y="662"/>
                  </a:lnTo>
                  <a:lnTo>
                    <a:pt x="992" y="677"/>
                  </a:lnTo>
                  <a:lnTo>
                    <a:pt x="979" y="692"/>
                  </a:lnTo>
                  <a:lnTo>
                    <a:pt x="965" y="707"/>
                  </a:lnTo>
                  <a:lnTo>
                    <a:pt x="951" y="721"/>
                  </a:lnTo>
                  <a:lnTo>
                    <a:pt x="936" y="734"/>
                  </a:lnTo>
                  <a:lnTo>
                    <a:pt x="920" y="746"/>
                  </a:lnTo>
                  <a:lnTo>
                    <a:pt x="904" y="758"/>
                  </a:lnTo>
                  <a:lnTo>
                    <a:pt x="887" y="769"/>
                  </a:lnTo>
                  <a:lnTo>
                    <a:pt x="869" y="779"/>
                  </a:lnTo>
                  <a:lnTo>
                    <a:pt x="852" y="787"/>
                  </a:lnTo>
                  <a:lnTo>
                    <a:pt x="833" y="796"/>
                  </a:lnTo>
                  <a:lnTo>
                    <a:pt x="815" y="804"/>
                  </a:lnTo>
                  <a:lnTo>
                    <a:pt x="795" y="810"/>
                  </a:lnTo>
                  <a:lnTo>
                    <a:pt x="775" y="816"/>
                  </a:lnTo>
                  <a:lnTo>
                    <a:pt x="756" y="820"/>
                  </a:lnTo>
                  <a:lnTo>
                    <a:pt x="735" y="824"/>
                  </a:lnTo>
                  <a:lnTo>
                    <a:pt x="714" y="827"/>
                  </a:lnTo>
                  <a:lnTo>
                    <a:pt x="694" y="829"/>
                  </a:lnTo>
                  <a:lnTo>
                    <a:pt x="672" y="829"/>
                  </a:lnTo>
                  <a:lnTo>
                    <a:pt x="614" y="829"/>
                  </a:lnTo>
                  <a:lnTo>
                    <a:pt x="614" y="574"/>
                  </a:lnTo>
                  <a:lnTo>
                    <a:pt x="663" y="574"/>
                  </a:lnTo>
                  <a:lnTo>
                    <a:pt x="669" y="574"/>
                  </a:lnTo>
                  <a:lnTo>
                    <a:pt x="675" y="571"/>
                  </a:lnTo>
                  <a:lnTo>
                    <a:pt x="681" y="568"/>
                  </a:lnTo>
                  <a:lnTo>
                    <a:pt x="685" y="565"/>
                  </a:lnTo>
                  <a:lnTo>
                    <a:pt x="689" y="559"/>
                  </a:lnTo>
                  <a:lnTo>
                    <a:pt x="693" y="554"/>
                  </a:lnTo>
                  <a:lnTo>
                    <a:pt x="694" y="548"/>
                  </a:lnTo>
                  <a:lnTo>
                    <a:pt x="695" y="542"/>
                  </a:lnTo>
                  <a:lnTo>
                    <a:pt x="695" y="542"/>
                  </a:lnTo>
                  <a:lnTo>
                    <a:pt x="694" y="535"/>
                  </a:lnTo>
                  <a:lnTo>
                    <a:pt x="693" y="530"/>
                  </a:lnTo>
                  <a:lnTo>
                    <a:pt x="689" y="524"/>
                  </a:lnTo>
                  <a:lnTo>
                    <a:pt x="685" y="519"/>
                  </a:lnTo>
                  <a:lnTo>
                    <a:pt x="681" y="516"/>
                  </a:lnTo>
                  <a:lnTo>
                    <a:pt x="675" y="512"/>
                  </a:lnTo>
                  <a:lnTo>
                    <a:pt x="669" y="510"/>
                  </a:lnTo>
                  <a:lnTo>
                    <a:pt x="663" y="510"/>
                  </a:lnTo>
                  <a:lnTo>
                    <a:pt x="409" y="510"/>
                  </a:lnTo>
                  <a:lnTo>
                    <a:pt x="403" y="510"/>
                  </a:lnTo>
                  <a:lnTo>
                    <a:pt x="396" y="512"/>
                  </a:lnTo>
                  <a:lnTo>
                    <a:pt x="391" y="516"/>
                  </a:lnTo>
                  <a:lnTo>
                    <a:pt x="386" y="519"/>
                  </a:lnTo>
                  <a:lnTo>
                    <a:pt x="382" y="524"/>
                  </a:lnTo>
                  <a:lnTo>
                    <a:pt x="380" y="530"/>
                  </a:lnTo>
                  <a:lnTo>
                    <a:pt x="378" y="535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8" y="548"/>
                  </a:lnTo>
                  <a:lnTo>
                    <a:pt x="380" y="554"/>
                  </a:lnTo>
                  <a:lnTo>
                    <a:pt x="382" y="559"/>
                  </a:lnTo>
                  <a:lnTo>
                    <a:pt x="386" y="565"/>
                  </a:lnTo>
                  <a:lnTo>
                    <a:pt x="391" y="568"/>
                  </a:lnTo>
                  <a:lnTo>
                    <a:pt x="396" y="571"/>
                  </a:lnTo>
                  <a:lnTo>
                    <a:pt x="403" y="574"/>
                  </a:lnTo>
                  <a:lnTo>
                    <a:pt x="409" y="574"/>
                  </a:lnTo>
                  <a:lnTo>
                    <a:pt x="468" y="574"/>
                  </a:lnTo>
                  <a:lnTo>
                    <a:pt x="468" y="829"/>
                  </a:lnTo>
                  <a:lnTo>
                    <a:pt x="416" y="829"/>
                  </a:lnTo>
                  <a:lnTo>
                    <a:pt x="394" y="829"/>
                  </a:lnTo>
                  <a:lnTo>
                    <a:pt x="373" y="827"/>
                  </a:lnTo>
                  <a:lnTo>
                    <a:pt x="353" y="824"/>
                  </a:lnTo>
                  <a:lnTo>
                    <a:pt x="332" y="820"/>
                  </a:lnTo>
                  <a:lnTo>
                    <a:pt x="312" y="816"/>
                  </a:lnTo>
                  <a:lnTo>
                    <a:pt x="293" y="810"/>
                  </a:lnTo>
                  <a:lnTo>
                    <a:pt x="273" y="804"/>
                  </a:lnTo>
                  <a:lnTo>
                    <a:pt x="254" y="796"/>
                  </a:lnTo>
                  <a:lnTo>
                    <a:pt x="236" y="787"/>
                  </a:lnTo>
                  <a:lnTo>
                    <a:pt x="218" y="779"/>
                  </a:lnTo>
                  <a:lnTo>
                    <a:pt x="201" y="769"/>
                  </a:lnTo>
                  <a:lnTo>
                    <a:pt x="184" y="758"/>
                  </a:lnTo>
                  <a:lnTo>
                    <a:pt x="167" y="746"/>
                  </a:lnTo>
                  <a:lnTo>
                    <a:pt x="152" y="734"/>
                  </a:lnTo>
                  <a:lnTo>
                    <a:pt x="137" y="721"/>
                  </a:lnTo>
                  <a:lnTo>
                    <a:pt x="123" y="707"/>
                  </a:lnTo>
                  <a:lnTo>
                    <a:pt x="108" y="692"/>
                  </a:lnTo>
                  <a:lnTo>
                    <a:pt x="95" y="677"/>
                  </a:lnTo>
                  <a:lnTo>
                    <a:pt x="83" y="662"/>
                  </a:lnTo>
                  <a:lnTo>
                    <a:pt x="71" y="646"/>
                  </a:lnTo>
                  <a:lnTo>
                    <a:pt x="62" y="629"/>
                  </a:lnTo>
                  <a:lnTo>
                    <a:pt x="51" y="612"/>
                  </a:lnTo>
                  <a:lnTo>
                    <a:pt x="42" y="593"/>
                  </a:lnTo>
                  <a:lnTo>
                    <a:pt x="33" y="575"/>
                  </a:lnTo>
                  <a:lnTo>
                    <a:pt x="26" y="556"/>
                  </a:lnTo>
                  <a:lnTo>
                    <a:pt x="20" y="538"/>
                  </a:lnTo>
                  <a:lnTo>
                    <a:pt x="14" y="518"/>
                  </a:lnTo>
                  <a:lnTo>
                    <a:pt x="9" y="497"/>
                  </a:lnTo>
                  <a:lnTo>
                    <a:pt x="6" y="478"/>
                  </a:lnTo>
                  <a:lnTo>
                    <a:pt x="3" y="457"/>
                  </a:lnTo>
                  <a:lnTo>
                    <a:pt x="2" y="435"/>
                  </a:lnTo>
                  <a:lnTo>
                    <a:pt x="0" y="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5" name="îŝḷîďè"/>
            <p:cNvSpPr/>
            <p:nvPr/>
          </p:nvSpPr>
          <p:spPr bwMode="auto">
            <a:xfrm>
              <a:off x="1529556" y="1934369"/>
              <a:ext cx="225425" cy="101600"/>
            </a:xfrm>
            <a:custGeom>
              <a:avLst/>
              <a:gdLst>
                <a:gd name="T0" fmla="*/ 711 w 711"/>
                <a:gd name="T1" fmla="*/ 0 h 323"/>
                <a:gd name="T2" fmla="*/ 711 w 711"/>
                <a:gd name="T3" fmla="*/ 160 h 323"/>
                <a:gd name="T4" fmla="*/ 0 w 711"/>
                <a:gd name="T5" fmla="*/ 323 h 323"/>
                <a:gd name="T6" fmla="*/ 711 w 711"/>
                <a:gd name="T7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1" h="323">
                  <a:moveTo>
                    <a:pt x="711" y="0"/>
                  </a:moveTo>
                  <a:lnTo>
                    <a:pt x="711" y="160"/>
                  </a:lnTo>
                  <a:lnTo>
                    <a:pt x="0" y="323"/>
                  </a:lnTo>
                  <a:lnTo>
                    <a:pt x="71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6" name="ïsḷïḓè"/>
            <p:cNvSpPr/>
            <p:nvPr/>
          </p:nvSpPr>
          <p:spPr bwMode="auto">
            <a:xfrm>
              <a:off x="1701006" y="2539207"/>
              <a:ext cx="312738" cy="142875"/>
            </a:xfrm>
            <a:custGeom>
              <a:avLst/>
              <a:gdLst>
                <a:gd name="T0" fmla="*/ 988 w 988"/>
                <a:gd name="T1" fmla="*/ 0 h 453"/>
                <a:gd name="T2" fmla="*/ 988 w 988"/>
                <a:gd name="T3" fmla="*/ 48 h 453"/>
                <a:gd name="T4" fmla="*/ 984 w 988"/>
                <a:gd name="T5" fmla="*/ 100 h 453"/>
                <a:gd name="T6" fmla="*/ 974 w 988"/>
                <a:gd name="T7" fmla="*/ 161 h 453"/>
                <a:gd name="T8" fmla="*/ 965 w 988"/>
                <a:gd name="T9" fmla="*/ 193 h 453"/>
                <a:gd name="T10" fmla="*/ 954 w 988"/>
                <a:gd name="T11" fmla="*/ 226 h 453"/>
                <a:gd name="T12" fmla="*/ 940 w 988"/>
                <a:gd name="T13" fmla="*/ 259 h 453"/>
                <a:gd name="T14" fmla="*/ 924 w 988"/>
                <a:gd name="T15" fmla="*/ 289 h 453"/>
                <a:gd name="T16" fmla="*/ 903 w 988"/>
                <a:gd name="T17" fmla="*/ 319 h 453"/>
                <a:gd name="T18" fmla="*/ 878 w 988"/>
                <a:gd name="T19" fmla="*/ 346 h 453"/>
                <a:gd name="T20" fmla="*/ 849 w 988"/>
                <a:gd name="T21" fmla="*/ 370 h 453"/>
                <a:gd name="T22" fmla="*/ 816 w 988"/>
                <a:gd name="T23" fmla="*/ 390 h 453"/>
                <a:gd name="T24" fmla="*/ 778 w 988"/>
                <a:gd name="T25" fmla="*/ 405 h 453"/>
                <a:gd name="T26" fmla="*/ 736 w 988"/>
                <a:gd name="T27" fmla="*/ 419 h 453"/>
                <a:gd name="T28" fmla="*/ 693 w 988"/>
                <a:gd name="T29" fmla="*/ 430 h 453"/>
                <a:gd name="T30" fmla="*/ 648 w 988"/>
                <a:gd name="T31" fmla="*/ 439 h 453"/>
                <a:gd name="T32" fmla="*/ 600 w 988"/>
                <a:gd name="T33" fmla="*/ 446 h 453"/>
                <a:gd name="T34" fmla="*/ 552 w 988"/>
                <a:gd name="T35" fmla="*/ 451 h 453"/>
                <a:gd name="T36" fmla="*/ 503 w 988"/>
                <a:gd name="T37" fmla="*/ 453 h 453"/>
                <a:gd name="T38" fmla="*/ 454 w 988"/>
                <a:gd name="T39" fmla="*/ 452 h 453"/>
                <a:gd name="T40" fmla="*/ 406 w 988"/>
                <a:gd name="T41" fmla="*/ 450 h 453"/>
                <a:gd name="T42" fmla="*/ 359 w 988"/>
                <a:gd name="T43" fmla="*/ 445 h 453"/>
                <a:gd name="T44" fmla="*/ 314 w 988"/>
                <a:gd name="T45" fmla="*/ 439 h 453"/>
                <a:gd name="T46" fmla="*/ 270 w 988"/>
                <a:gd name="T47" fmla="*/ 430 h 453"/>
                <a:gd name="T48" fmla="*/ 230 w 988"/>
                <a:gd name="T49" fmla="*/ 419 h 453"/>
                <a:gd name="T50" fmla="*/ 193 w 988"/>
                <a:gd name="T51" fmla="*/ 405 h 453"/>
                <a:gd name="T52" fmla="*/ 159 w 988"/>
                <a:gd name="T53" fmla="*/ 390 h 453"/>
                <a:gd name="T54" fmla="*/ 129 w 988"/>
                <a:gd name="T55" fmla="*/ 372 h 453"/>
                <a:gd name="T56" fmla="*/ 103 w 988"/>
                <a:gd name="T57" fmla="*/ 353 h 453"/>
                <a:gd name="T58" fmla="*/ 81 w 988"/>
                <a:gd name="T59" fmla="*/ 329 h 453"/>
                <a:gd name="T60" fmla="*/ 63 w 988"/>
                <a:gd name="T61" fmla="*/ 301 h 453"/>
                <a:gd name="T62" fmla="*/ 48 w 988"/>
                <a:gd name="T63" fmla="*/ 273 h 453"/>
                <a:gd name="T64" fmla="*/ 35 w 988"/>
                <a:gd name="T65" fmla="*/ 243 h 453"/>
                <a:gd name="T66" fmla="*/ 25 w 988"/>
                <a:gd name="T67" fmla="*/ 212 h 453"/>
                <a:gd name="T68" fmla="*/ 11 w 988"/>
                <a:gd name="T69" fmla="*/ 150 h 453"/>
                <a:gd name="T70" fmla="*/ 3 w 988"/>
                <a:gd name="T71" fmla="*/ 92 h 453"/>
                <a:gd name="T72" fmla="*/ 0 w 988"/>
                <a:gd name="T73" fmla="*/ 45 h 453"/>
                <a:gd name="T74" fmla="*/ 1 w 988"/>
                <a:gd name="T75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88" h="453">
                  <a:moveTo>
                    <a:pt x="1" y="0"/>
                  </a:moveTo>
                  <a:lnTo>
                    <a:pt x="988" y="0"/>
                  </a:lnTo>
                  <a:lnTo>
                    <a:pt x="988" y="14"/>
                  </a:lnTo>
                  <a:lnTo>
                    <a:pt x="988" y="48"/>
                  </a:lnTo>
                  <a:lnTo>
                    <a:pt x="986" y="72"/>
                  </a:lnTo>
                  <a:lnTo>
                    <a:pt x="984" y="100"/>
                  </a:lnTo>
                  <a:lnTo>
                    <a:pt x="980" y="129"/>
                  </a:lnTo>
                  <a:lnTo>
                    <a:pt x="974" y="161"/>
                  </a:lnTo>
                  <a:lnTo>
                    <a:pt x="970" y="177"/>
                  </a:lnTo>
                  <a:lnTo>
                    <a:pt x="965" y="193"/>
                  </a:lnTo>
                  <a:lnTo>
                    <a:pt x="960" y="210"/>
                  </a:lnTo>
                  <a:lnTo>
                    <a:pt x="954" y="226"/>
                  </a:lnTo>
                  <a:lnTo>
                    <a:pt x="948" y="243"/>
                  </a:lnTo>
                  <a:lnTo>
                    <a:pt x="940" y="259"/>
                  </a:lnTo>
                  <a:lnTo>
                    <a:pt x="933" y="274"/>
                  </a:lnTo>
                  <a:lnTo>
                    <a:pt x="924" y="289"/>
                  </a:lnTo>
                  <a:lnTo>
                    <a:pt x="913" y="305"/>
                  </a:lnTo>
                  <a:lnTo>
                    <a:pt x="903" y="319"/>
                  </a:lnTo>
                  <a:lnTo>
                    <a:pt x="891" y="333"/>
                  </a:lnTo>
                  <a:lnTo>
                    <a:pt x="878" y="346"/>
                  </a:lnTo>
                  <a:lnTo>
                    <a:pt x="864" y="358"/>
                  </a:lnTo>
                  <a:lnTo>
                    <a:pt x="849" y="370"/>
                  </a:lnTo>
                  <a:lnTo>
                    <a:pt x="833" y="380"/>
                  </a:lnTo>
                  <a:lnTo>
                    <a:pt x="816" y="390"/>
                  </a:lnTo>
                  <a:lnTo>
                    <a:pt x="798" y="397"/>
                  </a:lnTo>
                  <a:lnTo>
                    <a:pt x="778" y="405"/>
                  </a:lnTo>
                  <a:lnTo>
                    <a:pt x="758" y="413"/>
                  </a:lnTo>
                  <a:lnTo>
                    <a:pt x="736" y="419"/>
                  </a:lnTo>
                  <a:lnTo>
                    <a:pt x="716" y="425"/>
                  </a:lnTo>
                  <a:lnTo>
                    <a:pt x="693" y="430"/>
                  </a:lnTo>
                  <a:lnTo>
                    <a:pt x="671" y="434"/>
                  </a:lnTo>
                  <a:lnTo>
                    <a:pt x="648" y="439"/>
                  </a:lnTo>
                  <a:lnTo>
                    <a:pt x="624" y="443"/>
                  </a:lnTo>
                  <a:lnTo>
                    <a:pt x="600" y="446"/>
                  </a:lnTo>
                  <a:lnTo>
                    <a:pt x="576" y="449"/>
                  </a:lnTo>
                  <a:lnTo>
                    <a:pt x="552" y="451"/>
                  </a:lnTo>
                  <a:lnTo>
                    <a:pt x="528" y="452"/>
                  </a:lnTo>
                  <a:lnTo>
                    <a:pt x="503" y="453"/>
                  </a:lnTo>
                  <a:lnTo>
                    <a:pt x="479" y="453"/>
                  </a:lnTo>
                  <a:lnTo>
                    <a:pt x="454" y="452"/>
                  </a:lnTo>
                  <a:lnTo>
                    <a:pt x="430" y="452"/>
                  </a:lnTo>
                  <a:lnTo>
                    <a:pt x="406" y="450"/>
                  </a:lnTo>
                  <a:lnTo>
                    <a:pt x="382" y="448"/>
                  </a:lnTo>
                  <a:lnTo>
                    <a:pt x="359" y="445"/>
                  </a:lnTo>
                  <a:lnTo>
                    <a:pt x="336" y="442"/>
                  </a:lnTo>
                  <a:lnTo>
                    <a:pt x="314" y="439"/>
                  </a:lnTo>
                  <a:lnTo>
                    <a:pt x="292" y="434"/>
                  </a:lnTo>
                  <a:lnTo>
                    <a:pt x="270" y="430"/>
                  </a:lnTo>
                  <a:lnTo>
                    <a:pt x="249" y="425"/>
                  </a:lnTo>
                  <a:lnTo>
                    <a:pt x="230" y="419"/>
                  </a:lnTo>
                  <a:lnTo>
                    <a:pt x="210" y="413"/>
                  </a:lnTo>
                  <a:lnTo>
                    <a:pt x="193" y="405"/>
                  </a:lnTo>
                  <a:lnTo>
                    <a:pt x="175" y="398"/>
                  </a:lnTo>
                  <a:lnTo>
                    <a:pt x="159" y="390"/>
                  </a:lnTo>
                  <a:lnTo>
                    <a:pt x="144" y="382"/>
                  </a:lnTo>
                  <a:lnTo>
                    <a:pt x="129" y="372"/>
                  </a:lnTo>
                  <a:lnTo>
                    <a:pt x="116" y="364"/>
                  </a:lnTo>
                  <a:lnTo>
                    <a:pt x="103" y="353"/>
                  </a:lnTo>
                  <a:lnTo>
                    <a:pt x="92" y="341"/>
                  </a:lnTo>
                  <a:lnTo>
                    <a:pt x="81" y="329"/>
                  </a:lnTo>
                  <a:lnTo>
                    <a:pt x="73" y="316"/>
                  </a:lnTo>
                  <a:lnTo>
                    <a:pt x="63" y="301"/>
                  </a:lnTo>
                  <a:lnTo>
                    <a:pt x="55" y="287"/>
                  </a:lnTo>
                  <a:lnTo>
                    <a:pt x="48" y="273"/>
                  </a:lnTo>
                  <a:lnTo>
                    <a:pt x="41" y="258"/>
                  </a:lnTo>
                  <a:lnTo>
                    <a:pt x="35" y="243"/>
                  </a:lnTo>
                  <a:lnTo>
                    <a:pt x="29" y="227"/>
                  </a:lnTo>
                  <a:lnTo>
                    <a:pt x="25" y="212"/>
                  </a:lnTo>
                  <a:lnTo>
                    <a:pt x="16" y="180"/>
                  </a:lnTo>
                  <a:lnTo>
                    <a:pt x="11" y="150"/>
                  </a:lnTo>
                  <a:lnTo>
                    <a:pt x="6" y="120"/>
                  </a:lnTo>
                  <a:lnTo>
                    <a:pt x="3" y="92"/>
                  </a:lnTo>
                  <a:lnTo>
                    <a:pt x="1" y="67"/>
                  </a:lnTo>
                  <a:lnTo>
                    <a:pt x="0" y="45"/>
                  </a:lnTo>
                  <a:lnTo>
                    <a:pt x="0" y="1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7" name="í$1ïdê"/>
            <p:cNvSpPr/>
            <p:nvPr/>
          </p:nvSpPr>
          <p:spPr bwMode="auto">
            <a:xfrm>
              <a:off x="1562893" y="2085182"/>
              <a:ext cx="177800" cy="176213"/>
            </a:xfrm>
            <a:custGeom>
              <a:avLst/>
              <a:gdLst>
                <a:gd name="T0" fmla="*/ 307 w 558"/>
                <a:gd name="T1" fmla="*/ 1 h 558"/>
                <a:gd name="T2" fmla="*/ 349 w 558"/>
                <a:gd name="T3" fmla="*/ 8 h 558"/>
                <a:gd name="T4" fmla="*/ 387 w 558"/>
                <a:gd name="T5" fmla="*/ 22 h 558"/>
                <a:gd name="T6" fmla="*/ 423 w 558"/>
                <a:gd name="T7" fmla="*/ 40 h 558"/>
                <a:gd name="T8" fmla="*/ 455 w 558"/>
                <a:gd name="T9" fmla="*/ 63 h 558"/>
                <a:gd name="T10" fmla="*/ 485 w 558"/>
                <a:gd name="T11" fmla="*/ 90 h 558"/>
                <a:gd name="T12" fmla="*/ 510 w 558"/>
                <a:gd name="T13" fmla="*/ 122 h 558"/>
                <a:gd name="T14" fmla="*/ 530 w 558"/>
                <a:gd name="T15" fmla="*/ 158 h 558"/>
                <a:gd name="T16" fmla="*/ 545 w 558"/>
                <a:gd name="T17" fmla="*/ 195 h 558"/>
                <a:gd name="T18" fmla="*/ 555 w 558"/>
                <a:gd name="T19" fmla="*/ 236 h 558"/>
                <a:gd name="T20" fmla="*/ 558 w 558"/>
                <a:gd name="T21" fmla="*/ 279 h 558"/>
                <a:gd name="T22" fmla="*/ 555 w 558"/>
                <a:gd name="T23" fmla="*/ 321 h 558"/>
                <a:gd name="T24" fmla="*/ 545 w 558"/>
                <a:gd name="T25" fmla="*/ 362 h 558"/>
                <a:gd name="T26" fmla="*/ 530 w 558"/>
                <a:gd name="T27" fmla="*/ 400 h 558"/>
                <a:gd name="T28" fmla="*/ 510 w 558"/>
                <a:gd name="T29" fmla="*/ 435 h 558"/>
                <a:gd name="T30" fmla="*/ 485 w 558"/>
                <a:gd name="T31" fmla="*/ 466 h 558"/>
                <a:gd name="T32" fmla="*/ 455 w 558"/>
                <a:gd name="T33" fmla="*/ 494 h 558"/>
                <a:gd name="T34" fmla="*/ 423 w 558"/>
                <a:gd name="T35" fmla="*/ 517 h 558"/>
                <a:gd name="T36" fmla="*/ 387 w 558"/>
                <a:gd name="T37" fmla="*/ 535 h 558"/>
                <a:gd name="T38" fmla="*/ 349 w 558"/>
                <a:gd name="T39" fmla="*/ 548 h 558"/>
                <a:gd name="T40" fmla="*/ 307 w 558"/>
                <a:gd name="T41" fmla="*/ 556 h 558"/>
                <a:gd name="T42" fmla="*/ 264 w 558"/>
                <a:gd name="T43" fmla="*/ 557 h 558"/>
                <a:gd name="T44" fmla="*/ 222 w 558"/>
                <a:gd name="T45" fmla="*/ 552 h 558"/>
                <a:gd name="T46" fmla="*/ 183 w 558"/>
                <a:gd name="T47" fmla="*/ 541 h 558"/>
                <a:gd name="T48" fmla="*/ 146 w 558"/>
                <a:gd name="T49" fmla="*/ 524 h 558"/>
                <a:gd name="T50" fmla="*/ 111 w 558"/>
                <a:gd name="T51" fmla="*/ 502 h 558"/>
                <a:gd name="T52" fmla="*/ 82 w 558"/>
                <a:gd name="T53" fmla="*/ 476 h 558"/>
                <a:gd name="T54" fmla="*/ 54 w 558"/>
                <a:gd name="T55" fmla="*/ 446 h 558"/>
                <a:gd name="T56" fmla="*/ 33 w 558"/>
                <a:gd name="T57" fmla="*/ 412 h 558"/>
                <a:gd name="T58" fmla="*/ 16 w 558"/>
                <a:gd name="T59" fmla="*/ 375 h 558"/>
                <a:gd name="T60" fmla="*/ 5 w 558"/>
                <a:gd name="T61" fmla="*/ 335 h 558"/>
                <a:gd name="T62" fmla="*/ 0 w 558"/>
                <a:gd name="T63" fmla="*/ 293 h 558"/>
                <a:gd name="T64" fmla="*/ 1 w 558"/>
                <a:gd name="T65" fmla="*/ 249 h 558"/>
                <a:gd name="T66" fmla="*/ 9 w 558"/>
                <a:gd name="T67" fmla="*/ 209 h 558"/>
                <a:gd name="T68" fmla="*/ 22 w 558"/>
                <a:gd name="T69" fmla="*/ 170 h 558"/>
                <a:gd name="T70" fmla="*/ 40 w 558"/>
                <a:gd name="T71" fmla="*/ 134 h 558"/>
                <a:gd name="T72" fmla="*/ 63 w 558"/>
                <a:gd name="T73" fmla="*/ 101 h 558"/>
                <a:gd name="T74" fmla="*/ 90 w 558"/>
                <a:gd name="T75" fmla="*/ 72 h 558"/>
                <a:gd name="T76" fmla="*/ 122 w 558"/>
                <a:gd name="T77" fmla="*/ 47 h 558"/>
                <a:gd name="T78" fmla="*/ 158 w 558"/>
                <a:gd name="T79" fmla="*/ 27 h 558"/>
                <a:gd name="T80" fmla="*/ 195 w 558"/>
                <a:gd name="T81" fmla="*/ 12 h 558"/>
                <a:gd name="T82" fmla="*/ 236 w 558"/>
                <a:gd name="T83" fmla="*/ 3 h 558"/>
                <a:gd name="T84" fmla="*/ 279 w 558"/>
                <a:gd name="T85" fmla="*/ 0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lnTo>
                    <a:pt x="293" y="0"/>
                  </a:lnTo>
                  <a:lnTo>
                    <a:pt x="307" y="1"/>
                  </a:lnTo>
                  <a:lnTo>
                    <a:pt x="321" y="3"/>
                  </a:lnTo>
                  <a:lnTo>
                    <a:pt x="334" y="5"/>
                  </a:lnTo>
                  <a:lnTo>
                    <a:pt x="349" y="8"/>
                  </a:lnTo>
                  <a:lnTo>
                    <a:pt x="362" y="12"/>
                  </a:lnTo>
                  <a:lnTo>
                    <a:pt x="375" y="16"/>
                  </a:lnTo>
                  <a:lnTo>
                    <a:pt x="387" y="22"/>
                  </a:lnTo>
                  <a:lnTo>
                    <a:pt x="400" y="27"/>
                  </a:lnTo>
                  <a:lnTo>
                    <a:pt x="412" y="32"/>
                  </a:lnTo>
                  <a:lnTo>
                    <a:pt x="423" y="40"/>
                  </a:lnTo>
                  <a:lnTo>
                    <a:pt x="435" y="47"/>
                  </a:lnTo>
                  <a:lnTo>
                    <a:pt x="446" y="54"/>
                  </a:lnTo>
                  <a:lnTo>
                    <a:pt x="455" y="63"/>
                  </a:lnTo>
                  <a:lnTo>
                    <a:pt x="466" y="72"/>
                  </a:lnTo>
                  <a:lnTo>
                    <a:pt x="476" y="82"/>
                  </a:lnTo>
                  <a:lnTo>
                    <a:pt x="485" y="90"/>
                  </a:lnTo>
                  <a:lnTo>
                    <a:pt x="494" y="101"/>
                  </a:lnTo>
                  <a:lnTo>
                    <a:pt x="502" y="111"/>
                  </a:lnTo>
                  <a:lnTo>
                    <a:pt x="510" y="122"/>
                  </a:lnTo>
                  <a:lnTo>
                    <a:pt x="516" y="134"/>
                  </a:lnTo>
                  <a:lnTo>
                    <a:pt x="524" y="146"/>
                  </a:lnTo>
                  <a:lnTo>
                    <a:pt x="530" y="158"/>
                  </a:lnTo>
                  <a:lnTo>
                    <a:pt x="535" y="170"/>
                  </a:lnTo>
                  <a:lnTo>
                    <a:pt x="540" y="183"/>
                  </a:lnTo>
                  <a:lnTo>
                    <a:pt x="545" y="195"/>
                  </a:lnTo>
                  <a:lnTo>
                    <a:pt x="548" y="209"/>
                  </a:lnTo>
                  <a:lnTo>
                    <a:pt x="551" y="222"/>
                  </a:lnTo>
                  <a:lnTo>
                    <a:pt x="555" y="236"/>
                  </a:lnTo>
                  <a:lnTo>
                    <a:pt x="556" y="249"/>
                  </a:lnTo>
                  <a:lnTo>
                    <a:pt x="557" y="264"/>
                  </a:lnTo>
                  <a:lnTo>
                    <a:pt x="558" y="279"/>
                  </a:lnTo>
                  <a:lnTo>
                    <a:pt x="557" y="293"/>
                  </a:lnTo>
                  <a:lnTo>
                    <a:pt x="556" y="307"/>
                  </a:lnTo>
                  <a:lnTo>
                    <a:pt x="555" y="321"/>
                  </a:lnTo>
                  <a:lnTo>
                    <a:pt x="551" y="335"/>
                  </a:lnTo>
                  <a:lnTo>
                    <a:pt x="548" y="349"/>
                  </a:lnTo>
                  <a:lnTo>
                    <a:pt x="545" y="362"/>
                  </a:lnTo>
                  <a:lnTo>
                    <a:pt x="540" y="375"/>
                  </a:lnTo>
                  <a:lnTo>
                    <a:pt x="535" y="387"/>
                  </a:lnTo>
                  <a:lnTo>
                    <a:pt x="530" y="400"/>
                  </a:lnTo>
                  <a:lnTo>
                    <a:pt x="524" y="412"/>
                  </a:lnTo>
                  <a:lnTo>
                    <a:pt x="516" y="423"/>
                  </a:lnTo>
                  <a:lnTo>
                    <a:pt x="510" y="435"/>
                  </a:lnTo>
                  <a:lnTo>
                    <a:pt x="502" y="446"/>
                  </a:lnTo>
                  <a:lnTo>
                    <a:pt x="494" y="456"/>
                  </a:lnTo>
                  <a:lnTo>
                    <a:pt x="485" y="466"/>
                  </a:lnTo>
                  <a:lnTo>
                    <a:pt x="476" y="476"/>
                  </a:lnTo>
                  <a:lnTo>
                    <a:pt x="466" y="485"/>
                  </a:lnTo>
                  <a:lnTo>
                    <a:pt x="455" y="494"/>
                  </a:lnTo>
                  <a:lnTo>
                    <a:pt x="446" y="502"/>
                  </a:lnTo>
                  <a:lnTo>
                    <a:pt x="435" y="510"/>
                  </a:lnTo>
                  <a:lnTo>
                    <a:pt x="423" y="517"/>
                  </a:lnTo>
                  <a:lnTo>
                    <a:pt x="412" y="524"/>
                  </a:lnTo>
                  <a:lnTo>
                    <a:pt x="400" y="530"/>
                  </a:lnTo>
                  <a:lnTo>
                    <a:pt x="387" y="535"/>
                  </a:lnTo>
                  <a:lnTo>
                    <a:pt x="375" y="541"/>
                  </a:lnTo>
                  <a:lnTo>
                    <a:pt x="362" y="545"/>
                  </a:lnTo>
                  <a:lnTo>
                    <a:pt x="349" y="548"/>
                  </a:lnTo>
                  <a:lnTo>
                    <a:pt x="334" y="552"/>
                  </a:lnTo>
                  <a:lnTo>
                    <a:pt x="321" y="555"/>
                  </a:lnTo>
                  <a:lnTo>
                    <a:pt x="307" y="556"/>
                  </a:lnTo>
                  <a:lnTo>
                    <a:pt x="293" y="557"/>
                  </a:lnTo>
                  <a:lnTo>
                    <a:pt x="279" y="558"/>
                  </a:lnTo>
                  <a:lnTo>
                    <a:pt x="264" y="557"/>
                  </a:lnTo>
                  <a:lnTo>
                    <a:pt x="249" y="556"/>
                  </a:lnTo>
                  <a:lnTo>
                    <a:pt x="236" y="555"/>
                  </a:lnTo>
                  <a:lnTo>
                    <a:pt x="222" y="552"/>
                  </a:lnTo>
                  <a:lnTo>
                    <a:pt x="209" y="548"/>
                  </a:lnTo>
                  <a:lnTo>
                    <a:pt x="195" y="545"/>
                  </a:lnTo>
                  <a:lnTo>
                    <a:pt x="183" y="541"/>
                  </a:lnTo>
                  <a:lnTo>
                    <a:pt x="170" y="535"/>
                  </a:lnTo>
                  <a:lnTo>
                    <a:pt x="158" y="530"/>
                  </a:lnTo>
                  <a:lnTo>
                    <a:pt x="146" y="524"/>
                  </a:lnTo>
                  <a:lnTo>
                    <a:pt x="134" y="517"/>
                  </a:lnTo>
                  <a:lnTo>
                    <a:pt x="122" y="510"/>
                  </a:lnTo>
                  <a:lnTo>
                    <a:pt x="111" y="502"/>
                  </a:lnTo>
                  <a:lnTo>
                    <a:pt x="101" y="494"/>
                  </a:lnTo>
                  <a:lnTo>
                    <a:pt x="90" y="485"/>
                  </a:lnTo>
                  <a:lnTo>
                    <a:pt x="82" y="476"/>
                  </a:lnTo>
                  <a:lnTo>
                    <a:pt x="72" y="466"/>
                  </a:lnTo>
                  <a:lnTo>
                    <a:pt x="63" y="456"/>
                  </a:lnTo>
                  <a:lnTo>
                    <a:pt x="54" y="446"/>
                  </a:lnTo>
                  <a:lnTo>
                    <a:pt x="47" y="435"/>
                  </a:lnTo>
                  <a:lnTo>
                    <a:pt x="40" y="423"/>
                  </a:lnTo>
                  <a:lnTo>
                    <a:pt x="33" y="412"/>
                  </a:lnTo>
                  <a:lnTo>
                    <a:pt x="27" y="400"/>
                  </a:lnTo>
                  <a:lnTo>
                    <a:pt x="22" y="387"/>
                  </a:lnTo>
                  <a:lnTo>
                    <a:pt x="16" y="375"/>
                  </a:lnTo>
                  <a:lnTo>
                    <a:pt x="12" y="362"/>
                  </a:lnTo>
                  <a:lnTo>
                    <a:pt x="9" y="349"/>
                  </a:lnTo>
                  <a:lnTo>
                    <a:pt x="5" y="335"/>
                  </a:lnTo>
                  <a:lnTo>
                    <a:pt x="3" y="321"/>
                  </a:lnTo>
                  <a:lnTo>
                    <a:pt x="1" y="307"/>
                  </a:lnTo>
                  <a:lnTo>
                    <a:pt x="0" y="293"/>
                  </a:lnTo>
                  <a:lnTo>
                    <a:pt x="0" y="279"/>
                  </a:lnTo>
                  <a:lnTo>
                    <a:pt x="0" y="264"/>
                  </a:lnTo>
                  <a:lnTo>
                    <a:pt x="1" y="249"/>
                  </a:lnTo>
                  <a:lnTo>
                    <a:pt x="3" y="236"/>
                  </a:lnTo>
                  <a:lnTo>
                    <a:pt x="5" y="222"/>
                  </a:lnTo>
                  <a:lnTo>
                    <a:pt x="9" y="209"/>
                  </a:lnTo>
                  <a:lnTo>
                    <a:pt x="12" y="195"/>
                  </a:lnTo>
                  <a:lnTo>
                    <a:pt x="16" y="183"/>
                  </a:lnTo>
                  <a:lnTo>
                    <a:pt x="22" y="170"/>
                  </a:lnTo>
                  <a:lnTo>
                    <a:pt x="27" y="158"/>
                  </a:lnTo>
                  <a:lnTo>
                    <a:pt x="33" y="146"/>
                  </a:lnTo>
                  <a:lnTo>
                    <a:pt x="40" y="134"/>
                  </a:lnTo>
                  <a:lnTo>
                    <a:pt x="47" y="122"/>
                  </a:lnTo>
                  <a:lnTo>
                    <a:pt x="54" y="111"/>
                  </a:lnTo>
                  <a:lnTo>
                    <a:pt x="63" y="101"/>
                  </a:lnTo>
                  <a:lnTo>
                    <a:pt x="72" y="90"/>
                  </a:lnTo>
                  <a:lnTo>
                    <a:pt x="82" y="82"/>
                  </a:lnTo>
                  <a:lnTo>
                    <a:pt x="90" y="72"/>
                  </a:lnTo>
                  <a:lnTo>
                    <a:pt x="101" y="63"/>
                  </a:lnTo>
                  <a:lnTo>
                    <a:pt x="111" y="54"/>
                  </a:lnTo>
                  <a:lnTo>
                    <a:pt x="122" y="47"/>
                  </a:lnTo>
                  <a:lnTo>
                    <a:pt x="134" y="40"/>
                  </a:lnTo>
                  <a:lnTo>
                    <a:pt x="146" y="32"/>
                  </a:lnTo>
                  <a:lnTo>
                    <a:pt x="158" y="27"/>
                  </a:lnTo>
                  <a:lnTo>
                    <a:pt x="170" y="22"/>
                  </a:lnTo>
                  <a:lnTo>
                    <a:pt x="183" y="16"/>
                  </a:lnTo>
                  <a:lnTo>
                    <a:pt x="195" y="12"/>
                  </a:lnTo>
                  <a:lnTo>
                    <a:pt x="209" y="8"/>
                  </a:lnTo>
                  <a:lnTo>
                    <a:pt x="222" y="5"/>
                  </a:lnTo>
                  <a:lnTo>
                    <a:pt x="236" y="3"/>
                  </a:lnTo>
                  <a:lnTo>
                    <a:pt x="249" y="1"/>
                  </a:lnTo>
                  <a:lnTo>
                    <a:pt x="264" y="0"/>
                  </a:lnTo>
                  <a:lnTo>
                    <a:pt x="2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8" name="iş1îḑé"/>
            <p:cNvSpPr/>
            <p:nvPr/>
          </p:nvSpPr>
          <p:spPr bwMode="auto">
            <a:xfrm>
              <a:off x="1600993" y="2123282"/>
              <a:ext cx="100013" cy="100013"/>
            </a:xfrm>
            <a:custGeom>
              <a:avLst/>
              <a:gdLst>
                <a:gd name="T0" fmla="*/ 172 w 313"/>
                <a:gd name="T1" fmla="*/ 1 h 313"/>
                <a:gd name="T2" fmla="*/ 203 w 313"/>
                <a:gd name="T3" fmla="*/ 6 h 313"/>
                <a:gd name="T4" fmla="*/ 231 w 313"/>
                <a:gd name="T5" fmla="*/ 18 h 313"/>
                <a:gd name="T6" fmla="*/ 256 w 313"/>
                <a:gd name="T7" fmla="*/ 36 h 313"/>
                <a:gd name="T8" fmla="*/ 277 w 313"/>
                <a:gd name="T9" fmla="*/ 57 h 313"/>
                <a:gd name="T10" fmla="*/ 294 w 313"/>
                <a:gd name="T11" fmla="*/ 82 h 313"/>
                <a:gd name="T12" fmla="*/ 306 w 313"/>
                <a:gd name="T13" fmla="*/ 110 h 313"/>
                <a:gd name="T14" fmla="*/ 312 w 313"/>
                <a:gd name="T15" fmla="*/ 141 h 313"/>
                <a:gd name="T16" fmla="*/ 312 w 313"/>
                <a:gd name="T17" fmla="*/ 172 h 313"/>
                <a:gd name="T18" fmla="*/ 306 w 313"/>
                <a:gd name="T19" fmla="*/ 203 h 313"/>
                <a:gd name="T20" fmla="*/ 294 w 313"/>
                <a:gd name="T21" fmla="*/ 231 h 313"/>
                <a:gd name="T22" fmla="*/ 277 w 313"/>
                <a:gd name="T23" fmla="*/ 256 h 313"/>
                <a:gd name="T24" fmla="*/ 256 w 313"/>
                <a:gd name="T25" fmla="*/ 277 h 313"/>
                <a:gd name="T26" fmla="*/ 231 w 313"/>
                <a:gd name="T27" fmla="*/ 294 h 313"/>
                <a:gd name="T28" fmla="*/ 203 w 313"/>
                <a:gd name="T29" fmla="*/ 306 h 313"/>
                <a:gd name="T30" fmla="*/ 172 w 313"/>
                <a:gd name="T31" fmla="*/ 312 h 313"/>
                <a:gd name="T32" fmla="*/ 140 w 313"/>
                <a:gd name="T33" fmla="*/ 312 h 313"/>
                <a:gd name="T34" fmla="*/ 110 w 313"/>
                <a:gd name="T35" fmla="*/ 306 h 313"/>
                <a:gd name="T36" fmla="*/ 82 w 313"/>
                <a:gd name="T37" fmla="*/ 294 h 313"/>
                <a:gd name="T38" fmla="*/ 57 w 313"/>
                <a:gd name="T39" fmla="*/ 277 h 313"/>
                <a:gd name="T40" fmla="*/ 36 w 313"/>
                <a:gd name="T41" fmla="*/ 256 h 313"/>
                <a:gd name="T42" fmla="*/ 18 w 313"/>
                <a:gd name="T43" fmla="*/ 231 h 313"/>
                <a:gd name="T44" fmla="*/ 6 w 313"/>
                <a:gd name="T45" fmla="*/ 203 h 313"/>
                <a:gd name="T46" fmla="*/ 1 w 313"/>
                <a:gd name="T47" fmla="*/ 172 h 313"/>
                <a:gd name="T48" fmla="*/ 1 w 313"/>
                <a:gd name="T49" fmla="*/ 141 h 313"/>
                <a:gd name="T50" fmla="*/ 6 w 313"/>
                <a:gd name="T51" fmla="*/ 110 h 313"/>
                <a:gd name="T52" fmla="*/ 18 w 313"/>
                <a:gd name="T53" fmla="*/ 82 h 313"/>
                <a:gd name="T54" fmla="*/ 36 w 313"/>
                <a:gd name="T55" fmla="*/ 57 h 313"/>
                <a:gd name="T56" fmla="*/ 57 w 313"/>
                <a:gd name="T57" fmla="*/ 36 h 313"/>
                <a:gd name="T58" fmla="*/ 82 w 313"/>
                <a:gd name="T59" fmla="*/ 18 h 313"/>
                <a:gd name="T60" fmla="*/ 110 w 313"/>
                <a:gd name="T61" fmla="*/ 6 h 313"/>
                <a:gd name="T62" fmla="*/ 140 w 313"/>
                <a:gd name="T63" fmla="*/ 1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3" h="313">
                  <a:moveTo>
                    <a:pt x="157" y="0"/>
                  </a:moveTo>
                  <a:lnTo>
                    <a:pt x="172" y="1"/>
                  </a:lnTo>
                  <a:lnTo>
                    <a:pt x="187" y="3"/>
                  </a:lnTo>
                  <a:lnTo>
                    <a:pt x="203" y="6"/>
                  </a:lnTo>
                  <a:lnTo>
                    <a:pt x="217" y="12"/>
                  </a:lnTo>
                  <a:lnTo>
                    <a:pt x="231" y="18"/>
                  </a:lnTo>
                  <a:lnTo>
                    <a:pt x="244" y="26"/>
                  </a:lnTo>
                  <a:lnTo>
                    <a:pt x="256" y="36"/>
                  </a:lnTo>
                  <a:lnTo>
                    <a:pt x="267" y="46"/>
                  </a:lnTo>
                  <a:lnTo>
                    <a:pt x="277" y="57"/>
                  </a:lnTo>
                  <a:lnTo>
                    <a:pt x="287" y="69"/>
                  </a:lnTo>
                  <a:lnTo>
                    <a:pt x="294" y="82"/>
                  </a:lnTo>
                  <a:lnTo>
                    <a:pt x="301" y="96"/>
                  </a:lnTo>
                  <a:lnTo>
                    <a:pt x="306" y="110"/>
                  </a:lnTo>
                  <a:lnTo>
                    <a:pt x="309" y="125"/>
                  </a:lnTo>
                  <a:lnTo>
                    <a:pt x="312" y="141"/>
                  </a:lnTo>
                  <a:lnTo>
                    <a:pt x="313" y="157"/>
                  </a:lnTo>
                  <a:lnTo>
                    <a:pt x="312" y="172"/>
                  </a:lnTo>
                  <a:lnTo>
                    <a:pt x="309" y="187"/>
                  </a:lnTo>
                  <a:lnTo>
                    <a:pt x="306" y="203"/>
                  </a:lnTo>
                  <a:lnTo>
                    <a:pt x="301" y="217"/>
                  </a:lnTo>
                  <a:lnTo>
                    <a:pt x="294" y="231"/>
                  </a:lnTo>
                  <a:lnTo>
                    <a:pt x="287" y="244"/>
                  </a:lnTo>
                  <a:lnTo>
                    <a:pt x="277" y="256"/>
                  </a:lnTo>
                  <a:lnTo>
                    <a:pt x="267" y="267"/>
                  </a:lnTo>
                  <a:lnTo>
                    <a:pt x="256" y="277"/>
                  </a:lnTo>
                  <a:lnTo>
                    <a:pt x="244" y="287"/>
                  </a:lnTo>
                  <a:lnTo>
                    <a:pt x="231" y="294"/>
                  </a:lnTo>
                  <a:lnTo>
                    <a:pt x="217" y="301"/>
                  </a:lnTo>
                  <a:lnTo>
                    <a:pt x="203" y="306"/>
                  </a:lnTo>
                  <a:lnTo>
                    <a:pt x="187" y="310"/>
                  </a:lnTo>
                  <a:lnTo>
                    <a:pt x="172" y="312"/>
                  </a:lnTo>
                  <a:lnTo>
                    <a:pt x="157" y="313"/>
                  </a:lnTo>
                  <a:lnTo>
                    <a:pt x="140" y="312"/>
                  </a:lnTo>
                  <a:lnTo>
                    <a:pt x="125" y="310"/>
                  </a:lnTo>
                  <a:lnTo>
                    <a:pt x="110" y="306"/>
                  </a:lnTo>
                  <a:lnTo>
                    <a:pt x="96" y="301"/>
                  </a:lnTo>
                  <a:lnTo>
                    <a:pt x="82" y="294"/>
                  </a:lnTo>
                  <a:lnTo>
                    <a:pt x="69" y="287"/>
                  </a:lnTo>
                  <a:lnTo>
                    <a:pt x="57" y="277"/>
                  </a:lnTo>
                  <a:lnTo>
                    <a:pt x="46" y="267"/>
                  </a:lnTo>
                  <a:lnTo>
                    <a:pt x="36" y="256"/>
                  </a:lnTo>
                  <a:lnTo>
                    <a:pt x="26" y="244"/>
                  </a:lnTo>
                  <a:lnTo>
                    <a:pt x="18" y="231"/>
                  </a:lnTo>
                  <a:lnTo>
                    <a:pt x="12" y="217"/>
                  </a:lnTo>
                  <a:lnTo>
                    <a:pt x="6" y="203"/>
                  </a:lnTo>
                  <a:lnTo>
                    <a:pt x="3" y="187"/>
                  </a:lnTo>
                  <a:lnTo>
                    <a:pt x="1" y="172"/>
                  </a:lnTo>
                  <a:lnTo>
                    <a:pt x="0" y="157"/>
                  </a:lnTo>
                  <a:lnTo>
                    <a:pt x="1" y="141"/>
                  </a:lnTo>
                  <a:lnTo>
                    <a:pt x="3" y="125"/>
                  </a:lnTo>
                  <a:lnTo>
                    <a:pt x="6" y="110"/>
                  </a:lnTo>
                  <a:lnTo>
                    <a:pt x="12" y="96"/>
                  </a:lnTo>
                  <a:lnTo>
                    <a:pt x="18" y="82"/>
                  </a:lnTo>
                  <a:lnTo>
                    <a:pt x="26" y="69"/>
                  </a:lnTo>
                  <a:lnTo>
                    <a:pt x="36" y="57"/>
                  </a:lnTo>
                  <a:lnTo>
                    <a:pt x="46" y="46"/>
                  </a:lnTo>
                  <a:lnTo>
                    <a:pt x="57" y="36"/>
                  </a:lnTo>
                  <a:lnTo>
                    <a:pt x="69" y="26"/>
                  </a:lnTo>
                  <a:lnTo>
                    <a:pt x="82" y="18"/>
                  </a:lnTo>
                  <a:lnTo>
                    <a:pt x="96" y="12"/>
                  </a:lnTo>
                  <a:lnTo>
                    <a:pt x="110" y="6"/>
                  </a:lnTo>
                  <a:lnTo>
                    <a:pt x="125" y="3"/>
                  </a:lnTo>
                  <a:lnTo>
                    <a:pt x="140" y="1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9" name="íS1idé"/>
            <p:cNvSpPr/>
            <p:nvPr/>
          </p:nvSpPr>
          <p:spPr bwMode="auto">
            <a:xfrm>
              <a:off x="1654968" y="2139157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36 w 60"/>
                <a:gd name="T3" fmla="*/ 0 h 60"/>
                <a:gd name="T4" fmla="*/ 41 w 60"/>
                <a:gd name="T5" fmla="*/ 2 h 60"/>
                <a:gd name="T6" fmla="*/ 47 w 60"/>
                <a:gd name="T7" fmla="*/ 4 h 60"/>
                <a:gd name="T8" fmla="*/ 51 w 60"/>
                <a:gd name="T9" fmla="*/ 9 h 60"/>
                <a:gd name="T10" fmla="*/ 56 w 60"/>
                <a:gd name="T11" fmla="*/ 13 h 60"/>
                <a:gd name="T12" fmla="*/ 58 w 60"/>
                <a:gd name="T13" fmla="*/ 19 h 60"/>
                <a:gd name="T14" fmla="*/ 60 w 60"/>
                <a:gd name="T15" fmla="*/ 24 h 60"/>
                <a:gd name="T16" fmla="*/ 60 w 60"/>
                <a:gd name="T17" fmla="*/ 29 h 60"/>
                <a:gd name="T18" fmla="*/ 60 w 60"/>
                <a:gd name="T19" fmla="*/ 36 h 60"/>
                <a:gd name="T20" fmla="*/ 58 w 60"/>
                <a:gd name="T21" fmla="*/ 41 h 60"/>
                <a:gd name="T22" fmla="*/ 56 w 60"/>
                <a:gd name="T23" fmla="*/ 47 h 60"/>
                <a:gd name="T24" fmla="*/ 51 w 60"/>
                <a:gd name="T25" fmla="*/ 51 h 60"/>
                <a:gd name="T26" fmla="*/ 47 w 60"/>
                <a:gd name="T27" fmla="*/ 55 h 60"/>
                <a:gd name="T28" fmla="*/ 41 w 60"/>
                <a:gd name="T29" fmla="*/ 58 h 60"/>
                <a:gd name="T30" fmla="*/ 36 w 60"/>
                <a:gd name="T31" fmla="*/ 59 h 60"/>
                <a:gd name="T32" fmla="*/ 30 w 60"/>
                <a:gd name="T33" fmla="*/ 60 h 60"/>
                <a:gd name="T34" fmla="*/ 24 w 60"/>
                <a:gd name="T35" fmla="*/ 59 h 60"/>
                <a:gd name="T36" fmla="*/ 18 w 60"/>
                <a:gd name="T37" fmla="*/ 58 h 60"/>
                <a:gd name="T38" fmla="*/ 13 w 60"/>
                <a:gd name="T39" fmla="*/ 55 h 60"/>
                <a:gd name="T40" fmla="*/ 9 w 60"/>
                <a:gd name="T41" fmla="*/ 51 h 60"/>
                <a:gd name="T42" fmla="*/ 5 w 60"/>
                <a:gd name="T43" fmla="*/ 47 h 60"/>
                <a:gd name="T44" fmla="*/ 2 w 60"/>
                <a:gd name="T45" fmla="*/ 41 h 60"/>
                <a:gd name="T46" fmla="*/ 1 w 60"/>
                <a:gd name="T47" fmla="*/ 36 h 60"/>
                <a:gd name="T48" fmla="*/ 0 w 60"/>
                <a:gd name="T49" fmla="*/ 29 h 60"/>
                <a:gd name="T50" fmla="*/ 1 w 60"/>
                <a:gd name="T51" fmla="*/ 24 h 60"/>
                <a:gd name="T52" fmla="*/ 2 w 60"/>
                <a:gd name="T53" fmla="*/ 19 h 60"/>
                <a:gd name="T54" fmla="*/ 5 w 60"/>
                <a:gd name="T55" fmla="*/ 13 h 60"/>
                <a:gd name="T56" fmla="*/ 9 w 60"/>
                <a:gd name="T57" fmla="*/ 9 h 60"/>
                <a:gd name="T58" fmla="*/ 13 w 60"/>
                <a:gd name="T59" fmla="*/ 4 h 60"/>
                <a:gd name="T60" fmla="*/ 18 w 60"/>
                <a:gd name="T61" fmla="*/ 2 h 60"/>
                <a:gd name="T62" fmla="*/ 24 w 60"/>
                <a:gd name="T63" fmla="*/ 0 h 60"/>
                <a:gd name="T64" fmla="*/ 30 w 60"/>
                <a:gd name="T6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36" y="0"/>
                  </a:lnTo>
                  <a:lnTo>
                    <a:pt x="41" y="2"/>
                  </a:lnTo>
                  <a:lnTo>
                    <a:pt x="47" y="4"/>
                  </a:lnTo>
                  <a:lnTo>
                    <a:pt x="51" y="9"/>
                  </a:lnTo>
                  <a:lnTo>
                    <a:pt x="56" y="13"/>
                  </a:lnTo>
                  <a:lnTo>
                    <a:pt x="58" y="19"/>
                  </a:lnTo>
                  <a:lnTo>
                    <a:pt x="60" y="24"/>
                  </a:lnTo>
                  <a:lnTo>
                    <a:pt x="60" y="29"/>
                  </a:lnTo>
                  <a:lnTo>
                    <a:pt x="60" y="36"/>
                  </a:lnTo>
                  <a:lnTo>
                    <a:pt x="58" y="41"/>
                  </a:lnTo>
                  <a:lnTo>
                    <a:pt x="56" y="47"/>
                  </a:lnTo>
                  <a:lnTo>
                    <a:pt x="51" y="51"/>
                  </a:lnTo>
                  <a:lnTo>
                    <a:pt x="47" y="55"/>
                  </a:lnTo>
                  <a:lnTo>
                    <a:pt x="41" y="58"/>
                  </a:lnTo>
                  <a:lnTo>
                    <a:pt x="36" y="59"/>
                  </a:lnTo>
                  <a:lnTo>
                    <a:pt x="30" y="60"/>
                  </a:lnTo>
                  <a:lnTo>
                    <a:pt x="24" y="59"/>
                  </a:lnTo>
                  <a:lnTo>
                    <a:pt x="18" y="58"/>
                  </a:lnTo>
                  <a:lnTo>
                    <a:pt x="13" y="55"/>
                  </a:lnTo>
                  <a:lnTo>
                    <a:pt x="9" y="51"/>
                  </a:lnTo>
                  <a:lnTo>
                    <a:pt x="5" y="47"/>
                  </a:lnTo>
                  <a:lnTo>
                    <a:pt x="2" y="41"/>
                  </a:lnTo>
                  <a:lnTo>
                    <a:pt x="1" y="36"/>
                  </a:lnTo>
                  <a:lnTo>
                    <a:pt x="0" y="29"/>
                  </a:lnTo>
                  <a:lnTo>
                    <a:pt x="1" y="24"/>
                  </a:lnTo>
                  <a:lnTo>
                    <a:pt x="2" y="19"/>
                  </a:lnTo>
                  <a:lnTo>
                    <a:pt x="5" y="13"/>
                  </a:lnTo>
                  <a:lnTo>
                    <a:pt x="9" y="9"/>
                  </a:lnTo>
                  <a:lnTo>
                    <a:pt x="13" y="4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0" name="í$ḷiḍè"/>
            <p:cNvSpPr/>
            <p:nvPr/>
          </p:nvSpPr>
          <p:spPr bwMode="auto">
            <a:xfrm>
              <a:off x="1972468" y="1934369"/>
              <a:ext cx="225425" cy="101600"/>
            </a:xfrm>
            <a:custGeom>
              <a:avLst/>
              <a:gdLst>
                <a:gd name="T0" fmla="*/ 0 w 711"/>
                <a:gd name="T1" fmla="*/ 0 h 323"/>
                <a:gd name="T2" fmla="*/ 0 w 711"/>
                <a:gd name="T3" fmla="*/ 160 h 323"/>
                <a:gd name="T4" fmla="*/ 711 w 711"/>
                <a:gd name="T5" fmla="*/ 323 h 323"/>
                <a:gd name="T6" fmla="*/ 0 w 711"/>
                <a:gd name="T7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1" h="323">
                  <a:moveTo>
                    <a:pt x="0" y="0"/>
                  </a:moveTo>
                  <a:lnTo>
                    <a:pt x="0" y="160"/>
                  </a:lnTo>
                  <a:lnTo>
                    <a:pt x="711" y="3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1" name="íṩḻiḑé"/>
            <p:cNvSpPr/>
            <p:nvPr/>
          </p:nvSpPr>
          <p:spPr bwMode="auto">
            <a:xfrm>
              <a:off x="1959768" y="2085182"/>
              <a:ext cx="177800" cy="176213"/>
            </a:xfrm>
            <a:custGeom>
              <a:avLst/>
              <a:gdLst>
                <a:gd name="T0" fmla="*/ 251 w 558"/>
                <a:gd name="T1" fmla="*/ 1 h 558"/>
                <a:gd name="T2" fmla="*/ 210 w 558"/>
                <a:gd name="T3" fmla="*/ 8 h 558"/>
                <a:gd name="T4" fmla="*/ 171 w 558"/>
                <a:gd name="T5" fmla="*/ 22 h 558"/>
                <a:gd name="T6" fmla="*/ 135 w 558"/>
                <a:gd name="T7" fmla="*/ 40 h 558"/>
                <a:gd name="T8" fmla="*/ 103 w 558"/>
                <a:gd name="T9" fmla="*/ 63 h 558"/>
                <a:gd name="T10" fmla="*/ 73 w 558"/>
                <a:gd name="T11" fmla="*/ 90 h 558"/>
                <a:gd name="T12" fmla="*/ 48 w 558"/>
                <a:gd name="T13" fmla="*/ 122 h 558"/>
                <a:gd name="T14" fmla="*/ 28 w 558"/>
                <a:gd name="T15" fmla="*/ 158 h 558"/>
                <a:gd name="T16" fmla="*/ 13 w 558"/>
                <a:gd name="T17" fmla="*/ 195 h 558"/>
                <a:gd name="T18" fmla="*/ 3 w 558"/>
                <a:gd name="T19" fmla="*/ 236 h 558"/>
                <a:gd name="T20" fmla="*/ 0 w 558"/>
                <a:gd name="T21" fmla="*/ 279 h 558"/>
                <a:gd name="T22" fmla="*/ 3 w 558"/>
                <a:gd name="T23" fmla="*/ 321 h 558"/>
                <a:gd name="T24" fmla="*/ 13 w 558"/>
                <a:gd name="T25" fmla="*/ 362 h 558"/>
                <a:gd name="T26" fmla="*/ 28 w 558"/>
                <a:gd name="T27" fmla="*/ 400 h 558"/>
                <a:gd name="T28" fmla="*/ 48 w 558"/>
                <a:gd name="T29" fmla="*/ 435 h 558"/>
                <a:gd name="T30" fmla="*/ 73 w 558"/>
                <a:gd name="T31" fmla="*/ 466 h 558"/>
                <a:gd name="T32" fmla="*/ 103 w 558"/>
                <a:gd name="T33" fmla="*/ 494 h 558"/>
                <a:gd name="T34" fmla="*/ 135 w 558"/>
                <a:gd name="T35" fmla="*/ 517 h 558"/>
                <a:gd name="T36" fmla="*/ 171 w 558"/>
                <a:gd name="T37" fmla="*/ 535 h 558"/>
                <a:gd name="T38" fmla="*/ 210 w 558"/>
                <a:gd name="T39" fmla="*/ 548 h 558"/>
                <a:gd name="T40" fmla="*/ 251 w 558"/>
                <a:gd name="T41" fmla="*/ 556 h 558"/>
                <a:gd name="T42" fmla="*/ 294 w 558"/>
                <a:gd name="T43" fmla="*/ 557 h 558"/>
                <a:gd name="T44" fmla="*/ 336 w 558"/>
                <a:gd name="T45" fmla="*/ 552 h 558"/>
                <a:gd name="T46" fmla="*/ 375 w 558"/>
                <a:gd name="T47" fmla="*/ 541 h 558"/>
                <a:gd name="T48" fmla="*/ 413 w 558"/>
                <a:gd name="T49" fmla="*/ 524 h 558"/>
                <a:gd name="T50" fmla="*/ 447 w 558"/>
                <a:gd name="T51" fmla="*/ 502 h 558"/>
                <a:gd name="T52" fmla="*/ 476 w 558"/>
                <a:gd name="T53" fmla="*/ 476 h 558"/>
                <a:gd name="T54" fmla="*/ 504 w 558"/>
                <a:gd name="T55" fmla="*/ 446 h 558"/>
                <a:gd name="T56" fmla="*/ 526 w 558"/>
                <a:gd name="T57" fmla="*/ 412 h 558"/>
                <a:gd name="T58" fmla="*/ 542 w 558"/>
                <a:gd name="T59" fmla="*/ 375 h 558"/>
                <a:gd name="T60" fmla="*/ 553 w 558"/>
                <a:gd name="T61" fmla="*/ 335 h 558"/>
                <a:gd name="T62" fmla="*/ 558 w 558"/>
                <a:gd name="T63" fmla="*/ 293 h 558"/>
                <a:gd name="T64" fmla="*/ 557 w 558"/>
                <a:gd name="T65" fmla="*/ 249 h 558"/>
                <a:gd name="T66" fmla="*/ 549 w 558"/>
                <a:gd name="T67" fmla="*/ 209 h 558"/>
                <a:gd name="T68" fmla="*/ 536 w 558"/>
                <a:gd name="T69" fmla="*/ 170 h 558"/>
                <a:gd name="T70" fmla="*/ 518 w 558"/>
                <a:gd name="T71" fmla="*/ 134 h 558"/>
                <a:gd name="T72" fmla="*/ 495 w 558"/>
                <a:gd name="T73" fmla="*/ 101 h 558"/>
                <a:gd name="T74" fmla="*/ 468 w 558"/>
                <a:gd name="T75" fmla="*/ 72 h 558"/>
                <a:gd name="T76" fmla="*/ 436 w 558"/>
                <a:gd name="T77" fmla="*/ 47 h 558"/>
                <a:gd name="T78" fmla="*/ 400 w 558"/>
                <a:gd name="T79" fmla="*/ 27 h 558"/>
                <a:gd name="T80" fmla="*/ 363 w 558"/>
                <a:gd name="T81" fmla="*/ 12 h 558"/>
                <a:gd name="T82" fmla="*/ 322 w 558"/>
                <a:gd name="T83" fmla="*/ 3 h 558"/>
                <a:gd name="T84" fmla="*/ 279 w 558"/>
                <a:gd name="T85" fmla="*/ 0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lnTo>
                    <a:pt x="265" y="0"/>
                  </a:lnTo>
                  <a:lnTo>
                    <a:pt x="251" y="1"/>
                  </a:lnTo>
                  <a:lnTo>
                    <a:pt x="238" y="3"/>
                  </a:lnTo>
                  <a:lnTo>
                    <a:pt x="224" y="5"/>
                  </a:lnTo>
                  <a:lnTo>
                    <a:pt x="210" y="8"/>
                  </a:lnTo>
                  <a:lnTo>
                    <a:pt x="196" y="12"/>
                  </a:lnTo>
                  <a:lnTo>
                    <a:pt x="183" y="16"/>
                  </a:lnTo>
                  <a:lnTo>
                    <a:pt x="171" y="22"/>
                  </a:lnTo>
                  <a:lnTo>
                    <a:pt x="158" y="27"/>
                  </a:lnTo>
                  <a:lnTo>
                    <a:pt x="146" y="32"/>
                  </a:lnTo>
                  <a:lnTo>
                    <a:pt x="135" y="40"/>
                  </a:lnTo>
                  <a:lnTo>
                    <a:pt x="123" y="47"/>
                  </a:lnTo>
                  <a:lnTo>
                    <a:pt x="112" y="54"/>
                  </a:lnTo>
                  <a:lnTo>
                    <a:pt x="103" y="63"/>
                  </a:lnTo>
                  <a:lnTo>
                    <a:pt x="92" y="72"/>
                  </a:lnTo>
                  <a:lnTo>
                    <a:pt x="82" y="82"/>
                  </a:lnTo>
                  <a:lnTo>
                    <a:pt x="73" y="90"/>
                  </a:lnTo>
                  <a:lnTo>
                    <a:pt x="64" y="101"/>
                  </a:lnTo>
                  <a:lnTo>
                    <a:pt x="56" y="111"/>
                  </a:lnTo>
                  <a:lnTo>
                    <a:pt x="48" y="122"/>
                  </a:lnTo>
                  <a:lnTo>
                    <a:pt x="42" y="134"/>
                  </a:lnTo>
                  <a:lnTo>
                    <a:pt x="34" y="146"/>
                  </a:lnTo>
                  <a:lnTo>
                    <a:pt x="28" y="158"/>
                  </a:lnTo>
                  <a:lnTo>
                    <a:pt x="23" y="170"/>
                  </a:lnTo>
                  <a:lnTo>
                    <a:pt x="18" y="183"/>
                  </a:lnTo>
                  <a:lnTo>
                    <a:pt x="13" y="195"/>
                  </a:lnTo>
                  <a:lnTo>
                    <a:pt x="10" y="209"/>
                  </a:lnTo>
                  <a:lnTo>
                    <a:pt x="7" y="222"/>
                  </a:lnTo>
                  <a:lnTo>
                    <a:pt x="3" y="236"/>
                  </a:lnTo>
                  <a:lnTo>
                    <a:pt x="2" y="249"/>
                  </a:lnTo>
                  <a:lnTo>
                    <a:pt x="1" y="264"/>
                  </a:lnTo>
                  <a:lnTo>
                    <a:pt x="0" y="279"/>
                  </a:lnTo>
                  <a:lnTo>
                    <a:pt x="1" y="293"/>
                  </a:lnTo>
                  <a:lnTo>
                    <a:pt x="2" y="307"/>
                  </a:lnTo>
                  <a:lnTo>
                    <a:pt x="3" y="321"/>
                  </a:lnTo>
                  <a:lnTo>
                    <a:pt x="7" y="335"/>
                  </a:lnTo>
                  <a:lnTo>
                    <a:pt x="10" y="349"/>
                  </a:lnTo>
                  <a:lnTo>
                    <a:pt x="13" y="362"/>
                  </a:lnTo>
                  <a:lnTo>
                    <a:pt x="18" y="375"/>
                  </a:lnTo>
                  <a:lnTo>
                    <a:pt x="23" y="387"/>
                  </a:lnTo>
                  <a:lnTo>
                    <a:pt x="28" y="400"/>
                  </a:lnTo>
                  <a:lnTo>
                    <a:pt x="34" y="412"/>
                  </a:lnTo>
                  <a:lnTo>
                    <a:pt x="42" y="423"/>
                  </a:lnTo>
                  <a:lnTo>
                    <a:pt x="48" y="435"/>
                  </a:lnTo>
                  <a:lnTo>
                    <a:pt x="56" y="446"/>
                  </a:lnTo>
                  <a:lnTo>
                    <a:pt x="64" y="456"/>
                  </a:lnTo>
                  <a:lnTo>
                    <a:pt x="73" y="466"/>
                  </a:lnTo>
                  <a:lnTo>
                    <a:pt x="82" y="476"/>
                  </a:lnTo>
                  <a:lnTo>
                    <a:pt x="92" y="485"/>
                  </a:lnTo>
                  <a:lnTo>
                    <a:pt x="103" y="494"/>
                  </a:lnTo>
                  <a:lnTo>
                    <a:pt x="112" y="502"/>
                  </a:lnTo>
                  <a:lnTo>
                    <a:pt x="123" y="510"/>
                  </a:lnTo>
                  <a:lnTo>
                    <a:pt x="135" y="517"/>
                  </a:lnTo>
                  <a:lnTo>
                    <a:pt x="146" y="524"/>
                  </a:lnTo>
                  <a:lnTo>
                    <a:pt x="158" y="530"/>
                  </a:lnTo>
                  <a:lnTo>
                    <a:pt x="171" y="535"/>
                  </a:lnTo>
                  <a:lnTo>
                    <a:pt x="183" y="541"/>
                  </a:lnTo>
                  <a:lnTo>
                    <a:pt x="196" y="545"/>
                  </a:lnTo>
                  <a:lnTo>
                    <a:pt x="210" y="548"/>
                  </a:lnTo>
                  <a:lnTo>
                    <a:pt x="224" y="552"/>
                  </a:lnTo>
                  <a:lnTo>
                    <a:pt x="238" y="555"/>
                  </a:lnTo>
                  <a:lnTo>
                    <a:pt x="251" y="556"/>
                  </a:lnTo>
                  <a:lnTo>
                    <a:pt x="265" y="557"/>
                  </a:lnTo>
                  <a:lnTo>
                    <a:pt x="279" y="558"/>
                  </a:lnTo>
                  <a:lnTo>
                    <a:pt x="294" y="557"/>
                  </a:lnTo>
                  <a:lnTo>
                    <a:pt x="309" y="556"/>
                  </a:lnTo>
                  <a:lnTo>
                    <a:pt x="322" y="555"/>
                  </a:lnTo>
                  <a:lnTo>
                    <a:pt x="336" y="552"/>
                  </a:lnTo>
                  <a:lnTo>
                    <a:pt x="349" y="548"/>
                  </a:lnTo>
                  <a:lnTo>
                    <a:pt x="363" y="545"/>
                  </a:lnTo>
                  <a:lnTo>
                    <a:pt x="375" y="541"/>
                  </a:lnTo>
                  <a:lnTo>
                    <a:pt x="388" y="535"/>
                  </a:lnTo>
                  <a:lnTo>
                    <a:pt x="400" y="530"/>
                  </a:lnTo>
                  <a:lnTo>
                    <a:pt x="413" y="524"/>
                  </a:lnTo>
                  <a:lnTo>
                    <a:pt x="424" y="517"/>
                  </a:lnTo>
                  <a:lnTo>
                    <a:pt x="436" y="510"/>
                  </a:lnTo>
                  <a:lnTo>
                    <a:pt x="447" y="502"/>
                  </a:lnTo>
                  <a:lnTo>
                    <a:pt x="457" y="494"/>
                  </a:lnTo>
                  <a:lnTo>
                    <a:pt x="468" y="485"/>
                  </a:lnTo>
                  <a:lnTo>
                    <a:pt x="476" y="476"/>
                  </a:lnTo>
                  <a:lnTo>
                    <a:pt x="486" y="466"/>
                  </a:lnTo>
                  <a:lnTo>
                    <a:pt x="495" y="456"/>
                  </a:lnTo>
                  <a:lnTo>
                    <a:pt x="504" y="446"/>
                  </a:lnTo>
                  <a:lnTo>
                    <a:pt x="511" y="435"/>
                  </a:lnTo>
                  <a:lnTo>
                    <a:pt x="518" y="423"/>
                  </a:lnTo>
                  <a:lnTo>
                    <a:pt x="526" y="412"/>
                  </a:lnTo>
                  <a:lnTo>
                    <a:pt x="531" y="400"/>
                  </a:lnTo>
                  <a:lnTo>
                    <a:pt x="536" y="387"/>
                  </a:lnTo>
                  <a:lnTo>
                    <a:pt x="542" y="375"/>
                  </a:lnTo>
                  <a:lnTo>
                    <a:pt x="546" y="362"/>
                  </a:lnTo>
                  <a:lnTo>
                    <a:pt x="549" y="349"/>
                  </a:lnTo>
                  <a:lnTo>
                    <a:pt x="553" y="335"/>
                  </a:lnTo>
                  <a:lnTo>
                    <a:pt x="556" y="321"/>
                  </a:lnTo>
                  <a:lnTo>
                    <a:pt x="557" y="307"/>
                  </a:lnTo>
                  <a:lnTo>
                    <a:pt x="558" y="293"/>
                  </a:lnTo>
                  <a:lnTo>
                    <a:pt x="558" y="279"/>
                  </a:lnTo>
                  <a:lnTo>
                    <a:pt x="558" y="264"/>
                  </a:lnTo>
                  <a:lnTo>
                    <a:pt x="557" y="249"/>
                  </a:lnTo>
                  <a:lnTo>
                    <a:pt x="556" y="236"/>
                  </a:lnTo>
                  <a:lnTo>
                    <a:pt x="553" y="222"/>
                  </a:lnTo>
                  <a:lnTo>
                    <a:pt x="549" y="209"/>
                  </a:lnTo>
                  <a:lnTo>
                    <a:pt x="546" y="195"/>
                  </a:lnTo>
                  <a:lnTo>
                    <a:pt x="542" y="183"/>
                  </a:lnTo>
                  <a:lnTo>
                    <a:pt x="536" y="170"/>
                  </a:lnTo>
                  <a:lnTo>
                    <a:pt x="531" y="158"/>
                  </a:lnTo>
                  <a:lnTo>
                    <a:pt x="526" y="146"/>
                  </a:lnTo>
                  <a:lnTo>
                    <a:pt x="518" y="134"/>
                  </a:lnTo>
                  <a:lnTo>
                    <a:pt x="511" y="122"/>
                  </a:lnTo>
                  <a:lnTo>
                    <a:pt x="504" y="111"/>
                  </a:lnTo>
                  <a:lnTo>
                    <a:pt x="495" y="101"/>
                  </a:lnTo>
                  <a:lnTo>
                    <a:pt x="486" y="90"/>
                  </a:lnTo>
                  <a:lnTo>
                    <a:pt x="476" y="82"/>
                  </a:lnTo>
                  <a:lnTo>
                    <a:pt x="468" y="72"/>
                  </a:lnTo>
                  <a:lnTo>
                    <a:pt x="457" y="63"/>
                  </a:lnTo>
                  <a:lnTo>
                    <a:pt x="447" y="54"/>
                  </a:lnTo>
                  <a:lnTo>
                    <a:pt x="436" y="47"/>
                  </a:lnTo>
                  <a:lnTo>
                    <a:pt x="424" y="40"/>
                  </a:lnTo>
                  <a:lnTo>
                    <a:pt x="413" y="32"/>
                  </a:lnTo>
                  <a:lnTo>
                    <a:pt x="400" y="27"/>
                  </a:lnTo>
                  <a:lnTo>
                    <a:pt x="388" y="22"/>
                  </a:lnTo>
                  <a:lnTo>
                    <a:pt x="375" y="16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6" y="5"/>
                  </a:lnTo>
                  <a:lnTo>
                    <a:pt x="322" y="3"/>
                  </a:lnTo>
                  <a:lnTo>
                    <a:pt x="309" y="1"/>
                  </a:lnTo>
                  <a:lnTo>
                    <a:pt x="294" y="0"/>
                  </a:lnTo>
                  <a:lnTo>
                    <a:pt x="2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2" name="iślïḑe"/>
            <p:cNvSpPr/>
            <p:nvPr/>
          </p:nvSpPr>
          <p:spPr bwMode="auto">
            <a:xfrm>
              <a:off x="1999456" y="2123282"/>
              <a:ext cx="98425" cy="100013"/>
            </a:xfrm>
            <a:custGeom>
              <a:avLst/>
              <a:gdLst>
                <a:gd name="T0" fmla="*/ 141 w 313"/>
                <a:gd name="T1" fmla="*/ 1 h 313"/>
                <a:gd name="T2" fmla="*/ 110 w 313"/>
                <a:gd name="T3" fmla="*/ 6 h 313"/>
                <a:gd name="T4" fmla="*/ 82 w 313"/>
                <a:gd name="T5" fmla="*/ 18 h 313"/>
                <a:gd name="T6" fmla="*/ 57 w 313"/>
                <a:gd name="T7" fmla="*/ 36 h 313"/>
                <a:gd name="T8" fmla="*/ 36 w 313"/>
                <a:gd name="T9" fmla="*/ 57 h 313"/>
                <a:gd name="T10" fmla="*/ 19 w 313"/>
                <a:gd name="T11" fmla="*/ 82 h 313"/>
                <a:gd name="T12" fmla="*/ 7 w 313"/>
                <a:gd name="T13" fmla="*/ 110 h 313"/>
                <a:gd name="T14" fmla="*/ 1 w 313"/>
                <a:gd name="T15" fmla="*/ 141 h 313"/>
                <a:gd name="T16" fmla="*/ 1 w 313"/>
                <a:gd name="T17" fmla="*/ 172 h 313"/>
                <a:gd name="T18" fmla="*/ 7 w 313"/>
                <a:gd name="T19" fmla="*/ 203 h 313"/>
                <a:gd name="T20" fmla="*/ 19 w 313"/>
                <a:gd name="T21" fmla="*/ 231 h 313"/>
                <a:gd name="T22" fmla="*/ 36 w 313"/>
                <a:gd name="T23" fmla="*/ 256 h 313"/>
                <a:gd name="T24" fmla="*/ 57 w 313"/>
                <a:gd name="T25" fmla="*/ 277 h 313"/>
                <a:gd name="T26" fmla="*/ 82 w 313"/>
                <a:gd name="T27" fmla="*/ 294 h 313"/>
                <a:gd name="T28" fmla="*/ 110 w 313"/>
                <a:gd name="T29" fmla="*/ 306 h 313"/>
                <a:gd name="T30" fmla="*/ 141 w 313"/>
                <a:gd name="T31" fmla="*/ 312 h 313"/>
                <a:gd name="T32" fmla="*/ 173 w 313"/>
                <a:gd name="T33" fmla="*/ 312 h 313"/>
                <a:gd name="T34" fmla="*/ 203 w 313"/>
                <a:gd name="T35" fmla="*/ 306 h 313"/>
                <a:gd name="T36" fmla="*/ 231 w 313"/>
                <a:gd name="T37" fmla="*/ 294 h 313"/>
                <a:gd name="T38" fmla="*/ 256 w 313"/>
                <a:gd name="T39" fmla="*/ 277 h 313"/>
                <a:gd name="T40" fmla="*/ 277 w 313"/>
                <a:gd name="T41" fmla="*/ 256 h 313"/>
                <a:gd name="T42" fmla="*/ 295 w 313"/>
                <a:gd name="T43" fmla="*/ 231 h 313"/>
                <a:gd name="T44" fmla="*/ 307 w 313"/>
                <a:gd name="T45" fmla="*/ 203 h 313"/>
                <a:gd name="T46" fmla="*/ 312 w 313"/>
                <a:gd name="T47" fmla="*/ 172 h 313"/>
                <a:gd name="T48" fmla="*/ 312 w 313"/>
                <a:gd name="T49" fmla="*/ 141 h 313"/>
                <a:gd name="T50" fmla="*/ 307 w 313"/>
                <a:gd name="T51" fmla="*/ 110 h 313"/>
                <a:gd name="T52" fmla="*/ 295 w 313"/>
                <a:gd name="T53" fmla="*/ 82 h 313"/>
                <a:gd name="T54" fmla="*/ 277 w 313"/>
                <a:gd name="T55" fmla="*/ 57 h 313"/>
                <a:gd name="T56" fmla="*/ 256 w 313"/>
                <a:gd name="T57" fmla="*/ 36 h 313"/>
                <a:gd name="T58" fmla="*/ 231 w 313"/>
                <a:gd name="T59" fmla="*/ 18 h 313"/>
                <a:gd name="T60" fmla="*/ 203 w 313"/>
                <a:gd name="T61" fmla="*/ 6 h 313"/>
                <a:gd name="T62" fmla="*/ 173 w 313"/>
                <a:gd name="T63" fmla="*/ 1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3" h="313">
                  <a:moveTo>
                    <a:pt x="156" y="0"/>
                  </a:moveTo>
                  <a:lnTo>
                    <a:pt x="141" y="1"/>
                  </a:lnTo>
                  <a:lnTo>
                    <a:pt x="126" y="3"/>
                  </a:lnTo>
                  <a:lnTo>
                    <a:pt x="110" y="6"/>
                  </a:lnTo>
                  <a:lnTo>
                    <a:pt x="96" y="12"/>
                  </a:lnTo>
                  <a:lnTo>
                    <a:pt x="82" y="18"/>
                  </a:lnTo>
                  <a:lnTo>
                    <a:pt x="69" y="26"/>
                  </a:lnTo>
                  <a:lnTo>
                    <a:pt x="57" y="36"/>
                  </a:lnTo>
                  <a:lnTo>
                    <a:pt x="46" y="46"/>
                  </a:lnTo>
                  <a:lnTo>
                    <a:pt x="36" y="57"/>
                  </a:lnTo>
                  <a:lnTo>
                    <a:pt x="26" y="69"/>
                  </a:lnTo>
                  <a:lnTo>
                    <a:pt x="19" y="82"/>
                  </a:lnTo>
                  <a:lnTo>
                    <a:pt x="12" y="96"/>
                  </a:lnTo>
                  <a:lnTo>
                    <a:pt x="7" y="110"/>
                  </a:lnTo>
                  <a:lnTo>
                    <a:pt x="4" y="125"/>
                  </a:lnTo>
                  <a:lnTo>
                    <a:pt x="1" y="141"/>
                  </a:lnTo>
                  <a:lnTo>
                    <a:pt x="0" y="157"/>
                  </a:lnTo>
                  <a:lnTo>
                    <a:pt x="1" y="172"/>
                  </a:lnTo>
                  <a:lnTo>
                    <a:pt x="4" y="187"/>
                  </a:lnTo>
                  <a:lnTo>
                    <a:pt x="7" y="203"/>
                  </a:lnTo>
                  <a:lnTo>
                    <a:pt x="12" y="217"/>
                  </a:lnTo>
                  <a:lnTo>
                    <a:pt x="19" y="231"/>
                  </a:lnTo>
                  <a:lnTo>
                    <a:pt x="26" y="244"/>
                  </a:lnTo>
                  <a:lnTo>
                    <a:pt x="36" y="256"/>
                  </a:lnTo>
                  <a:lnTo>
                    <a:pt x="46" y="267"/>
                  </a:lnTo>
                  <a:lnTo>
                    <a:pt x="57" y="277"/>
                  </a:lnTo>
                  <a:lnTo>
                    <a:pt x="69" y="287"/>
                  </a:lnTo>
                  <a:lnTo>
                    <a:pt x="82" y="294"/>
                  </a:lnTo>
                  <a:lnTo>
                    <a:pt x="96" y="301"/>
                  </a:lnTo>
                  <a:lnTo>
                    <a:pt x="110" y="306"/>
                  </a:lnTo>
                  <a:lnTo>
                    <a:pt x="126" y="310"/>
                  </a:lnTo>
                  <a:lnTo>
                    <a:pt x="141" y="312"/>
                  </a:lnTo>
                  <a:lnTo>
                    <a:pt x="156" y="313"/>
                  </a:lnTo>
                  <a:lnTo>
                    <a:pt x="173" y="312"/>
                  </a:lnTo>
                  <a:lnTo>
                    <a:pt x="188" y="310"/>
                  </a:lnTo>
                  <a:lnTo>
                    <a:pt x="203" y="306"/>
                  </a:lnTo>
                  <a:lnTo>
                    <a:pt x="217" y="301"/>
                  </a:lnTo>
                  <a:lnTo>
                    <a:pt x="231" y="294"/>
                  </a:lnTo>
                  <a:lnTo>
                    <a:pt x="244" y="287"/>
                  </a:lnTo>
                  <a:lnTo>
                    <a:pt x="256" y="277"/>
                  </a:lnTo>
                  <a:lnTo>
                    <a:pt x="267" y="267"/>
                  </a:lnTo>
                  <a:lnTo>
                    <a:pt x="277" y="256"/>
                  </a:lnTo>
                  <a:lnTo>
                    <a:pt x="287" y="244"/>
                  </a:lnTo>
                  <a:lnTo>
                    <a:pt x="295" y="231"/>
                  </a:lnTo>
                  <a:lnTo>
                    <a:pt x="301" y="217"/>
                  </a:lnTo>
                  <a:lnTo>
                    <a:pt x="307" y="203"/>
                  </a:lnTo>
                  <a:lnTo>
                    <a:pt x="310" y="187"/>
                  </a:lnTo>
                  <a:lnTo>
                    <a:pt x="312" y="172"/>
                  </a:lnTo>
                  <a:lnTo>
                    <a:pt x="313" y="157"/>
                  </a:lnTo>
                  <a:lnTo>
                    <a:pt x="312" y="141"/>
                  </a:lnTo>
                  <a:lnTo>
                    <a:pt x="310" y="125"/>
                  </a:lnTo>
                  <a:lnTo>
                    <a:pt x="307" y="110"/>
                  </a:lnTo>
                  <a:lnTo>
                    <a:pt x="301" y="96"/>
                  </a:lnTo>
                  <a:lnTo>
                    <a:pt x="295" y="82"/>
                  </a:lnTo>
                  <a:lnTo>
                    <a:pt x="287" y="69"/>
                  </a:lnTo>
                  <a:lnTo>
                    <a:pt x="277" y="57"/>
                  </a:lnTo>
                  <a:lnTo>
                    <a:pt x="267" y="46"/>
                  </a:lnTo>
                  <a:lnTo>
                    <a:pt x="256" y="36"/>
                  </a:lnTo>
                  <a:lnTo>
                    <a:pt x="244" y="26"/>
                  </a:lnTo>
                  <a:lnTo>
                    <a:pt x="231" y="18"/>
                  </a:lnTo>
                  <a:lnTo>
                    <a:pt x="217" y="12"/>
                  </a:lnTo>
                  <a:lnTo>
                    <a:pt x="203" y="6"/>
                  </a:lnTo>
                  <a:lnTo>
                    <a:pt x="188" y="3"/>
                  </a:lnTo>
                  <a:lnTo>
                    <a:pt x="173" y="1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3" name="îṣļiďê"/>
            <p:cNvSpPr/>
            <p:nvPr/>
          </p:nvSpPr>
          <p:spPr bwMode="auto">
            <a:xfrm>
              <a:off x="2024856" y="2139157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24 w 60"/>
                <a:gd name="T3" fmla="*/ 0 h 60"/>
                <a:gd name="T4" fmla="*/ 19 w 60"/>
                <a:gd name="T5" fmla="*/ 2 h 60"/>
                <a:gd name="T6" fmla="*/ 13 w 60"/>
                <a:gd name="T7" fmla="*/ 4 h 60"/>
                <a:gd name="T8" fmla="*/ 9 w 60"/>
                <a:gd name="T9" fmla="*/ 9 h 60"/>
                <a:gd name="T10" fmla="*/ 4 w 60"/>
                <a:gd name="T11" fmla="*/ 13 h 60"/>
                <a:gd name="T12" fmla="*/ 2 w 60"/>
                <a:gd name="T13" fmla="*/ 19 h 60"/>
                <a:gd name="T14" fmla="*/ 0 w 60"/>
                <a:gd name="T15" fmla="*/ 24 h 60"/>
                <a:gd name="T16" fmla="*/ 0 w 60"/>
                <a:gd name="T17" fmla="*/ 29 h 60"/>
                <a:gd name="T18" fmla="*/ 0 w 60"/>
                <a:gd name="T19" fmla="*/ 36 h 60"/>
                <a:gd name="T20" fmla="*/ 2 w 60"/>
                <a:gd name="T21" fmla="*/ 41 h 60"/>
                <a:gd name="T22" fmla="*/ 4 w 60"/>
                <a:gd name="T23" fmla="*/ 47 h 60"/>
                <a:gd name="T24" fmla="*/ 9 w 60"/>
                <a:gd name="T25" fmla="*/ 51 h 60"/>
                <a:gd name="T26" fmla="*/ 13 w 60"/>
                <a:gd name="T27" fmla="*/ 55 h 60"/>
                <a:gd name="T28" fmla="*/ 19 w 60"/>
                <a:gd name="T29" fmla="*/ 58 h 60"/>
                <a:gd name="T30" fmla="*/ 24 w 60"/>
                <a:gd name="T31" fmla="*/ 59 h 60"/>
                <a:gd name="T32" fmla="*/ 30 w 60"/>
                <a:gd name="T33" fmla="*/ 60 h 60"/>
                <a:gd name="T34" fmla="*/ 36 w 60"/>
                <a:gd name="T35" fmla="*/ 59 h 60"/>
                <a:gd name="T36" fmla="*/ 42 w 60"/>
                <a:gd name="T37" fmla="*/ 58 h 60"/>
                <a:gd name="T38" fmla="*/ 47 w 60"/>
                <a:gd name="T39" fmla="*/ 55 h 60"/>
                <a:gd name="T40" fmla="*/ 51 w 60"/>
                <a:gd name="T41" fmla="*/ 51 h 60"/>
                <a:gd name="T42" fmla="*/ 55 w 60"/>
                <a:gd name="T43" fmla="*/ 47 h 60"/>
                <a:gd name="T44" fmla="*/ 58 w 60"/>
                <a:gd name="T45" fmla="*/ 41 h 60"/>
                <a:gd name="T46" fmla="*/ 59 w 60"/>
                <a:gd name="T47" fmla="*/ 36 h 60"/>
                <a:gd name="T48" fmla="*/ 60 w 60"/>
                <a:gd name="T49" fmla="*/ 29 h 60"/>
                <a:gd name="T50" fmla="*/ 59 w 60"/>
                <a:gd name="T51" fmla="*/ 24 h 60"/>
                <a:gd name="T52" fmla="*/ 58 w 60"/>
                <a:gd name="T53" fmla="*/ 19 h 60"/>
                <a:gd name="T54" fmla="*/ 55 w 60"/>
                <a:gd name="T55" fmla="*/ 13 h 60"/>
                <a:gd name="T56" fmla="*/ 51 w 60"/>
                <a:gd name="T57" fmla="*/ 9 h 60"/>
                <a:gd name="T58" fmla="*/ 47 w 60"/>
                <a:gd name="T59" fmla="*/ 4 h 60"/>
                <a:gd name="T60" fmla="*/ 42 w 60"/>
                <a:gd name="T61" fmla="*/ 2 h 60"/>
                <a:gd name="T62" fmla="*/ 36 w 60"/>
                <a:gd name="T63" fmla="*/ 0 h 60"/>
                <a:gd name="T64" fmla="*/ 30 w 60"/>
                <a:gd name="T6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24" y="0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9"/>
                  </a:lnTo>
                  <a:lnTo>
                    <a:pt x="4" y="13"/>
                  </a:lnTo>
                  <a:lnTo>
                    <a:pt x="2" y="19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2" y="41"/>
                  </a:lnTo>
                  <a:lnTo>
                    <a:pt x="4" y="47"/>
                  </a:lnTo>
                  <a:lnTo>
                    <a:pt x="9" y="51"/>
                  </a:lnTo>
                  <a:lnTo>
                    <a:pt x="13" y="55"/>
                  </a:lnTo>
                  <a:lnTo>
                    <a:pt x="19" y="58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6" y="59"/>
                  </a:lnTo>
                  <a:lnTo>
                    <a:pt x="42" y="58"/>
                  </a:lnTo>
                  <a:lnTo>
                    <a:pt x="47" y="55"/>
                  </a:lnTo>
                  <a:lnTo>
                    <a:pt x="51" y="51"/>
                  </a:lnTo>
                  <a:lnTo>
                    <a:pt x="55" y="47"/>
                  </a:lnTo>
                  <a:lnTo>
                    <a:pt x="58" y="41"/>
                  </a:lnTo>
                  <a:lnTo>
                    <a:pt x="59" y="36"/>
                  </a:lnTo>
                  <a:lnTo>
                    <a:pt x="60" y="29"/>
                  </a:lnTo>
                  <a:lnTo>
                    <a:pt x="59" y="24"/>
                  </a:lnTo>
                  <a:lnTo>
                    <a:pt x="58" y="19"/>
                  </a:lnTo>
                  <a:lnTo>
                    <a:pt x="55" y="13"/>
                  </a:lnTo>
                  <a:lnTo>
                    <a:pt x="51" y="9"/>
                  </a:lnTo>
                  <a:lnTo>
                    <a:pt x="47" y="4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4" name="iṧ1idê"/>
            <p:cNvSpPr/>
            <p:nvPr/>
          </p:nvSpPr>
          <p:spPr bwMode="auto">
            <a:xfrm>
              <a:off x="1756568" y="2286794"/>
              <a:ext cx="61913" cy="104775"/>
            </a:xfrm>
            <a:custGeom>
              <a:avLst/>
              <a:gdLst>
                <a:gd name="T0" fmla="*/ 132 w 195"/>
                <a:gd name="T1" fmla="*/ 0 h 329"/>
                <a:gd name="T2" fmla="*/ 126 w 195"/>
                <a:gd name="T3" fmla="*/ 10 h 329"/>
                <a:gd name="T4" fmla="*/ 108 w 195"/>
                <a:gd name="T5" fmla="*/ 39 h 329"/>
                <a:gd name="T6" fmla="*/ 84 w 195"/>
                <a:gd name="T7" fmla="*/ 80 h 329"/>
                <a:gd name="T8" fmla="*/ 58 w 195"/>
                <a:gd name="T9" fmla="*/ 129 h 329"/>
                <a:gd name="T10" fmla="*/ 45 w 195"/>
                <a:gd name="T11" fmla="*/ 156 h 329"/>
                <a:gd name="T12" fmla="*/ 33 w 195"/>
                <a:gd name="T13" fmla="*/ 182 h 329"/>
                <a:gd name="T14" fmla="*/ 22 w 195"/>
                <a:gd name="T15" fmla="*/ 207 h 329"/>
                <a:gd name="T16" fmla="*/ 12 w 195"/>
                <a:gd name="T17" fmla="*/ 231 h 329"/>
                <a:gd name="T18" fmla="*/ 6 w 195"/>
                <a:gd name="T19" fmla="*/ 253 h 329"/>
                <a:gd name="T20" fmla="*/ 1 w 195"/>
                <a:gd name="T21" fmla="*/ 272 h 329"/>
                <a:gd name="T22" fmla="*/ 0 w 195"/>
                <a:gd name="T23" fmla="*/ 281 h 329"/>
                <a:gd name="T24" fmla="*/ 1 w 195"/>
                <a:gd name="T25" fmla="*/ 289 h 329"/>
                <a:gd name="T26" fmla="*/ 1 w 195"/>
                <a:gd name="T27" fmla="*/ 295 h 329"/>
                <a:gd name="T28" fmla="*/ 4 w 195"/>
                <a:gd name="T29" fmla="*/ 301 h 329"/>
                <a:gd name="T30" fmla="*/ 7 w 195"/>
                <a:gd name="T31" fmla="*/ 306 h 329"/>
                <a:gd name="T32" fmla="*/ 10 w 195"/>
                <a:gd name="T33" fmla="*/ 310 h 329"/>
                <a:gd name="T34" fmla="*/ 16 w 195"/>
                <a:gd name="T35" fmla="*/ 314 h 329"/>
                <a:gd name="T36" fmla="*/ 20 w 195"/>
                <a:gd name="T37" fmla="*/ 317 h 329"/>
                <a:gd name="T38" fmla="*/ 25 w 195"/>
                <a:gd name="T39" fmla="*/ 320 h 329"/>
                <a:gd name="T40" fmla="*/ 32 w 195"/>
                <a:gd name="T41" fmla="*/ 322 h 329"/>
                <a:gd name="T42" fmla="*/ 38 w 195"/>
                <a:gd name="T43" fmla="*/ 325 h 329"/>
                <a:gd name="T44" fmla="*/ 45 w 195"/>
                <a:gd name="T45" fmla="*/ 326 h 329"/>
                <a:gd name="T46" fmla="*/ 60 w 195"/>
                <a:gd name="T47" fmla="*/ 328 h 329"/>
                <a:gd name="T48" fmla="*/ 77 w 195"/>
                <a:gd name="T49" fmla="*/ 329 h 329"/>
                <a:gd name="T50" fmla="*/ 93 w 195"/>
                <a:gd name="T51" fmla="*/ 328 h 329"/>
                <a:gd name="T52" fmla="*/ 110 w 195"/>
                <a:gd name="T53" fmla="*/ 327 h 329"/>
                <a:gd name="T54" fmla="*/ 142 w 195"/>
                <a:gd name="T55" fmla="*/ 322 h 329"/>
                <a:gd name="T56" fmla="*/ 169 w 195"/>
                <a:gd name="T57" fmla="*/ 318 h 329"/>
                <a:gd name="T58" fmla="*/ 189 w 195"/>
                <a:gd name="T59" fmla="*/ 314 h 329"/>
                <a:gd name="T60" fmla="*/ 195 w 195"/>
                <a:gd name="T61" fmla="*/ 311 h 329"/>
                <a:gd name="T62" fmla="*/ 192 w 195"/>
                <a:gd name="T63" fmla="*/ 311 h 329"/>
                <a:gd name="T64" fmla="*/ 182 w 195"/>
                <a:gd name="T65" fmla="*/ 310 h 329"/>
                <a:gd name="T66" fmla="*/ 169 w 195"/>
                <a:gd name="T67" fmla="*/ 307 h 329"/>
                <a:gd name="T68" fmla="*/ 153 w 195"/>
                <a:gd name="T69" fmla="*/ 303 h 329"/>
                <a:gd name="T70" fmla="*/ 144 w 195"/>
                <a:gd name="T71" fmla="*/ 298 h 329"/>
                <a:gd name="T72" fmla="*/ 135 w 195"/>
                <a:gd name="T73" fmla="*/ 295 h 329"/>
                <a:gd name="T74" fmla="*/ 127 w 195"/>
                <a:gd name="T75" fmla="*/ 290 h 329"/>
                <a:gd name="T76" fmla="*/ 118 w 195"/>
                <a:gd name="T77" fmla="*/ 284 h 329"/>
                <a:gd name="T78" fmla="*/ 110 w 195"/>
                <a:gd name="T79" fmla="*/ 278 h 329"/>
                <a:gd name="T80" fmla="*/ 103 w 195"/>
                <a:gd name="T81" fmla="*/ 270 h 329"/>
                <a:gd name="T82" fmla="*/ 96 w 195"/>
                <a:gd name="T83" fmla="*/ 261 h 329"/>
                <a:gd name="T84" fmla="*/ 92 w 195"/>
                <a:gd name="T85" fmla="*/ 251 h 329"/>
                <a:gd name="T86" fmla="*/ 90 w 195"/>
                <a:gd name="T87" fmla="*/ 246 h 329"/>
                <a:gd name="T88" fmla="*/ 87 w 195"/>
                <a:gd name="T89" fmla="*/ 239 h 329"/>
                <a:gd name="T90" fmla="*/ 86 w 195"/>
                <a:gd name="T91" fmla="*/ 233 h 329"/>
                <a:gd name="T92" fmla="*/ 86 w 195"/>
                <a:gd name="T93" fmla="*/ 225 h 329"/>
                <a:gd name="T94" fmla="*/ 86 w 195"/>
                <a:gd name="T95" fmla="*/ 208 h 329"/>
                <a:gd name="T96" fmla="*/ 87 w 195"/>
                <a:gd name="T97" fmla="*/ 189 h 329"/>
                <a:gd name="T98" fmla="*/ 90 w 195"/>
                <a:gd name="T99" fmla="*/ 169 h 329"/>
                <a:gd name="T100" fmla="*/ 94 w 195"/>
                <a:gd name="T101" fmla="*/ 148 h 329"/>
                <a:gd name="T102" fmla="*/ 98 w 195"/>
                <a:gd name="T103" fmla="*/ 126 h 329"/>
                <a:gd name="T104" fmla="*/ 103 w 195"/>
                <a:gd name="T105" fmla="*/ 105 h 329"/>
                <a:gd name="T106" fmla="*/ 113 w 195"/>
                <a:gd name="T107" fmla="*/ 65 h 329"/>
                <a:gd name="T108" fmla="*/ 122 w 195"/>
                <a:gd name="T109" fmla="*/ 31 h 329"/>
                <a:gd name="T110" fmla="*/ 130 w 195"/>
                <a:gd name="T111" fmla="*/ 8 h 329"/>
                <a:gd name="T112" fmla="*/ 132 w 195"/>
                <a:gd name="T113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5" h="329">
                  <a:moveTo>
                    <a:pt x="132" y="0"/>
                  </a:moveTo>
                  <a:lnTo>
                    <a:pt x="126" y="10"/>
                  </a:lnTo>
                  <a:lnTo>
                    <a:pt x="108" y="39"/>
                  </a:lnTo>
                  <a:lnTo>
                    <a:pt x="84" y="80"/>
                  </a:lnTo>
                  <a:lnTo>
                    <a:pt x="58" y="129"/>
                  </a:lnTo>
                  <a:lnTo>
                    <a:pt x="45" y="156"/>
                  </a:lnTo>
                  <a:lnTo>
                    <a:pt x="33" y="182"/>
                  </a:lnTo>
                  <a:lnTo>
                    <a:pt x="22" y="207"/>
                  </a:lnTo>
                  <a:lnTo>
                    <a:pt x="12" y="231"/>
                  </a:lnTo>
                  <a:lnTo>
                    <a:pt x="6" y="253"/>
                  </a:lnTo>
                  <a:lnTo>
                    <a:pt x="1" y="272"/>
                  </a:lnTo>
                  <a:lnTo>
                    <a:pt x="0" y="281"/>
                  </a:lnTo>
                  <a:lnTo>
                    <a:pt x="1" y="289"/>
                  </a:lnTo>
                  <a:lnTo>
                    <a:pt x="1" y="295"/>
                  </a:lnTo>
                  <a:lnTo>
                    <a:pt x="4" y="301"/>
                  </a:lnTo>
                  <a:lnTo>
                    <a:pt x="7" y="306"/>
                  </a:lnTo>
                  <a:lnTo>
                    <a:pt x="10" y="310"/>
                  </a:lnTo>
                  <a:lnTo>
                    <a:pt x="16" y="314"/>
                  </a:lnTo>
                  <a:lnTo>
                    <a:pt x="20" y="317"/>
                  </a:lnTo>
                  <a:lnTo>
                    <a:pt x="25" y="320"/>
                  </a:lnTo>
                  <a:lnTo>
                    <a:pt x="32" y="322"/>
                  </a:lnTo>
                  <a:lnTo>
                    <a:pt x="38" y="325"/>
                  </a:lnTo>
                  <a:lnTo>
                    <a:pt x="45" y="326"/>
                  </a:lnTo>
                  <a:lnTo>
                    <a:pt x="60" y="328"/>
                  </a:lnTo>
                  <a:lnTo>
                    <a:pt x="77" y="329"/>
                  </a:lnTo>
                  <a:lnTo>
                    <a:pt x="93" y="328"/>
                  </a:lnTo>
                  <a:lnTo>
                    <a:pt x="110" y="327"/>
                  </a:lnTo>
                  <a:lnTo>
                    <a:pt x="142" y="322"/>
                  </a:lnTo>
                  <a:lnTo>
                    <a:pt x="169" y="318"/>
                  </a:lnTo>
                  <a:lnTo>
                    <a:pt x="189" y="314"/>
                  </a:lnTo>
                  <a:lnTo>
                    <a:pt x="195" y="311"/>
                  </a:lnTo>
                  <a:lnTo>
                    <a:pt x="192" y="311"/>
                  </a:lnTo>
                  <a:lnTo>
                    <a:pt x="182" y="310"/>
                  </a:lnTo>
                  <a:lnTo>
                    <a:pt x="169" y="307"/>
                  </a:lnTo>
                  <a:lnTo>
                    <a:pt x="153" y="303"/>
                  </a:lnTo>
                  <a:lnTo>
                    <a:pt x="144" y="298"/>
                  </a:lnTo>
                  <a:lnTo>
                    <a:pt x="135" y="295"/>
                  </a:lnTo>
                  <a:lnTo>
                    <a:pt x="127" y="290"/>
                  </a:lnTo>
                  <a:lnTo>
                    <a:pt x="118" y="284"/>
                  </a:lnTo>
                  <a:lnTo>
                    <a:pt x="110" y="278"/>
                  </a:lnTo>
                  <a:lnTo>
                    <a:pt x="103" y="270"/>
                  </a:lnTo>
                  <a:lnTo>
                    <a:pt x="96" y="261"/>
                  </a:lnTo>
                  <a:lnTo>
                    <a:pt x="92" y="251"/>
                  </a:lnTo>
                  <a:lnTo>
                    <a:pt x="90" y="246"/>
                  </a:lnTo>
                  <a:lnTo>
                    <a:pt x="87" y="239"/>
                  </a:lnTo>
                  <a:lnTo>
                    <a:pt x="86" y="233"/>
                  </a:lnTo>
                  <a:lnTo>
                    <a:pt x="86" y="225"/>
                  </a:lnTo>
                  <a:lnTo>
                    <a:pt x="86" y="208"/>
                  </a:lnTo>
                  <a:lnTo>
                    <a:pt x="87" y="189"/>
                  </a:lnTo>
                  <a:lnTo>
                    <a:pt x="90" y="169"/>
                  </a:lnTo>
                  <a:lnTo>
                    <a:pt x="94" y="148"/>
                  </a:lnTo>
                  <a:lnTo>
                    <a:pt x="98" y="126"/>
                  </a:lnTo>
                  <a:lnTo>
                    <a:pt x="103" y="105"/>
                  </a:lnTo>
                  <a:lnTo>
                    <a:pt x="113" y="65"/>
                  </a:lnTo>
                  <a:lnTo>
                    <a:pt x="122" y="31"/>
                  </a:lnTo>
                  <a:lnTo>
                    <a:pt x="130" y="8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9C6F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5" name="iş1iḑé"/>
            <p:cNvSpPr/>
            <p:nvPr/>
          </p:nvSpPr>
          <p:spPr bwMode="auto">
            <a:xfrm>
              <a:off x="1516856" y="2039144"/>
              <a:ext cx="269875" cy="269875"/>
            </a:xfrm>
            <a:custGeom>
              <a:avLst/>
              <a:gdLst>
                <a:gd name="T0" fmla="*/ 734 w 851"/>
                <a:gd name="T1" fmla="*/ 0 h 851"/>
                <a:gd name="T2" fmla="*/ 773 w 851"/>
                <a:gd name="T3" fmla="*/ 10 h 851"/>
                <a:gd name="T4" fmla="*/ 804 w 851"/>
                <a:gd name="T5" fmla="*/ 29 h 851"/>
                <a:gd name="T6" fmla="*/ 829 w 851"/>
                <a:gd name="T7" fmla="*/ 57 h 851"/>
                <a:gd name="T8" fmla="*/ 846 w 851"/>
                <a:gd name="T9" fmla="*/ 90 h 851"/>
                <a:gd name="T10" fmla="*/ 851 w 851"/>
                <a:gd name="T11" fmla="*/ 130 h 851"/>
                <a:gd name="T12" fmla="*/ 849 w 851"/>
                <a:gd name="T13" fmla="*/ 748 h 851"/>
                <a:gd name="T14" fmla="*/ 836 w 851"/>
                <a:gd name="T15" fmla="*/ 784 h 851"/>
                <a:gd name="T16" fmla="*/ 813 w 851"/>
                <a:gd name="T17" fmla="*/ 814 h 851"/>
                <a:gd name="T18" fmla="*/ 783 w 851"/>
                <a:gd name="T19" fmla="*/ 836 h 851"/>
                <a:gd name="T20" fmla="*/ 747 w 851"/>
                <a:gd name="T21" fmla="*/ 849 h 851"/>
                <a:gd name="T22" fmla="*/ 128 w 851"/>
                <a:gd name="T23" fmla="*/ 851 h 851"/>
                <a:gd name="T24" fmla="*/ 90 w 851"/>
                <a:gd name="T25" fmla="*/ 846 h 851"/>
                <a:gd name="T26" fmla="*/ 56 w 851"/>
                <a:gd name="T27" fmla="*/ 830 h 851"/>
                <a:gd name="T28" fmla="*/ 29 w 851"/>
                <a:gd name="T29" fmla="*/ 805 h 851"/>
                <a:gd name="T30" fmla="*/ 10 w 851"/>
                <a:gd name="T31" fmla="*/ 773 h 851"/>
                <a:gd name="T32" fmla="*/ 0 w 851"/>
                <a:gd name="T33" fmla="*/ 736 h 851"/>
                <a:gd name="T34" fmla="*/ 0 w 851"/>
                <a:gd name="T35" fmla="*/ 116 h 851"/>
                <a:gd name="T36" fmla="*/ 10 w 851"/>
                <a:gd name="T37" fmla="*/ 79 h 851"/>
                <a:gd name="T38" fmla="*/ 29 w 851"/>
                <a:gd name="T39" fmla="*/ 47 h 851"/>
                <a:gd name="T40" fmla="*/ 56 w 851"/>
                <a:gd name="T41" fmla="*/ 22 h 851"/>
                <a:gd name="T42" fmla="*/ 90 w 851"/>
                <a:gd name="T43" fmla="*/ 5 h 851"/>
                <a:gd name="T44" fmla="*/ 128 w 851"/>
                <a:gd name="T45" fmla="*/ 0 h 851"/>
                <a:gd name="T46" fmla="*/ 674 w 851"/>
                <a:gd name="T47" fmla="*/ 83 h 851"/>
                <a:gd name="T48" fmla="*/ 705 w 851"/>
                <a:gd name="T49" fmla="*/ 91 h 851"/>
                <a:gd name="T50" fmla="*/ 730 w 851"/>
                <a:gd name="T51" fmla="*/ 107 h 851"/>
                <a:gd name="T52" fmla="*/ 751 w 851"/>
                <a:gd name="T53" fmla="*/ 128 h 851"/>
                <a:gd name="T54" fmla="*/ 764 w 851"/>
                <a:gd name="T55" fmla="*/ 156 h 851"/>
                <a:gd name="T56" fmla="*/ 768 w 851"/>
                <a:gd name="T57" fmla="*/ 187 h 851"/>
                <a:gd name="T58" fmla="*/ 766 w 851"/>
                <a:gd name="T59" fmla="*/ 686 h 851"/>
                <a:gd name="T60" fmla="*/ 755 w 851"/>
                <a:gd name="T61" fmla="*/ 714 h 851"/>
                <a:gd name="T62" fmla="*/ 738 w 851"/>
                <a:gd name="T63" fmla="*/ 738 h 851"/>
                <a:gd name="T64" fmla="*/ 714 w 851"/>
                <a:gd name="T65" fmla="*/ 757 h 851"/>
                <a:gd name="T66" fmla="*/ 685 w 851"/>
                <a:gd name="T67" fmla="*/ 766 h 851"/>
                <a:gd name="T68" fmla="*/ 186 w 851"/>
                <a:gd name="T69" fmla="*/ 769 h 851"/>
                <a:gd name="T70" fmla="*/ 156 w 851"/>
                <a:gd name="T71" fmla="*/ 764 h 851"/>
                <a:gd name="T72" fmla="*/ 128 w 851"/>
                <a:gd name="T73" fmla="*/ 751 h 851"/>
                <a:gd name="T74" fmla="*/ 107 w 851"/>
                <a:gd name="T75" fmla="*/ 730 h 851"/>
                <a:gd name="T76" fmla="*/ 90 w 851"/>
                <a:gd name="T77" fmla="*/ 705 h 851"/>
                <a:gd name="T78" fmla="*/ 83 w 851"/>
                <a:gd name="T79" fmla="*/ 675 h 851"/>
                <a:gd name="T80" fmla="*/ 83 w 851"/>
                <a:gd name="T81" fmla="*/ 176 h 851"/>
                <a:gd name="T82" fmla="*/ 90 w 851"/>
                <a:gd name="T83" fmla="*/ 147 h 851"/>
                <a:gd name="T84" fmla="*/ 107 w 851"/>
                <a:gd name="T85" fmla="*/ 121 h 851"/>
                <a:gd name="T86" fmla="*/ 128 w 851"/>
                <a:gd name="T87" fmla="*/ 100 h 851"/>
                <a:gd name="T88" fmla="*/ 156 w 851"/>
                <a:gd name="T89" fmla="*/ 87 h 851"/>
                <a:gd name="T90" fmla="*/ 186 w 851"/>
                <a:gd name="T91" fmla="*/ 83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51" h="851">
                  <a:moveTo>
                    <a:pt x="128" y="0"/>
                  </a:moveTo>
                  <a:lnTo>
                    <a:pt x="721" y="0"/>
                  </a:lnTo>
                  <a:lnTo>
                    <a:pt x="734" y="0"/>
                  </a:lnTo>
                  <a:lnTo>
                    <a:pt x="747" y="2"/>
                  </a:lnTo>
                  <a:lnTo>
                    <a:pt x="761" y="5"/>
                  </a:lnTo>
                  <a:lnTo>
                    <a:pt x="773" y="10"/>
                  </a:lnTo>
                  <a:lnTo>
                    <a:pt x="783" y="15"/>
                  </a:lnTo>
                  <a:lnTo>
                    <a:pt x="794" y="22"/>
                  </a:lnTo>
                  <a:lnTo>
                    <a:pt x="804" y="29"/>
                  </a:lnTo>
                  <a:lnTo>
                    <a:pt x="813" y="38"/>
                  </a:lnTo>
                  <a:lnTo>
                    <a:pt x="822" y="47"/>
                  </a:lnTo>
                  <a:lnTo>
                    <a:pt x="829" y="57"/>
                  </a:lnTo>
                  <a:lnTo>
                    <a:pt x="836" y="67"/>
                  </a:lnTo>
                  <a:lnTo>
                    <a:pt x="841" y="79"/>
                  </a:lnTo>
                  <a:lnTo>
                    <a:pt x="846" y="90"/>
                  </a:lnTo>
                  <a:lnTo>
                    <a:pt x="849" y="103"/>
                  </a:lnTo>
                  <a:lnTo>
                    <a:pt x="851" y="116"/>
                  </a:lnTo>
                  <a:lnTo>
                    <a:pt x="851" y="130"/>
                  </a:lnTo>
                  <a:lnTo>
                    <a:pt x="851" y="723"/>
                  </a:lnTo>
                  <a:lnTo>
                    <a:pt x="851" y="736"/>
                  </a:lnTo>
                  <a:lnTo>
                    <a:pt x="849" y="748"/>
                  </a:lnTo>
                  <a:lnTo>
                    <a:pt x="846" y="761"/>
                  </a:lnTo>
                  <a:lnTo>
                    <a:pt x="841" y="773"/>
                  </a:lnTo>
                  <a:lnTo>
                    <a:pt x="836" y="784"/>
                  </a:lnTo>
                  <a:lnTo>
                    <a:pt x="829" y="795"/>
                  </a:lnTo>
                  <a:lnTo>
                    <a:pt x="822" y="805"/>
                  </a:lnTo>
                  <a:lnTo>
                    <a:pt x="813" y="814"/>
                  </a:lnTo>
                  <a:lnTo>
                    <a:pt x="804" y="822"/>
                  </a:lnTo>
                  <a:lnTo>
                    <a:pt x="794" y="830"/>
                  </a:lnTo>
                  <a:lnTo>
                    <a:pt x="783" y="836"/>
                  </a:lnTo>
                  <a:lnTo>
                    <a:pt x="773" y="842"/>
                  </a:lnTo>
                  <a:lnTo>
                    <a:pt x="761" y="846"/>
                  </a:lnTo>
                  <a:lnTo>
                    <a:pt x="747" y="849"/>
                  </a:lnTo>
                  <a:lnTo>
                    <a:pt x="734" y="851"/>
                  </a:lnTo>
                  <a:lnTo>
                    <a:pt x="721" y="851"/>
                  </a:lnTo>
                  <a:lnTo>
                    <a:pt x="128" y="851"/>
                  </a:lnTo>
                  <a:lnTo>
                    <a:pt x="115" y="851"/>
                  </a:lnTo>
                  <a:lnTo>
                    <a:pt x="103" y="849"/>
                  </a:lnTo>
                  <a:lnTo>
                    <a:pt x="90" y="846"/>
                  </a:lnTo>
                  <a:lnTo>
                    <a:pt x="78" y="842"/>
                  </a:lnTo>
                  <a:lnTo>
                    <a:pt x="67" y="836"/>
                  </a:lnTo>
                  <a:lnTo>
                    <a:pt x="56" y="830"/>
                  </a:lnTo>
                  <a:lnTo>
                    <a:pt x="47" y="822"/>
                  </a:lnTo>
                  <a:lnTo>
                    <a:pt x="37" y="814"/>
                  </a:lnTo>
                  <a:lnTo>
                    <a:pt x="29" y="805"/>
                  </a:lnTo>
                  <a:lnTo>
                    <a:pt x="22" y="795"/>
                  </a:lnTo>
                  <a:lnTo>
                    <a:pt x="15" y="784"/>
                  </a:lnTo>
                  <a:lnTo>
                    <a:pt x="10" y="773"/>
                  </a:lnTo>
                  <a:lnTo>
                    <a:pt x="5" y="761"/>
                  </a:lnTo>
                  <a:lnTo>
                    <a:pt x="2" y="748"/>
                  </a:lnTo>
                  <a:lnTo>
                    <a:pt x="0" y="736"/>
                  </a:lnTo>
                  <a:lnTo>
                    <a:pt x="0" y="723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3"/>
                  </a:lnTo>
                  <a:lnTo>
                    <a:pt x="5" y="90"/>
                  </a:lnTo>
                  <a:lnTo>
                    <a:pt x="10" y="79"/>
                  </a:lnTo>
                  <a:lnTo>
                    <a:pt x="15" y="67"/>
                  </a:lnTo>
                  <a:lnTo>
                    <a:pt x="22" y="57"/>
                  </a:lnTo>
                  <a:lnTo>
                    <a:pt x="29" y="47"/>
                  </a:lnTo>
                  <a:lnTo>
                    <a:pt x="37" y="38"/>
                  </a:lnTo>
                  <a:lnTo>
                    <a:pt x="47" y="29"/>
                  </a:lnTo>
                  <a:lnTo>
                    <a:pt x="56" y="22"/>
                  </a:lnTo>
                  <a:lnTo>
                    <a:pt x="67" y="15"/>
                  </a:lnTo>
                  <a:lnTo>
                    <a:pt x="78" y="10"/>
                  </a:lnTo>
                  <a:lnTo>
                    <a:pt x="90" y="5"/>
                  </a:lnTo>
                  <a:lnTo>
                    <a:pt x="103" y="2"/>
                  </a:lnTo>
                  <a:lnTo>
                    <a:pt x="115" y="0"/>
                  </a:lnTo>
                  <a:lnTo>
                    <a:pt x="128" y="0"/>
                  </a:lnTo>
                  <a:close/>
                  <a:moveTo>
                    <a:pt x="186" y="83"/>
                  </a:moveTo>
                  <a:lnTo>
                    <a:pt x="664" y="83"/>
                  </a:lnTo>
                  <a:lnTo>
                    <a:pt x="674" y="83"/>
                  </a:lnTo>
                  <a:lnTo>
                    <a:pt x="685" y="85"/>
                  </a:lnTo>
                  <a:lnTo>
                    <a:pt x="695" y="87"/>
                  </a:lnTo>
                  <a:lnTo>
                    <a:pt x="705" y="91"/>
                  </a:lnTo>
                  <a:lnTo>
                    <a:pt x="714" y="96"/>
                  </a:lnTo>
                  <a:lnTo>
                    <a:pt x="722" y="100"/>
                  </a:lnTo>
                  <a:lnTo>
                    <a:pt x="730" y="107"/>
                  </a:lnTo>
                  <a:lnTo>
                    <a:pt x="738" y="113"/>
                  </a:lnTo>
                  <a:lnTo>
                    <a:pt x="744" y="121"/>
                  </a:lnTo>
                  <a:lnTo>
                    <a:pt x="751" y="128"/>
                  </a:lnTo>
                  <a:lnTo>
                    <a:pt x="755" y="137"/>
                  </a:lnTo>
                  <a:lnTo>
                    <a:pt x="761" y="147"/>
                  </a:lnTo>
                  <a:lnTo>
                    <a:pt x="764" y="156"/>
                  </a:lnTo>
                  <a:lnTo>
                    <a:pt x="766" y="166"/>
                  </a:lnTo>
                  <a:lnTo>
                    <a:pt x="768" y="176"/>
                  </a:lnTo>
                  <a:lnTo>
                    <a:pt x="768" y="187"/>
                  </a:lnTo>
                  <a:lnTo>
                    <a:pt x="768" y="665"/>
                  </a:lnTo>
                  <a:lnTo>
                    <a:pt x="768" y="675"/>
                  </a:lnTo>
                  <a:lnTo>
                    <a:pt x="766" y="686"/>
                  </a:lnTo>
                  <a:lnTo>
                    <a:pt x="764" y="696"/>
                  </a:lnTo>
                  <a:lnTo>
                    <a:pt x="761" y="705"/>
                  </a:lnTo>
                  <a:lnTo>
                    <a:pt x="755" y="714"/>
                  </a:lnTo>
                  <a:lnTo>
                    <a:pt x="751" y="723"/>
                  </a:lnTo>
                  <a:lnTo>
                    <a:pt x="744" y="730"/>
                  </a:lnTo>
                  <a:lnTo>
                    <a:pt x="738" y="738"/>
                  </a:lnTo>
                  <a:lnTo>
                    <a:pt x="730" y="745"/>
                  </a:lnTo>
                  <a:lnTo>
                    <a:pt x="722" y="751"/>
                  </a:lnTo>
                  <a:lnTo>
                    <a:pt x="714" y="757"/>
                  </a:lnTo>
                  <a:lnTo>
                    <a:pt x="705" y="761"/>
                  </a:lnTo>
                  <a:lnTo>
                    <a:pt x="695" y="764"/>
                  </a:lnTo>
                  <a:lnTo>
                    <a:pt x="685" y="766"/>
                  </a:lnTo>
                  <a:lnTo>
                    <a:pt x="674" y="769"/>
                  </a:lnTo>
                  <a:lnTo>
                    <a:pt x="664" y="769"/>
                  </a:lnTo>
                  <a:lnTo>
                    <a:pt x="186" y="769"/>
                  </a:lnTo>
                  <a:lnTo>
                    <a:pt x="176" y="769"/>
                  </a:lnTo>
                  <a:lnTo>
                    <a:pt x="165" y="766"/>
                  </a:lnTo>
                  <a:lnTo>
                    <a:pt x="156" y="764"/>
                  </a:lnTo>
                  <a:lnTo>
                    <a:pt x="146" y="761"/>
                  </a:lnTo>
                  <a:lnTo>
                    <a:pt x="137" y="757"/>
                  </a:lnTo>
                  <a:lnTo>
                    <a:pt x="128" y="751"/>
                  </a:lnTo>
                  <a:lnTo>
                    <a:pt x="121" y="745"/>
                  </a:lnTo>
                  <a:lnTo>
                    <a:pt x="113" y="738"/>
                  </a:lnTo>
                  <a:lnTo>
                    <a:pt x="107" y="730"/>
                  </a:lnTo>
                  <a:lnTo>
                    <a:pt x="100" y="723"/>
                  </a:lnTo>
                  <a:lnTo>
                    <a:pt x="95" y="714"/>
                  </a:lnTo>
                  <a:lnTo>
                    <a:pt x="90" y="705"/>
                  </a:lnTo>
                  <a:lnTo>
                    <a:pt x="87" y="696"/>
                  </a:lnTo>
                  <a:lnTo>
                    <a:pt x="85" y="686"/>
                  </a:lnTo>
                  <a:lnTo>
                    <a:pt x="83" y="675"/>
                  </a:lnTo>
                  <a:lnTo>
                    <a:pt x="83" y="665"/>
                  </a:lnTo>
                  <a:lnTo>
                    <a:pt x="83" y="187"/>
                  </a:lnTo>
                  <a:lnTo>
                    <a:pt x="83" y="176"/>
                  </a:lnTo>
                  <a:lnTo>
                    <a:pt x="85" y="166"/>
                  </a:lnTo>
                  <a:lnTo>
                    <a:pt x="87" y="156"/>
                  </a:lnTo>
                  <a:lnTo>
                    <a:pt x="90" y="147"/>
                  </a:lnTo>
                  <a:lnTo>
                    <a:pt x="95" y="137"/>
                  </a:lnTo>
                  <a:lnTo>
                    <a:pt x="100" y="128"/>
                  </a:lnTo>
                  <a:lnTo>
                    <a:pt x="107" y="121"/>
                  </a:lnTo>
                  <a:lnTo>
                    <a:pt x="113" y="113"/>
                  </a:lnTo>
                  <a:lnTo>
                    <a:pt x="121" y="107"/>
                  </a:lnTo>
                  <a:lnTo>
                    <a:pt x="128" y="100"/>
                  </a:lnTo>
                  <a:lnTo>
                    <a:pt x="137" y="96"/>
                  </a:lnTo>
                  <a:lnTo>
                    <a:pt x="146" y="91"/>
                  </a:lnTo>
                  <a:lnTo>
                    <a:pt x="156" y="87"/>
                  </a:lnTo>
                  <a:lnTo>
                    <a:pt x="165" y="85"/>
                  </a:lnTo>
                  <a:lnTo>
                    <a:pt x="176" y="83"/>
                  </a:lnTo>
                  <a:lnTo>
                    <a:pt x="186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6" name="î$ḷîḍé"/>
            <p:cNvSpPr/>
            <p:nvPr/>
          </p:nvSpPr>
          <p:spPr bwMode="auto">
            <a:xfrm>
              <a:off x="1915318" y="2039144"/>
              <a:ext cx="269875" cy="269875"/>
            </a:xfrm>
            <a:custGeom>
              <a:avLst/>
              <a:gdLst>
                <a:gd name="T0" fmla="*/ 736 w 853"/>
                <a:gd name="T1" fmla="*/ 0 h 851"/>
                <a:gd name="T2" fmla="*/ 773 w 853"/>
                <a:gd name="T3" fmla="*/ 10 h 851"/>
                <a:gd name="T4" fmla="*/ 805 w 853"/>
                <a:gd name="T5" fmla="*/ 29 h 851"/>
                <a:gd name="T6" fmla="*/ 830 w 853"/>
                <a:gd name="T7" fmla="*/ 57 h 851"/>
                <a:gd name="T8" fmla="*/ 846 w 853"/>
                <a:gd name="T9" fmla="*/ 90 h 851"/>
                <a:gd name="T10" fmla="*/ 853 w 853"/>
                <a:gd name="T11" fmla="*/ 130 h 851"/>
                <a:gd name="T12" fmla="*/ 850 w 853"/>
                <a:gd name="T13" fmla="*/ 748 h 851"/>
                <a:gd name="T14" fmla="*/ 836 w 853"/>
                <a:gd name="T15" fmla="*/ 784 h 851"/>
                <a:gd name="T16" fmla="*/ 815 w 853"/>
                <a:gd name="T17" fmla="*/ 814 h 851"/>
                <a:gd name="T18" fmla="*/ 784 w 853"/>
                <a:gd name="T19" fmla="*/ 836 h 851"/>
                <a:gd name="T20" fmla="*/ 749 w 853"/>
                <a:gd name="T21" fmla="*/ 849 h 851"/>
                <a:gd name="T22" fmla="*/ 130 w 853"/>
                <a:gd name="T23" fmla="*/ 851 h 851"/>
                <a:gd name="T24" fmla="*/ 92 w 853"/>
                <a:gd name="T25" fmla="*/ 846 h 851"/>
                <a:gd name="T26" fmla="*/ 57 w 853"/>
                <a:gd name="T27" fmla="*/ 830 h 851"/>
                <a:gd name="T28" fmla="*/ 30 w 853"/>
                <a:gd name="T29" fmla="*/ 805 h 851"/>
                <a:gd name="T30" fmla="*/ 10 w 853"/>
                <a:gd name="T31" fmla="*/ 773 h 851"/>
                <a:gd name="T32" fmla="*/ 2 w 853"/>
                <a:gd name="T33" fmla="*/ 736 h 851"/>
                <a:gd name="T34" fmla="*/ 2 w 853"/>
                <a:gd name="T35" fmla="*/ 116 h 851"/>
                <a:gd name="T36" fmla="*/ 10 w 853"/>
                <a:gd name="T37" fmla="*/ 79 h 851"/>
                <a:gd name="T38" fmla="*/ 30 w 853"/>
                <a:gd name="T39" fmla="*/ 47 h 851"/>
                <a:gd name="T40" fmla="*/ 57 w 853"/>
                <a:gd name="T41" fmla="*/ 22 h 851"/>
                <a:gd name="T42" fmla="*/ 92 w 853"/>
                <a:gd name="T43" fmla="*/ 5 h 851"/>
                <a:gd name="T44" fmla="*/ 130 w 853"/>
                <a:gd name="T45" fmla="*/ 0 h 851"/>
                <a:gd name="T46" fmla="*/ 675 w 853"/>
                <a:gd name="T47" fmla="*/ 83 h 851"/>
                <a:gd name="T48" fmla="*/ 706 w 853"/>
                <a:gd name="T49" fmla="*/ 91 h 851"/>
                <a:gd name="T50" fmla="*/ 732 w 853"/>
                <a:gd name="T51" fmla="*/ 107 h 851"/>
                <a:gd name="T52" fmla="*/ 751 w 853"/>
                <a:gd name="T53" fmla="*/ 128 h 851"/>
                <a:gd name="T54" fmla="*/ 765 w 853"/>
                <a:gd name="T55" fmla="*/ 156 h 851"/>
                <a:gd name="T56" fmla="*/ 769 w 853"/>
                <a:gd name="T57" fmla="*/ 187 h 851"/>
                <a:gd name="T58" fmla="*/ 767 w 853"/>
                <a:gd name="T59" fmla="*/ 686 h 851"/>
                <a:gd name="T60" fmla="*/ 757 w 853"/>
                <a:gd name="T61" fmla="*/ 714 h 851"/>
                <a:gd name="T62" fmla="*/ 738 w 853"/>
                <a:gd name="T63" fmla="*/ 738 h 851"/>
                <a:gd name="T64" fmla="*/ 714 w 853"/>
                <a:gd name="T65" fmla="*/ 757 h 851"/>
                <a:gd name="T66" fmla="*/ 686 w 853"/>
                <a:gd name="T67" fmla="*/ 766 h 851"/>
                <a:gd name="T68" fmla="*/ 188 w 853"/>
                <a:gd name="T69" fmla="*/ 769 h 851"/>
                <a:gd name="T70" fmla="*/ 156 w 853"/>
                <a:gd name="T71" fmla="*/ 764 h 851"/>
                <a:gd name="T72" fmla="*/ 129 w 853"/>
                <a:gd name="T73" fmla="*/ 751 h 851"/>
                <a:gd name="T74" fmla="*/ 107 w 853"/>
                <a:gd name="T75" fmla="*/ 730 h 851"/>
                <a:gd name="T76" fmla="*/ 92 w 853"/>
                <a:gd name="T77" fmla="*/ 705 h 851"/>
                <a:gd name="T78" fmla="*/ 84 w 853"/>
                <a:gd name="T79" fmla="*/ 675 h 851"/>
                <a:gd name="T80" fmla="*/ 84 w 853"/>
                <a:gd name="T81" fmla="*/ 176 h 851"/>
                <a:gd name="T82" fmla="*/ 92 w 853"/>
                <a:gd name="T83" fmla="*/ 147 h 851"/>
                <a:gd name="T84" fmla="*/ 107 w 853"/>
                <a:gd name="T85" fmla="*/ 121 h 851"/>
                <a:gd name="T86" fmla="*/ 129 w 853"/>
                <a:gd name="T87" fmla="*/ 100 h 851"/>
                <a:gd name="T88" fmla="*/ 156 w 853"/>
                <a:gd name="T89" fmla="*/ 87 h 851"/>
                <a:gd name="T90" fmla="*/ 188 w 853"/>
                <a:gd name="T91" fmla="*/ 83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53" h="851">
                  <a:moveTo>
                    <a:pt x="130" y="0"/>
                  </a:moveTo>
                  <a:lnTo>
                    <a:pt x="723" y="0"/>
                  </a:lnTo>
                  <a:lnTo>
                    <a:pt x="736" y="0"/>
                  </a:lnTo>
                  <a:lnTo>
                    <a:pt x="749" y="2"/>
                  </a:lnTo>
                  <a:lnTo>
                    <a:pt x="761" y="5"/>
                  </a:lnTo>
                  <a:lnTo>
                    <a:pt x="773" y="10"/>
                  </a:lnTo>
                  <a:lnTo>
                    <a:pt x="784" y="15"/>
                  </a:lnTo>
                  <a:lnTo>
                    <a:pt x="795" y="22"/>
                  </a:lnTo>
                  <a:lnTo>
                    <a:pt x="805" y="29"/>
                  </a:lnTo>
                  <a:lnTo>
                    <a:pt x="815" y="38"/>
                  </a:lnTo>
                  <a:lnTo>
                    <a:pt x="822" y="47"/>
                  </a:lnTo>
                  <a:lnTo>
                    <a:pt x="830" y="57"/>
                  </a:lnTo>
                  <a:lnTo>
                    <a:pt x="836" y="67"/>
                  </a:lnTo>
                  <a:lnTo>
                    <a:pt x="842" y="79"/>
                  </a:lnTo>
                  <a:lnTo>
                    <a:pt x="846" y="90"/>
                  </a:lnTo>
                  <a:lnTo>
                    <a:pt x="850" y="103"/>
                  </a:lnTo>
                  <a:lnTo>
                    <a:pt x="852" y="116"/>
                  </a:lnTo>
                  <a:lnTo>
                    <a:pt x="853" y="130"/>
                  </a:lnTo>
                  <a:lnTo>
                    <a:pt x="853" y="723"/>
                  </a:lnTo>
                  <a:lnTo>
                    <a:pt x="852" y="736"/>
                  </a:lnTo>
                  <a:lnTo>
                    <a:pt x="850" y="748"/>
                  </a:lnTo>
                  <a:lnTo>
                    <a:pt x="846" y="761"/>
                  </a:lnTo>
                  <a:lnTo>
                    <a:pt x="842" y="773"/>
                  </a:lnTo>
                  <a:lnTo>
                    <a:pt x="836" y="784"/>
                  </a:lnTo>
                  <a:lnTo>
                    <a:pt x="830" y="795"/>
                  </a:lnTo>
                  <a:lnTo>
                    <a:pt x="822" y="805"/>
                  </a:lnTo>
                  <a:lnTo>
                    <a:pt x="815" y="814"/>
                  </a:lnTo>
                  <a:lnTo>
                    <a:pt x="805" y="822"/>
                  </a:lnTo>
                  <a:lnTo>
                    <a:pt x="795" y="830"/>
                  </a:lnTo>
                  <a:lnTo>
                    <a:pt x="784" y="836"/>
                  </a:lnTo>
                  <a:lnTo>
                    <a:pt x="773" y="842"/>
                  </a:lnTo>
                  <a:lnTo>
                    <a:pt x="761" y="846"/>
                  </a:lnTo>
                  <a:lnTo>
                    <a:pt x="749" y="849"/>
                  </a:lnTo>
                  <a:lnTo>
                    <a:pt x="736" y="851"/>
                  </a:lnTo>
                  <a:lnTo>
                    <a:pt x="723" y="851"/>
                  </a:lnTo>
                  <a:lnTo>
                    <a:pt x="130" y="851"/>
                  </a:lnTo>
                  <a:lnTo>
                    <a:pt x="117" y="851"/>
                  </a:lnTo>
                  <a:lnTo>
                    <a:pt x="104" y="849"/>
                  </a:lnTo>
                  <a:lnTo>
                    <a:pt x="92" y="846"/>
                  </a:lnTo>
                  <a:lnTo>
                    <a:pt x="80" y="842"/>
                  </a:lnTo>
                  <a:lnTo>
                    <a:pt x="68" y="836"/>
                  </a:lnTo>
                  <a:lnTo>
                    <a:pt x="57" y="830"/>
                  </a:lnTo>
                  <a:lnTo>
                    <a:pt x="47" y="822"/>
                  </a:lnTo>
                  <a:lnTo>
                    <a:pt x="39" y="814"/>
                  </a:lnTo>
                  <a:lnTo>
                    <a:pt x="30" y="805"/>
                  </a:lnTo>
                  <a:lnTo>
                    <a:pt x="22" y="795"/>
                  </a:lnTo>
                  <a:lnTo>
                    <a:pt x="16" y="784"/>
                  </a:lnTo>
                  <a:lnTo>
                    <a:pt x="10" y="773"/>
                  </a:lnTo>
                  <a:lnTo>
                    <a:pt x="6" y="761"/>
                  </a:lnTo>
                  <a:lnTo>
                    <a:pt x="3" y="748"/>
                  </a:lnTo>
                  <a:lnTo>
                    <a:pt x="2" y="736"/>
                  </a:lnTo>
                  <a:lnTo>
                    <a:pt x="0" y="723"/>
                  </a:lnTo>
                  <a:lnTo>
                    <a:pt x="0" y="130"/>
                  </a:lnTo>
                  <a:lnTo>
                    <a:pt x="2" y="116"/>
                  </a:lnTo>
                  <a:lnTo>
                    <a:pt x="3" y="103"/>
                  </a:lnTo>
                  <a:lnTo>
                    <a:pt x="6" y="90"/>
                  </a:lnTo>
                  <a:lnTo>
                    <a:pt x="10" y="79"/>
                  </a:lnTo>
                  <a:lnTo>
                    <a:pt x="16" y="67"/>
                  </a:lnTo>
                  <a:lnTo>
                    <a:pt x="22" y="57"/>
                  </a:lnTo>
                  <a:lnTo>
                    <a:pt x="30" y="47"/>
                  </a:lnTo>
                  <a:lnTo>
                    <a:pt x="39" y="38"/>
                  </a:lnTo>
                  <a:lnTo>
                    <a:pt x="47" y="29"/>
                  </a:lnTo>
                  <a:lnTo>
                    <a:pt x="57" y="22"/>
                  </a:lnTo>
                  <a:lnTo>
                    <a:pt x="68" y="15"/>
                  </a:lnTo>
                  <a:lnTo>
                    <a:pt x="80" y="10"/>
                  </a:lnTo>
                  <a:lnTo>
                    <a:pt x="92" y="5"/>
                  </a:lnTo>
                  <a:lnTo>
                    <a:pt x="104" y="2"/>
                  </a:lnTo>
                  <a:lnTo>
                    <a:pt x="117" y="0"/>
                  </a:lnTo>
                  <a:lnTo>
                    <a:pt x="130" y="0"/>
                  </a:lnTo>
                  <a:close/>
                  <a:moveTo>
                    <a:pt x="188" y="83"/>
                  </a:moveTo>
                  <a:lnTo>
                    <a:pt x="665" y="83"/>
                  </a:lnTo>
                  <a:lnTo>
                    <a:pt x="675" y="83"/>
                  </a:lnTo>
                  <a:lnTo>
                    <a:pt x="686" y="85"/>
                  </a:lnTo>
                  <a:lnTo>
                    <a:pt x="696" y="87"/>
                  </a:lnTo>
                  <a:lnTo>
                    <a:pt x="706" y="91"/>
                  </a:lnTo>
                  <a:lnTo>
                    <a:pt x="714" y="96"/>
                  </a:lnTo>
                  <a:lnTo>
                    <a:pt x="723" y="100"/>
                  </a:lnTo>
                  <a:lnTo>
                    <a:pt x="732" y="107"/>
                  </a:lnTo>
                  <a:lnTo>
                    <a:pt x="738" y="113"/>
                  </a:lnTo>
                  <a:lnTo>
                    <a:pt x="745" y="121"/>
                  </a:lnTo>
                  <a:lnTo>
                    <a:pt x="751" y="128"/>
                  </a:lnTo>
                  <a:lnTo>
                    <a:pt x="757" y="137"/>
                  </a:lnTo>
                  <a:lnTo>
                    <a:pt x="761" y="147"/>
                  </a:lnTo>
                  <a:lnTo>
                    <a:pt x="765" y="156"/>
                  </a:lnTo>
                  <a:lnTo>
                    <a:pt x="767" y="166"/>
                  </a:lnTo>
                  <a:lnTo>
                    <a:pt x="769" y="176"/>
                  </a:lnTo>
                  <a:lnTo>
                    <a:pt x="769" y="187"/>
                  </a:lnTo>
                  <a:lnTo>
                    <a:pt x="769" y="665"/>
                  </a:lnTo>
                  <a:lnTo>
                    <a:pt x="769" y="675"/>
                  </a:lnTo>
                  <a:lnTo>
                    <a:pt x="767" y="686"/>
                  </a:lnTo>
                  <a:lnTo>
                    <a:pt x="765" y="696"/>
                  </a:lnTo>
                  <a:lnTo>
                    <a:pt x="761" y="705"/>
                  </a:lnTo>
                  <a:lnTo>
                    <a:pt x="757" y="714"/>
                  </a:lnTo>
                  <a:lnTo>
                    <a:pt x="751" y="723"/>
                  </a:lnTo>
                  <a:lnTo>
                    <a:pt x="745" y="730"/>
                  </a:lnTo>
                  <a:lnTo>
                    <a:pt x="738" y="738"/>
                  </a:lnTo>
                  <a:lnTo>
                    <a:pt x="732" y="745"/>
                  </a:lnTo>
                  <a:lnTo>
                    <a:pt x="723" y="751"/>
                  </a:lnTo>
                  <a:lnTo>
                    <a:pt x="714" y="757"/>
                  </a:lnTo>
                  <a:lnTo>
                    <a:pt x="706" y="761"/>
                  </a:lnTo>
                  <a:lnTo>
                    <a:pt x="696" y="764"/>
                  </a:lnTo>
                  <a:lnTo>
                    <a:pt x="686" y="766"/>
                  </a:lnTo>
                  <a:lnTo>
                    <a:pt x="675" y="769"/>
                  </a:lnTo>
                  <a:lnTo>
                    <a:pt x="665" y="769"/>
                  </a:lnTo>
                  <a:lnTo>
                    <a:pt x="188" y="769"/>
                  </a:lnTo>
                  <a:lnTo>
                    <a:pt x="177" y="769"/>
                  </a:lnTo>
                  <a:lnTo>
                    <a:pt x="167" y="766"/>
                  </a:lnTo>
                  <a:lnTo>
                    <a:pt x="156" y="764"/>
                  </a:lnTo>
                  <a:lnTo>
                    <a:pt x="148" y="761"/>
                  </a:lnTo>
                  <a:lnTo>
                    <a:pt x="138" y="757"/>
                  </a:lnTo>
                  <a:lnTo>
                    <a:pt x="129" y="751"/>
                  </a:lnTo>
                  <a:lnTo>
                    <a:pt x="121" y="745"/>
                  </a:lnTo>
                  <a:lnTo>
                    <a:pt x="114" y="738"/>
                  </a:lnTo>
                  <a:lnTo>
                    <a:pt x="107" y="730"/>
                  </a:lnTo>
                  <a:lnTo>
                    <a:pt x="102" y="723"/>
                  </a:lnTo>
                  <a:lnTo>
                    <a:pt x="96" y="714"/>
                  </a:lnTo>
                  <a:lnTo>
                    <a:pt x="92" y="705"/>
                  </a:lnTo>
                  <a:lnTo>
                    <a:pt x="88" y="696"/>
                  </a:lnTo>
                  <a:lnTo>
                    <a:pt x="85" y="686"/>
                  </a:lnTo>
                  <a:lnTo>
                    <a:pt x="84" y="675"/>
                  </a:lnTo>
                  <a:lnTo>
                    <a:pt x="83" y="665"/>
                  </a:lnTo>
                  <a:lnTo>
                    <a:pt x="83" y="187"/>
                  </a:lnTo>
                  <a:lnTo>
                    <a:pt x="84" y="176"/>
                  </a:lnTo>
                  <a:lnTo>
                    <a:pt x="85" y="166"/>
                  </a:lnTo>
                  <a:lnTo>
                    <a:pt x="88" y="156"/>
                  </a:lnTo>
                  <a:lnTo>
                    <a:pt x="92" y="147"/>
                  </a:lnTo>
                  <a:lnTo>
                    <a:pt x="96" y="137"/>
                  </a:lnTo>
                  <a:lnTo>
                    <a:pt x="102" y="128"/>
                  </a:lnTo>
                  <a:lnTo>
                    <a:pt x="107" y="121"/>
                  </a:lnTo>
                  <a:lnTo>
                    <a:pt x="114" y="113"/>
                  </a:lnTo>
                  <a:lnTo>
                    <a:pt x="121" y="107"/>
                  </a:lnTo>
                  <a:lnTo>
                    <a:pt x="129" y="100"/>
                  </a:lnTo>
                  <a:lnTo>
                    <a:pt x="138" y="96"/>
                  </a:lnTo>
                  <a:lnTo>
                    <a:pt x="148" y="91"/>
                  </a:lnTo>
                  <a:lnTo>
                    <a:pt x="156" y="87"/>
                  </a:lnTo>
                  <a:lnTo>
                    <a:pt x="167" y="85"/>
                  </a:lnTo>
                  <a:lnTo>
                    <a:pt x="177" y="83"/>
                  </a:lnTo>
                  <a:lnTo>
                    <a:pt x="188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7" name="ïşlíḓè"/>
            <p:cNvSpPr/>
            <p:nvPr/>
          </p:nvSpPr>
          <p:spPr bwMode="auto">
            <a:xfrm>
              <a:off x="1781968" y="2124869"/>
              <a:ext cx="142875" cy="285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8" name="íṥļïḍè"/>
            <p:cNvSpPr/>
            <p:nvPr/>
          </p:nvSpPr>
          <p:spPr bwMode="auto">
            <a:xfrm>
              <a:off x="1467643" y="2116932"/>
              <a:ext cx="49213" cy="317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9" name="islïdé"/>
            <p:cNvSpPr/>
            <p:nvPr/>
          </p:nvSpPr>
          <p:spPr bwMode="auto">
            <a:xfrm>
              <a:off x="2185193" y="2116932"/>
              <a:ext cx="49213" cy="317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</p:grpSp>
      <p:pic>
        <p:nvPicPr>
          <p:cNvPr id="5" name="ECB019B1-382A-4266-B25C-5B523AA43C14-3" descr="C:/Users/ADMINI~1/AppData/Local/Temp/qt_temp.cf7320qt_temp"/>
          <p:cNvPicPr>
            <a:picLocks noChangeAspect="1"/>
          </p:cNvPicPr>
          <p:nvPr/>
        </p:nvPicPr>
        <p:blipFill>
          <a:blip r:embed="rId3"/>
          <a:srcRect l="7780" t="4235" r="14688" b="54828"/>
          <a:stretch>
            <a:fillRect/>
          </a:stretch>
        </p:blipFill>
        <p:spPr>
          <a:xfrm>
            <a:off x="6463665" y="1397000"/>
            <a:ext cx="4946400" cy="5137393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2009140" y="1538605"/>
            <a:ext cx="3796665" cy="21685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fontAlgn="auto">
              <a:lnSpc>
                <a:spcPct val="150000"/>
              </a:lnSpc>
            </a:pP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输入：输入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三个数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a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、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b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、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c</a:t>
            </a:r>
            <a:endParaRPr lang="en-US" altLang="zh-CN" b="1">
              <a:solidFill>
                <a:schemeClr val="accent2">
                  <a:lumMod val="50000"/>
                </a:schemeClr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处理：如果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a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大于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b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和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c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，则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a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最大</a:t>
            </a:r>
            <a:endParaRPr lang="zh-CN" altLang="en-US" b="1">
              <a:solidFill>
                <a:schemeClr val="accent2">
                  <a:lumMod val="50000"/>
                </a:schemeClr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           否则如果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b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大于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c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，则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b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最大</a:t>
            </a:r>
            <a:endParaRPr lang="zh-CN" altLang="en-US" b="1">
              <a:solidFill>
                <a:schemeClr val="accent2">
                  <a:lumMod val="50000"/>
                </a:schemeClr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           否则</a:t>
            </a:r>
            <a:r>
              <a:rPr lang="en-US" altLang="zh-CN" b="1">
                <a:solidFill>
                  <a:schemeClr val="accent2">
                    <a:lumMod val="50000"/>
                  </a:schemeClr>
                </a:solidFill>
              </a:rPr>
              <a:t>c</a:t>
            </a: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最大</a:t>
            </a:r>
            <a:endParaRPr lang="zh-CN" altLang="en-US" b="1">
              <a:solidFill>
                <a:schemeClr val="accent2">
                  <a:lumMod val="50000"/>
                </a:schemeClr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b="1">
                <a:solidFill>
                  <a:schemeClr val="accent2">
                    <a:lumMod val="50000"/>
                  </a:schemeClr>
                </a:solidFill>
              </a:rPr>
              <a:t>输出：输出最大数</a:t>
            </a:r>
            <a:endParaRPr lang="zh-CN" altLang="en-US" b="1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6453505" y="2033905"/>
            <a:ext cx="2000250" cy="655320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圆角矩形 14"/>
          <p:cNvSpPr/>
          <p:nvPr/>
        </p:nvSpPr>
        <p:spPr>
          <a:xfrm>
            <a:off x="6581775" y="2885440"/>
            <a:ext cx="1739265" cy="736600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6" name="圆角矩形 15"/>
          <p:cNvSpPr/>
          <p:nvPr/>
        </p:nvSpPr>
        <p:spPr>
          <a:xfrm>
            <a:off x="6749415" y="5029835"/>
            <a:ext cx="1428750" cy="558165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7" name="圆角矩形 16"/>
          <p:cNvSpPr/>
          <p:nvPr/>
        </p:nvSpPr>
        <p:spPr>
          <a:xfrm>
            <a:off x="8189595" y="3610610"/>
            <a:ext cx="1739265" cy="736600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9" name="圆角矩形 18"/>
          <p:cNvSpPr/>
          <p:nvPr/>
        </p:nvSpPr>
        <p:spPr>
          <a:xfrm>
            <a:off x="8368030" y="5029835"/>
            <a:ext cx="1428750" cy="558165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0" name="圆角矩形 19"/>
          <p:cNvSpPr/>
          <p:nvPr/>
        </p:nvSpPr>
        <p:spPr>
          <a:xfrm>
            <a:off x="9981565" y="5029835"/>
            <a:ext cx="1428750" cy="558165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4" grpId="0" bldLvl="0" animBg="1"/>
      <p:bldP spid="15" grpId="0" bldLvl="0" animBg="1"/>
      <p:bldP spid="17" grpId="0" bldLvl="0" animBg="1"/>
      <p:bldP spid="16" grpId="0" bldLvl="0" animBg="1"/>
      <p:bldP spid="19" grpId="0" bldLvl="0" animBg="1"/>
      <p:bldP spid="20" grpId="0" bldLvl="0" animBg="1"/>
      <p:bldP spid="14" grpId="1" bldLvl="0" animBg="1"/>
      <p:bldP spid="15" grpId="1" bldLvl="0" animBg="1"/>
      <p:bldP spid="17" grpId="1" bldLvl="0" animBg="1"/>
      <p:bldP spid="16" grpId="1" bldLvl="0" animBg="1"/>
      <p:bldP spid="19" grpId="1" bldLvl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lstStyle/>
          <a:p>
            <a:r>
              <a:rPr lang="zh-CN" dirty="0"/>
              <a:t>求最大的数</a:t>
            </a:r>
            <a:endParaRPr lang="zh-CN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8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38" name="ïśḷíḍé"/>
          <p:cNvGrpSpPr/>
          <p:nvPr/>
        </p:nvGrpSpPr>
        <p:grpSpPr>
          <a:xfrm>
            <a:off x="1635310" y="1130300"/>
            <a:ext cx="4543548" cy="4858551"/>
            <a:chOff x="1731169" y="1028700"/>
            <a:chExt cx="4351830" cy="4653542"/>
          </a:xfrm>
        </p:grpSpPr>
        <p:sp>
          <p:nvSpPr>
            <p:cNvPr id="92" name="iṡ1iḍe"/>
            <p:cNvSpPr/>
            <p:nvPr/>
          </p:nvSpPr>
          <p:spPr bwMode="auto">
            <a:xfrm>
              <a:off x="3325212" y="1028700"/>
              <a:ext cx="1163744" cy="4653542"/>
            </a:xfrm>
            <a:custGeom>
              <a:avLst/>
              <a:gdLst>
                <a:gd name="T0" fmla="*/ 1764 w 4053"/>
                <a:gd name="T1" fmla="*/ 0 h 16197"/>
                <a:gd name="T2" fmla="*/ 2323 w 4053"/>
                <a:gd name="T3" fmla="*/ 0 h 16197"/>
                <a:gd name="T4" fmla="*/ 2323 w 4053"/>
                <a:gd name="T5" fmla="*/ 892 h 16197"/>
                <a:gd name="T6" fmla="*/ 1764 w 4053"/>
                <a:gd name="T7" fmla="*/ 892 h 16197"/>
                <a:gd name="T8" fmla="*/ 1764 w 4053"/>
                <a:gd name="T9" fmla="*/ 0 h 16197"/>
                <a:gd name="T10" fmla="*/ 1831 w 4053"/>
                <a:gd name="T11" fmla="*/ 11317 h 16197"/>
                <a:gd name="T12" fmla="*/ 2256 w 4053"/>
                <a:gd name="T13" fmla="*/ 11317 h 16197"/>
                <a:gd name="T14" fmla="*/ 2256 w 4053"/>
                <a:gd name="T15" fmla="*/ 13709 h 16197"/>
                <a:gd name="T16" fmla="*/ 4053 w 4053"/>
                <a:gd name="T17" fmla="*/ 15988 h 16197"/>
                <a:gd name="T18" fmla="*/ 3787 w 4053"/>
                <a:gd name="T19" fmla="*/ 16197 h 16197"/>
                <a:gd name="T20" fmla="*/ 2256 w 4053"/>
                <a:gd name="T21" fmla="*/ 14256 h 16197"/>
                <a:gd name="T22" fmla="*/ 2256 w 4053"/>
                <a:gd name="T23" fmla="*/ 16151 h 16197"/>
                <a:gd name="T24" fmla="*/ 1831 w 4053"/>
                <a:gd name="T25" fmla="*/ 16151 h 16197"/>
                <a:gd name="T26" fmla="*/ 1831 w 4053"/>
                <a:gd name="T27" fmla="*/ 14215 h 16197"/>
                <a:gd name="T28" fmla="*/ 266 w 4053"/>
                <a:gd name="T29" fmla="*/ 16197 h 16197"/>
                <a:gd name="T30" fmla="*/ 0 w 4053"/>
                <a:gd name="T31" fmla="*/ 15988 h 16197"/>
                <a:gd name="T32" fmla="*/ 1831 w 4053"/>
                <a:gd name="T33" fmla="*/ 13668 h 16197"/>
                <a:gd name="T34" fmla="*/ 1831 w 4053"/>
                <a:gd name="T35" fmla="*/ 11317 h 16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53" h="16197">
                  <a:moveTo>
                    <a:pt x="1764" y="0"/>
                  </a:moveTo>
                  <a:lnTo>
                    <a:pt x="2323" y="0"/>
                  </a:lnTo>
                  <a:lnTo>
                    <a:pt x="2323" y="892"/>
                  </a:lnTo>
                  <a:lnTo>
                    <a:pt x="1764" y="892"/>
                  </a:lnTo>
                  <a:lnTo>
                    <a:pt x="1764" y="0"/>
                  </a:lnTo>
                  <a:close/>
                  <a:moveTo>
                    <a:pt x="1831" y="11317"/>
                  </a:moveTo>
                  <a:lnTo>
                    <a:pt x="2256" y="11317"/>
                  </a:lnTo>
                  <a:lnTo>
                    <a:pt x="2256" y="13709"/>
                  </a:lnTo>
                  <a:lnTo>
                    <a:pt x="4053" y="15988"/>
                  </a:lnTo>
                  <a:lnTo>
                    <a:pt x="3787" y="16197"/>
                  </a:lnTo>
                  <a:lnTo>
                    <a:pt x="2256" y="14256"/>
                  </a:lnTo>
                  <a:lnTo>
                    <a:pt x="2256" y="16151"/>
                  </a:lnTo>
                  <a:lnTo>
                    <a:pt x="1831" y="16151"/>
                  </a:lnTo>
                  <a:lnTo>
                    <a:pt x="1831" y="14215"/>
                  </a:lnTo>
                  <a:lnTo>
                    <a:pt x="266" y="16197"/>
                  </a:lnTo>
                  <a:lnTo>
                    <a:pt x="0" y="15988"/>
                  </a:lnTo>
                  <a:lnTo>
                    <a:pt x="1831" y="13668"/>
                  </a:lnTo>
                  <a:lnTo>
                    <a:pt x="1831" y="113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90" name="işļïḋè"/>
            <p:cNvSpPr/>
            <p:nvPr/>
          </p:nvSpPr>
          <p:spPr bwMode="auto">
            <a:xfrm>
              <a:off x="1731169" y="1284435"/>
              <a:ext cx="4351830" cy="3543459"/>
            </a:xfrm>
            <a:custGeom>
              <a:avLst/>
              <a:gdLst>
                <a:gd name="T0" fmla="*/ 233 w 15146"/>
                <a:gd name="T1" fmla="*/ 466 h 10425"/>
                <a:gd name="T2" fmla="*/ 186 w 15146"/>
                <a:gd name="T3" fmla="*/ 460 h 10425"/>
                <a:gd name="T4" fmla="*/ 142 w 15146"/>
                <a:gd name="T5" fmla="*/ 447 h 10425"/>
                <a:gd name="T6" fmla="*/ 68 w 15146"/>
                <a:gd name="T7" fmla="*/ 397 h 10425"/>
                <a:gd name="T8" fmla="*/ 19 w 15146"/>
                <a:gd name="T9" fmla="*/ 323 h 10425"/>
                <a:gd name="T10" fmla="*/ 5 w 15146"/>
                <a:gd name="T11" fmla="*/ 279 h 10425"/>
                <a:gd name="T12" fmla="*/ 0 w 15146"/>
                <a:gd name="T13" fmla="*/ 233 h 10425"/>
                <a:gd name="T14" fmla="*/ 3 w 15146"/>
                <a:gd name="T15" fmla="*/ 197 h 10425"/>
                <a:gd name="T16" fmla="*/ 15 w 15146"/>
                <a:gd name="T17" fmla="*/ 154 h 10425"/>
                <a:gd name="T18" fmla="*/ 54 w 15146"/>
                <a:gd name="T19" fmla="*/ 85 h 10425"/>
                <a:gd name="T20" fmla="*/ 123 w 15146"/>
                <a:gd name="T21" fmla="*/ 28 h 10425"/>
                <a:gd name="T22" fmla="*/ 175 w 15146"/>
                <a:gd name="T23" fmla="*/ 8 h 10425"/>
                <a:gd name="T24" fmla="*/ 221 w 15146"/>
                <a:gd name="T25" fmla="*/ 1 h 10425"/>
                <a:gd name="T26" fmla="*/ 14938 w 15146"/>
                <a:gd name="T27" fmla="*/ 2 h 10425"/>
                <a:gd name="T28" fmla="*/ 14983 w 15146"/>
                <a:gd name="T29" fmla="*/ 11 h 10425"/>
                <a:gd name="T30" fmla="*/ 15044 w 15146"/>
                <a:gd name="T31" fmla="*/ 40 h 10425"/>
                <a:gd name="T32" fmla="*/ 15106 w 15146"/>
                <a:gd name="T33" fmla="*/ 104 h 10425"/>
                <a:gd name="T34" fmla="*/ 15135 w 15146"/>
                <a:gd name="T35" fmla="*/ 164 h 10425"/>
                <a:gd name="T36" fmla="*/ 15145 w 15146"/>
                <a:gd name="T37" fmla="*/ 209 h 10425"/>
                <a:gd name="T38" fmla="*/ 15146 w 15146"/>
                <a:gd name="T39" fmla="*/ 245 h 10425"/>
                <a:gd name="T40" fmla="*/ 15138 w 15146"/>
                <a:gd name="T41" fmla="*/ 291 h 10425"/>
                <a:gd name="T42" fmla="*/ 15118 w 15146"/>
                <a:gd name="T43" fmla="*/ 343 h 10425"/>
                <a:gd name="T44" fmla="*/ 15061 w 15146"/>
                <a:gd name="T45" fmla="*/ 412 h 10425"/>
                <a:gd name="T46" fmla="*/ 14993 w 15146"/>
                <a:gd name="T47" fmla="*/ 451 h 10425"/>
                <a:gd name="T48" fmla="*/ 14949 w 15146"/>
                <a:gd name="T49" fmla="*/ 462 h 10425"/>
                <a:gd name="T50" fmla="*/ 14729 w 15146"/>
                <a:gd name="T51" fmla="*/ 466 h 10425"/>
                <a:gd name="T52" fmla="*/ 14938 w 15146"/>
                <a:gd name="T53" fmla="*/ 9960 h 10425"/>
                <a:gd name="T54" fmla="*/ 14983 w 15146"/>
                <a:gd name="T55" fmla="*/ 9970 h 10425"/>
                <a:gd name="T56" fmla="*/ 15044 w 15146"/>
                <a:gd name="T57" fmla="*/ 9999 h 10425"/>
                <a:gd name="T58" fmla="*/ 15106 w 15146"/>
                <a:gd name="T59" fmla="*/ 10062 h 10425"/>
                <a:gd name="T60" fmla="*/ 15135 w 15146"/>
                <a:gd name="T61" fmla="*/ 10123 h 10425"/>
                <a:gd name="T62" fmla="*/ 15145 w 15146"/>
                <a:gd name="T63" fmla="*/ 10168 h 10425"/>
                <a:gd name="T64" fmla="*/ 15146 w 15146"/>
                <a:gd name="T65" fmla="*/ 10203 h 10425"/>
                <a:gd name="T66" fmla="*/ 15138 w 15146"/>
                <a:gd name="T67" fmla="*/ 10249 h 10425"/>
                <a:gd name="T68" fmla="*/ 15118 w 15146"/>
                <a:gd name="T69" fmla="*/ 10303 h 10425"/>
                <a:gd name="T70" fmla="*/ 15061 w 15146"/>
                <a:gd name="T71" fmla="*/ 10371 h 10425"/>
                <a:gd name="T72" fmla="*/ 14993 w 15146"/>
                <a:gd name="T73" fmla="*/ 10410 h 10425"/>
                <a:gd name="T74" fmla="*/ 14949 w 15146"/>
                <a:gd name="T75" fmla="*/ 10421 h 10425"/>
                <a:gd name="T76" fmla="*/ 233 w 15146"/>
                <a:gd name="T77" fmla="*/ 10425 h 10425"/>
                <a:gd name="T78" fmla="*/ 186 w 15146"/>
                <a:gd name="T79" fmla="*/ 10419 h 10425"/>
                <a:gd name="T80" fmla="*/ 142 w 15146"/>
                <a:gd name="T81" fmla="*/ 10406 h 10425"/>
                <a:gd name="T82" fmla="*/ 68 w 15146"/>
                <a:gd name="T83" fmla="*/ 10356 h 10425"/>
                <a:gd name="T84" fmla="*/ 19 w 15146"/>
                <a:gd name="T85" fmla="*/ 10282 h 10425"/>
                <a:gd name="T86" fmla="*/ 5 w 15146"/>
                <a:gd name="T87" fmla="*/ 10238 h 10425"/>
                <a:gd name="T88" fmla="*/ 0 w 15146"/>
                <a:gd name="T89" fmla="*/ 10191 h 10425"/>
                <a:gd name="T90" fmla="*/ 3 w 15146"/>
                <a:gd name="T91" fmla="*/ 10156 h 10425"/>
                <a:gd name="T92" fmla="*/ 15 w 15146"/>
                <a:gd name="T93" fmla="*/ 10112 h 10425"/>
                <a:gd name="T94" fmla="*/ 54 w 15146"/>
                <a:gd name="T95" fmla="*/ 10044 h 10425"/>
                <a:gd name="T96" fmla="*/ 123 w 15146"/>
                <a:gd name="T97" fmla="*/ 9987 h 10425"/>
                <a:gd name="T98" fmla="*/ 175 w 15146"/>
                <a:gd name="T99" fmla="*/ 9967 h 10425"/>
                <a:gd name="T100" fmla="*/ 221 w 15146"/>
                <a:gd name="T101" fmla="*/ 9959 h 10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46" h="10425">
                  <a:moveTo>
                    <a:pt x="233" y="9959"/>
                  </a:moveTo>
                  <a:lnTo>
                    <a:pt x="418" y="9959"/>
                  </a:lnTo>
                  <a:lnTo>
                    <a:pt x="418" y="466"/>
                  </a:lnTo>
                  <a:lnTo>
                    <a:pt x="233" y="466"/>
                  </a:lnTo>
                  <a:lnTo>
                    <a:pt x="221" y="466"/>
                  </a:lnTo>
                  <a:lnTo>
                    <a:pt x="209" y="465"/>
                  </a:lnTo>
                  <a:lnTo>
                    <a:pt x="198" y="462"/>
                  </a:lnTo>
                  <a:lnTo>
                    <a:pt x="186" y="460"/>
                  </a:lnTo>
                  <a:lnTo>
                    <a:pt x="175" y="458"/>
                  </a:lnTo>
                  <a:lnTo>
                    <a:pt x="164" y="455"/>
                  </a:lnTo>
                  <a:lnTo>
                    <a:pt x="153" y="451"/>
                  </a:lnTo>
                  <a:lnTo>
                    <a:pt x="142" y="447"/>
                  </a:lnTo>
                  <a:lnTo>
                    <a:pt x="123" y="437"/>
                  </a:lnTo>
                  <a:lnTo>
                    <a:pt x="103" y="425"/>
                  </a:lnTo>
                  <a:lnTo>
                    <a:pt x="85" y="412"/>
                  </a:lnTo>
                  <a:lnTo>
                    <a:pt x="68" y="397"/>
                  </a:lnTo>
                  <a:lnTo>
                    <a:pt x="54" y="381"/>
                  </a:lnTo>
                  <a:lnTo>
                    <a:pt x="40" y="363"/>
                  </a:lnTo>
                  <a:lnTo>
                    <a:pt x="29" y="343"/>
                  </a:lnTo>
                  <a:lnTo>
                    <a:pt x="19" y="323"/>
                  </a:lnTo>
                  <a:lnTo>
                    <a:pt x="15" y="313"/>
                  </a:lnTo>
                  <a:lnTo>
                    <a:pt x="10" y="302"/>
                  </a:lnTo>
                  <a:lnTo>
                    <a:pt x="8" y="291"/>
                  </a:lnTo>
                  <a:lnTo>
                    <a:pt x="5" y="279"/>
                  </a:lnTo>
                  <a:lnTo>
                    <a:pt x="3" y="268"/>
                  </a:lnTo>
                  <a:lnTo>
                    <a:pt x="2" y="256"/>
                  </a:lnTo>
                  <a:lnTo>
                    <a:pt x="0" y="245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21"/>
                  </a:lnTo>
                  <a:lnTo>
                    <a:pt x="2" y="209"/>
                  </a:lnTo>
                  <a:lnTo>
                    <a:pt x="3" y="197"/>
                  </a:lnTo>
                  <a:lnTo>
                    <a:pt x="5" y="186"/>
                  </a:lnTo>
                  <a:lnTo>
                    <a:pt x="8" y="174"/>
                  </a:lnTo>
                  <a:lnTo>
                    <a:pt x="10" y="164"/>
                  </a:lnTo>
                  <a:lnTo>
                    <a:pt x="15" y="154"/>
                  </a:lnTo>
                  <a:lnTo>
                    <a:pt x="19" y="143"/>
                  </a:lnTo>
                  <a:lnTo>
                    <a:pt x="29" y="122"/>
                  </a:lnTo>
                  <a:lnTo>
                    <a:pt x="40" y="104"/>
                  </a:lnTo>
                  <a:lnTo>
                    <a:pt x="54" y="85"/>
                  </a:lnTo>
                  <a:lnTo>
                    <a:pt x="68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2" y="19"/>
                  </a:lnTo>
                  <a:lnTo>
                    <a:pt x="153" y="14"/>
                  </a:lnTo>
                  <a:lnTo>
                    <a:pt x="164" y="11"/>
                  </a:lnTo>
                  <a:lnTo>
                    <a:pt x="175" y="8"/>
                  </a:lnTo>
                  <a:lnTo>
                    <a:pt x="186" y="5"/>
                  </a:lnTo>
                  <a:lnTo>
                    <a:pt x="198" y="3"/>
                  </a:lnTo>
                  <a:lnTo>
                    <a:pt x="209" y="2"/>
                  </a:lnTo>
                  <a:lnTo>
                    <a:pt x="221" y="1"/>
                  </a:lnTo>
                  <a:lnTo>
                    <a:pt x="233" y="0"/>
                  </a:lnTo>
                  <a:lnTo>
                    <a:pt x="14914" y="0"/>
                  </a:lnTo>
                  <a:lnTo>
                    <a:pt x="14926" y="1"/>
                  </a:lnTo>
                  <a:lnTo>
                    <a:pt x="14938" y="2"/>
                  </a:lnTo>
                  <a:lnTo>
                    <a:pt x="14949" y="3"/>
                  </a:lnTo>
                  <a:lnTo>
                    <a:pt x="14961" y="5"/>
                  </a:lnTo>
                  <a:lnTo>
                    <a:pt x="14972" y="8"/>
                  </a:lnTo>
                  <a:lnTo>
                    <a:pt x="14983" y="11"/>
                  </a:lnTo>
                  <a:lnTo>
                    <a:pt x="14993" y="14"/>
                  </a:lnTo>
                  <a:lnTo>
                    <a:pt x="15004" y="19"/>
                  </a:lnTo>
                  <a:lnTo>
                    <a:pt x="15024" y="28"/>
                  </a:lnTo>
                  <a:lnTo>
                    <a:pt x="15044" y="40"/>
                  </a:lnTo>
                  <a:lnTo>
                    <a:pt x="15061" y="53"/>
                  </a:lnTo>
                  <a:lnTo>
                    <a:pt x="15077" y="69"/>
                  </a:lnTo>
                  <a:lnTo>
                    <a:pt x="15093" y="85"/>
                  </a:lnTo>
                  <a:lnTo>
                    <a:pt x="15106" y="104"/>
                  </a:lnTo>
                  <a:lnTo>
                    <a:pt x="15118" y="122"/>
                  </a:lnTo>
                  <a:lnTo>
                    <a:pt x="15127" y="143"/>
                  </a:lnTo>
                  <a:lnTo>
                    <a:pt x="15132" y="154"/>
                  </a:lnTo>
                  <a:lnTo>
                    <a:pt x="15135" y="164"/>
                  </a:lnTo>
                  <a:lnTo>
                    <a:pt x="15138" y="174"/>
                  </a:lnTo>
                  <a:lnTo>
                    <a:pt x="15142" y="186"/>
                  </a:lnTo>
                  <a:lnTo>
                    <a:pt x="15144" y="197"/>
                  </a:lnTo>
                  <a:lnTo>
                    <a:pt x="15145" y="209"/>
                  </a:lnTo>
                  <a:lnTo>
                    <a:pt x="15146" y="221"/>
                  </a:lnTo>
                  <a:lnTo>
                    <a:pt x="15146" y="233"/>
                  </a:lnTo>
                  <a:lnTo>
                    <a:pt x="15146" y="233"/>
                  </a:lnTo>
                  <a:lnTo>
                    <a:pt x="15146" y="245"/>
                  </a:lnTo>
                  <a:lnTo>
                    <a:pt x="15145" y="256"/>
                  </a:lnTo>
                  <a:lnTo>
                    <a:pt x="15144" y="268"/>
                  </a:lnTo>
                  <a:lnTo>
                    <a:pt x="15142" y="279"/>
                  </a:lnTo>
                  <a:lnTo>
                    <a:pt x="15138" y="291"/>
                  </a:lnTo>
                  <a:lnTo>
                    <a:pt x="15135" y="302"/>
                  </a:lnTo>
                  <a:lnTo>
                    <a:pt x="15132" y="313"/>
                  </a:lnTo>
                  <a:lnTo>
                    <a:pt x="15127" y="323"/>
                  </a:lnTo>
                  <a:lnTo>
                    <a:pt x="15118" y="343"/>
                  </a:lnTo>
                  <a:lnTo>
                    <a:pt x="15106" y="363"/>
                  </a:lnTo>
                  <a:lnTo>
                    <a:pt x="15093" y="381"/>
                  </a:lnTo>
                  <a:lnTo>
                    <a:pt x="15077" y="397"/>
                  </a:lnTo>
                  <a:lnTo>
                    <a:pt x="15061" y="412"/>
                  </a:lnTo>
                  <a:lnTo>
                    <a:pt x="15044" y="425"/>
                  </a:lnTo>
                  <a:lnTo>
                    <a:pt x="15024" y="437"/>
                  </a:lnTo>
                  <a:lnTo>
                    <a:pt x="15004" y="447"/>
                  </a:lnTo>
                  <a:lnTo>
                    <a:pt x="14993" y="451"/>
                  </a:lnTo>
                  <a:lnTo>
                    <a:pt x="14983" y="455"/>
                  </a:lnTo>
                  <a:lnTo>
                    <a:pt x="14972" y="458"/>
                  </a:lnTo>
                  <a:lnTo>
                    <a:pt x="14961" y="460"/>
                  </a:lnTo>
                  <a:lnTo>
                    <a:pt x="14949" y="462"/>
                  </a:lnTo>
                  <a:lnTo>
                    <a:pt x="14938" y="465"/>
                  </a:lnTo>
                  <a:lnTo>
                    <a:pt x="14926" y="466"/>
                  </a:lnTo>
                  <a:lnTo>
                    <a:pt x="14914" y="466"/>
                  </a:lnTo>
                  <a:lnTo>
                    <a:pt x="14729" y="466"/>
                  </a:lnTo>
                  <a:lnTo>
                    <a:pt x="14729" y="9959"/>
                  </a:lnTo>
                  <a:lnTo>
                    <a:pt x="14914" y="9959"/>
                  </a:lnTo>
                  <a:lnTo>
                    <a:pt x="14926" y="9959"/>
                  </a:lnTo>
                  <a:lnTo>
                    <a:pt x="14938" y="9960"/>
                  </a:lnTo>
                  <a:lnTo>
                    <a:pt x="14949" y="9962"/>
                  </a:lnTo>
                  <a:lnTo>
                    <a:pt x="14961" y="9964"/>
                  </a:lnTo>
                  <a:lnTo>
                    <a:pt x="14972" y="9967"/>
                  </a:lnTo>
                  <a:lnTo>
                    <a:pt x="14983" y="9970"/>
                  </a:lnTo>
                  <a:lnTo>
                    <a:pt x="14993" y="9973"/>
                  </a:lnTo>
                  <a:lnTo>
                    <a:pt x="15004" y="9978"/>
                  </a:lnTo>
                  <a:lnTo>
                    <a:pt x="15024" y="9987"/>
                  </a:lnTo>
                  <a:lnTo>
                    <a:pt x="15044" y="9999"/>
                  </a:lnTo>
                  <a:lnTo>
                    <a:pt x="15061" y="10012"/>
                  </a:lnTo>
                  <a:lnTo>
                    <a:pt x="15077" y="10028"/>
                  </a:lnTo>
                  <a:lnTo>
                    <a:pt x="15093" y="10044"/>
                  </a:lnTo>
                  <a:lnTo>
                    <a:pt x="15106" y="10062"/>
                  </a:lnTo>
                  <a:lnTo>
                    <a:pt x="15118" y="10081"/>
                  </a:lnTo>
                  <a:lnTo>
                    <a:pt x="15127" y="10102"/>
                  </a:lnTo>
                  <a:lnTo>
                    <a:pt x="15132" y="10112"/>
                  </a:lnTo>
                  <a:lnTo>
                    <a:pt x="15135" y="10123"/>
                  </a:lnTo>
                  <a:lnTo>
                    <a:pt x="15138" y="10133"/>
                  </a:lnTo>
                  <a:lnTo>
                    <a:pt x="15142" y="10145"/>
                  </a:lnTo>
                  <a:lnTo>
                    <a:pt x="15144" y="10156"/>
                  </a:lnTo>
                  <a:lnTo>
                    <a:pt x="15145" y="10168"/>
                  </a:lnTo>
                  <a:lnTo>
                    <a:pt x="15146" y="10179"/>
                  </a:lnTo>
                  <a:lnTo>
                    <a:pt x="15146" y="10191"/>
                  </a:lnTo>
                  <a:lnTo>
                    <a:pt x="15146" y="10191"/>
                  </a:lnTo>
                  <a:lnTo>
                    <a:pt x="15146" y="10203"/>
                  </a:lnTo>
                  <a:lnTo>
                    <a:pt x="15145" y="10215"/>
                  </a:lnTo>
                  <a:lnTo>
                    <a:pt x="15144" y="10227"/>
                  </a:lnTo>
                  <a:lnTo>
                    <a:pt x="15142" y="10238"/>
                  </a:lnTo>
                  <a:lnTo>
                    <a:pt x="15138" y="10249"/>
                  </a:lnTo>
                  <a:lnTo>
                    <a:pt x="15135" y="10261"/>
                  </a:lnTo>
                  <a:lnTo>
                    <a:pt x="15132" y="10271"/>
                  </a:lnTo>
                  <a:lnTo>
                    <a:pt x="15127" y="10282"/>
                  </a:lnTo>
                  <a:lnTo>
                    <a:pt x="15118" y="10303"/>
                  </a:lnTo>
                  <a:lnTo>
                    <a:pt x="15106" y="10321"/>
                  </a:lnTo>
                  <a:lnTo>
                    <a:pt x="15093" y="10340"/>
                  </a:lnTo>
                  <a:lnTo>
                    <a:pt x="15077" y="10356"/>
                  </a:lnTo>
                  <a:lnTo>
                    <a:pt x="15061" y="10371"/>
                  </a:lnTo>
                  <a:lnTo>
                    <a:pt x="15044" y="10384"/>
                  </a:lnTo>
                  <a:lnTo>
                    <a:pt x="15024" y="10396"/>
                  </a:lnTo>
                  <a:lnTo>
                    <a:pt x="15004" y="10406"/>
                  </a:lnTo>
                  <a:lnTo>
                    <a:pt x="14993" y="10410"/>
                  </a:lnTo>
                  <a:lnTo>
                    <a:pt x="14983" y="10414"/>
                  </a:lnTo>
                  <a:lnTo>
                    <a:pt x="14972" y="10417"/>
                  </a:lnTo>
                  <a:lnTo>
                    <a:pt x="14961" y="10419"/>
                  </a:lnTo>
                  <a:lnTo>
                    <a:pt x="14949" y="10421"/>
                  </a:lnTo>
                  <a:lnTo>
                    <a:pt x="14938" y="10422"/>
                  </a:lnTo>
                  <a:lnTo>
                    <a:pt x="14926" y="10424"/>
                  </a:lnTo>
                  <a:lnTo>
                    <a:pt x="14914" y="10425"/>
                  </a:lnTo>
                  <a:lnTo>
                    <a:pt x="233" y="10425"/>
                  </a:lnTo>
                  <a:lnTo>
                    <a:pt x="221" y="10424"/>
                  </a:lnTo>
                  <a:lnTo>
                    <a:pt x="209" y="10422"/>
                  </a:lnTo>
                  <a:lnTo>
                    <a:pt x="198" y="10421"/>
                  </a:lnTo>
                  <a:lnTo>
                    <a:pt x="186" y="10419"/>
                  </a:lnTo>
                  <a:lnTo>
                    <a:pt x="175" y="10417"/>
                  </a:lnTo>
                  <a:lnTo>
                    <a:pt x="164" y="10414"/>
                  </a:lnTo>
                  <a:lnTo>
                    <a:pt x="153" y="10410"/>
                  </a:lnTo>
                  <a:lnTo>
                    <a:pt x="142" y="10406"/>
                  </a:lnTo>
                  <a:lnTo>
                    <a:pt x="123" y="10396"/>
                  </a:lnTo>
                  <a:lnTo>
                    <a:pt x="103" y="10384"/>
                  </a:lnTo>
                  <a:lnTo>
                    <a:pt x="85" y="10371"/>
                  </a:lnTo>
                  <a:lnTo>
                    <a:pt x="68" y="10356"/>
                  </a:lnTo>
                  <a:lnTo>
                    <a:pt x="54" y="10340"/>
                  </a:lnTo>
                  <a:lnTo>
                    <a:pt x="40" y="10321"/>
                  </a:lnTo>
                  <a:lnTo>
                    <a:pt x="29" y="10303"/>
                  </a:lnTo>
                  <a:lnTo>
                    <a:pt x="19" y="10282"/>
                  </a:lnTo>
                  <a:lnTo>
                    <a:pt x="15" y="10271"/>
                  </a:lnTo>
                  <a:lnTo>
                    <a:pt x="10" y="10261"/>
                  </a:lnTo>
                  <a:lnTo>
                    <a:pt x="8" y="10249"/>
                  </a:lnTo>
                  <a:lnTo>
                    <a:pt x="5" y="10238"/>
                  </a:lnTo>
                  <a:lnTo>
                    <a:pt x="3" y="10227"/>
                  </a:lnTo>
                  <a:lnTo>
                    <a:pt x="2" y="10215"/>
                  </a:lnTo>
                  <a:lnTo>
                    <a:pt x="0" y="10203"/>
                  </a:lnTo>
                  <a:lnTo>
                    <a:pt x="0" y="10191"/>
                  </a:lnTo>
                  <a:lnTo>
                    <a:pt x="0" y="10191"/>
                  </a:lnTo>
                  <a:lnTo>
                    <a:pt x="0" y="10179"/>
                  </a:lnTo>
                  <a:lnTo>
                    <a:pt x="2" y="10168"/>
                  </a:lnTo>
                  <a:lnTo>
                    <a:pt x="3" y="10156"/>
                  </a:lnTo>
                  <a:lnTo>
                    <a:pt x="5" y="10145"/>
                  </a:lnTo>
                  <a:lnTo>
                    <a:pt x="8" y="10133"/>
                  </a:lnTo>
                  <a:lnTo>
                    <a:pt x="10" y="10123"/>
                  </a:lnTo>
                  <a:lnTo>
                    <a:pt x="15" y="10112"/>
                  </a:lnTo>
                  <a:lnTo>
                    <a:pt x="19" y="10102"/>
                  </a:lnTo>
                  <a:lnTo>
                    <a:pt x="29" y="10081"/>
                  </a:lnTo>
                  <a:lnTo>
                    <a:pt x="40" y="10062"/>
                  </a:lnTo>
                  <a:lnTo>
                    <a:pt x="54" y="10044"/>
                  </a:lnTo>
                  <a:lnTo>
                    <a:pt x="68" y="10028"/>
                  </a:lnTo>
                  <a:lnTo>
                    <a:pt x="85" y="10012"/>
                  </a:lnTo>
                  <a:lnTo>
                    <a:pt x="103" y="9999"/>
                  </a:lnTo>
                  <a:lnTo>
                    <a:pt x="123" y="9987"/>
                  </a:lnTo>
                  <a:lnTo>
                    <a:pt x="142" y="9978"/>
                  </a:lnTo>
                  <a:lnTo>
                    <a:pt x="153" y="9973"/>
                  </a:lnTo>
                  <a:lnTo>
                    <a:pt x="164" y="9970"/>
                  </a:lnTo>
                  <a:lnTo>
                    <a:pt x="175" y="9967"/>
                  </a:lnTo>
                  <a:lnTo>
                    <a:pt x="186" y="9964"/>
                  </a:lnTo>
                  <a:lnTo>
                    <a:pt x="198" y="9962"/>
                  </a:lnTo>
                  <a:lnTo>
                    <a:pt x="209" y="9960"/>
                  </a:lnTo>
                  <a:lnTo>
                    <a:pt x="221" y="9959"/>
                  </a:lnTo>
                  <a:lnTo>
                    <a:pt x="233" y="995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91" name="íSḷîḍè"/>
            <p:cNvSpPr/>
            <p:nvPr/>
          </p:nvSpPr>
          <p:spPr bwMode="auto">
            <a:xfrm>
              <a:off x="1896392" y="1419487"/>
              <a:ext cx="4021384" cy="32321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</p:grpSp>
      <p:grpSp>
        <p:nvGrpSpPr>
          <p:cNvPr id="40" name="islíḍè"/>
          <p:cNvGrpSpPr/>
          <p:nvPr/>
        </p:nvGrpSpPr>
        <p:grpSpPr>
          <a:xfrm>
            <a:off x="303035" y="2938686"/>
            <a:ext cx="2082800" cy="3127533"/>
            <a:chOff x="794543" y="1404144"/>
            <a:chExt cx="2733675" cy="4700588"/>
          </a:xfrm>
        </p:grpSpPr>
        <p:sp>
          <p:nvSpPr>
            <p:cNvPr id="41" name="ïŝľíḋé"/>
            <p:cNvSpPr/>
            <p:nvPr/>
          </p:nvSpPr>
          <p:spPr bwMode="auto">
            <a:xfrm>
              <a:off x="1381918" y="4166394"/>
              <a:ext cx="989013" cy="1736725"/>
            </a:xfrm>
            <a:custGeom>
              <a:avLst/>
              <a:gdLst>
                <a:gd name="T0" fmla="*/ 0 w 3117"/>
                <a:gd name="T1" fmla="*/ 0 h 5469"/>
                <a:gd name="T2" fmla="*/ 3117 w 3117"/>
                <a:gd name="T3" fmla="*/ 0 h 5469"/>
                <a:gd name="T4" fmla="*/ 2488 w 3117"/>
                <a:gd name="T5" fmla="*/ 5469 h 5469"/>
                <a:gd name="T6" fmla="*/ 1859 w 3117"/>
                <a:gd name="T7" fmla="*/ 5469 h 5469"/>
                <a:gd name="T8" fmla="*/ 1339 w 3117"/>
                <a:gd name="T9" fmla="*/ 1313 h 5469"/>
                <a:gd name="T10" fmla="*/ 957 w 3117"/>
                <a:gd name="T11" fmla="*/ 5333 h 5469"/>
                <a:gd name="T12" fmla="*/ 246 w 3117"/>
                <a:gd name="T13" fmla="*/ 5333 h 5469"/>
                <a:gd name="T14" fmla="*/ 0 w 3117"/>
                <a:gd name="T15" fmla="*/ 0 h 5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17" h="5469">
                  <a:moveTo>
                    <a:pt x="0" y="0"/>
                  </a:moveTo>
                  <a:lnTo>
                    <a:pt x="3117" y="0"/>
                  </a:lnTo>
                  <a:lnTo>
                    <a:pt x="2488" y="5469"/>
                  </a:lnTo>
                  <a:lnTo>
                    <a:pt x="1859" y="5469"/>
                  </a:lnTo>
                  <a:lnTo>
                    <a:pt x="1339" y="1313"/>
                  </a:lnTo>
                  <a:lnTo>
                    <a:pt x="957" y="5333"/>
                  </a:lnTo>
                  <a:lnTo>
                    <a:pt x="246" y="5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2" name="ïṡḻîḑè"/>
            <p:cNvSpPr/>
            <p:nvPr/>
          </p:nvSpPr>
          <p:spPr bwMode="auto">
            <a:xfrm>
              <a:off x="3185318" y="2393157"/>
              <a:ext cx="342900" cy="468313"/>
            </a:xfrm>
            <a:custGeom>
              <a:avLst/>
              <a:gdLst>
                <a:gd name="T0" fmla="*/ 14 w 1078"/>
                <a:gd name="T1" fmla="*/ 965 h 1477"/>
                <a:gd name="T2" fmla="*/ 106 w 1078"/>
                <a:gd name="T3" fmla="*/ 882 h 1477"/>
                <a:gd name="T4" fmla="*/ 244 w 1078"/>
                <a:gd name="T5" fmla="*/ 759 h 1477"/>
                <a:gd name="T6" fmla="*/ 351 w 1078"/>
                <a:gd name="T7" fmla="*/ 672 h 1477"/>
                <a:gd name="T8" fmla="*/ 413 w 1078"/>
                <a:gd name="T9" fmla="*/ 627 h 1477"/>
                <a:gd name="T10" fmla="*/ 463 w 1078"/>
                <a:gd name="T11" fmla="*/ 598 h 1477"/>
                <a:gd name="T12" fmla="*/ 509 w 1078"/>
                <a:gd name="T13" fmla="*/ 569 h 1477"/>
                <a:gd name="T14" fmla="*/ 551 w 1078"/>
                <a:gd name="T15" fmla="*/ 538 h 1477"/>
                <a:gd name="T16" fmla="*/ 593 w 1078"/>
                <a:gd name="T17" fmla="*/ 506 h 1477"/>
                <a:gd name="T18" fmla="*/ 653 w 1078"/>
                <a:gd name="T19" fmla="*/ 455 h 1477"/>
                <a:gd name="T20" fmla="*/ 730 w 1078"/>
                <a:gd name="T21" fmla="*/ 382 h 1477"/>
                <a:gd name="T22" fmla="*/ 788 w 1078"/>
                <a:gd name="T23" fmla="*/ 320 h 1477"/>
                <a:gd name="T24" fmla="*/ 826 w 1078"/>
                <a:gd name="T25" fmla="*/ 267 h 1477"/>
                <a:gd name="T26" fmla="*/ 884 w 1078"/>
                <a:gd name="T27" fmla="*/ 173 h 1477"/>
                <a:gd name="T28" fmla="*/ 939 w 1078"/>
                <a:gd name="T29" fmla="*/ 83 h 1477"/>
                <a:gd name="T30" fmla="*/ 966 w 1078"/>
                <a:gd name="T31" fmla="*/ 47 h 1477"/>
                <a:gd name="T32" fmla="*/ 983 w 1078"/>
                <a:gd name="T33" fmla="*/ 28 h 1477"/>
                <a:gd name="T34" fmla="*/ 999 w 1078"/>
                <a:gd name="T35" fmla="*/ 12 h 1477"/>
                <a:gd name="T36" fmla="*/ 1016 w 1078"/>
                <a:gd name="T37" fmla="*/ 4 h 1477"/>
                <a:gd name="T38" fmla="*/ 1032 w 1078"/>
                <a:gd name="T39" fmla="*/ 0 h 1477"/>
                <a:gd name="T40" fmla="*/ 1047 w 1078"/>
                <a:gd name="T41" fmla="*/ 5 h 1477"/>
                <a:gd name="T42" fmla="*/ 1060 w 1078"/>
                <a:gd name="T43" fmla="*/ 16 h 1477"/>
                <a:gd name="T44" fmla="*/ 1070 w 1078"/>
                <a:gd name="T45" fmla="*/ 34 h 1477"/>
                <a:gd name="T46" fmla="*/ 1076 w 1078"/>
                <a:gd name="T47" fmla="*/ 59 h 1477"/>
                <a:gd name="T48" fmla="*/ 1078 w 1078"/>
                <a:gd name="T49" fmla="*/ 88 h 1477"/>
                <a:gd name="T50" fmla="*/ 1076 w 1078"/>
                <a:gd name="T51" fmla="*/ 121 h 1477"/>
                <a:gd name="T52" fmla="*/ 1070 w 1078"/>
                <a:gd name="T53" fmla="*/ 157 h 1477"/>
                <a:gd name="T54" fmla="*/ 1058 w 1078"/>
                <a:gd name="T55" fmla="*/ 216 h 1477"/>
                <a:gd name="T56" fmla="*/ 1033 w 1078"/>
                <a:gd name="T57" fmla="*/ 298 h 1477"/>
                <a:gd name="T58" fmla="*/ 1002 w 1078"/>
                <a:gd name="T59" fmla="*/ 379 h 1477"/>
                <a:gd name="T60" fmla="*/ 967 w 1078"/>
                <a:gd name="T61" fmla="*/ 451 h 1477"/>
                <a:gd name="T62" fmla="*/ 939 w 1078"/>
                <a:gd name="T63" fmla="*/ 497 h 1477"/>
                <a:gd name="T64" fmla="*/ 922 w 1078"/>
                <a:gd name="T65" fmla="*/ 521 h 1477"/>
                <a:gd name="T66" fmla="*/ 905 w 1078"/>
                <a:gd name="T67" fmla="*/ 540 h 1477"/>
                <a:gd name="T68" fmla="*/ 888 w 1078"/>
                <a:gd name="T69" fmla="*/ 563 h 1477"/>
                <a:gd name="T70" fmla="*/ 864 w 1078"/>
                <a:gd name="T71" fmla="*/ 603 h 1477"/>
                <a:gd name="T72" fmla="*/ 834 w 1078"/>
                <a:gd name="T73" fmla="*/ 668 h 1477"/>
                <a:gd name="T74" fmla="*/ 803 w 1078"/>
                <a:gd name="T75" fmla="*/ 740 h 1477"/>
                <a:gd name="T76" fmla="*/ 760 w 1078"/>
                <a:gd name="T77" fmla="*/ 855 h 1477"/>
                <a:gd name="T78" fmla="*/ 717 w 1078"/>
                <a:gd name="T79" fmla="*/ 968 h 1477"/>
                <a:gd name="T80" fmla="*/ 689 w 1078"/>
                <a:gd name="T81" fmla="*/ 1034 h 1477"/>
                <a:gd name="T82" fmla="*/ 658 w 1078"/>
                <a:gd name="T83" fmla="*/ 1093 h 1477"/>
                <a:gd name="T84" fmla="*/ 619 w 1078"/>
                <a:gd name="T85" fmla="*/ 1154 h 1477"/>
                <a:gd name="T86" fmla="*/ 571 w 1078"/>
                <a:gd name="T87" fmla="*/ 1217 h 1477"/>
                <a:gd name="T88" fmla="*/ 520 w 1078"/>
                <a:gd name="T89" fmla="*/ 1280 h 1477"/>
                <a:gd name="T90" fmla="*/ 444 w 1078"/>
                <a:gd name="T91" fmla="*/ 1365 h 1477"/>
                <a:gd name="T92" fmla="*/ 359 w 1078"/>
                <a:gd name="T93" fmla="*/ 1451 h 1477"/>
                <a:gd name="T94" fmla="*/ 327 w 1078"/>
                <a:gd name="T95" fmla="*/ 1477 h 1477"/>
                <a:gd name="T96" fmla="*/ 313 w 1078"/>
                <a:gd name="T97" fmla="*/ 1471 h 1477"/>
                <a:gd name="T98" fmla="*/ 294 w 1078"/>
                <a:gd name="T99" fmla="*/ 1456 h 1477"/>
                <a:gd name="T100" fmla="*/ 271 w 1078"/>
                <a:gd name="T101" fmla="*/ 1430 h 1477"/>
                <a:gd name="T102" fmla="*/ 233 w 1078"/>
                <a:gd name="T103" fmla="*/ 1378 h 1477"/>
                <a:gd name="T104" fmla="*/ 176 w 1078"/>
                <a:gd name="T105" fmla="*/ 1290 h 1477"/>
                <a:gd name="T106" fmla="*/ 91 w 1078"/>
                <a:gd name="T107" fmla="*/ 1146 h 1477"/>
                <a:gd name="T108" fmla="*/ 12 w 1078"/>
                <a:gd name="T109" fmla="*/ 1001 h 1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8" h="1477">
                  <a:moveTo>
                    <a:pt x="0" y="979"/>
                  </a:moveTo>
                  <a:lnTo>
                    <a:pt x="14" y="965"/>
                  </a:lnTo>
                  <a:lnTo>
                    <a:pt x="51" y="931"/>
                  </a:lnTo>
                  <a:lnTo>
                    <a:pt x="106" y="882"/>
                  </a:lnTo>
                  <a:lnTo>
                    <a:pt x="172" y="822"/>
                  </a:lnTo>
                  <a:lnTo>
                    <a:pt x="244" y="759"/>
                  </a:lnTo>
                  <a:lnTo>
                    <a:pt x="317" y="699"/>
                  </a:lnTo>
                  <a:lnTo>
                    <a:pt x="351" y="672"/>
                  </a:lnTo>
                  <a:lnTo>
                    <a:pt x="384" y="648"/>
                  </a:lnTo>
                  <a:lnTo>
                    <a:pt x="413" y="627"/>
                  </a:lnTo>
                  <a:lnTo>
                    <a:pt x="439" y="611"/>
                  </a:lnTo>
                  <a:lnTo>
                    <a:pt x="463" y="598"/>
                  </a:lnTo>
                  <a:lnTo>
                    <a:pt x="486" y="584"/>
                  </a:lnTo>
                  <a:lnTo>
                    <a:pt x="509" y="569"/>
                  </a:lnTo>
                  <a:lnTo>
                    <a:pt x="531" y="553"/>
                  </a:lnTo>
                  <a:lnTo>
                    <a:pt x="551" y="538"/>
                  </a:lnTo>
                  <a:lnTo>
                    <a:pt x="573" y="523"/>
                  </a:lnTo>
                  <a:lnTo>
                    <a:pt x="593" y="506"/>
                  </a:lnTo>
                  <a:lnTo>
                    <a:pt x="614" y="490"/>
                  </a:lnTo>
                  <a:lnTo>
                    <a:pt x="653" y="455"/>
                  </a:lnTo>
                  <a:lnTo>
                    <a:pt x="692" y="419"/>
                  </a:lnTo>
                  <a:lnTo>
                    <a:pt x="730" y="382"/>
                  </a:lnTo>
                  <a:lnTo>
                    <a:pt x="768" y="343"/>
                  </a:lnTo>
                  <a:lnTo>
                    <a:pt x="788" y="320"/>
                  </a:lnTo>
                  <a:lnTo>
                    <a:pt x="807" y="295"/>
                  </a:lnTo>
                  <a:lnTo>
                    <a:pt x="826" y="267"/>
                  </a:lnTo>
                  <a:lnTo>
                    <a:pt x="846" y="236"/>
                  </a:lnTo>
                  <a:lnTo>
                    <a:pt x="884" y="173"/>
                  </a:lnTo>
                  <a:lnTo>
                    <a:pt x="921" y="112"/>
                  </a:lnTo>
                  <a:lnTo>
                    <a:pt x="939" y="83"/>
                  </a:lnTo>
                  <a:lnTo>
                    <a:pt x="957" y="58"/>
                  </a:lnTo>
                  <a:lnTo>
                    <a:pt x="966" y="47"/>
                  </a:lnTo>
                  <a:lnTo>
                    <a:pt x="974" y="36"/>
                  </a:lnTo>
                  <a:lnTo>
                    <a:pt x="983" y="28"/>
                  </a:lnTo>
                  <a:lnTo>
                    <a:pt x="992" y="19"/>
                  </a:lnTo>
                  <a:lnTo>
                    <a:pt x="999" y="12"/>
                  </a:lnTo>
                  <a:lnTo>
                    <a:pt x="1008" y="7"/>
                  </a:lnTo>
                  <a:lnTo>
                    <a:pt x="1016" y="4"/>
                  </a:lnTo>
                  <a:lnTo>
                    <a:pt x="1025" y="0"/>
                  </a:lnTo>
                  <a:lnTo>
                    <a:pt x="1032" y="0"/>
                  </a:lnTo>
                  <a:lnTo>
                    <a:pt x="1040" y="2"/>
                  </a:lnTo>
                  <a:lnTo>
                    <a:pt x="1047" y="5"/>
                  </a:lnTo>
                  <a:lnTo>
                    <a:pt x="1054" y="9"/>
                  </a:lnTo>
                  <a:lnTo>
                    <a:pt x="1060" y="16"/>
                  </a:lnTo>
                  <a:lnTo>
                    <a:pt x="1066" y="24"/>
                  </a:lnTo>
                  <a:lnTo>
                    <a:pt x="1070" y="34"/>
                  </a:lnTo>
                  <a:lnTo>
                    <a:pt x="1074" y="46"/>
                  </a:lnTo>
                  <a:lnTo>
                    <a:pt x="1076" y="59"/>
                  </a:lnTo>
                  <a:lnTo>
                    <a:pt x="1078" y="72"/>
                  </a:lnTo>
                  <a:lnTo>
                    <a:pt x="1078" y="88"/>
                  </a:lnTo>
                  <a:lnTo>
                    <a:pt x="1077" y="104"/>
                  </a:lnTo>
                  <a:lnTo>
                    <a:pt x="1076" y="121"/>
                  </a:lnTo>
                  <a:lnTo>
                    <a:pt x="1074" y="139"/>
                  </a:lnTo>
                  <a:lnTo>
                    <a:pt x="1070" y="157"/>
                  </a:lnTo>
                  <a:lnTo>
                    <a:pt x="1067" y="176"/>
                  </a:lnTo>
                  <a:lnTo>
                    <a:pt x="1058" y="216"/>
                  </a:lnTo>
                  <a:lnTo>
                    <a:pt x="1046" y="257"/>
                  </a:lnTo>
                  <a:lnTo>
                    <a:pt x="1033" y="298"/>
                  </a:lnTo>
                  <a:lnTo>
                    <a:pt x="1018" y="340"/>
                  </a:lnTo>
                  <a:lnTo>
                    <a:pt x="1002" y="379"/>
                  </a:lnTo>
                  <a:lnTo>
                    <a:pt x="984" y="417"/>
                  </a:lnTo>
                  <a:lnTo>
                    <a:pt x="967" y="451"/>
                  </a:lnTo>
                  <a:lnTo>
                    <a:pt x="948" y="482"/>
                  </a:lnTo>
                  <a:lnTo>
                    <a:pt x="939" y="497"/>
                  </a:lnTo>
                  <a:lnTo>
                    <a:pt x="931" y="509"/>
                  </a:lnTo>
                  <a:lnTo>
                    <a:pt x="922" y="521"/>
                  </a:lnTo>
                  <a:lnTo>
                    <a:pt x="913" y="530"/>
                  </a:lnTo>
                  <a:lnTo>
                    <a:pt x="905" y="540"/>
                  </a:lnTo>
                  <a:lnTo>
                    <a:pt x="897" y="551"/>
                  </a:lnTo>
                  <a:lnTo>
                    <a:pt x="888" y="563"/>
                  </a:lnTo>
                  <a:lnTo>
                    <a:pt x="881" y="575"/>
                  </a:lnTo>
                  <a:lnTo>
                    <a:pt x="864" y="603"/>
                  </a:lnTo>
                  <a:lnTo>
                    <a:pt x="849" y="634"/>
                  </a:lnTo>
                  <a:lnTo>
                    <a:pt x="834" y="668"/>
                  </a:lnTo>
                  <a:lnTo>
                    <a:pt x="818" y="703"/>
                  </a:lnTo>
                  <a:lnTo>
                    <a:pt x="803" y="740"/>
                  </a:lnTo>
                  <a:lnTo>
                    <a:pt x="789" y="778"/>
                  </a:lnTo>
                  <a:lnTo>
                    <a:pt x="760" y="855"/>
                  </a:lnTo>
                  <a:lnTo>
                    <a:pt x="731" y="932"/>
                  </a:lnTo>
                  <a:lnTo>
                    <a:pt x="717" y="968"/>
                  </a:lnTo>
                  <a:lnTo>
                    <a:pt x="703" y="1003"/>
                  </a:lnTo>
                  <a:lnTo>
                    <a:pt x="689" y="1034"/>
                  </a:lnTo>
                  <a:lnTo>
                    <a:pt x="675" y="1065"/>
                  </a:lnTo>
                  <a:lnTo>
                    <a:pt x="658" y="1093"/>
                  </a:lnTo>
                  <a:lnTo>
                    <a:pt x="640" y="1123"/>
                  </a:lnTo>
                  <a:lnTo>
                    <a:pt x="619" y="1154"/>
                  </a:lnTo>
                  <a:lnTo>
                    <a:pt x="596" y="1186"/>
                  </a:lnTo>
                  <a:lnTo>
                    <a:pt x="571" y="1217"/>
                  </a:lnTo>
                  <a:lnTo>
                    <a:pt x="546" y="1248"/>
                  </a:lnTo>
                  <a:lnTo>
                    <a:pt x="520" y="1280"/>
                  </a:lnTo>
                  <a:lnTo>
                    <a:pt x="494" y="1309"/>
                  </a:lnTo>
                  <a:lnTo>
                    <a:pt x="444" y="1365"/>
                  </a:lnTo>
                  <a:lnTo>
                    <a:pt x="397" y="1414"/>
                  </a:lnTo>
                  <a:lnTo>
                    <a:pt x="359" y="1451"/>
                  </a:lnTo>
                  <a:lnTo>
                    <a:pt x="332" y="1475"/>
                  </a:lnTo>
                  <a:lnTo>
                    <a:pt x="327" y="1477"/>
                  </a:lnTo>
                  <a:lnTo>
                    <a:pt x="320" y="1476"/>
                  </a:lnTo>
                  <a:lnTo>
                    <a:pt x="313" y="1471"/>
                  </a:lnTo>
                  <a:lnTo>
                    <a:pt x="304" y="1465"/>
                  </a:lnTo>
                  <a:lnTo>
                    <a:pt x="294" y="1456"/>
                  </a:lnTo>
                  <a:lnTo>
                    <a:pt x="283" y="1444"/>
                  </a:lnTo>
                  <a:lnTo>
                    <a:pt x="271" y="1430"/>
                  </a:lnTo>
                  <a:lnTo>
                    <a:pt x="259" y="1415"/>
                  </a:lnTo>
                  <a:lnTo>
                    <a:pt x="233" y="1378"/>
                  </a:lnTo>
                  <a:lnTo>
                    <a:pt x="205" y="1336"/>
                  </a:lnTo>
                  <a:lnTo>
                    <a:pt x="176" y="1290"/>
                  </a:lnTo>
                  <a:lnTo>
                    <a:pt x="147" y="1242"/>
                  </a:lnTo>
                  <a:lnTo>
                    <a:pt x="91" y="1146"/>
                  </a:lnTo>
                  <a:lnTo>
                    <a:pt x="45" y="1061"/>
                  </a:lnTo>
                  <a:lnTo>
                    <a:pt x="12" y="1001"/>
                  </a:lnTo>
                  <a:lnTo>
                    <a:pt x="0" y="979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3" name="ïśľîdé"/>
            <p:cNvSpPr/>
            <p:nvPr/>
          </p:nvSpPr>
          <p:spPr bwMode="auto">
            <a:xfrm>
              <a:off x="1299368" y="5857082"/>
              <a:ext cx="385763" cy="201613"/>
            </a:xfrm>
            <a:custGeom>
              <a:avLst/>
              <a:gdLst>
                <a:gd name="T0" fmla="*/ 612 w 1214"/>
                <a:gd name="T1" fmla="*/ 7 h 637"/>
                <a:gd name="T2" fmla="*/ 555 w 1214"/>
                <a:gd name="T3" fmla="*/ 50 h 637"/>
                <a:gd name="T4" fmla="*/ 468 w 1214"/>
                <a:gd name="T5" fmla="*/ 116 h 637"/>
                <a:gd name="T6" fmla="*/ 379 w 1214"/>
                <a:gd name="T7" fmla="*/ 180 h 637"/>
                <a:gd name="T8" fmla="*/ 334 w 1214"/>
                <a:gd name="T9" fmla="*/ 210 h 637"/>
                <a:gd name="T10" fmla="*/ 313 w 1214"/>
                <a:gd name="T11" fmla="*/ 219 h 637"/>
                <a:gd name="T12" fmla="*/ 275 w 1214"/>
                <a:gd name="T13" fmla="*/ 230 h 637"/>
                <a:gd name="T14" fmla="*/ 215 w 1214"/>
                <a:gd name="T15" fmla="*/ 246 h 637"/>
                <a:gd name="T16" fmla="*/ 151 w 1214"/>
                <a:gd name="T17" fmla="*/ 264 h 637"/>
                <a:gd name="T18" fmla="*/ 105 w 1214"/>
                <a:gd name="T19" fmla="*/ 284 h 637"/>
                <a:gd name="T20" fmla="*/ 78 w 1214"/>
                <a:gd name="T21" fmla="*/ 299 h 637"/>
                <a:gd name="T22" fmla="*/ 53 w 1214"/>
                <a:gd name="T23" fmla="*/ 318 h 637"/>
                <a:gd name="T24" fmla="*/ 31 w 1214"/>
                <a:gd name="T25" fmla="*/ 340 h 637"/>
                <a:gd name="T26" fmla="*/ 15 w 1214"/>
                <a:gd name="T27" fmla="*/ 368 h 637"/>
                <a:gd name="T28" fmla="*/ 4 w 1214"/>
                <a:gd name="T29" fmla="*/ 400 h 637"/>
                <a:gd name="T30" fmla="*/ 0 w 1214"/>
                <a:gd name="T31" fmla="*/ 438 h 637"/>
                <a:gd name="T32" fmla="*/ 4 w 1214"/>
                <a:gd name="T33" fmla="*/ 481 h 637"/>
                <a:gd name="T34" fmla="*/ 16 w 1214"/>
                <a:gd name="T35" fmla="*/ 529 h 637"/>
                <a:gd name="T36" fmla="*/ 40 w 1214"/>
                <a:gd name="T37" fmla="*/ 568 h 637"/>
                <a:gd name="T38" fmla="*/ 75 w 1214"/>
                <a:gd name="T39" fmla="*/ 598 h 637"/>
                <a:gd name="T40" fmla="*/ 118 w 1214"/>
                <a:gd name="T41" fmla="*/ 619 h 637"/>
                <a:gd name="T42" fmla="*/ 170 w 1214"/>
                <a:gd name="T43" fmla="*/ 631 h 637"/>
                <a:gd name="T44" fmla="*/ 229 w 1214"/>
                <a:gd name="T45" fmla="*/ 637 h 637"/>
                <a:gd name="T46" fmla="*/ 294 w 1214"/>
                <a:gd name="T47" fmla="*/ 637 h 637"/>
                <a:gd name="T48" fmla="*/ 360 w 1214"/>
                <a:gd name="T49" fmla="*/ 632 h 637"/>
                <a:gd name="T50" fmla="*/ 430 w 1214"/>
                <a:gd name="T51" fmla="*/ 623 h 637"/>
                <a:gd name="T52" fmla="*/ 501 w 1214"/>
                <a:gd name="T53" fmla="*/ 612 h 637"/>
                <a:gd name="T54" fmla="*/ 604 w 1214"/>
                <a:gd name="T55" fmla="*/ 591 h 637"/>
                <a:gd name="T56" fmla="*/ 732 w 1214"/>
                <a:gd name="T57" fmla="*/ 562 h 637"/>
                <a:gd name="T58" fmla="*/ 835 w 1214"/>
                <a:gd name="T59" fmla="*/ 540 h 637"/>
                <a:gd name="T60" fmla="*/ 911 w 1214"/>
                <a:gd name="T61" fmla="*/ 529 h 637"/>
                <a:gd name="T62" fmla="*/ 980 w 1214"/>
                <a:gd name="T63" fmla="*/ 516 h 637"/>
                <a:gd name="T64" fmla="*/ 1030 w 1214"/>
                <a:gd name="T65" fmla="*/ 503 h 637"/>
                <a:gd name="T66" fmla="*/ 1061 w 1214"/>
                <a:gd name="T67" fmla="*/ 491 h 637"/>
                <a:gd name="T68" fmla="*/ 1091 w 1214"/>
                <a:gd name="T69" fmla="*/ 477 h 637"/>
                <a:gd name="T70" fmla="*/ 1119 w 1214"/>
                <a:gd name="T71" fmla="*/ 460 h 637"/>
                <a:gd name="T72" fmla="*/ 1143 w 1214"/>
                <a:gd name="T73" fmla="*/ 441 h 637"/>
                <a:gd name="T74" fmla="*/ 1165 w 1214"/>
                <a:gd name="T75" fmla="*/ 417 h 637"/>
                <a:gd name="T76" fmla="*/ 1183 w 1214"/>
                <a:gd name="T77" fmla="*/ 390 h 637"/>
                <a:gd name="T78" fmla="*/ 1197 w 1214"/>
                <a:gd name="T79" fmla="*/ 359 h 637"/>
                <a:gd name="T80" fmla="*/ 1207 w 1214"/>
                <a:gd name="T81" fmla="*/ 323 h 637"/>
                <a:gd name="T82" fmla="*/ 1212 w 1214"/>
                <a:gd name="T83" fmla="*/ 283 h 637"/>
                <a:gd name="T84" fmla="*/ 1214 w 1214"/>
                <a:gd name="T85" fmla="*/ 238 h 637"/>
                <a:gd name="T86" fmla="*/ 1208 w 1214"/>
                <a:gd name="T87" fmla="*/ 187 h 637"/>
                <a:gd name="T88" fmla="*/ 1195 w 1214"/>
                <a:gd name="T89" fmla="*/ 115 h 637"/>
                <a:gd name="T90" fmla="*/ 1179 w 1214"/>
                <a:gd name="T91" fmla="*/ 35 h 637"/>
                <a:gd name="T92" fmla="*/ 621 w 1214"/>
                <a:gd name="T93" fmla="*/ 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14" h="637">
                  <a:moveTo>
                    <a:pt x="621" y="0"/>
                  </a:moveTo>
                  <a:lnTo>
                    <a:pt x="612" y="7"/>
                  </a:lnTo>
                  <a:lnTo>
                    <a:pt x="589" y="24"/>
                  </a:lnTo>
                  <a:lnTo>
                    <a:pt x="555" y="50"/>
                  </a:lnTo>
                  <a:lnTo>
                    <a:pt x="514" y="82"/>
                  </a:lnTo>
                  <a:lnTo>
                    <a:pt x="468" y="116"/>
                  </a:lnTo>
                  <a:lnTo>
                    <a:pt x="422" y="149"/>
                  </a:lnTo>
                  <a:lnTo>
                    <a:pt x="379" y="180"/>
                  </a:lnTo>
                  <a:lnTo>
                    <a:pt x="343" y="205"/>
                  </a:lnTo>
                  <a:lnTo>
                    <a:pt x="334" y="210"/>
                  </a:lnTo>
                  <a:lnTo>
                    <a:pt x="324" y="215"/>
                  </a:lnTo>
                  <a:lnTo>
                    <a:pt x="313" y="219"/>
                  </a:lnTo>
                  <a:lnTo>
                    <a:pt x="301" y="223"/>
                  </a:lnTo>
                  <a:lnTo>
                    <a:pt x="275" y="230"/>
                  </a:lnTo>
                  <a:lnTo>
                    <a:pt x="246" y="238"/>
                  </a:lnTo>
                  <a:lnTo>
                    <a:pt x="215" y="246"/>
                  </a:lnTo>
                  <a:lnTo>
                    <a:pt x="184" y="254"/>
                  </a:lnTo>
                  <a:lnTo>
                    <a:pt x="151" y="264"/>
                  </a:lnTo>
                  <a:lnTo>
                    <a:pt x="120" y="276"/>
                  </a:lnTo>
                  <a:lnTo>
                    <a:pt x="105" y="284"/>
                  </a:lnTo>
                  <a:lnTo>
                    <a:pt x="91" y="290"/>
                  </a:lnTo>
                  <a:lnTo>
                    <a:pt x="78" y="299"/>
                  </a:lnTo>
                  <a:lnTo>
                    <a:pt x="65" y="308"/>
                  </a:lnTo>
                  <a:lnTo>
                    <a:pt x="53" y="318"/>
                  </a:lnTo>
                  <a:lnTo>
                    <a:pt x="41" y="328"/>
                  </a:lnTo>
                  <a:lnTo>
                    <a:pt x="31" y="340"/>
                  </a:lnTo>
                  <a:lnTo>
                    <a:pt x="22" y="354"/>
                  </a:lnTo>
                  <a:lnTo>
                    <a:pt x="15" y="368"/>
                  </a:lnTo>
                  <a:lnTo>
                    <a:pt x="9" y="384"/>
                  </a:lnTo>
                  <a:lnTo>
                    <a:pt x="4" y="400"/>
                  </a:lnTo>
                  <a:lnTo>
                    <a:pt x="1" y="418"/>
                  </a:lnTo>
                  <a:lnTo>
                    <a:pt x="0" y="438"/>
                  </a:lnTo>
                  <a:lnTo>
                    <a:pt x="0" y="458"/>
                  </a:lnTo>
                  <a:lnTo>
                    <a:pt x="4" y="481"/>
                  </a:lnTo>
                  <a:lnTo>
                    <a:pt x="8" y="505"/>
                  </a:lnTo>
                  <a:lnTo>
                    <a:pt x="16" y="529"/>
                  </a:lnTo>
                  <a:lnTo>
                    <a:pt x="27" y="550"/>
                  </a:lnTo>
                  <a:lnTo>
                    <a:pt x="40" y="568"/>
                  </a:lnTo>
                  <a:lnTo>
                    <a:pt x="56" y="584"/>
                  </a:lnTo>
                  <a:lnTo>
                    <a:pt x="75" y="598"/>
                  </a:lnTo>
                  <a:lnTo>
                    <a:pt x="95" y="609"/>
                  </a:lnTo>
                  <a:lnTo>
                    <a:pt x="118" y="619"/>
                  </a:lnTo>
                  <a:lnTo>
                    <a:pt x="144" y="625"/>
                  </a:lnTo>
                  <a:lnTo>
                    <a:pt x="170" y="631"/>
                  </a:lnTo>
                  <a:lnTo>
                    <a:pt x="200" y="635"/>
                  </a:lnTo>
                  <a:lnTo>
                    <a:pt x="229" y="637"/>
                  </a:lnTo>
                  <a:lnTo>
                    <a:pt x="261" y="637"/>
                  </a:lnTo>
                  <a:lnTo>
                    <a:pt x="294" y="637"/>
                  </a:lnTo>
                  <a:lnTo>
                    <a:pt x="326" y="635"/>
                  </a:lnTo>
                  <a:lnTo>
                    <a:pt x="360" y="632"/>
                  </a:lnTo>
                  <a:lnTo>
                    <a:pt x="395" y="628"/>
                  </a:lnTo>
                  <a:lnTo>
                    <a:pt x="430" y="623"/>
                  </a:lnTo>
                  <a:lnTo>
                    <a:pt x="465" y="617"/>
                  </a:lnTo>
                  <a:lnTo>
                    <a:pt x="501" y="612"/>
                  </a:lnTo>
                  <a:lnTo>
                    <a:pt x="536" y="605"/>
                  </a:lnTo>
                  <a:lnTo>
                    <a:pt x="604" y="591"/>
                  </a:lnTo>
                  <a:lnTo>
                    <a:pt x="670" y="576"/>
                  </a:lnTo>
                  <a:lnTo>
                    <a:pt x="732" y="562"/>
                  </a:lnTo>
                  <a:lnTo>
                    <a:pt x="787" y="550"/>
                  </a:lnTo>
                  <a:lnTo>
                    <a:pt x="835" y="540"/>
                  </a:lnTo>
                  <a:lnTo>
                    <a:pt x="876" y="533"/>
                  </a:lnTo>
                  <a:lnTo>
                    <a:pt x="911" y="529"/>
                  </a:lnTo>
                  <a:lnTo>
                    <a:pt x="945" y="524"/>
                  </a:lnTo>
                  <a:lnTo>
                    <a:pt x="980" y="516"/>
                  </a:lnTo>
                  <a:lnTo>
                    <a:pt x="1014" y="508"/>
                  </a:lnTo>
                  <a:lnTo>
                    <a:pt x="1030" y="503"/>
                  </a:lnTo>
                  <a:lnTo>
                    <a:pt x="1046" y="497"/>
                  </a:lnTo>
                  <a:lnTo>
                    <a:pt x="1061" y="491"/>
                  </a:lnTo>
                  <a:lnTo>
                    <a:pt x="1076" y="484"/>
                  </a:lnTo>
                  <a:lnTo>
                    <a:pt x="1091" y="477"/>
                  </a:lnTo>
                  <a:lnTo>
                    <a:pt x="1105" y="469"/>
                  </a:lnTo>
                  <a:lnTo>
                    <a:pt x="1119" y="460"/>
                  </a:lnTo>
                  <a:lnTo>
                    <a:pt x="1131" y="451"/>
                  </a:lnTo>
                  <a:lnTo>
                    <a:pt x="1143" y="441"/>
                  </a:lnTo>
                  <a:lnTo>
                    <a:pt x="1155" y="429"/>
                  </a:lnTo>
                  <a:lnTo>
                    <a:pt x="1165" y="417"/>
                  </a:lnTo>
                  <a:lnTo>
                    <a:pt x="1174" y="404"/>
                  </a:lnTo>
                  <a:lnTo>
                    <a:pt x="1183" y="390"/>
                  </a:lnTo>
                  <a:lnTo>
                    <a:pt x="1191" y="375"/>
                  </a:lnTo>
                  <a:lnTo>
                    <a:pt x="1197" y="359"/>
                  </a:lnTo>
                  <a:lnTo>
                    <a:pt x="1203" y="342"/>
                  </a:lnTo>
                  <a:lnTo>
                    <a:pt x="1207" y="323"/>
                  </a:lnTo>
                  <a:lnTo>
                    <a:pt x="1210" y="303"/>
                  </a:lnTo>
                  <a:lnTo>
                    <a:pt x="1212" y="283"/>
                  </a:lnTo>
                  <a:lnTo>
                    <a:pt x="1214" y="261"/>
                  </a:lnTo>
                  <a:lnTo>
                    <a:pt x="1214" y="238"/>
                  </a:lnTo>
                  <a:lnTo>
                    <a:pt x="1211" y="213"/>
                  </a:lnTo>
                  <a:lnTo>
                    <a:pt x="1208" y="187"/>
                  </a:lnTo>
                  <a:lnTo>
                    <a:pt x="1204" y="159"/>
                  </a:lnTo>
                  <a:lnTo>
                    <a:pt x="1195" y="115"/>
                  </a:lnTo>
                  <a:lnTo>
                    <a:pt x="1187" y="73"/>
                  </a:lnTo>
                  <a:lnTo>
                    <a:pt x="1179" y="35"/>
                  </a:lnTo>
                  <a:lnTo>
                    <a:pt x="1171" y="0"/>
                  </a:lnTo>
                  <a:lnTo>
                    <a:pt x="621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4" name="ï$ḷíďê"/>
            <p:cNvSpPr/>
            <p:nvPr/>
          </p:nvSpPr>
          <p:spPr bwMode="auto">
            <a:xfrm>
              <a:off x="1967706" y="5903119"/>
              <a:ext cx="384175" cy="201613"/>
            </a:xfrm>
            <a:custGeom>
              <a:avLst/>
              <a:gdLst>
                <a:gd name="T0" fmla="*/ 602 w 1213"/>
                <a:gd name="T1" fmla="*/ 7 h 637"/>
                <a:gd name="T2" fmla="*/ 658 w 1213"/>
                <a:gd name="T3" fmla="*/ 50 h 637"/>
                <a:gd name="T4" fmla="*/ 745 w 1213"/>
                <a:gd name="T5" fmla="*/ 115 h 637"/>
                <a:gd name="T6" fmla="*/ 835 w 1213"/>
                <a:gd name="T7" fmla="*/ 179 h 637"/>
                <a:gd name="T8" fmla="*/ 880 w 1213"/>
                <a:gd name="T9" fmla="*/ 210 h 637"/>
                <a:gd name="T10" fmla="*/ 900 w 1213"/>
                <a:gd name="T11" fmla="*/ 218 h 637"/>
                <a:gd name="T12" fmla="*/ 938 w 1213"/>
                <a:gd name="T13" fmla="*/ 230 h 637"/>
                <a:gd name="T14" fmla="*/ 998 w 1213"/>
                <a:gd name="T15" fmla="*/ 246 h 637"/>
                <a:gd name="T16" fmla="*/ 1063 w 1213"/>
                <a:gd name="T17" fmla="*/ 264 h 637"/>
                <a:gd name="T18" fmla="*/ 1108 w 1213"/>
                <a:gd name="T19" fmla="*/ 283 h 637"/>
                <a:gd name="T20" fmla="*/ 1137 w 1213"/>
                <a:gd name="T21" fmla="*/ 299 h 637"/>
                <a:gd name="T22" fmla="*/ 1162 w 1213"/>
                <a:gd name="T23" fmla="*/ 317 h 637"/>
                <a:gd name="T24" fmla="*/ 1183 w 1213"/>
                <a:gd name="T25" fmla="*/ 340 h 637"/>
                <a:gd name="T26" fmla="*/ 1199 w 1213"/>
                <a:gd name="T27" fmla="*/ 368 h 637"/>
                <a:gd name="T28" fmla="*/ 1210 w 1213"/>
                <a:gd name="T29" fmla="*/ 400 h 637"/>
                <a:gd name="T30" fmla="*/ 1213 w 1213"/>
                <a:gd name="T31" fmla="*/ 437 h 637"/>
                <a:gd name="T32" fmla="*/ 1210 w 1213"/>
                <a:gd name="T33" fmla="*/ 481 h 637"/>
                <a:gd name="T34" fmla="*/ 1198 w 1213"/>
                <a:gd name="T35" fmla="*/ 529 h 637"/>
                <a:gd name="T36" fmla="*/ 1174 w 1213"/>
                <a:gd name="T37" fmla="*/ 567 h 637"/>
                <a:gd name="T38" fmla="*/ 1139 w 1213"/>
                <a:gd name="T39" fmla="*/ 597 h 637"/>
                <a:gd name="T40" fmla="*/ 1095 w 1213"/>
                <a:gd name="T41" fmla="*/ 617 h 637"/>
                <a:gd name="T42" fmla="*/ 1043 w 1213"/>
                <a:gd name="T43" fmla="*/ 630 h 637"/>
                <a:gd name="T44" fmla="*/ 984 w 1213"/>
                <a:gd name="T45" fmla="*/ 636 h 637"/>
                <a:gd name="T46" fmla="*/ 921 w 1213"/>
                <a:gd name="T47" fmla="*/ 636 h 637"/>
                <a:gd name="T48" fmla="*/ 853 w 1213"/>
                <a:gd name="T49" fmla="*/ 632 h 637"/>
                <a:gd name="T50" fmla="*/ 784 w 1213"/>
                <a:gd name="T51" fmla="*/ 623 h 637"/>
                <a:gd name="T52" fmla="*/ 714 w 1213"/>
                <a:gd name="T53" fmla="*/ 611 h 637"/>
                <a:gd name="T54" fmla="*/ 609 w 1213"/>
                <a:gd name="T55" fmla="*/ 590 h 637"/>
                <a:gd name="T56" fmla="*/ 483 w 1213"/>
                <a:gd name="T57" fmla="*/ 562 h 637"/>
                <a:gd name="T58" fmla="*/ 378 w 1213"/>
                <a:gd name="T59" fmla="*/ 540 h 637"/>
                <a:gd name="T60" fmla="*/ 303 w 1213"/>
                <a:gd name="T61" fmla="*/ 529 h 637"/>
                <a:gd name="T62" fmla="*/ 234 w 1213"/>
                <a:gd name="T63" fmla="*/ 516 h 637"/>
                <a:gd name="T64" fmla="*/ 184 w 1213"/>
                <a:gd name="T65" fmla="*/ 503 h 637"/>
                <a:gd name="T66" fmla="*/ 153 w 1213"/>
                <a:gd name="T67" fmla="*/ 491 h 637"/>
                <a:gd name="T68" fmla="*/ 123 w 1213"/>
                <a:gd name="T69" fmla="*/ 477 h 637"/>
                <a:gd name="T70" fmla="*/ 96 w 1213"/>
                <a:gd name="T71" fmla="*/ 460 h 637"/>
                <a:gd name="T72" fmla="*/ 71 w 1213"/>
                <a:gd name="T73" fmla="*/ 440 h 637"/>
                <a:gd name="T74" fmla="*/ 49 w 1213"/>
                <a:gd name="T75" fmla="*/ 417 h 637"/>
                <a:gd name="T76" fmla="*/ 30 w 1213"/>
                <a:gd name="T77" fmla="*/ 389 h 637"/>
                <a:gd name="T78" fmla="*/ 16 w 1213"/>
                <a:gd name="T79" fmla="*/ 358 h 637"/>
                <a:gd name="T80" fmla="*/ 6 w 1213"/>
                <a:gd name="T81" fmla="*/ 323 h 637"/>
                <a:gd name="T82" fmla="*/ 1 w 1213"/>
                <a:gd name="T83" fmla="*/ 283 h 637"/>
                <a:gd name="T84" fmla="*/ 0 w 1213"/>
                <a:gd name="T85" fmla="*/ 237 h 637"/>
                <a:gd name="T86" fmla="*/ 5 w 1213"/>
                <a:gd name="T87" fmla="*/ 187 h 637"/>
                <a:gd name="T88" fmla="*/ 18 w 1213"/>
                <a:gd name="T89" fmla="*/ 114 h 637"/>
                <a:gd name="T90" fmla="*/ 35 w 1213"/>
                <a:gd name="T91" fmla="*/ 35 h 637"/>
                <a:gd name="T92" fmla="*/ 593 w 1213"/>
                <a:gd name="T93" fmla="*/ 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13" h="637">
                  <a:moveTo>
                    <a:pt x="593" y="0"/>
                  </a:moveTo>
                  <a:lnTo>
                    <a:pt x="602" y="7"/>
                  </a:lnTo>
                  <a:lnTo>
                    <a:pt x="624" y="24"/>
                  </a:lnTo>
                  <a:lnTo>
                    <a:pt x="658" y="50"/>
                  </a:lnTo>
                  <a:lnTo>
                    <a:pt x="701" y="81"/>
                  </a:lnTo>
                  <a:lnTo>
                    <a:pt x="745" y="115"/>
                  </a:lnTo>
                  <a:lnTo>
                    <a:pt x="791" y="148"/>
                  </a:lnTo>
                  <a:lnTo>
                    <a:pt x="835" y="179"/>
                  </a:lnTo>
                  <a:lnTo>
                    <a:pt x="871" y="204"/>
                  </a:lnTo>
                  <a:lnTo>
                    <a:pt x="880" y="210"/>
                  </a:lnTo>
                  <a:lnTo>
                    <a:pt x="889" y="214"/>
                  </a:lnTo>
                  <a:lnTo>
                    <a:pt x="900" y="218"/>
                  </a:lnTo>
                  <a:lnTo>
                    <a:pt x="912" y="223"/>
                  </a:lnTo>
                  <a:lnTo>
                    <a:pt x="938" y="230"/>
                  </a:lnTo>
                  <a:lnTo>
                    <a:pt x="968" y="238"/>
                  </a:lnTo>
                  <a:lnTo>
                    <a:pt x="998" y="246"/>
                  </a:lnTo>
                  <a:lnTo>
                    <a:pt x="1031" y="254"/>
                  </a:lnTo>
                  <a:lnTo>
                    <a:pt x="1063" y="264"/>
                  </a:lnTo>
                  <a:lnTo>
                    <a:pt x="1093" y="276"/>
                  </a:lnTo>
                  <a:lnTo>
                    <a:pt x="1108" y="283"/>
                  </a:lnTo>
                  <a:lnTo>
                    <a:pt x="1123" y="290"/>
                  </a:lnTo>
                  <a:lnTo>
                    <a:pt x="1137" y="299"/>
                  </a:lnTo>
                  <a:lnTo>
                    <a:pt x="1150" y="308"/>
                  </a:lnTo>
                  <a:lnTo>
                    <a:pt x="1162" y="317"/>
                  </a:lnTo>
                  <a:lnTo>
                    <a:pt x="1173" y="328"/>
                  </a:lnTo>
                  <a:lnTo>
                    <a:pt x="1183" y="340"/>
                  </a:lnTo>
                  <a:lnTo>
                    <a:pt x="1191" y="353"/>
                  </a:lnTo>
                  <a:lnTo>
                    <a:pt x="1199" y="368"/>
                  </a:lnTo>
                  <a:lnTo>
                    <a:pt x="1204" y="383"/>
                  </a:lnTo>
                  <a:lnTo>
                    <a:pt x="1210" y="400"/>
                  </a:lnTo>
                  <a:lnTo>
                    <a:pt x="1212" y="418"/>
                  </a:lnTo>
                  <a:lnTo>
                    <a:pt x="1213" y="437"/>
                  </a:lnTo>
                  <a:lnTo>
                    <a:pt x="1213" y="458"/>
                  </a:lnTo>
                  <a:lnTo>
                    <a:pt x="1210" y="481"/>
                  </a:lnTo>
                  <a:lnTo>
                    <a:pt x="1205" y="505"/>
                  </a:lnTo>
                  <a:lnTo>
                    <a:pt x="1198" y="529"/>
                  </a:lnTo>
                  <a:lnTo>
                    <a:pt x="1187" y="550"/>
                  </a:lnTo>
                  <a:lnTo>
                    <a:pt x="1174" y="567"/>
                  </a:lnTo>
                  <a:lnTo>
                    <a:pt x="1158" y="584"/>
                  </a:lnTo>
                  <a:lnTo>
                    <a:pt x="1139" y="597"/>
                  </a:lnTo>
                  <a:lnTo>
                    <a:pt x="1118" y="609"/>
                  </a:lnTo>
                  <a:lnTo>
                    <a:pt x="1095" y="617"/>
                  </a:lnTo>
                  <a:lnTo>
                    <a:pt x="1070" y="625"/>
                  </a:lnTo>
                  <a:lnTo>
                    <a:pt x="1043" y="630"/>
                  </a:lnTo>
                  <a:lnTo>
                    <a:pt x="1015" y="634"/>
                  </a:lnTo>
                  <a:lnTo>
                    <a:pt x="984" y="636"/>
                  </a:lnTo>
                  <a:lnTo>
                    <a:pt x="953" y="637"/>
                  </a:lnTo>
                  <a:lnTo>
                    <a:pt x="921" y="636"/>
                  </a:lnTo>
                  <a:lnTo>
                    <a:pt x="887" y="635"/>
                  </a:lnTo>
                  <a:lnTo>
                    <a:pt x="853" y="632"/>
                  </a:lnTo>
                  <a:lnTo>
                    <a:pt x="819" y="627"/>
                  </a:lnTo>
                  <a:lnTo>
                    <a:pt x="784" y="623"/>
                  </a:lnTo>
                  <a:lnTo>
                    <a:pt x="749" y="617"/>
                  </a:lnTo>
                  <a:lnTo>
                    <a:pt x="714" y="611"/>
                  </a:lnTo>
                  <a:lnTo>
                    <a:pt x="678" y="604"/>
                  </a:lnTo>
                  <a:lnTo>
                    <a:pt x="609" y="590"/>
                  </a:lnTo>
                  <a:lnTo>
                    <a:pt x="544" y="576"/>
                  </a:lnTo>
                  <a:lnTo>
                    <a:pt x="483" y="562"/>
                  </a:lnTo>
                  <a:lnTo>
                    <a:pt x="427" y="550"/>
                  </a:lnTo>
                  <a:lnTo>
                    <a:pt x="378" y="540"/>
                  </a:lnTo>
                  <a:lnTo>
                    <a:pt x="339" y="533"/>
                  </a:lnTo>
                  <a:lnTo>
                    <a:pt x="303" y="529"/>
                  </a:lnTo>
                  <a:lnTo>
                    <a:pt x="268" y="523"/>
                  </a:lnTo>
                  <a:lnTo>
                    <a:pt x="234" y="516"/>
                  </a:lnTo>
                  <a:lnTo>
                    <a:pt x="200" y="507"/>
                  </a:lnTo>
                  <a:lnTo>
                    <a:pt x="184" y="503"/>
                  </a:lnTo>
                  <a:lnTo>
                    <a:pt x="168" y="497"/>
                  </a:lnTo>
                  <a:lnTo>
                    <a:pt x="153" y="491"/>
                  </a:lnTo>
                  <a:lnTo>
                    <a:pt x="137" y="484"/>
                  </a:lnTo>
                  <a:lnTo>
                    <a:pt x="123" y="477"/>
                  </a:lnTo>
                  <a:lnTo>
                    <a:pt x="109" y="469"/>
                  </a:lnTo>
                  <a:lnTo>
                    <a:pt x="96" y="460"/>
                  </a:lnTo>
                  <a:lnTo>
                    <a:pt x="83" y="451"/>
                  </a:lnTo>
                  <a:lnTo>
                    <a:pt x="71" y="440"/>
                  </a:lnTo>
                  <a:lnTo>
                    <a:pt x="60" y="429"/>
                  </a:lnTo>
                  <a:lnTo>
                    <a:pt x="49" y="417"/>
                  </a:lnTo>
                  <a:lnTo>
                    <a:pt x="39" y="404"/>
                  </a:lnTo>
                  <a:lnTo>
                    <a:pt x="30" y="389"/>
                  </a:lnTo>
                  <a:lnTo>
                    <a:pt x="23" y="374"/>
                  </a:lnTo>
                  <a:lnTo>
                    <a:pt x="16" y="358"/>
                  </a:lnTo>
                  <a:lnTo>
                    <a:pt x="11" y="341"/>
                  </a:lnTo>
                  <a:lnTo>
                    <a:pt x="6" y="323"/>
                  </a:lnTo>
                  <a:lnTo>
                    <a:pt x="3" y="303"/>
                  </a:lnTo>
                  <a:lnTo>
                    <a:pt x="1" y="283"/>
                  </a:lnTo>
                  <a:lnTo>
                    <a:pt x="0" y="261"/>
                  </a:lnTo>
                  <a:lnTo>
                    <a:pt x="0" y="237"/>
                  </a:lnTo>
                  <a:lnTo>
                    <a:pt x="2" y="213"/>
                  </a:lnTo>
                  <a:lnTo>
                    <a:pt x="5" y="187"/>
                  </a:lnTo>
                  <a:lnTo>
                    <a:pt x="10" y="159"/>
                  </a:lnTo>
                  <a:lnTo>
                    <a:pt x="18" y="114"/>
                  </a:lnTo>
                  <a:lnTo>
                    <a:pt x="27" y="72"/>
                  </a:lnTo>
                  <a:lnTo>
                    <a:pt x="35" y="35"/>
                  </a:lnTo>
                  <a:lnTo>
                    <a:pt x="42" y="0"/>
                  </a:lnTo>
                  <a:lnTo>
                    <a:pt x="59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5" name="ïṧľíde"/>
            <p:cNvSpPr/>
            <p:nvPr/>
          </p:nvSpPr>
          <p:spPr bwMode="auto">
            <a:xfrm>
              <a:off x="794543" y="2688432"/>
              <a:ext cx="2544763" cy="1682750"/>
            </a:xfrm>
            <a:custGeom>
              <a:avLst/>
              <a:gdLst>
                <a:gd name="T0" fmla="*/ 2284 w 8015"/>
                <a:gd name="T1" fmla="*/ 1089 h 5302"/>
                <a:gd name="T2" fmla="*/ 1553 w 8015"/>
                <a:gd name="T3" fmla="*/ 1499 h 5302"/>
                <a:gd name="T4" fmla="*/ 1115 w 8015"/>
                <a:gd name="T5" fmla="*/ 1763 h 5302"/>
                <a:gd name="T6" fmla="*/ 692 w 8015"/>
                <a:gd name="T7" fmla="*/ 2036 h 5302"/>
                <a:gd name="T8" fmla="*/ 334 w 8015"/>
                <a:gd name="T9" fmla="*/ 2301 h 5302"/>
                <a:gd name="T10" fmla="*/ 87 w 8015"/>
                <a:gd name="T11" fmla="*/ 2535 h 5302"/>
                <a:gd name="T12" fmla="*/ 0 w 8015"/>
                <a:gd name="T13" fmla="*/ 2715 h 5302"/>
                <a:gd name="T14" fmla="*/ 62 w 8015"/>
                <a:gd name="T15" fmla="*/ 2915 h 5302"/>
                <a:gd name="T16" fmla="*/ 208 w 8015"/>
                <a:gd name="T17" fmla="*/ 3178 h 5302"/>
                <a:gd name="T18" fmla="*/ 410 w 8015"/>
                <a:gd name="T19" fmla="*/ 3477 h 5302"/>
                <a:gd name="T20" fmla="*/ 639 w 8015"/>
                <a:gd name="T21" fmla="*/ 3783 h 5302"/>
                <a:gd name="T22" fmla="*/ 868 w 8015"/>
                <a:gd name="T23" fmla="*/ 4070 h 5302"/>
                <a:gd name="T24" fmla="*/ 1204 w 8015"/>
                <a:gd name="T25" fmla="*/ 4473 h 5302"/>
                <a:gd name="T26" fmla="*/ 1631 w 8015"/>
                <a:gd name="T27" fmla="*/ 3882 h 5302"/>
                <a:gd name="T28" fmla="*/ 1442 w 8015"/>
                <a:gd name="T29" fmla="*/ 3705 h 5302"/>
                <a:gd name="T30" fmla="*/ 1174 w 8015"/>
                <a:gd name="T31" fmla="*/ 3429 h 5302"/>
                <a:gd name="T32" fmla="*/ 1022 w 8015"/>
                <a:gd name="T33" fmla="*/ 3253 h 5302"/>
                <a:gd name="T34" fmla="*/ 898 w 8015"/>
                <a:gd name="T35" fmla="*/ 3082 h 5302"/>
                <a:gd name="T36" fmla="*/ 821 w 8015"/>
                <a:gd name="T37" fmla="*/ 2930 h 5302"/>
                <a:gd name="T38" fmla="*/ 812 w 8015"/>
                <a:gd name="T39" fmla="*/ 2813 h 5302"/>
                <a:gd name="T40" fmla="*/ 899 w 8015"/>
                <a:gd name="T41" fmla="*/ 2691 h 5302"/>
                <a:gd name="T42" fmla="*/ 1069 w 8015"/>
                <a:gd name="T43" fmla="*/ 2544 h 5302"/>
                <a:gd name="T44" fmla="*/ 1295 w 8015"/>
                <a:gd name="T45" fmla="*/ 2385 h 5302"/>
                <a:gd name="T46" fmla="*/ 1616 w 8015"/>
                <a:gd name="T47" fmla="*/ 2186 h 5302"/>
                <a:gd name="T48" fmla="*/ 2098 w 8015"/>
                <a:gd name="T49" fmla="*/ 1912 h 5302"/>
                <a:gd name="T50" fmla="*/ 1759 w 8015"/>
                <a:gd name="T51" fmla="*/ 4761 h 5302"/>
                <a:gd name="T52" fmla="*/ 1869 w 8015"/>
                <a:gd name="T53" fmla="*/ 4856 h 5302"/>
                <a:gd name="T54" fmla="*/ 2005 w 8015"/>
                <a:gd name="T55" fmla="*/ 4951 h 5302"/>
                <a:gd name="T56" fmla="*/ 2190 w 8015"/>
                <a:gd name="T57" fmla="*/ 5059 h 5302"/>
                <a:gd name="T58" fmla="*/ 2424 w 8015"/>
                <a:gd name="T59" fmla="*/ 5161 h 5302"/>
                <a:gd name="T60" fmla="*/ 2705 w 8015"/>
                <a:gd name="T61" fmla="*/ 5245 h 5302"/>
                <a:gd name="T62" fmla="*/ 3031 w 8015"/>
                <a:gd name="T63" fmla="*/ 5295 h 5302"/>
                <a:gd name="T64" fmla="*/ 3400 w 8015"/>
                <a:gd name="T65" fmla="*/ 5295 h 5302"/>
                <a:gd name="T66" fmla="*/ 3770 w 8015"/>
                <a:gd name="T67" fmla="*/ 5241 h 5302"/>
                <a:gd name="T68" fmla="*/ 4101 w 8015"/>
                <a:gd name="T69" fmla="*/ 5151 h 5302"/>
                <a:gd name="T70" fmla="*/ 4388 w 8015"/>
                <a:gd name="T71" fmla="*/ 5037 h 5302"/>
                <a:gd name="T72" fmla="*/ 4630 w 8015"/>
                <a:gd name="T73" fmla="*/ 4915 h 5302"/>
                <a:gd name="T74" fmla="*/ 4823 w 8015"/>
                <a:gd name="T75" fmla="*/ 4796 h 5302"/>
                <a:gd name="T76" fmla="*/ 4965 w 8015"/>
                <a:gd name="T77" fmla="*/ 4695 h 5302"/>
                <a:gd name="T78" fmla="*/ 5082 w 8015"/>
                <a:gd name="T79" fmla="*/ 4597 h 5302"/>
                <a:gd name="T80" fmla="*/ 4659 w 8015"/>
                <a:gd name="T81" fmla="*/ 1594 h 5302"/>
                <a:gd name="T82" fmla="*/ 5004 w 8015"/>
                <a:gd name="T83" fmla="*/ 1598 h 5302"/>
                <a:gd name="T84" fmla="*/ 5300 w 8015"/>
                <a:gd name="T85" fmla="*/ 1583 h 5302"/>
                <a:gd name="T86" fmla="*/ 5509 w 8015"/>
                <a:gd name="T87" fmla="*/ 1561 h 5302"/>
                <a:gd name="T88" fmla="*/ 5723 w 8015"/>
                <a:gd name="T89" fmla="*/ 1527 h 5302"/>
                <a:gd name="T90" fmla="*/ 5938 w 8015"/>
                <a:gd name="T91" fmla="*/ 1479 h 5302"/>
                <a:gd name="T92" fmla="*/ 6215 w 8015"/>
                <a:gd name="T93" fmla="*/ 1396 h 5302"/>
                <a:gd name="T94" fmla="*/ 6559 w 8015"/>
                <a:gd name="T95" fmla="*/ 1263 h 5302"/>
                <a:gd name="T96" fmla="*/ 6898 w 8015"/>
                <a:gd name="T97" fmla="*/ 1109 h 5302"/>
                <a:gd name="T98" fmla="*/ 7217 w 8015"/>
                <a:gd name="T99" fmla="*/ 947 h 5302"/>
                <a:gd name="T100" fmla="*/ 7627 w 8015"/>
                <a:gd name="T101" fmla="*/ 717 h 5302"/>
                <a:gd name="T102" fmla="*/ 7967 w 8015"/>
                <a:gd name="T103" fmla="*/ 510 h 5302"/>
                <a:gd name="T104" fmla="*/ 7542 w 8015"/>
                <a:gd name="T105" fmla="*/ 8 h 5302"/>
                <a:gd name="T106" fmla="*/ 7393 w 8015"/>
                <a:gd name="T107" fmla="*/ 152 h 5302"/>
                <a:gd name="T108" fmla="*/ 7235 w 8015"/>
                <a:gd name="T109" fmla="*/ 290 h 5302"/>
                <a:gd name="T110" fmla="*/ 7057 w 8015"/>
                <a:gd name="T111" fmla="*/ 431 h 5302"/>
                <a:gd name="T112" fmla="*/ 6900 w 8015"/>
                <a:gd name="T113" fmla="*/ 515 h 5302"/>
                <a:gd name="T114" fmla="*/ 6695 w 8015"/>
                <a:gd name="T115" fmla="*/ 600 h 5302"/>
                <a:gd name="T116" fmla="*/ 6405 w 8015"/>
                <a:gd name="T117" fmla="*/ 702 h 5302"/>
                <a:gd name="T118" fmla="*/ 5968 w 8015"/>
                <a:gd name="T119" fmla="*/ 832 h 5302"/>
                <a:gd name="T120" fmla="*/ 5717 w 8015"/>
                <a:gd name="T121" fmla="*/ 899 h 5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15" h="5302">
                  <a:moveTo>
                    <a:pt x="2484" y="959"/>
                  </a:moveTo>
                  <a:lnTo>
                    <a:pt x="2480" y="984"/>
                  </a:lnTo>
                  <a:lnTo>
                    <a:pt x="2400" y="1025"/>
                  </a:lnTo>
                  <a:lnTo>
                    <a:pt x="2284" y="1089"/>
                  </a:lnTo>
                  <a:lnTo>
                    <a:pt x="2134" y="1169"/>
                  </a:lnTo>
                  <a:lnTo>
                    <a:pt x="1959" y="1268"/>
                  </a:lnTo>
                  <a:lnTo>
                    <a:pt x="1764" y="1378"/>
                  </a:lnTo>
                  <a:lnTo>
                    <a:pt x="1553" y="1499"/>
                  </a:lnTo>
                  <a:lnTo>
                    <a:pt x="1445" y="1563"/>
                  </a:lnTo>
                  <a:lnTo>
                    <a:pt x="1335" y="1627"/>
                  </a:lnTo>
                  <a:lnTo>
                    <a:pt x="1225" y="1695"/>
                  </a:lnTo>
                  <a:lnTo>
                    <a:pt x="1115" y="1763"/>
                  </a:lnTo>
                  <a:lnTo>
                    <a:pt x="1006" y="1830"/>
                  </a:lnTo>
                  <a:lnTo>
                    <a:pt x="899" y="1900"/>
                  </a:lnTo>
                  <a:lnTo>
                    <a:pt x="794" y="1969"/>
                  </a:lnTo>
                  <a:lnTo>
                    <a:pt x="692" y="2036"/>
                  </a:lnTo>
                  <a:lnTo>
                    <a:pt x="595" y="2105"/>
                  </a:lnTo>
                  <a:lnTo>
                    <a:pt x="502" y="2171"/>
                  </a:lnTo>
                  <a:lnTo>
                    <a:pt x="414" y="2237"/>
                  </a:lnTo>
                  <a:lnTo>
                    <a:pt x="334" y="2301"/>
                  </a:lnTo>
                  <a:lnTo>
                    <a:pt x="259" y="2363"/>
                  </a:lnTo>
                  <a:lnTo>
                    <a:pt x="193" y="2422"/>
                  </a:lnTo>
                  <a:lnTo>
                    <a:pt x="135" y="2480"/>
                  </a:lnTo>
                  <a:lnTo>
                    <a:pt x="87" y="2535"/>
                  </a:lnTo>
                  <a:lnTo>
                    <a:pt x="48" y="2585"/>
                  </a:lnTo>
                  <a:lnTo>
                    <a:pt x="21" y="2633"/>
                  </a:lnTo>
                  <a:lnTo>
                    <a:pt x="4" y="2676"/>
                  </a:lnTo>
                  <a:lnTo>
                    <a:pt x="0" y="2715"/>
                  </a:lnTo>
                  <a:lnTo>
                    <a:pt x="7" y="2757"/>
                  </a:lnTo>
                  <a:lnTo>
                    <a:pt x="19" y="2805"/>
                  </a:lnTo>
                  <a:lnTo>
                    <a:pt x="38" y="2857"/>
                  </a:lnTo>
                  <a:lnTo>
                    <a:pt x="62" y="2915"/>
                  </a:lnTo>
                  <a:lnTo>
                    <a:pt x="92" y="2976"/>
                  </a:lnTo>
                  <a:lnTo>
                    <a:pt x="126" y="3041"/>
                  </a:lnTo>
                  <a:lnTo>
                    <a:pt x="166" y="3108"/>
                  </a:lnTo>
                  <a:lnTo>
                    <a:pt x="208" y="3178"/>
                  </a:lnTo>
                  <a:lnTo>
                    <a:pt x="255" y="3251"/>
                  </a:lnTo>
                  <a:lnTo>
                    <a:pt x="304" y="3325"/>
                  </a:lnTo>
                  <a:lnTo>
                    <a:pt x="356" y="3400"/>
                  </a:lnTo>
                  <a:lnTo>
                    <a:pt x="410" y="3477"/>
                  </a:lnTo>
                  <a:lnTo>
                    <a:pt x="467" y="3554"/>
                  </a:lnTo>
                  <a:lnTo>
                    <a:pt x="523" y="3630"/>
                  </a:lnTo>
                  <a:lnTo>
                    <a:pt x="581" y="3708"/>
                  </a:lnTo>
                  <a:lnTo>
                    <a:pt x="639" y="3783"/>
                  </a:lnTo>
                  <a:lnTo>
                    <a:pt x="698" y="3858"/>
                  </a:lnTo>
                  <a:lnTo>
                    <a:pt x="755" y="3931"/>
                  </a:lnTo>
                  <a:lnTo>
                    <a:pt x="812" y="4002"/>
                  </a:lnTo>
                  <a:lnTo>
                    <a:pt x="868" y="4070"/>
                  </a:lnTo>
                  <a:lnTo>
                    <a:pt x="971" y="4198"/>
                  </a:lnTo>
                  <a:lnTo>
                    <a:pt x="1065" y="4309"/>
                  </a:lnTo>
                  <a:lnTo>
                    <a:pt x="1145" y="4403"/>
                  </a:lnTo>
                  <a:lnTo>
                    <a:pt x="1204" y="4473"/>
                  </a:lnTo>
                  <a:lnTo>
                    <a:pt x="1244" y="4518"/>
                  </a:lnTo>
                  <a:lnTo>
                    <a:pt x="1258" y="4533"/>
                  </a:lnTo>
                  <a:lnTo>
                    <a:pt x="1640" y="3891"/>
                  </a:lnTo>
                  <a:lnTo>
                    <a:pt x="1631" y="3882"/>
                  </a:lnTo>
                  <a:lnTo>
                    <a:pt x="1603" y="3857"/>
                  </a:lnTo>
                  <a:lnTo>
                    <a:pt x="1561" y="3818"/>
                  </a:lnTo>
                  <a:lnTo>
                    <a:pt x="1506" y="3767"/>
                  </a:lnTo>
                  <a:lnTo>
                    <a:pt x="1442" y="3705"/>
                  </a:lnTo>
                  <a:lnTo>
                    <a:pt x="1369" y="3634"/>
                  </a:lnTo>
                  <a:lnTo>
                    <a:pt x="1293" y="3555"/>
                  </a:lnTo>
                  <a:lnTo>
                    <a:pt x="1213" y="3472"/>
                  </a:lnTo>
                  <a:lnTo>
                    <a:pt x="1174" y="3429"/>
                  </a:lnTo>
                  <a:lnTo>
                    <a:pt x="1135" y="3385"/>
                  </a:lnTo>
                  <a:lnTo>
                    <a:pt x="1095" y="3342"/>
                  </a:lnTo>
                  <a:lnTo>
                    <a:pt x="1058" y="3298"/>
                  </a:lnTo>
                  <a:lnTo>
                    <a:pt x="1022" y="3253"/>
                  </a:lnTo>
                  <a:lnTo>
                    <a:pt x="988" y="3210"/>
                  </a:lnTo>
                  <a:lnTo>
                    <a:pt x="956" y="3166"/>
                  </a:lnTo>
                  <a:lnTo>
                    <a:pt x="925" y="3123"/>
                  </a:lnTo>
                  <a:lnTo>
                    <a:pt x="898" y="3082"/>
                  </a:lnTo>
                  <a:lnTo>
                    <a:pt x="873" y="3042"/>
                  </a:lnTo>
                  <a:lnTo>
                    <a:pt x="852" y="3003"/>
                  </a:lnTo>
                  <a:lnTo>
                    <a:pt x="835" y="2965"/>
                  </a:lnTo>
                  <a:lnTo>
                    <a:pt x="821" y="2930"/>
                  </a:lnTo>
                  <a:lnTo>
                    <a:pt x="812" y="2898"/>
                  </a:lnTo>
                  <a:lnTo>
                    <a:pt x="807" y="2866"/>
                  </a:lnTo>
                  <a:lnTo>
                    <a:pt x="807" y="2838"/>
                  </a:lnTo>
                  <a:lnTo>
                    <a:pt x="812" y="2813"/>
                  </a:lnTo>
                  <a:lnTo>
                    <a:pt x="825" y="2785"/>
                  </a:lnTo>
                  <a:lnTo>
                    <a:pt x="845" y="2755"/>
                  </a:lnTo>
                  <a:lnTo>
                    <a:pt x="869" y="2723"/>
                  </a:lnTo>
                  <a:lnTo>
                    <a:pt x="899" y="2691"/>
                  </a:lnTo>
                  <a:lnTo>
                    <a:pt x="935" y="2656"/>
                  </a:lnTo>
                  <a:lnTo>
                    <a:pt x="976" y="2620"/>
                  </a:lnTo>
                  <a:lnTo>
                    <a:pt x="1020" y="2583"/>
                  </a:lnTo>
                  <a:lnTo>
                    <a:pt x="1069" y="2544"/>
                  </a:lnTo>
                  <a:lnTo>
                    <a:pt x="1122" y="2505"/>
                  </a:lnTo>
                  <a:lnTo>
                    <a:pt x="1177" y="2466"/>
                  </a:lnTo>
                  <a:lnTo>
                    <a:pt x="1235" y="2426"/>
                  </a:lnTo>
                  <a:lnTo>
                    <a:pt x="1295" y="2385"/>
                  </a:lnTo>
                  <a:lnTo>
                    <a:pt x="1357" y="2345"/>
                  </a:lnTo>
                  <a:lnTo>
                    <a:pt x="1420" y="2305"/>
                  </a:lnTo>
                  <a:lnTo>
                    <a:pt x="1486" y="2264"/>
                  </a:lnTo>
                  <a:lnTo>
                    <a:pt x="1616" y="2186"/>
                  </a:lnTo>
                  <a:lnTo>
                    <a:pt x="1746" y="2109"/>
                  </a:lnTo>
                  <a:lnTo>
                    <a:pt x="1872" y="2037"/>
                  </a:lnTo>
                  <a:lnTo>
                    <a:pt x="1990" y="1971"/>
                  </a:lnTo>
                  <a:lnTo>
                    <a:pt x="2098" y="1912"/>
                  </a:lnTo>
                  <a:lnTo>
                    <a:pt x="2192" y="1862"/>
                  </a:lnTo>
                  <a:lnTo>
                    <a:pt x="2269" y="1821"/>
                  </a:lnTo>
                  <a:lnTo>
                    <a:pt x="2325" y="1792"/>
                  </a:lnTo>
                  <a:lnTo>
                    <a:pt x="1759" y="4761"/>
                  </a:lnTo>
                  <a:lnTo>
                    <a:pt x="1767" y="4768"/>
                  </a:lnTo>
                  <a:lnTo>
                    <a:pt x="1788" y="4787"/>
                  </a:lnTo>
                  <a:lnTo>
                    <a:pt x="1821" y="4817"/>
                  </a:lnTo>
                  <a:lnTo>
                    <a:pt x="1869" y="4856"/>
                  </a:lnTo>
                  <a:lnTo>
                    <a:pt x="1899" y="4878"/>
                  </a:lnTo>
                  <a:lnTo>
                    <a:pt x="1930" y="4901"/>
                  </a:lnTo>
                  <a:lnTo>
                    <a:pt x="1966" y="4926"/>
                  </a:lnTo>
                  <a:lnTo>
                    <a:pt x="2005" y="4951"/>
                  </a:lnTo>
                  <a:lnTo>
                    <a:pt x="2046" y="4977"/>
                  </a:lnTo>
                  <a:lnTo>
                    <a:pt x="2092" y="5004"/>
                  </a:lnTo>
                  <a:lnTo>
                    <a:pt x="2140" y="5032"/>
                  </a:lnTo>
                  <a:lnTo>
                    <a:pt x="2190" y="5059"/>
                  </a:lnTo>
                  <a:lnTo>
                    <a:pt x="2244" y="5085"/>
                  </a:lnTo>
                  <a:lnTo>
                    <a:pt x="2301" y="5111"/>
                  </a:lnTo>
                  <a:lnTo>
                    <a:pt x="2361" y="5137"/>
                  </a:lnTo>
                  <a:lnTo>
                    <a:pt x="2424" y="5161"/>
                  </a:lnTo>
                  <a:lnTo>
                    <a:pt x="2491" y="5185"/>
                  </a:lnTo>
                  <a:lnTo>
                    <a:pt x="2559" y="5207"/>
                  </a:lnTo>
                  <a:lnTo>
                    <a:pt x="2631" y="5227"/>
                  </a:lnTo>
                  <a:lnTo>
                    <a:pt x="2705" y="5245"/>
                  </a:lnTo>
                  <a:lnTo>
                    <a:pt x="2783" y="5262"/>
                  </a:lnTo>
                  <a:lnTo>
                    <a:pt x="2862" y="5276"/>
                  </a:lnTo>
                  <a:lnTo>
                    <a:pt x="2945" y="5287"/>
                  </a:lnTo>
                  <a:lnTo>
                    <a:pt x="3031" y="5295"/>
                  </a:lnTo>
                  <a:lnTo>
                    <a:pt x="3120" y="5300"/>
                  </a:lnTo>
                  <a:lnTo>
                    <a:pt x="3210" y="5302"/>
                  </a:lnTo>
                  <a:lnTo>
                    <a:pt x="3304" y="5300"/>
                  </a:lnTo>
                  <a:lnTo>
                    <a:pt x="3400" y="5295"/>
                  </a:lnTo>
                  <a:lnTo>
                    <a:pt x="3496" y="5285"/>
                  </a:lnTo>
                  <a:lnTo>
                    <a:pt x="3590" y="5273"/>
                  </a:lnTo>
                  <a:lnTo>
                    <a:pt x="3681" y="5259"/>
                  </a:lnTo>
                  <a:lnTo>
                    <a:pt x="3770" y="5241"/>
                  </a:lnTo>
                  <a:lnTo>
                    <a:pt x="3856" y="5221"/>
                  </a:lnTo>
                  <a:lnTo>
                    <a:pt x="3940" y="5200"/>
                  </a:lnTo>
                  <a:lnTo>
                    <a:pt x="4022" y="5176"/>
                  </a:lnTo>
                  <a:lnTo>
                    <a:pt x="4101" y="5151"/>
                  </a:lnTo>
                  <a:lnTo>
                    <a:pt x="4177" y="5124"/>
                  </a:lnTo>
                  <a:lnTo>
                    <a:pt x="4250" y="5096"/>
                  </a:lnTo>
                  <a:lnTo>
                    <a:pt x="4321" y="5068"/>
                  </a:lnTo>
                  <a:lnTo>
                    <a:pt x="4388" y="5037"/>
                  </a:lnTo>
                  <a:lnTo>
                    <a:pt x="4454" y="5008"/>
                  </a:lnTo>
                  <a:lnTo>
                    <a:pt x="4515" y="4976"/>
                  </a:lnTo>
                  <a:lnTo>
                    <a:pt x="4574" y="4946"/>
                  </a:lnTo>
                  <a:lnTo>
                    <a:pt x="4630" y="4915"/>
                  </a:lnTo>
                  <a:lnTo>
                    <a:pt x="4683" y="4885"/>
                  </a:lnTo>
                  <a:lnTo>
                    <a:pt x="4733" y="4854"/>
                  </a:lnTo>
                  <a:lnTo>
                    <a:pt x="4780" y="4825"/>
                  </a:lnTo>
                  <a:lnTo>
                    <a:pt x="4823" y="4796"/>
                  </a:lnTo>
                  <a:lnTo>
                    <a:pt x="4864" y="4769"/>
                  </a:lnTo>
                  <a:lnTo>
                    <a:pt x="4901" y="4742"/>
                  </a:lnTo>
                  <a:lnTo>
                    <a:pt x="4934" y="4718"/>
                  </a:lnTo>
                  <a:lnTo>
                    <a:pt x="4965" y="4695"/>
                  </a:lnTo>
                  <a:lnTo>
                    <a:pt x="5015" y="4654"/>
                  </a:lnTo>
                  <a:lnTo>
                    <a:pt x="5051" y="4624"/>
                  </a:lnTo>
                  <a:lnTo>
                    <a:pt x="5074" y="4604"/>
                  </a:lnTo>
                  <a:lnTo>
                    <a:pt x="5082" y="4597"/>
                  </a:lnTo>
                  <a:lnTo>
                    <a:pt x="4515" y="1586"/>
                  </a:lnTo>
                  <a:lnTo>
                    <a:pt x="4515" y="1586"/>
                  </a:lnTo>
                  <a:lnTo>
                    <a:pt x="4585" y="1590"/>
                  </a:lnTo>
                  <a:lnTo>
                    <a:pt x="4659" y="1594"/>
                  </a:lnTo>
                  <a:lnTo>
                    <a:pt x="4739" y="1597"/>
                  </a:lnTo>
                  <a:lnTo>
                    <a:pt x="4823" y="1599"/>
                  </a:lnTo>
                  <a:lnTo>
                    <a:pt x="4912" y="1599"/>
                  </a:lnTo>
                  <a:lnTo>
                    <a:pt x="5004" y="1598"/>
                  </a:lnTo>
                  <a:lnTo>
                    <a:pt x="5100" y="1595"/>
                  </a:lnTo>
                  <a:lnTo>
                    <a:pt x="5198" y="1590"/>
                  </a:lnTo>
                  <a:lnTo>
                    <a:pt x="5248" y="1587"/>
                  </a:lnTo>
                  <a:lnTo>
                    <a:pt x="5300" y="1583"/>
                  </a:lnTo>
                  <a:lnTo>
                    <a:pt x="5351" y="1578"/>
                  </a:lnTo>
                  <a:lnTo>
                    <a:pt x="5403" y="1573"/>
                  </a:lnTo>
                  <a:lnTo>
                    <a:pt x="5455" y="1567"/>
                  </a:lnTo>
                  <a:lnTo>
                    <a:pt x="5509" y="1561"/>
                  </a:lnTo>
                  <a:lnTo>
                    <a:pt x="5561" y="1553"/>
                  </a:lnTo>
                  <a:lnTo>
                    <a:pt x="5615" y="1546"/>
                  </a:lnTo>
                  <a:lnTo>
                    <a:pt x="5669" y="1536"/>
                  </a:lnTo>
                  <a:lnTo>
                    <a:pt x="5723" y="1527"/>
                  </a:lnTo>
                  <a:lnTo>
                    <a:pt x="5777" y="1516"/>
                  </a:lnTo>
                  <a:lnTo>
                    <a:pt x="5830" y="1504"/>
                  </a:lnTo>
                  <a:lnTo>
                    <a:pt x="5885" y="1492"/>
                  </a:lnTo>
                  <a:lnTo>
                    <a:pt x="5938" y="1479"/>
                  </a:lnTo>
                  <a:lnTo>
                    <a:pt x="5993" y="1465"/>
                  </a:lnTo>
                  <a:lnTo>
                    <a:pt x="6047" y="1450"/>
                  </a:lnTo>
                  <a:lnTo>
                    <a:pt x="6130" y="1423"/>
                  </a:lnTo>
                  <a:lnTo>
                    <a:pt x="6215" y="1396"/>
                  </a:lnTo>
                  <a:lnTo>
                    <a:pt x="6300" y="1366"/>
                  </a:lnTo>
                  <a:lnTo>
                    <a:pt x="6386" y="1333"/>
                  </a:lnTo>
                  <a:lnTo>
                    <a:pt x="6472" y="1299"/>
                  </a:lnTo>
                  <a:lnTo>
                    <a:pt x="6559" y="1263"/>
                  </a:lnTo>
                  <a:lnTo>
                    <a:pt x="6644" y="1226"/>
                  </a:lnTo>
                  <a:lnTo>
                    <a:pt x="6730" y="1188"/>
                  </a:lnTo>
                  <a:lnTo>
                    <a:pt x="6814" y="1149"/>
                  </a:lnTo>
                  <a:lnTo>
                    <a:pt x="6898" y="1109"/>
                  </a:lnTo>
                  <a:lnTo>
                    <a:pt x="6979" y="1069"/>
                  </a:lnTo>
                  <a:lnTo>
                    <a:pt x="7060" y="1028"/>
                  </a:lnTo>
                  <a:lnTo>
                    <a:pt x="7140" y="987"/>
                  </a:lnTo>
                  <a:lnTo>
                    <a:pt x="7217" y="947"/>
                  </a:lnTo>
                  <a:lnTo>
                    <a:pt x="7291" y="907"/>
                  </a:lnTo>
                  <a:lnTo>
                    <a:pt x="7364" y="866"/>
                  </a:lnTo>
                  <a:lnTo>
                    <a:pt x="7501" y="790"/>
                  </a:lnTo>
                  <a:lnTo>
                    <a:pt x="7627" y="717"/>
                  </a:lnTo>
                  <a:lnTo>
                    <a:pt x="7738" y="651"/>
                  </a:lnTo>
                  <a:lnTo>
                    <a:pt x="7833" y="594"/>
                  </a:lnTo>
                  <a:lnTo>
                    <a:pt x="7910" y="546"/>
                  </a:lnTo>
                  <a:lnTo>
                    <a:pt x="7967" y="510"/>
                  </a:lnTo>
                  <a:lnTo>
                    <a:pt x="8003" y="487"/>
                  </a:lnTo>
                  <a:lnTo>
                    <a:pt x="8015" y="478"/>
                  </a:lnTo>
                  <a:lnTo>
                    <a:pt x="7550" y="0"/>
                  </a:lnTo>
                  <a:lnTo>
                    <a:pt x="7542" y="8"/>
                  </a:lnTo>
                  <a:lnTo>
                    <a:pt x="7518" y="33"/>
                  </a:lnTo>
                  <a:lnTo>
                    <a:pt x="7480" y="72"/>
                  </a:lnTo>
                  <a:lnTo>
                    <a:pt x="7426" y="123"/>
                  </a:lnTo>
                  <a:lnTo>
                    <a:pt x="7393" y="152"/>
                  </a:lnTo>
                  <a:lnTo>
                    <a:pt x="7359" y="185"/>
                  </a:lnTo>
                  <a:lnTo>
                    <a:pt x="7320" y="218"/>
                  </a:lnTo>
                  <a:lnTo>
                    <a:pt x="7279" y="253"/>
                  </a:lnTo>
                  <a:lnTo>
                    <a:pt x="7235" y="290"/>
                  </a:lnTo>
                  <a:lnTo>
                    <a:pt x="7189" y="330"/>
                  </a:lnTo>
                  <a:lnTo>
                    <a:pt x="7138" y="369"/>
                  </a:lnTo>
                  <a:lnTo>
                    <a:pt x="7086" y="410"/>
                  </a:lnTo>
                  <a:lnTo>
                    <a:pt x="7057" y="431"/>
                  </a:lnTo>
                  <a:lnTo>
                    <a:pt x="7023" y="452"/>
                  </a:lnTo>
                  <a:lnTo>
                    <a:pt x="6985" y="473"/>
                  </a:lnTo>
                  <a:lnTo>
                    <a:pt x="6944" y="494"/>
                  </a:lnTo>
                  <a:lnTo>
                    <a:pt x="6900" y="515"/>
                  </a:lnTo>
                  <a:lnTo>
                    <a:pt x="6852" y="537"/>
                  </a:lnTo>
                  <a:lnTo>
                    <a:pt x="6802" y="558"/>
                  </a:lnTo>
                  <a:lnTo>
                    <a:pt x="6749" y="579"/>
                  </a:lnTo>
                  <a:lnTo>
                    <a:pt x="6695" y="600"/>
                  </a:lnTo>
                  <a:lnTo>
                    <a:pt x="6638" y="621"/>
                  </a:lnTo>
                  <a:lnTo>
                    <a:pt x="6581" y="642"/>
                  </a:lnTo>
                  <a:lnTo>
                    <a:pt x="6523" y="662"/>
                  </a:lnTo>
                  <a:lnTo>
                    <a:pt x="6405" y="702"/>
                  </a:lnTo>
                  <a:lnTo>
                    <a:pt x="6288" y="739"/>
                  </a:lnTo>
                  <a:lnTo>
                    <a:pt x="6174" y="772"/>
                  </a:lnTo>
                  <a:lnTo>
                    <a:pt x="6066" y="804"/>
                  </a:lnTo>
                  <a:lnTo>
                    <a:pt x="5968" y="832"/>
                  </a:lnTo>
                  <a:lnTo>
                    <a:pt x="5881" y="856"/>
                  </a:lnTo>
                  <a:lnTo>
                    <a:pt x="5808" y="876"/>
                  </a:lnTo>
                  <a:lnTo>
                    <a:pt x="5753" y="890"/>
                  </a:lnTo>
                  <a:lnTo>
                    <a:pt x="5717" y="899"/>
                  </a:lnTo>
                  <a:lnTo>
                    <a:pt x="5705" y="902"/>
                  </a:lnTo>
                  <a:lnTo>
                    <a:pt x="4206" y="973"/>
                  </a:lnTo>
                  <a:lnTo>
                    <a:pt x="2484" y="959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6" name="îṡlïďé"/>
            <p:cNvSpPr/>
            <p:nvPr/>
          </p:nvSpPr>
          <p:spPr bwMode="auto">
            <a:xfrm>
              <a:off x="1758156" y="2993232"/>
              <a:ext cx="280988" cy="104775"/>
            </a:xfrm>
            <a:custGeom>
              <a:avLst/>
              <a:gdLst>
                <a:gd name="T0" fmla="*/ 886 w 886"/>
                <a:gd name="T1" fmla="*/ 8 h 327"/>
                <a:gd name="T2" fmla="*/ 0 w 886"/>
                <a:gd name="T3" fmla="*/ 0 h 327"/>
                <a:gd name="T4" fmla="*/ 414 w 886"/>
                <a:gd name="T5" fmla="*/ 327 h 327"/>
                <a:gd name="T6" fmla="*/ 886 w 886"/>
                <a:gd name="T7" fmla="*/ 8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6" h="327">
                  <a:moveTo>
                    <a:pt x="886" y="8"/>
                  </a:moveTo>
                  <a:lnTo>
                    <a:pt x="0" y="0"/>
                  </a:lnTo>
                  <a:lnTo>
                    <a:pt x="414" y="327"/>
                  </a:lnTo>
                  <a:lnTo>
                    <a:pt x="886" y="8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7" name="ï$ľïďê"/>
            <p:cNvSpPr/>
            <p:nvPr/>
          </p:nvSpPr>
          <p:spPr bwMode="auto">
            <a:xfrm>
              <a:off x="1194593" y="3904457"/>
              <a:ext cx="265113" cy="304800"/>
            </a:xfrm>
            <a:custGeom>
              <a:avLst/>
              <a:gdLst>
                <a:gd name="T0" fmla="*/ 388 w 835"/>
                <a:gd name="T1" fmla="*/ 57 h 958"/>
                <a:gd name="T2" fmla="*/ 429 w 835"/>
                <a:gd name="T3" fmla="*/ 43 h 958"/>
                <a:gd name="T4" fmla="*/ 500 w 835"/>
                <a:gd name="T5" fmla="*/ 22 h 958"/>
                <a:gd name="T6" fmla="*/ 569 w 835"/>
                <a:gd name="T7" fmla="*/ 8 h 958"/>
                <a:gd name="T8" fmla="*/ 618 w 835"/>
                <a:gd name="T9" fmla="*/ 2 h 958"/>
                <a:gd name="T10" fmla="*/ 668 w 835"/>
                <a:gd name="T11" fmla="*/ 0 h 958"/>
                <a:gd name="T12" fmla="*/ 715 w 835"/>
                <a:gd name="T13" fmla="*/ 3 h 958"/>
                <a:gd name="T14" fmla="*/ 756 w 835"/>
                <a:gd name="T15" fmla="*/ 14 h 958"/>
                <a:gd name="T16" fmla="*/ 790 w 835"/>
                <a:gd name="T17" fmla="*/ 29 h 958"/>
                <a:gd name="T18" fmla="*/ 810 w 835"/>
                <a:gd name="T19" fmla="*/ 44 h 958"/>
                <a:gd name="T20" fmla="*/ 820 w 835"/>
                <a:gd name="T21" fmla="*/ 54 h 958"/>
                <a:gd name="T22" fmla="*/ 827 w 835"/>
                <a:gd name="T23" fmla="*/ 66 h 958"/>
                <a:gd name="T24" fmla="*/ 833 w 835"/>
                <a:gd name="T25" fmla="*/ 78 h 958"/>
                <a:gd name="T26" fmla="*/ 835 w 835"/>
                <a:gd name="T27" fmla="*/ 91 h 958"/>
                <a:gd name="T28" fmla="*/ 834 w 835"/>
                <a:gd name="T29" fmla="*/ 105 h 958"/>
                <a:gd name="T30" fmla="*/ 829 w 835"/>
                <a:gd name="T31" fmla="*/ 119 h 958"/>
                <a:gd name="T32" fmla="*/ 823 w 835"/>
                <a:gd name="T33" fmla="*/ 133 h 958"/>
                <a:gd name="T34" fmla="*/ 791 w 835"/>
                <a:gd name="T35" fmla="*/ 176 h 958"/>
                <a:gd name="T36" fmla="*/ 743 w 835"/>
                <a:gd name="T37" fmla="*/ 249 h 958"/>
                <a:gd name="T38" fmla="*/ 709 w 835"/>
                <a:gd name="T39" fmla="*/ 306 h 958"/>
                <a:gd name="T40" fmla="*/ 678 w 835"/>
                <a:gd name="T41" fmla="*/ 368 h 958"/>
                <a:gd name="T42" fmla="*/ 658 w 835"/>
                <a:gd name="T43" fmla="*/ 415 h 958"/>
                <a:gd name="T44" fmla="*/ 647 w 835"/>
                <a:gd name="T45" fmla="*/ 446 h 958"/>
                <a:gd name="T46" fmla="*/ 640 w 835"/>
                <a:gd name="T47" fmla="*/ 477 h 958"/>
                <a:gd name="T48" fmla="*/ 635 w 835"/>
                <a:gd name="T49" fmla="*/ 507 h 958"/>
                <a:gd name="T50" fmla="*/ 634 w 835"/>
                <a:gd name="T51" fmla="*/ 537 h 958"/>
                <a:gd name="T52" fmla="*/ 636 w 835"/>
                <a:gd name="T53" fmla="*/ 565 h 958"/>
                <a:gd name="T54" fmla="*/ 646 w 835"/>
                <a:gd name="T55" fmla="*/ 605 h 958"/>
                <a:gd name="T56" fmla="*/ 654 w 835"/>
                <a:gd name="T57" fmla="*/ 665 h 958"/>
                <a:gd name="T58" fmla="*/ 655 w 835"/>
                <a:gd name="T59" fmla="*/ 713 h 958"/>
                <a:gd name="T60" fmla="*/ 653 w 835"/>
                <a:gd name="T61" fmla="*/ 746 h 958"/>
                <a:gd name="T62" fmla="*/ 647 w 835"/>
                <a:gd name="T63" fmla="*/ 778 h 958"/>
                <a:gd name="T64" fmla="*/ 640 w 835"/>
                <a:gd name="T65" fmla="*/ 808 h 958"/>
                <a:gd name="T66" fmla="*/ 629 w 835"/>
                <a:gd name="T67" fmla="*/ 838 h 958"/>
                <a:gd name="T68" fmla="*/ 615 w 835"/>
                <a:gd name="T69" fmla="*/ 865 h 958"/>
                <a:gd name="T70" fmla="*/ 597 w 835"/>
                <a:gd name="T71" fmla="*/ 890 h 958"/>
                <a:gd name="T72" fmla="*/ 575 w 835"/>
                <a:gd name="T73" fmla="*/ 911 h 958"/>
                <a:gd name="T74" fmla="*/ 549 w 835"/>
                <a:gd name="T75" fmla="*/ 929 h 958"/>
                <a:gd name="T76" fmla="*/ 520 w 835"/>
                <a:gd name="T77" fmla="*/ 943 h 958"/>
                <a:gd name="T78" fmla="*/ 485 w 835"/>
                <a:gd name="T79" fmla="*/ 953 h 958"/>
                <a:gd name="T80" fmla="*/ 446 w 835"/>
                <a:gd name="T81" fmla="*/ 958 h 958"/>
                <a:gd name="T82" fmla="*/ 402 w 835"/>
                <a:gd name="T83" fmla="*/ 957 h 958"/>
                <a:gd name="T84" fmla="*/ 360 w 835"/>
                <a:gd name="T85" fmla="*/ 950 h 958"/>
                <a:gd name="T86" fmla="*/ 318 w 835"/>
                <a:gd name="T87" fmla="*/ 938 h 958"/>
                <a:gd name="T88" fmla="*/ 278 w 835"/>
                <a:gd name="T89" fmla="*/ 924 h 958"/>
                <a:gd name="T90" fmla="*/ 240 w 835"/>
                <a:gd name="T91" fmla="*/ 905 h 958"/>
                <a:gd name="T92" fmla="*/ 204 w 835"/>
                <a:gd name="T93" fmla="*/ 885 h 958"/>
                <a:gd name="T94" fmla="*/ 154 w 835"/>
                <a:gd name="T95" fmla="*/ 851 h 958"/>
                <a:gd name="T96" fmla="*/ 97 w 835"/>
                <a:gd name="T97" fmla="*/ 804 h 958"/>
                <a:gd name="T98" fmla="*/ 51 w 835"/>
                <a:gd name="T99" fmla="*/ 760 h 958"/>
                <a:gd name="T100" fmla="*/ 9 w 835"/>
                <a:gd name="T101" fmla="*/ 712 h 958"/>
                <a:gd name="T102" fmla="*/ 382 w 835"/>
                <a:gd name="T103" fmla="*/ 59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35" h="958">
                  <a:moveTo>
                    <a:pt x="382" y="59"/>
                  </a:moveTo>
                  <a:lnTo>
                    <a:pt x="388" y="57"/>
                  </a:lnTo>
                  <a:lnTo>
                    <a:pt x="404" y="50"/>
                  </a:lnTo>
                  <a:lnTo>
                    <a:pt x="429" y="43"/>
                  </a:lnTo>
                  <a:lnTo>
                    <a:pt x="462" y="32"/>
                  </a:lnTo>
                  <a:lnTo>
                    <a:pt x="500" y="22"/>
                  </a:lnTo>
                  <a:lnTo>
                    <a:pt x="545" y="12"/>
                  </a:lnTo>
                  <a:lnTo>
                    <a:pt x="569" y="8"/>
                  </a:lnTo>
                  <a:lnTo>
                    <a:pt x="593" y="5"/>
                  </a:lnTo>
                  <a:lnTo>
                    <a:pt x="618" y="2"/>
                  </a:lnTo>
                  <a:lnTo>
                    <a:pt x="643" y="0"/>
                  </a:lnTo>
                  <a:lnTo>
                    <a:pt x="668" y="0"/>
                  </a:lnTo>
                  <a:lnTo>
                    <a:pt x="692" y="1"/>
                  </a:lnTo>
                  <a:lnTo>
                    <a:pt x="715" y="3"/>
                  </a:lnTo>
                  <a:lnTo>
                    <a:pt x="737" y="8"/>
                  </a:lnTo>
                  <a:lnTo>
                    <a:pt x="756" y="14"/>
                  </a:lnTo>
                  <a:lnTo>
                    <a:pt x="774" y="21"/>
                  </a:lnTo>
                  <a:lnTo>
                    <a:pt x="790" y="29"/>
                  </a:lnTo>
                  <a:lnTo>
                    <a:pt x="803" y="38"/>
                  </a:lnTo>
                  <a:lnTo>
                    <a:pt x="810" y="44"/>
                  </a:lnTo>
                  <a:lnTo>
                    <a:pt x="815" y="48"/>
                  </a:lnTo>
                  <a:lnTo>
                    <a:pt x="820" y="54"/>
                  </a:lnTo>
                  <a:lnTo>
                    <a:pt x="824" y="60"/>
                  </a:lnTo>
                  <a:lnTo>
                    <a:pt x="827" y="66"/>
                  </a:lnTo>
                  <a:lnTo>
                    <a:pt x="830" y="72"/>
                  </a:lnTo>
                  <a:lnTo>
                    <a:pt x="833" y="78"/>
                  </a:lnTo>
                  <a:lnTo>
                    <a:pt x="834" y="84"/>
                  </a:lnTo>
                  <a:lnTo>
                    <a:pt x="835" y="91"/>
                  </a:lnTo>
                  <a:lnTo>
                    <a:pt x="835" y="97"/>
                  </a:lnTo>
                  <a:lnTo>
                    <a:pt x="834" y="105"/>
                  </a:lnTo>
                  <a:lnTo>
                    <a:pt x="833" y="111"/>
                  </a:lnTo>
                  <a:lnTo>
                    <a:pt x="829" y="119"/>
                  </a:lnTo>
                  <a:lnTo>
                    <a:pt x="826" y="126"/>
                  </a:lnTo>
                  <a:lnTo>
                    <a:pt x="823" y="133"/>
                  </a:lnTo>
                  <a:lnTo>
                    <a:pt x="817" y="141"/>
                  </a:lnTo>
                  <a:lnTo>
                    <a:pt x="791" y="176"/>
                  </a:lnTo>
                  <a:lnTo>
                    <a:pt x="760" y="223"/>
                  </a:lnTo>
                  <a:lnTo>
                    <a:pt x="743" y="249"/>
                  </a:lnTo>
                  <a:lnTo>
                    <a:pt x="726" y="276"/>
                  </a:lnTo>
                  <a:lnTo>
                    <a:pt x="709" y="306"/>
                  </a:lnTo>
                  <a:lnTo>
                    <a:pt x="693" y="336"/>
                  </a:lnTo>
                  <a:lnTo>
                    <a:pt x="678" y="368"/>
                  </a:lnTo>
                  <a:lnTo>
                    <a:pt x="664" y="398"/>
                  </a:lnTo>
                  <a:lnTo>
                    <a:pt x="658" y="415"/>
                  </a:lnTo>
                  <a:lnTo>
                    <a:pt x="653" y="430"/>
                  </a:lnTo>
                  <a:lnTo>
                    <a:pt x="647" y="446"/>
                  </a:lnTo>
                  <a:lnTo>
                    <a:pt x="644" y="461"/>
                  </a:lnTo>
                  <a:lnTo>
                    <a:pt x="640" y="477"/>
                  </a:lnTo>
                  <a:lnTo>
                    <a:pt x="638" y="492"/>
                  </a:lnTo>
                  <a:lnTo>
                    <a:pt x="635" y="507"/>
                  </a:lnTo>
                  <a:lnTo>
                    <a:pt x="634" y="523"/>
                  </a:lnTo>
                  <a:lnTo>
                    <a:pt x="634" y="537"/>
                  </a:lnTo>
                  <a:lnTo>
                    <a:pt x="635" y="551"/>
                  </a:lnTo>
                  <a:lnTo>
                    <a:pt x="636" y="565"/>
                  </a:lnTo>
                  <a:lnTo>
                    <a:pt x="640" y="578"/>
                  </a:lnTo>
                  <a:lnTo>
                    <a:pt x="646" y="605"/>
                  </a:lnTo>
                  <a:lnTo>
                    <a:pt x="651" y="635"/>
                  </a:lnTo>
                  <a:lnTo>
                    <a:pt x="654" y="665"/>
                  </a:lnTo>
                  <a:lnTo>
                    <a:pt x="655" y="697"/>
                  </a:lnTo>
                  <a:lnTo>
                    <a:pt x="655" y="713"/>
                  </a:lnTo>
                  <a:lnTo>
                    <a:pt x="654" y="730"/>
                  </a:lnTo>
                  <a:lnTo>
                    <a:pt x="653" y="746"/>
                  </a:lnTo>
                  <a:lnTo>
                    <a:pt x="651" y="761"/>
                  </a:lnTo>
                  <a:lnTo>
                    <a:pt x="647" y="778"/>
                  </a:lnTo>
                  <a:lnTo>
                    <a:pt x="644" y="793"/>
                  </a:lnTo>
                  <a:lnTo>
                    <a:pt x="640" y="808"/>
                  </a:lnTo>
                  <a:lnTo>
                    <a:pt x="634" y="822"/>
                  </a:lnTo>
                  <a:lnTo>
                    <a:pt x="629" y="838"/>
                  </a:lnTo>
                  <a:lnTo>
                    <a:pt x="622" y="851"/>
                  </a:lnTo>
                  <a:lnTo>
                    <a:pt x="615" y="865"/>
                  </a:lnTo>
                  <a:lnTo>
                    <a:pt x="606" y="877"/>
                  </a:lnTo>
                  <a:lnTo>
                    <a:pt x="597" y="890"/>
                  </a:lnTo>
                  <a:lnTo>
                    <a:pt x="586" y="901"/>
                  </a:lnTo>
                  <a:lnTo>
                    <a:pt x="575" y="911"/>
                  </a:lnTo>
                  <a:lnTo>
                    <a:pt x="563" y="921"/>
                  </a:lnTo>
                  <a:lnTo>
                    <a:pt x="549" y="929"/>
                  </a:lnTo>
                  <a:lnTo>
                    <a:pt x="535" y="937"/>
                  </a:lnTo>
                  <a:lnTo>
                    <a:pt x="520" y="943"/>
                  </a:lnTo>
                  <a:lnTo>
                    <a:pt x="503" y="949"/>
                  </a:lnTo>
                  <a:lnTo>
                    <a:pt x="485" y="953"/>
                  </a:lnTo>
                  <a:lnTo>
                    <a:pt x="466" y="955"/>
                  </a:lnTo>
                  <a:lnTo>
                    <a:pt x="446" y="958"/>
                  </a:lnTo>
                  <a:lnTo>
                    <a:pt x="425" y="958"/>
                  </a:lnTo>
                  <a:lnTo>
                    <a:pt x="402" y="957"/>
                  </a:lnTo>
                  <a:lnTo>
                    <a:pt x="381" y="953"/>
                  </a:lnTo>
                  <a:lnTo>
                    <a:pt x="360" y="950"/>
                  </a:lnTo>
                  <a:lnTo>
                    <a:pt x="339" y="945"/>
                  </a:lnTo>
                  <a:lnTo>
                    <a:pt x="318" y="938"/>
                  </a:lnTo>
                  <a:lnTo>
                    <a:pt x="297" y="931"/>
                  </a:lnTo>
                  <a:lnTo>
                    <a:pt x="278" y="924"/>
                  </a:lnTo>
                  <a:lnTo>
                    <a:pt x="258" y="915"/>
                  </a:lnTo>
                  <a:lnTo>
                    <a:pt x="240" y="905"/>
                  </a:lnTo>
                  <a:lnTo>
                    <a:pt x="221" y="895"/>
                  </a:lnTo>
                  <a:lnTo>
                    <a:pt x="204" y="885"/>
                  </a:lnTo>
                  <a:lnTo>
                    <a:pt x="186" y="874"/>
                  </a:lnTo>
                  <a:lnTo>
                    <a:pt x="154" y="851"/>
                  </a:lnTo>
                  <a:lnTo>
                    <a:pt x="124" y="827"/>
                  </a:lnTo>
                  <a:lnTo>
                    <a:pt x="97" y="804"/>
                  </a:lnTo>
                  <a:lnTo>
                    <a:pt x="72" y="781"/>
                  </a:lnTo>
                  <a:lnTo>
                    <a:pt x="51" y="760"/>
                  </a:lnTo>
                  <a:lnTo>
                    <a:pt x="33" y="741"/>
                  </a:lnTo>
                  <a:lnTo>
                    <a:pt x="9" y="712"/>
                  </a:lnTo>
                  <a:lnTo>
                    <a:pt x="0" y="701"/>
                  </a:lnTo>
                  <a:lnTo>
                    <a:pt x="382" y="59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8" name="iśliḓé"/>
            <p:cNvSpPr/>
            <p:nvPr/>
          </p:nvSpPr>
          <p:spPr bwMode="auto">
            <a:xfrm>
              <a:off x="1794668" y="2951957"/>
              <a:ext cx="203200" cy="44450"/>
            </a:xfrm>
            <a:custGeom>
              <a:avLst/>
              <a:gdLst>
                <a:gd name="T0" fmla="*/ 641 w 641"/>
                <a:gd name="T1" fmla="*/ 0 h 138"/>
                <a:gd name="T2" fmla="*/ 638 w 641"/>
                <a:gd name="T3" fmla="*/ 19 h 138"/>
                <a:gd name="T4" fmla="*/ 633 w 641"/>
                <a:gd name="T5" fmla="*/ 37 h 138"/>
                <a:gd name="T6" fmla="*/ 628 w 641"/>
                <a:gd name="T7" fmla="*/ 55 h 138"/>
                <a:gd name="T8" fmla="*/ 621 w 641"/>
                <a:gd name="T9" fmla="*/ 72 h 138"/>
                <a:gd name="T10" fmla="*/ 614 w 641"/>
                <a:gd name="T11" fmla="*/ 90 h 138"/>
                <a:gd name="T12" fmla="*/ 606 w 641"/>
                <a:gd name="T13" fmla="*/ 106 h 138"/>
                <a:gd name="T14" fmla="*/ 598 w 641"/>
                <a:gd name="T15" fmla="*/ 121 h 138"/>
                <a:gd name="T16" fmla="*/ 588 w 641"/>
                <a:gd name="T17" fmla="*/ 138 h 138"/>
                <a:gd name="T18" fmla="*/ 47 w 641"/>
                <a:gd name="T19" fmla="*/ 133 h 138"/>
                <a:gd name="T20" fmla="*/ 38 w 641"/>
                <a:gd name="T21" fmla="*/ 120 h 138"/>
                <a:gd name="T22" fmla="*/ 32 w 641"/>
                <a:gd name="T23" fmla="*/ 107 h 138"/>
                <a:gd name="T24" fmla="*/ 24 w 641"/>
                <a:gd name="T25" fmla="*/ 94 h 138"/>
                <a:gd name="T26" fmla="*/ 19 w 641"/>
                <a:gd name="T27" fmla="*/ 80 h 138"/>
                <a:gd name="T28" fmla="*/ 13 w 641"/>
                <a:gd name="T29" fmla="*/ 67 h 138"/>
                <a:gd name="T30" fmla="*/ 8 w 641"/>
                <a:gd name="T31" fmla="*/ 52 h 138"/>
                <a:gd name="T32" fmla="*/ 3 w 641"/>
                <a:gd name="T33" fmla="*/ 37 h 138"/>
                <a:gd name="T34" fmla="*/ 0 w 641"/>
                <a:gd name="T35" fmla="*/ 22 h 138"/>
                <a:gd name="T36" fmla="*/ 33 w 641"/>
                <a:gd name="T37" fmla="*/ 29 h 138"/>
                <a:gd name="T38" fmla="*/ 66 w 641"/>
                <a:gd name="T39" fmla="*/ 33 h 138"/>
                <a:gd name="T40" fmla="*/ 99 w 641"/>
                <a:gd name="T41" fmla="*/ 37 h 138"/>
                <a:gd name="T42" fmla="*/ 133 w 641"/>
                <a:gd name="T43" fmla="*/ 41 h 138"/>
                <a:gd name="T44" fmla="*/ 167 w 641"/>
                <a:gd name="T45" fmla="*/ 44 h 138"/>
                <a:gd name="T46" fmla="*/ 201 w 641"/>
                <a:gd name="T47" fmla="*/ 46 h 138"/>
                <a:gd name="T48" fmla="*/ 236 w 641"/>
                <a:gd name="T49" fmla="*/ 47 h 138"/>
                <a:gd name="T50" fmla="*/ 269 w 641"/>
                <a:gd name="T51" fmla="*/ 47 h 138"/>
                <a:gd name="T52" fmla="*/ 269 w 641"/>
                <a:gd name="T53" fmla="*/ 47 h 138"/>
                <a:gd name="T54" fmla="*/ 317 w 641"/>
                <a:gd name="T55" fmla="*/ 47 h 138"/>
                <a:gd name="T56" fmla="*/ 365 w 641"/>
                <a:gd name="T57" fmla="*/ 44 h 138"/>
                <a:gd name="T58" fmla="*/ 412 w 641"/>
                <a:gd name="T59" fmla="*/ 41 h 138"/>
                <a:gd name="T60" fmla="*/ 459 w 641"/>
                <a:gd name="T61" fmla="*/ 35 h 138"/>
                <a:gd name="T62" fmla="*/ 505 w 641"/>
                <a:gd name="T63" fmla="*/ 29 h 138"/>
                <a:gd name="T64" fmla="*/ 551 w 641"/>
                <a:gd name="T65" fmla="*/ 20 h 138"/>
                <a:gd name="T66" fmla="*/ 596 w 641"/>
                <a:gd name="T67" fmla="*/ 11 h 138"/>
                <a:gd name="T68" fmla="*/ 641 w 641"/>
                <a:gd name="T6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1" h="138">
                  <a:moveTo>
                    <a:pt x="641" y="0"/>
                  </a:moveTo>
                  <a:lnTo>
                    <a:pt x="638" y="19"/>
                  </a:lnTo>
                  <a:lnTo>
                    <a:pt x="633" y="37"/>
                  </a:lnTo>
                  <a:lnTo>
                    <a:pt x="628" y="55"/>
                  </a:lnTo>
                  <a:lnTo>
                    <a:pt x="621" y="72"/>
                  </a:lnTo>
                  <a:lnTo>
                    <a:pt x="614" y="90"/>
                  </a:lnTo>
                  <a:lnTo>
                    <a:pt x="606" y="106"/>
                  </a:lnTo>
                  <a:lnTo>
                    <a:pt x="598" y="121"/>
                  </a:lnTo>
                  <a:lnTo>
                    <a:pt x="588" y="138"/>
                  </a:lnTo>
                  <a:lnTo>
                    <a:pt x="47" y="133"/>
                  </a:lnTo>
                  <a:lnTo>
                    <a:pt x="38" y="120"/>
                  </a:lnTo>
                  <a:lnTo>
                    <a:pt x="32" y="107"/>
                  </a:lnTo>
                  <a:lnTo>
                    <a:pt x="24" y="94"/>
                  </a:lnTo>
                  <a:lnTo>
                    <a:pt x="19" y="80"/>
                  </a:lnTo>
                  <a:lnTo>
                    <a:pt x="13" y="67"/>
                  </a:lnTo>
                  <a:lnTo>
                    <a:pt x="8" y="52"/>
                  </a:lnTo>
                  <a:lnTo>
                    <a:pt x="3" y="37"/>
                  </a:lnTo>
                  <a:lnTo>
                    <a:pt x="0" y="22"/>
                  </a:lnTo>
                  <a:lnTo>
                    <a:pt x="33" y="29"/>
                  </a:lnTo>
                  <a:lnTo>
                    <a:pt x="66" y="33"/>
                  </a:lnTo>
                  <a:lnTo>
                    <a:pt x="99" y="37"/>
                  </a:lnTo>
                  <a:lnTo>
                    <a:pt x="133" y="41"/>
                  </a:lnTo>
                  <a:lnTo>
                    <a:pt x="167" y="44"/>
                  </a:lnTo>
                  <a:lnTo>
                    <a:pt x="201" y="46"/>
                  </a:lnTo>
                  <a:lnTo>
                    <a:pt x="236" y="47"/>
                  </a:lnTo>
                  <a:lnTo>
                    <a:pt x="269" y="47"/>
                  </a:lnTo>
                  <a:lnTo>
                    <a:pt x="269" y="47"/>
                  </a:lnTo>
                  <a:lnTo>
                    <a:pt x="317" y="47"/>
                  </a:lnTo>
                  <a:lnTo>
                    <a:pt x="365" y="44"/>
                  </a:lnTo>
                  <a:lnTo>
                    <a:pt x="412" y="41"/>
                  </a:lnTo>
                  <a:lnTo>
                    <a:pt x="459" y="35"/>
                  </a:lnTo>
                  <a:lnTo>
                    <a:pt x="505" y="29"/>
                  </a:lnTo>
                  <a:lnTo>
                    <a:pt x="551" y="20"/>
                  </a:lnTo>
                  <a:lnTo>
                    <a:pt x="596" y="11"/>
                  </a:lnTo>
                  <a:lnTo>
                    <a:pt x="641" y="0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9" name="îšļïḑê"/>
            <p:cNvSpPr/>
            <p:nvPr/>
          </p:nvSpPr>
          <p:spPr bwMode="auto">
            <a:xfrm>
              <a:off x="2237581" y="2042319"/>
              <a:ext cx="161925" cy="349250"/>
            </a:xfrm>
            <a:custGeom>
              <a:avLst/>
              <a:gdLst>
                <a:gd name="T0" fmla="*/ 264 w 512"/>
                <a:gd name="T1" fmla="*/ 1 h 1101"/>
                <a:gd name="T2" fmla="*/ 317 w 512"/>
                <a:gd name="T3" fmla="*/ 11 h 1101"/>
                <a:gd name="T4" fmla="*/ 353 w 512"/>
                <a:gd name="T5" fmla="*/ 25 h 1101"/>
                <a:gd name="T6" fmla="*/ 378 w 512"/>
                <a:gd name="T7" fmla="*/ 38 h 1101"/>
                <a:gd name="T8" fmla="*/ 405 w 512"/>
                <a:gd name="T9" fmla="*/ 55 h 1101"/>
                <a:gd name="T10" fmla="*/ 430 w 512"/>
                <a:gd name="T11" fmla="*/ 78 h 1101"/>
                <a:gd name="T12" fmla="*/ 452 w 512"/>
                <a:gd name="T13" fmla="*/ 106 h 1101"/>
                <a:gd name="T14" fmla="*/ 473 w 512"/>
                <a:gd name="T15" fmla="*/ 140 h 1101"/>
                <a:gd name="T16" fmla="*/ 491 w 512"/>
                <a:gd name="T17" fmla="*/ 181 h 1101"/>
                <a:gd name="T18" fmla="*/ 504 w 512"/>
                <a:gd name="T19" fmla="*/ 229 h 1101"/>
                <a:gd name="T20" fmla="*/ 511 w 512"/>
                <a:gd name="T21" fmla="*/ 284 h 1101"/>
                <a:gd name="T22" fmla="*/ 512 w 512"/>
                <a:gd name="T23" fmla="*/ 349 h 1101"/>
                <a:gd name="T24" fmla="*/ 507 w 512"/>
                <a:gd name="T25" fmla="*/ 419 h 1101"/>
                <a:gd name="T26" fmla="*/ 491 w 512"/>
                <a:gd name="T27" fmla="*/ 490 h 1101"/>
                <a:gd name="T28" fmla="*/ 466 w 512"/>
                <a:gd name="T29" fmla="*/ 559 h 1101"/>
                <a:gd name="T30" fmla="*/ 433 w 512"/>
                <a:gd name="T31" fmla="*/ 624 h 1101"/>
                <a:gd name="T32" fmla="*/ 394 w 512"/>
                <a:gd name="T33" fmla="*/ 688 h 1101"/>
                <a:gd name="T34" fmla="*/ 349 w 512"/>
                <a:gd name="T35" fmla="*/ 747 h 1101"/>
                <a:gd name="T36" fmla="*/ 302 w 512"/>
                <a:gd name="T37" fmla="*/ 803 h 1101"/>
                <a:gd name="T38" fmla="*/ 253 w 512"/>
                <a:gd name="T39" fmla="*/ 855 h 1101"/>
                <a:gd name="T40" fmla="*/ 181 w 512"/>
                <a:gd name="T41" fmla="*/ 925 h 1101"/>
                <a:gd name="T42" fmla="*/ 94 w 512"/>
                <a:gd name="T43" fmla="*/ 1003 h 1101"/>
                <a:gd name="T44" fmla="*/ 30 w 512"/>
                <a:gd name="T45" fmla="*/ 1060 h 1101"/>
                <a:gd name="T46" fmla="*/ 3 w 512"/>
                <a:gd name="T47" fmla="*/ 1087 h 1101"/>
                <a:gd name="T48" fmla="*/ 0 w 512"/>
                <a:gd name="T49" fmla="*/ 1098 h 1101"/>
                <a:gd name="T50" fmla="*/ 7 w 512"/>
                <a:gd name="T51" fmla="*/ 1100 h 1101"/>
                <a:gd name="T52" fmla="*/ 18 w 512"/>
                <a:gd name="T53" fmla="*/ 1080 h 1101"/>
                <a:gd name="T54" fmla="*/ 30 w 512"/>
                <a:gd name="T55" fmla="*/ 1039 h 1101"/>
                <a:gd name="T56" fmla="*/ 43 w 512"/>
                <a:gd name="T57" fmla="*/ 981 h 1101"/>
                <a:gd name="T58" fmla="*/ 63 w 512"/>
                <a:gd name="T59" fmla="*/ 867 h 1101"/>
                <a:gd name="T60" fmla="*/ 93 w 512"/>
                <a:gd name="T61" fmla="*/ 682 h 1101"/>
                <a:gd name="T62" fmla="*/ 122 w 512"/>
                <a:gd name="T63" fmla="*/ 484 h 1101"/>
                <a:gd name="T64" fmla="*/ 149 w 512"/>
                <a:gd name="T65" fmla="*/ 296 h 1101"/>
                <a:gd name="T66" fmla="*/ 171 w 512"/>
                <a:gd name="T67" fmla="*/ 146 h 1101"/>
                <a:gd name="T68" fmla="*/ 183 w 512"/>
                <a:gd name="T69" fmla="*/ 72 h 1101"/>
                <a:gd name="T70" fmla="*/ 189 w 512"/>
                <a:gd name="T71" fmla="*/ 48 h 1101"/>
                <a:gd name="T72" fmla="*/ 199 w 512"/>
                <a:gd name="T73" fmla="*/ 41 h 1101"/>
                <a:gd name="T74" fmla="*/ 217 w 512"/>
                <a:gd name="T75" fmla="*/ 28 h 1101"/>
                <a:gd name="T76" fmla="*/ 244 w 512"/>
                <a:gd name="T77" fmla="*/ 6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2" h="1101">
                  <a:moveTo>
                    <a:pt x="252" y="0"/>
                  </a:moveTo>
                  <a:lnTo>
                    <a:pt x="264" y="1"/>
                  </a:lnTo>
                  <a:lnTo>
                    <a:pt x="296" y="5"/>
                  </a:lnTo>
                  <a:lnTo>
                    <a:pt x="317" y="11"/>
                  </a:lnTo>
                  <a:lnTo>
                    <a:pt x="341" y="19"/>
                  </a:lnTo>
                  <a:lnTo>
                    <a:pt x="353" y="25"/>
                  </a:lnTo>
                  <a:lnTo>
                    <a:pt x="366" y="30"/>
                  </a:lnTo>
                  <a:lnTo>
                    <a:pt x="378" y="38"/>
                  </a:lnTo>
                  <a:lnTo>
                    <a:pt x="391" y="47"/>
                  </a:lnTo>
                  <a:lnTo>
                    <a:pt x="405" y="55"/>
                  </a:lnTo>
                  <a:lnTo>
                    <a:pt x="417" y="66"/>
                  </a:lnTo>
                  <a:lnTo>
                    <a:pt x="430" y="78"/>
                  </a:lnTo>
                  <a:lnTo>
                    <a:pt x="440" y="91"/>
                  </a:lnTo>
                  <a:lnTo>
                    <a:pt x="452" y="106"/>
                  </a:lnTo>
                  <a:lnTo>
                    <a:pt x="463" y="123"/>
                  </a:lnTo>
                  <a:lnTo>
                    <a:pt x="473" y="140"/>
                  </a:lnTo>
                  <a:lnTo>
                    <a:pt x="482" y="160"/>
                  </a:lnTo>
                  <a:lnTo>
                    <a:pt x="491" y="181"/>
                  </a:lnTo>
                  <a:lnTo>
                    <a:pt x="497" y="204"/>
                  </a:lnTo>
                  <a:lnTo>
                    <a:pt x="504" y="229"/>
                  </a:lnTo>
                  <a:lnTo>
                    <a:pt x="508" y="256"/>
                  </a:lnTo>
                  <a:lnTo>
                    <a:pt x="511" y="284"/>
                  </a:lnTo>
                  <a:lnTo>
                    <a:pt x="512" y="316"/>
                  </a:lnTo>
                  <a:lnTo>
                    <a:pt x="512" y="349"/>
                  </a:lnTo>
                  <a:lnTo>
                    <a:pt x="511" y="383"/>
                  </a:lnTo>
                  <a:lnTo>
                    <a:pt x="507" y="419"/>
                  </a:lnTo>
                  <a:lnTo>
                    <a:pt x="500" y="455"/>
                  </a:lnTo>
                  <a:lnTo>
                    <a:pt x="491" y="490"/>
                  </a:lnTo>
                  <a:lnTo>
                    <a:pt x="480" y="525"/>
                  </a:lnTo>
                  <a:lnTo>
                    <a:pt x="466" y="559"/>
                  </a:lnTo>
                  <a:lnTo>
                    <a:pt x="450" y="592"/>
                  </a:lnTo>
                  <a:lnTo>
                    <a:pt x="433" y="624"/>
                  </a:lnTo>
                  <a:lnTo>
                    <a:pt x="413" y="656"/>
                  </a:lnTo>
                  <a:lnTo>
                    <a:pt x="394" y="688"/>
                  </a:lnTo>
                  <a:lnTo>
                    <a:pt x="372" y="717"/>
                  </a:lnTo>
                  <a:lnTo>
                    <a:pt x="349" y="747"/>
                  </a:lnTo>
                  <a:lnTo>
                    <a:pt x="326" y="775"/>
                  </a:lnTo>
                  <a:lnTo>
                    <a:pt x="302" y="803"/>
                  </a:lnTo>
                  <a:lnTo>
                    <a:pt x="278" y="829"/>
                  </a:lnTo>
                  <a:lnTo>
                    <a:pt x="253" y="855"/>
                  </a:lnTo>
                  <a:lnTo>
                    <a:pt x="229" y="880"/>
                  </a:lnTo>
                  <a:lnTo>
                    <a:pt x="181" y="925"/>
                  </a:lnTo>
                  <a:lnTo>
                    <a:pt x="135" y="966"/>
                  </a:lnTo>
                  <a:lnTo>
                    <a:pt x="94" y="1003"/>
                  </a:lnTo>
                  <a:lnTo>
                    <a:pt x="58" y="1033"/>
                  </a:lnTo>
                  <a:lnTo>
                    <a:pt x="30" y="1060"/>
                  </a:lnTo>
                  <a:lnTo>
                    <a:pt x="10" y="1079"/>
                  </a:lnTo>
                  <a:lnTo>
                    <a:pt x="3" y="1087"/>
                  </a:lnTo>
                  <a:lnTo>
                    <a:pt x="0" y="1093"/>
                  </a:lnTo>
                  <a:lnTo>
                    <a:pt x="0" y="1098"/>
                  </a:lnTo>
                  <a:lnTo>
                    <a:pt x="2" y="1101"/>
                  </a:lnTo>
                  <a:lnTo>
                    <a:pt x="7" y="1100"/>
                  </a:lnTo>
                  <a:lnTo>
                    <a:pt x="12" y="1092"/>
                  </a:lnTo>
                  <a:lnTo>
                    <a:pt x="18" y="1080"/>
                  </a:lnTo>
                  <a:lnTo>
                    <a:pt x="23" y="1062"/>
                  </a:lnTo>
                  <a:lnTo>
                    <a:pt x="30" y="1039"/>
                  </a:lnTo>
                  <a:lnTo>
                    <a:pt x="36" y="1013"/>
                  </a:lnTo>
                  <a:lnTo>
                    <a:pt x="43" y="981"/>
                  </a:lnTo>
                  <a:lnTo>
                    <a:pt x="49" y="946"/>
                  </a:lnTo>
                  <a:lnTo>
                    <a:pt x="63" y="867"/>
                  </a:lnTo>
                  <a:lnTo>
                    <a:pt x="79" y="778"/>
                  </a:lnTo>
                  <a:lnTo>
                    <a:pt x="93" y="682"/>
                  </a:lnTo>
                  <a:lnTo>
                    <a:pt x="108" y="583"/>
                  </a:lnTo>
                  <a:lnTo>
                    <a:pt x="122" y="484"/>
                  </a:lnTo>
                  <a:lnTo>
                    <a:pt x="136" y="387"/>
                  </a:lnTo>
                  <a:lnTo>
                    <a:pt x="149" y="296"/>
                  </a:lnTo>
                  <a:lnTo>
                    <a:pt x="161" y="214"/>
                  </a:lnTo>
                  <a:lnTo>
                    <a:pt x="171" y="146"/>
                  </a:lnTo>
                  <a:lnTo>
                    <a:pt x="180" y="92"/>
                  </a:lnTo>
                  <a:lnTo>
                    <a:pt x="183" y="72"/>
                  </a:lnTo>
                  <a:lnTo>
                    <a:pt x="187" y="57"/>
                  </a:lnTo>
                  <a:lnTo>
                    <a:pt x="189" y="48"/>
                  </a:lnTo>
                  <a:lnTo>
                    <a:pt x="191" y="44"/>
                  </a:lnTo>
                  <a:lnTo>
                    <a:pt x="199" y="41"/>
                  </a:lnTo>
                  <a:lnTo>
                    <a:pt x="207" y="36"/>
                  </a:lnTo>
                  <a:lnTo>
                    <a:pt x="217" y="28"/>
                  </a:lnTo>
                  <a:lnTo>
                    <a:pt x="228" y="20"/>
                  </a:lnTo>
                  <a:lnTo>
                    <a:pt x="244" y="6"/>
                  </a:lnTo>
                  <a:lnTo>
                    <a:pt x="252" y="0"/>
                  </a:lnTo>
                  <a:close/>
                </a:path>
              </a:pathLst>
            </a:custGeom>
            <a:solidFill>
              <a:srgbClr val="D1AD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0" name="ïṥḷîḍè"/>
            <p:cNvSpPr/>
            <p:nvPr/>
          </p:nvSpPr>
          <p:spPr bwMode="auto">
            <a:xfrm>
              <a:off x="1308893" y="2039144"/>
              <a:ext cx="161925" cy="349250"/>
            </a:xfrm>
            <a:custGeom>
              <a:avLst/>
              <a:gdLst>
                <a:gd name="T0" fmla="*/ 248 w 513"/>
                <a:gd name="T1" fmla="*/ 1 h 1101"/>
                <a:gd name="T2" fmla="*/ 195 w 513"/>
                <a:gd name="T3" fmla="*/ 11 h 1101"/>
                <a:gd name="T4" fmla="*/ 159 w 513"/>
                <a:gd name="T5" fmla="*/ 25 h 1101"/>
                <a:gd name="T6" fmla="*/ 134 w 513"/>
                <a:gd name="T7" fmla="*/ 38 h 1101"/>
                <a:gd name="T8" fmla="*/ 107 w 513"/>
                <a:gd name="T9" fmla="*/ 55 h 1101"/>
                <a:gd name="T10" fmla="*/ 83 w 513"/>
                <a:gd name="T11" fmla="*/ 78 h 1101"/>
                <a:gd name="T12" fmla="*/ 60 w 513"/>
                <a:gd name="T13" fmla="*/ 107 h 1101"/>
                <a:gd name="T14" fmla="*/ 39 w 513"/>
                <a:gd name="T15" fmla="*/ 140 h 1101"/>
                <a:gd name="T16" fmla="*/ 22 w 513"/>
                <a:gd name="T17" fmla="*/ 181 h 1101"/>
                <a:gd name="T18" fmla="*/ 9 w 513"/>
                <a:gd name="T19" fmla="*/ 229 h 1101"/>
                <a:gd name="T20" fmla="*/ 2 w 513"/>
                <a:gd name="T21" fmla="*/ 284 h 1101"/>
                <a:gd name="T22" fmla="*/ 0 w 513"/>
                <a:gd name="T23" fmla="*/ 349 h 1101"/>
                <a:gd name="T24" fmla="*/ 5 w 513"/>
                <a:gd name="T25" fmla="*/ 420 h 1101"/>
                <a:gd name="T26" fmla="*/ 21 w 513"/>
                <a:gd name="T27" fmla="*/ 490 h 1101"/>
                <a:gd name="T28" fmla="*/ 46 w 513"/>
                <a:gd name="T29" fmla="*/ 559 h 1101"/>
                <a:gd name="T30" fmla="*/ 80 w 513"/>
                <a:gd name="T31" fmla="*/ 625 h 1101"/>
                <a:gd name="T32" fmla="*/ 119 w 513"/>
                <a:gd name="T33" fmla="*/ 688 h 1101"/>
                <a:gd name="T34" fmla="*/ 163 w 513"/>
                <a:gd name="T35" fmla="*/ 747 h 1101"/>
                <a:gd name="T36" fmla="*/ 210 w 513"/>
                <a:gd name="T37" fmla="*/ 803 h 1101"/>
                <a:gd name="T38" fmla="*/ 259 w 513"/>
                <a:gd name="T39" fmla="*/ 855 h 1101"/>
                <a:gd name="T40" fmla="*/ 331 w 513"/>
                <a:gd name="T41" fmla="*/ 926 h 1101"/>
                <a:gd name="T42" fmla="*/ 418 w 513"/>
                <a:gd name="T43" fmla="*/ 1003 h 1101"/>
                <a:gd name="T44" fmla="*/ 482 w 513"/>
                <a:gd name="T45" fmla="*/ 1060 h 1101"/>
                <a:gd name="T46" fmla="*/ 509 w 513"/>
                <a:gd name="T47" fmla="*/ 1087 h 1101"/>
                <a:gd name="T48" fmla="*/ 513 w 513"/>
                <a:gd name="T49" fmla="*/ 1098 h 1101"/>
                <a:gd name="T50" fmla="*/ 505 w 513"/>
                <a:gd name="T51" fmla="*/ 1100 h 1101"/>
                <a:gd name="T52" fmla="*/ 494 w 513"/>
                <a:gd name="T53" fmla="*/ 1080 h 1101"/>
                <a:gd name="T54" fmla="*/ 482 w 513"/>
                <a:gd name="T55" fmla="*/ 1039 h 1101"/>
                <a:gd name="T56" fmla="*/ 470 w 513"/>
                <a:gd name="T57" fmla="*/ 981 h 1101"/>
                <a:gd name="T58" fmla="*/ 449 w 513"/>
                <a:gd name="T59" fmla="*/ 867 h 1101"/>
                <a:gd name="T60" fmla="*/ 419 w 513"/>
                <a:gd name="T61" fmla="*/ 682 h 1101"/>
                <a:gd name="T62" fmla="*/ 390 w 513"/>
                <a:gd name="T63" fmla="*/ 484 h 1101"/>
                <a:gd name="T64" fmla="*/ 363 w 513"/>
                <a:gd name="T65" fmla="*/ 296 h 1101"/>
                <a:gd name="T66" fmla="*/ 341 w 513"/>
                <a:gd name="T67" fmla="*/ 146 h 1101"/>
                <a:gd name="T68" fmla="*/ 329 w 513"/>
                <a:gd name="T69" fmla="*/ 72 h 1101"/>
                <a:gd name="T70" fmla="*/ 323 w 513"/>
                <a:gd name="T71" fmla="*/ 48 h 1101"/>
                <a:gd name="T72" fmla="*/ 313 w 513"/>
                <a:gd name="T73" fmla="*/ 41 h 1101"/>
                <a:gd name="T74" fmla="*/ 295 w 513"/>
                <a:gd name="T75" fmla="*/ 28 h 1101"/>
                <a:gd name="T76" fmla="*/ 268 w 513"/>
                <a:gd name="T77" fmla="*/ 6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3" h="1101">
                  <a:moveTo>
                    <a:pt x="261" y="0"/>
                  </a:moveTo>
                  <a:lnTo>
                    <a:pt x="248" y="1"/>
                  </a:lnTo>
                  <a:lnTo>
                    <a:pt x="216" y="5"/>
                  </a:lnTo>
                  <a:lnTo>
                    <a:pt x="195" y="11"/>
                  </a:lnTo>
                  <a:lnTo>
                    <a:pt x="172" y="19"/>
                  </a:lnTo>
                  <a:lnTo>
                    <a:pt x="159" y="25"/>
                  </a:lnTo>
                  <a:lnTo>
                    <a:pt x="147" y="30"/>
                  </a:lnTo>
                  <a:lnTo>
                    <a:pt x="134" y="38"/>
                  </a:lnTo>
                  <a:lnTo>
                    <a:pt x="121" y="47"/>
                  </a:lnTo>
                  <a:lnTo>
                    <a:pt x="107" y="55"/>
                  </a:lnTo>
                  <a:lnTo>
                    <a:pt x="95" y="66"/>
                  </a:lnTo>
                  <a:lnTo>
                    <a:pt x="83" y="78"/>
                  </a:lnTo>
                  <a:lnTo>
                    <a:pt x="72" y="91"/>
                  </a:lnTo>
                  <a:lnTo>
                    <a:pt x="60" y="107"/>
                  </a:lnTo>
                  <a:lnTo>
                    <a:pt x="50" y="123"/>
                  </a:lnTo>
                  <a:lnTo>
                    <a:pt x="39" y="140"/>
                  </a:lnTo>
                  <a:lnTo>
                    <a:pt x="30" y="160"/>
                  </a:lnTo>
                  <a:lnTo>
                    <a:pt x="22" y="181"/>
                  </a:lnTo>
                  <a:lnTo>
                    <a:pt x="15" y="204"/>
                  </a:lnTo>
                  <a:lnTo>
                    <a:pt x="9" y="229"/>
                  </a:lnTo>
                  <a:lnTo>
                    <a:pt x="4" y="256"/>
                  </a:lnTo>
                  <a:lnTo>
                    <a:pt x="2" y="284"/>
                  </a:lnTo>
                  <a:lnTo>
                    <a:pt x="0" y="316"/>
                  </a:lnTo>
                  <a:lnTo>
                    <a:pt x="0" y="349"/>
                  </a:lnTo>
                  <a:lnTo>
                    <a:pt x="1" y="384"/>
                  </a:lnTo>
                  <a:lnTo>
                    <a:pt x="5" y="420"/>
                  </a:lnTo>
                  <a:lnTo>
                    <a:pt x="12" y="456"/>
                  </a:lnTo>
                  <a:lnTo>
                    <a:pt x="21" y="490"/>
                  </a:lnTo>
                  <a:lnTo>
                    <a:pt x="32" y="525"/>
                  </a:lnTo>
                  <a:lnTo>
                    <a:pt x="46" y="559"/>
                  </a:lnTo>
                  <a:lnTo>
                    <a:pt x="63" y="592"/>
                  </a:lnTo>
                  <a:lnTo>
                    <a:pt x="80" y="625"/>
                  </a:lnTo>
                  <a:lnTo>
                    <a:pt x="99" y="656"/>
                  </a:lnTo>
                  <a:lnTo>
                    <a:pt x="119" y="688"/>
                  </a:lnTo>
                  <a:lnTo>
                    <a:pt x="141" y="717"/>
                  </a:lnTo>
                  <a:lnTo>
                    <a:pt x="163" y="747"/>
                  </a:lnTo>
                  <a:lnTo>
                    <a:pt x="187" y="775"/>
                  </a:lnTo>
                  <a:lnTo>
                    <a:pt x="210" y="803"/>
                  </a:lnTo>
                  <a:lnTo>
                    <a:pt x="235" y="830"/>
                  </a:lnTo>
                  <a:lnTo>
                    <a:pt x="259" y="855"/>
                  </a:lnTo>
                  <a:lnTo>
                    <a:pt x="283" y="880"/>
                  </a:lnTo>
                  <a:lnTo>
                    <a:pt x="331" y="926"/>
                  </a:lnTo>
                  <a:lnTo>
                    <a:pt x="377" y="966"/>
                  </a:lnTo>
                  <a:lnTo>
                    <a:pt x="418" y="1003"/>
                  </a:lnTo>
                  <a:lnTo>
                    <a:pt x="454" y="1033"/>
                  </a:lnTo>
                  <a:lnTo>
                    <a:pt x="482" y="1060"/>
                  </a:lnTo>
                  <a:lnTo>
                    <a:pt x="503" y="1079"/>
                  </a:lnTo>
                  <a:lnTo>
                    <a:pt x="509" y="1087"/>
                  </a:lnTo>
                  <a:lnTo>
                    <a:pt x="512" y="1093"/>
                  </a:lnTo>
                  <a:lnTo>
                    <a:pt x="513" y="1098"/>
                  </a:lnTo>
                  <a:lnTo>
                    <a:pt x="510" y="1101"/>
                  </a:lnTo>
                  <a:lnTo>
                    <a:pt x="505" y="1100"/>
                  </a:lnTo>
                  <a:lnTo>
                    <a:pt x="500" y="1092"/>
                  </a:lnTo>
                  <a:lnTo>
                    <a:pt x="494" y="1080"/>
                  </a:lnTo>
                  <a:lnTo>
                    <a:pt x="489" y="1062"/>
                  </a:lnTo>
                  <a:lnTo>
                    <a:pt x="482" y="1039"/>
                  </a:lnTo>
                  <a:lnTo>
                    <a:pt x="477" y="1013"/>
                  </a:lnTo>
                  <a:lnTo>
                    <a:pt x="470" y="981"/>
                  </a:lnTo>
                  <a:lnTo>
                    <a:pt x="463" y="946"/>
                  </a:lnTo>
                  <a:lnTo>
                    <a:pt x="449" y="867"/>
                  </a:lnTo>
                  <a:lnTo>
                    <a:pt x="434" y="778"/>
                  </a:lnTo>
                  <a:lnTo>
                    <a:pt x="419" y="682"/>
                  </a:lnTo>
                  <a:lnTo>
                    <a:pt x="404" y="583"/>
                  </a:lnTo>
                  <a:lnTo>
                    <a:pt x="390" y="484"/>
                  </a:lnTo>
                  <a:lnTo>
                    <a:pt x="376" y="387"/>
                  </a:lnTo>
                  <a:lnTo>
                    <a:pt x="363" y="296"/>
                  </a:lnTo>
                  <a:lnTo>
                    <a:pt x="352" y="215"/>
                  </a:lnTo>
                  <a:lnTo>
                    <a:pt x="341" y="146"/>
                  </a:lnTo>
                  <a:lnTo>
                    <a:pt x="332" y="92"/>
                  </a:lnTo>
                  <a:lnTo>
                    <a:pt x="329" y="72"/>
                  </a:lnTo>
                  <a:lnTo>
                    <a:pt x="325" y="58"/>
                  </a:lnTo>
                  <a:lnTo>
                    <a:pt x="323" y="48"/>
                  </a:lnTo>
                  <a:lnTo>
                    <a:pt x="321" y="44"/>
                  </a:lnTo>
                  <a:lnTo>
                    <a:pt x="313" y="41"/>
                  </a:lnTo>
                  <a:lnTo>
                    <a:pt x="305" y="36"/>
                  </a:lnTo>
                  <a:lnTo>
                    <a:pt x="295" y="28"/>
                  </a:lnTo>
                  <a:lnTo>
                    <a:pt x="285" y="20"/>
                  </a:lnTo>
                  <a:lnTo>
                    <a:pt x="268" y="6"/>
                  </a:lnTo>
                  <a:lnTo>
                    <a:pt x="261" y="0"/>
                  </a:lnTo>
                  <a:close/>
                </a:path>
              </a:pathLst>
            </a:custGeom>
            <a:solidFill>
              <a:srgbClr val="D1AD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1" name="iṣľïdè"/>
            <p:cNvSpPr/>
            <p:nvPr/>
          </p:nvSpPr>
          <p:spPr bwMode="auto">
            <a:xfrm>
              <a:off x="1405731" y="2267744"/>
              <a:ext cx="904875" cy="755650"/>
            </a:xfrm>
            <a:custGeom>
              <a:avLst/>
              <a:gdLst>
                <a:gd name="T0" fmla="*/ 1 w 2850"/>
                <a:gd name="T1" fmla="*/ 20 h 2377"/>
                <a:gd name="T2" fmla="*/ 16 w 2850"/>
                <a:gd name="T3" fmla="*/ 119 h 2377"/>
                <a:gd name="T4" fmla="*/ 42 w 2850"/>
                <a:gd name="T5" fmla="*/ 293 h 2377"/>
                <a:gd name="T6" fmla="*/ 75 w 2850"/>
                <a:gd name="T7" fmla="*/ 522 h 2377"/>
                <a:gd name="T8" fmla="*/ 113 w 2850"/>
                <a:gd name="T9" fmla="*/ 784 h 2377"/>
                <a:gd name="T10" fmla="*/ 152 w 2850"/>
                <a:gd name="T11" fmla="*/ 1056 h 2377"/>
                <a:gd name="T12" fmla="*/ 188 w 2850"/>
                <a:gd name="T13" fmla="*/ 1317 h 2377"/>
                <a:gd name="T14" fmla="*/ 218 w 2850"/>
                <a:gd name="T15" fmla="*/ 1544 h 2377"/>
                <a:gd name="T16" fmla="*/ 236 w 2850"/>
                <a:gd name="T17" fmla="*/ 1680 h 2377"/>
                <a:gd name="T18" fmla="*/ 256 w 2850"/>
                <a:gd name="T19" fmla="*/ 1759 h 2377"/>
                <a:gd name="T20" fmla="*/ 287 w 2850"/>
                <a:gd name="T21" fmla="*/ 1831 h 2377"/>
                <a:gd name="T22" fmla="*/ 325 w 2850"/>
                <a:gd name="T23" fmla="*/ 1896 h 2377"/>
                <a:gd name="T24" fmla="*/ 370 w 2850"/>
                <a:gd name="T25" fmla="*/ 1956 h 2377"/>
                <a:gd name="T26" fmla="*/ 422 w 2850"/>
                <a:gd name="T27" fmla="*/ 2009 h 2377"/>
                <a:gd name="T28" fmla="*/ 480 w 2850"/>
                <a:gd name="T29" fmla="*/ 2057 h 2377"/>
                <a:gd name="T30" fmla="*/ 541 w 2850"/>
                <a:gd name="T31" fmla="*/ 2101 h 2377"/>
                <a:gd name="T32" fmla="*/ 606 w 2850"/>
                <a:gd name="T33" fmla="*/ 2140 h 2377"/>
                <a:gd name="T34" fmla="*/ 675 w 2850"/>
                <a:gd name="T35" fmla="*/ 2175 h 2377"/>
                <a:gd name="T36" fmla="*/ 744 w 2850"/>
                <a:gd name="T37" fmla="*/ 2207 h 2377"/>
                <a:gd name="T38" fmla="*/ 814 w 2850"/>
                <a:gd name="T39" fmla="*/ 2235 h 2377"/>
                <a:gd name="T40" fmla="*/ 918 w 2850"/>
                <a:gd name="T41" fmla="*/ 2272 h 2377"/>
                <a:gd name="T42" fmla="*/ 1050 w 2850"/>
                <a:gd name="T43" fmla="*/ 2314 h 2377"/>
                <a:gd name="T44" fmla="*/ 1141 w 2850"/>
                <a:gd name="T45" fmla="*/ 2342 h 2377"/>
                <a:gd name="T46" fmla="*/ 1215 w 2850"/>
                <a:gd name="T47" fmla="*/ 2357 h 2377"/>
                <a:gd name="T48" fmla="*/ 1302 w 2850"/>
                <a:gd name="T49" fmla="*/ 2369 h 2377"/>
                <a:gd name="T50" fmla="*/ 1399 w 2850"/>
                <a:gd name="T51" fmla="*/ 2376 h 2377"/>
                <a:gd name="T52" fmla="*/ 1504 w 2850"/>
                <a:gd name="T53" fmla="*/ 2377 h 2377"/>
                <a:gd name="T54" fmla="*/ 1617 w 2850"/>
                <a:gd name="T55" fmla="*/ 2369 h 2377"/>
                <a:gd name="T56" fmla="*/ 1733 w 2850"/>
                <a:gd name="T57" fmla="*/ 2354 h 2377"/>
                <a:gd name="T58" fmla="*/ 1851 w 2850"/>
                <a:gd name="T59" fmla="*/ 2329 h 2377"/>
                <a:gd name="T60" fmla="*/ 1970 w 2850"/>
                <a:gd name="T61" fmla="*/ 2293 h 2377"/>
                <a:gd name="T62" fmla="*/ 2084 w 2850"/>
                <a:gd name="T63" fmla="*/ 2245 h 2377"/>
                <a:gd name="T64" fmla="*/ 2195 w 2850"/>
                <a:gd name="T65" fmla="*/ 2184 h 2377"/>
                <a:gd name="T66" fmla="*/ 2299 w 2850"/>
                <a:gd name="T67" fmla="*/ 2109 h 2377"/>
                <a:gd name="T68" fmla="*/ 2394 w 2850"/>
                <a:gd name="T69" fmla="*/ 2018 h 2377"/>
                <a:gd name="T70" fmla="*/ 2477 w 2850"/>
                <a:gd name="T71" fmla="*/ 1910 h 2377"/>
                <a:gd name="T72" fmla="*/ 2546 w 2850"/>
                <a:gd name="T73" fmla="*/ 1785 h 2377"/>
                <a:gd name="T74" fmla="*/ 2600 w 2850"/>
                <a:gd name="T75" fmla="*/ 1641 h 2377"/>
                <a:gd name="T76" fmla="*/ 2638 w 2850"/>
                <a:gd name="T77" fmla="*/ 1479 h 2377"/>
                <a:gd name="T78" fmla="*/ 2671 w 2850"/>
                <a:gd name="T79" fmla="*/ 1320 h 2377"/>
                <a:gd name="T80" fmla="*/ 2713 w 2850"/>
                <a:gd name="T81" fmla="*/ 1092 h 2377"/>
                <a:gd name="T82" fmla="*/ 2759 w 2850"/>
                <a:gd name="T83" fmla="*/ 811 h 2377"/>
                <a:gd name="T84" fmla="*/ 2794 w 2850"/>
                <a:gd name="T85" fmla="*/ 562 h 2377"/>
                <a:gd name="T86" fmla="*/ 2819 w 2850"/>
                <a:gd name="T87" fmla="*/ 352 h 2377"/>
                <a:gd name="T88" fmla="*/ 2835 w 2850"/>
                <a:gd name="T89" fmla="*/ 186 h 2377"/>
                <a:gd name="T90" fmla="*/ 2845 w 2850"/>
                <a:gd name="T91" fmla="*/ 69 h 2377"/>
                <a:gd name="T92" fmla="*/ 2849 w 2850"/>
                <a:gd name="T93" fmla="*/ 8 h 2377"/>
                <a:gd name="T94" fmla="*/ 0 w 2850"/>
                <a:gd name="T95" fmla="*/ 7 h 2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50" h="2377">
                  <a:moveTo>
                    <a:pt x="0" y="7"/>
                  </a:moveTo>
                  <a:lnTo>
                    <a:pt x="1" y="20"/>
                  </a:lnTo>
                  <a:lnTo>
                    <a:pt x="8" y="59"/>
                  </a:lnTo>
                  <a:lnTo>
                    <a:pt x="16" y="119"/>
                  </a:lnTo>
                  <a:lnTo>
                    <a:pt x="27" y="197"/>
                  </a:lnTo>
                  <a:lnTo>
                    <a:pt x="42" y="293"/>
                  </a:lnTo>
                  <a:lnTo>
                    <a:pt x="58" y="402"/>
                  </a:lnTo>
                  <a:lnTo>
                    <a:pt x="75" y="522"/>
                  </a:lnTo>
                  <a:lnTo>
                    <a:pt x="94" y="650"/>
                  </a:lnTo>
                  <a:lnTo>
                    <a:pt x="113" y="784"/>
                  </a:lnTo>
                  <a:lnTo>
                    <a:pt x="133" y="920"/>
                  </a:lnTo>
                  <a:lnTo>
                    <a:pt x="152" y="1056"/>
                  </a:lnTo>
                  <a:lnTo>
                    <a:pt x="170" y="1189"/>
                  </a:lnTo>
                  <a:lnTo>
                    <a:pt x="188" y="1317"/>
                  </a:lnTo>
                  <a:lnTo>
                    <a:pt x="204" y="1436"/>
                  </a:lnTo>
                  <a:lnTo>
                    <a:pt x="218" y="1544"/>
                  </a:lnTo>
                  <a:lnTo>
                    <a:pt x="229" y="1638"/>
                  </a:lnTo>
                  <a:lnTo>
                    <a:pt x="236" y="1680"/>
                  </a:lnTo>
                  <a:lnTo>
                    <a:pt x="245" y="1720"/>
                  </a:lnTo>
                  <a:lnTo>
                    <a:pt x="256" y="1759"/>
                  </a:lnTo>
                  <a:lnTo>
                    <a:pt x="270" y="1796"/>
                  </a:lnTo>
                  <a:lnTo>
                    <a:pt x="287" y="1831"/>
                  </a:lnTo>
                  <a:lnTo>
                    <a:pt x="304" y="1864"/>
                  </a:lnTo>
                  <a:lnTo>
                    <a:pt x="325" y="1896"/>
                  </a:lnTo>
                  <a:lnTo>
                    <a:pt x="347" y="1927"/>
                  </a:lnTo>
                  <a:lnTo>
                    <a:pt x="370" y="1956"/>
                  </a:lnTo>
                  <a:lnTo>
                    <a:pt x="396" y="1983"/>
                  </a:lnTo>
                  <a:lnTo>
                    <a:pt x="422" y="2009"/>
                  </a:lnTo>
                  <a:lnTo>
                    <a:pt x="450" y="2034"/>
                  </a:lnTo>
                  <a:lnTo>
                    <a:pt x="480" y="2057"/>
                  </a:lnTo>
                  <a:lnTo>
                    <a:pt x="510" y="2080"/>
                  </a:lnTo>
                  <a:lnTo>
                    <a:pt x="541" y="2101"/>
                  </a:lnTo>
                  <a:lnTo>
                    <a:pt x="573" y="2121"/>
                  </a:lnTo>
                  <a:lnTo>
                    <a:pt x="606" y="2140"/>
                  </a:lnTo>
                  <a:lnTo>
                    <a:pt x="640" y="2158"/>
                  </a:lnTo>
                  <a:lnTo>
                    <a:pt x="675" y="2175"/>
                  </a:lnTo>
                  <a:lnTo>
                    <a:pt x="709" y="2191"/>
                  </a:lnTo>
                  <a:lnTo>
                    <a:pt x="744" y="2207"/>
                  </a:lnTo>
                  <a:lnTo>
                    <a:pt x="779" y="2221"/>
                  </a:lnTo>
                  <a:lnTo>
                    <a:pt x="814" y="2235"/>
                  </a:lnTo>
                  <a:lnTo>
                    <a:pt x="849" y="2248"/>
                  </a:lnTo>
                  <a:lnTo>
                    <a:pt x="918" y="2272"/>
                  </a:lnTo>
                  <a:lnTo>
                    <a:pt x="985" y="2294"/>
                  </a:lnTo>
                  <a:lnTo>
                    <a:pt x="1050" y="2314"/>
                  </a:lnTo>
                  <a:lnTo>
                    <a:pt x="1111" y="2333"/>
                  </a:lnTo>
                  <a:lnTo>
                    <a:pt x="1141" y="2342"/>
                  </a:lnTo>
                  <a:lnTo>
                    <a:pt x="1176" y="2351"/>
                  </a:lnTo>
                  <a:lnTo>
                    <a:pt x="1215" y="2357"/>
                  </a:lnTo>
                  <a:lnTo>
                    <a:pt x="1257" y="2364"/>
                  </a:lnTo>
                  <a:lnTo>
                    <a:pt x="1302" y="2369"/>
                  </a:lnTo>
                  <a:lnTo>
                    <a:pt x="1350" y="2374"/>
                  </a:lnTo>
                  <a:lnTo>
                    <a:pt x="1399" y="2376"/>
                  </a:lnTo>
                  <a:lnTo>
                    <a:pt x="1451" y="2377"/>
                  </a:lnTo>
                  <a:lnTo>
                    <a:pt x="1504" y="2377"/>
                  </a:lnTo>
                  <a:lnTo>
                    <a:pt x="1560" y="2375"/>
                  </a:lnTo>
                  <a:lnTo>
                    <a:pt x="1617" y="2369"/>
                  </a:lnTo>
                  <a:lnTo>
                    <a:pt x="1674" y="2363"/>
                  </a:lnTo>
                  <a:lnTo>
                    <a:pt x="1733" y="2354"/>
                  </a:lnTo>
                  <a:lnTo>
                    <a:pt x="1792" y="2343"/>
                  </a:lnTo>
                  <a:lnTo>
                    <a:pt x="1851" y="2329"/>
                  </a:lnTo>
                  <a:lnTo>
                    <a:pt x="1911" y="2313"/>
                  </a:lnTo>
                  <a:lnTo>
                    <a:pt x="1970" y="2293"/>
                  </a:lnTo>
                  <a:lnTo>
                    <a:pt x="2028" y="2271"/>
                  </a:lnTo>
                  <a:lnTo>
                    <a:pt x="2084" y="2245"/>
                  </a:lnTo>
                  <a:lnTo>
                    <a:pt x="2141" y="2217"/>
                  </a:lnTo>
                  <a:lnTo>
                    <a:pt x="2195" y="2184"/>
                  </a:lnTo>
                  <a:lnTo>
                    <a:pt x="2248" y="2148"/>
                  </a:lnTo>
                  <a:lnTo>
                    <a:pt x="2299" y="2109"/>
                  </a:lnTo>
                  <a:lnTo>
                    <a:pt x="2348" y="2065"/>
                  </a:lnTo>
                  <a:lnTo>
                    <a:pt x="2394" y="2018"/>
                  </a:lnTo>
                  <a:lnTo>
                    <a:pt x="2436" y="1966"/>
                  </a:lnTo>
                  <a:lnTo>
                    <a:pt x="2477" y="1910"/>
                  </a:lnTo>
                  <a:lnTo>
                    <a:pt x="2514" y="1850"/>
                  </a:lnTo>
                  <a:lnTo>
                    <a:pt x="2546" y="1785"/>
                  </a:lnTo>
                  <a:lnTo>
                    <a:pt x="2576" y="1715"/>
                  </a:lnTo>
                  <a:lnTo>
                    <a:pt x="2600" y="1641"/>
                  </a:lnTo>
                  <a:lnTo>
                    <a:pt x="2620" y="1561"/>
                  </a:lnTo>
                  <a:lnTo>
                    <a:pt x="2638" y="1479"/>
                  </a:lnTo>
                  <a:lnTo>
                    <a:pt x="2654" y="1400"/>
                  </a:lnTo>
                  <a:lnTo>
                    <a:pt x="2671" y="1320"/>
                  </a:lnTo>
                  <a:lnTo>
                    <a:pt x="2685" y="1243"/>
                  </a:lnTo>
                  <a:lnTo>
                    <a:pt x="2713" y="1092"/>
                  </a:lnTo>
                  <a:lnTo>
                    <a:pt x="2737" y="948"/>
                  </a:lnTo>
                  <a:lnTo>
                    <a:pt x="2759" y="811"/>
                  </a:lnTo>
                  <a:lnTo>
                    <a:pt x="2777" y="682"/>
                  </a:lnTo>
                  <a:lnTo>
                    <a:pt x="2794" y="562"/>
                  </a:lnTo>
                  <a:lnTo>
                    <a:pt x="2807" y="452"/>
                  </a:lnTo>
                  <a:lnTo>
                    <a:pt x="2819" y="352"/>
                  </a:lnTo>
                  <a:lnTo>
                    <a:pt x="2828" y="264"/>
                  </a:lnTo>
                  <a:lnTo>
                    <a:pt x="2835" y="186"/>
                  </a:lnTo>
                  <a:lnTo>
                    <a:pt x="2842" y="121"/>
                  </a:lnTo>
                  <a:lnTo>
                    <a:pt x="2845" y="69"/>
                  </a:lnTo>
                  <a:lnTo>
                    <a:pt x="2848" y="31"/>
                  </a:lnTo>
                  <a:lnTo>
                    <a:pt x="2849" y="8"/>
                  </a:lnTo>
                  <a:lnTo>
                    <a:pt x="285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684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2" name="išľîḓê"/>
            <p:cNvSpPr/>
            <p:nvPr/>
          </p:nvSpPr>
          <p:spPr bwMode="auto">
            <a:xfrm>
              <a:off x="1400968" y="1658144"/>
              <a:ext cx="909638" cy="873125"/>
            </a:xfrm>
            <a:custGeom>
              <a:avLst/>
              <a:gdLst>
                <a:gd name="T0" fmla="*/ 2 w 2865"/>
                <a:gd name="T1" fmla="*/ 1462 h 2749"/>
                <a:gd name="T2" fmla="*/ 13 w 2865"/>
                <a:gd name="T3" fmla="*/ 1871 h 2749"/>
                <a:gd name="T4" fmla="*/ 21 w 2865"/>
                <a:gd name="T5" fmla="*/ 1964 h 2749"/>
                <a:gd name="T6" fmla="*/ 63 w 2865"/>
                <a:gd name="T7" fmla="*/ 2089 h 2749"/>
                <a:gd name="T8" fmla="*/ 156 w 2865"/>
                <a:gd name="T9" fmla="*/ 2294 h 2749"/>
                <a:gd name="T10" fmla="*/ 822 w 2865"/>
                <a:gd name="T11" fmla="*/ 2713 h 2749"/>
                <a:gd name="T12" fmla="*/ 830 w 2865"/>
                <a:gd name="T13" fmla="*/ 2659 h 2749"/>
                <a:gd name="T14" fmla="*/ 852 w 2865"/>
                <a:gd name="T15" fmla="*/ 2610 h 2749"/>
                <a:gd name="T16" fmla="*/ 879 w 2865"/>
                <a:gd name="T17" fmla="*/ 2578 h 2749"/>
                <a:gd name="T18" fmla="*/ 920 w 2865"/>
                <a:gd name="T19" fmla="*/ 2552 h 2749"/>
                <a:gd name="T20" fmla="*/ 974 w 2865"/>
                <a:gd name="T21" fmla="*/ 2536 h 2749"/>
                <a:gd name="T22" fmla="*/ 1102 w 2865"/>
                <a:gd name="T23" fmla="*/ 2530 h 2749"/>
                <a:gd name="T24" fmla="*/ 1378 w 2865"/>
                <a:gd name="T25" fmla="*/ 2527 h 2749"/>
                <a:gd name="T26" fmla="*/ 1675 w 2865"/>
                <a:gd name="T27" fmla="*/ 2525 h 2749"/>
                <a:gd name="T28" fmla="*/ 1879 w 2865"/>
                <a:gd name="T29" fmla="*/ 2525 h 2749"/>
                <a:gd name="T30" fmla="*/ 1950 w 2865"/>
                <a:gd name="T31" fmla="*/ 2543 h 2749"/>
                <a:gd name="T32" fmla="*/ 1985 w 2865"/>
                <a:gd name="T33" fmla="*/ 2571 h 2749"/>
                <a:gd name="T34" fmla="*/ 2014 w 2865"/>
                <a:gd name="T35" fmla="*/ 2612 h 2749"/>
                <a:gd name="T36" fmla="*/ 2046 w 2865"/>
                <a:gd name="T37" fmla="*/ 2705 h 2749"/>
                <a:gd name="T38" fmla="*/ 2137 w 2865"/>
                <a:gd name="T39" fmla="*/ 2689 h 2749"/>
                <a:gd name="T40" fmla="*/ 2534 w 2865"/>
                <a:gd name="T41" fmla="*/ 2411 h 2749"/>
                <a:gd name="T42" fmla="*/ 2675 w 2865"/>
                <a:gd name="T43" fmla="*/ 2315 h 2749"/>
                <a:gd name="T44" fmla="*/ 2723 w 2865"/>
                <a:gd name="T45" fmla="*/ 2246 h 2749"/>
                <a:gd name="T46" fmla="*/ 2790 w 2865"/>
                <a:gd name="T47" fmla="*/ 2108 h 2749"/>
                <a:gd name="T48" fmla="*/ 2865 w 2865"/>
                <a:gd name="T49" fmla="*/ 1921 h 2749"/>
                <a:gd name="T50" fmla="*/ 2844 w 2865"/>
                <a:gd name="T51" fmla="*/ 1157 h 2749"/>
                <a:gd name="T52" fmla="*/ 2791 w 2865"/>
                <a:gd name="T53" fmla="*/ 929 h 2749"/>
                <a:gd name="T54" fmla="*/ 2714 w 2865"/>
                <a:gd name="T55" fmla="*/ 642 h 2749"/>
                <a:gd name="T56" fmla="*/ 2661 w 2865"/>
                <a:gd name="T57" fmla="*/ 480 h 2749"/>
                <a:gd name="T58" fmla="*/ 2618 w 2865"/>
                <a:gd name="T59" fmla="*/ 385 h 2749"/>
                <a:gd name="T60" fmla="*/ 2549 w 2865"/>
                <a:gd name="T61" fmla="*/ 319 h 2749"/>
                <a:gd name="T62" fmla="*/ 2398 w 2865"/>
                <a:gd name="T63" fmla="*/ 250 h 2749"/>
                <a:gd name="T64" fmla="*/ 2183 w 2865"/>
                <a:gd name="T65" fmla="*/ 183 h 2749"/>
                <a:gd name="T66" fmla="*/ 1926 w 2865"/>
                <a:gd name="T67" fmla="*/ 119 h 2749"/>
                <a:gd name="T68" fmla="*/ 1649 w 2865"/>
                <a:gd name="T69" fmla="*/ 66 h 2749"/>
                <a:gd name="T70" fmla="*/ 1374 w 2865"/>
                <a:gd name="T71" fmla="*/ 27 h 2749"/>
                <a:gd name="T72" fmla="*/ 1126 w 2865"/>
                <a:gd name="T73" fmla="*/ 4 h 2749"/>
                <a:gd name="T74" fmla="*/ 925 w 2865"/>
                <a:gd name="T75" fmla="*/ 3 h 2749"/>
                <a:gd name="T76" fmla="*/ 671 w 2865"/>
                <a:gd name="T77" fmla="*/ 34 h 2749"/>
                <a:gd name="T78" fmla="*/ 463 w 2865"/>
                <a:gd name="T79" fmla="*/ 73 h 2749"/>
                <a:gd name="T80" fmla="*/ 365 w 2865"/>
                <a:gd name="T81" fmla="*/ 103 h 2749"/>
                <a:gd name="T82" fmla="*/ 285 w 2865"/>
                <a:gd name="T83" fmla="*/ 141 h 2749"/>
                <a:gd name="T84" fmla="*/ 223 w 2865"/>
                <a:gd name="T85" fmla="*/ 188 h 2749"/>
                <a:gd name="T86" fmla="*/ 181 w 2865"/>
                <a:gd name="T87" fmla="*/ 248 h 2749"/>
                <a:gd name="T88" fmla="*/ 154 w 2865"/>
                <a:gd name="T89" fmla="*/ 347 h 2749"/>
                <a:gd name="T90" fmla="*/ 106 w 2865"/>
                <a:gd name="T91" fmla="*/ 620 h 2749"/>
                <a:gd name="T92" fmla="*/ 52 w 2865"/>
                <a:gd name="T93" fmla="*/ 945 h 2749"/>
                <a:gd name="T94" fmla="*/ 12 w 2865"/>
                <a:gd name="T95" fmla="*/ 1200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65" h="2749">
                  <a:moveTo>
                    <a:pt x="1" y="1272"/>
                  </a:moveTo>
                  <a:lnTo>
                    <a:pt x="0" y="1302"/>
                  </a:lnTo>
                  <a:lnTo>
                    <a:pt x="1" y="1369"/>
                  </a:lnTo>
                  <a:lnTo>
                    <a:pt x="2" y="1462"/>
                  </a:lnTo>
                  <a:lnTo>
                    <a:pt x="4" y="1568"/>
                  </a:lnTo>
                  <a:lnTo>
                    <a:pt x="7" y="1681"/>
                  </a:lnTo>
                  <a:lnTo>
                    <a:pt x="11" y="1784"/>
                  </a:lnTo>
                  <a:lnTo>
                    <a:pt x="13" y="1871"/>
                  </a:lnTo>
                  <a:lnTo>
                    <a:pt x="15" y="1928"/>
                  </a:lnTo>
                  <a:lnTo>
                    <a:pt x="15" y="1938"/>
                  </a:lnTo>
                  <a:lnTo>
                    <a:pt x="17" y="1951"/>
                  </a:lnTo>
                  <a:lnTo>
                    <a:pt x="21" y="1964"/>
                  </a:lnTo>
                  <a:lnTo>
                    <a:pt x="24" y="1980"/>
                  </a:lnTo>
                  <a:lnTo>
                    <a:pt x="35" y="2012"/>
                  </a:lnTo>
                  <a:lnTo>
                    <a:pt x="48" y="2049"/>
                  </a:lnTo>
                  <a:lnTo>
                    <a:pt x="63" y="2089"/>
                  </a:lnTo>
                  <a:lnTo>
                    <a:pt x="81" y="2130"/>
                  </a:lnTo>
                  <a:lnTo>
                    <a:pt x="99" y="2173"/>
                  </a:lnTo>
                  <a:lnTo>
                    <a:pt x="119" y="2215"/>
                  </a:lnTo>
                  <a:lnTo>
                    <a:pt x="156" y="2294"/>
                  </a:lnTo>
                  <a:lnTo>
                    <a:pt x="188" y="2360"/>
                  </a:lnTo>
                  <a:lnTo>
                    <a:pt x="211" y="2406"/>
                  </a:lnTo>
                  <a:lnTo>
                    <a:pt x="220" y="2423"/>
                  </a:lnTo>
                  <a:lnTo>
                    <a:pt x="822" y="2713"/>
                  </a:lnTo>
                  <a:lnTo>
                    <a:pt x="822" y="2706"/>
                  </a:lnTo>
                  <a:lnTo>
                    <a:pt x="824" y="2686"/>
                  </a:lnTo>
                  <a:lnTo>
                    <a:pt x="826" y="2673"/>
                  </a:lnTo>
                  <a:lnTo>
                    <a:pt x="830" y="2659"/>
                  </a:lnTo>
                  <a:lnTo>
                    <a:pt x="836" y="2643"/>
                  </a:lnTo>
                  <a:lnTo>
                    <a:pt x="842" y="2626"/>
                  </a:lnTo>
                  <a:lnTo>
                    <a:pt x="848" y="2617"/>
                  </a:lnTo>
                  <a:lnTo>
                    <a:pt x="852" y="2610"/>
                  </a:lnTo>
                  <a:lnTo>
                    <a:pt x="859" y="2601"/>
                  </a:lnTo>
                  <a:lnTo>
                    <a:pt x="864" y="2593"/>
                  </a:lnTo>
                  <a:lnTo>
                    <a:pt x="872" y="2586"/>
                  </a:lnTo>
                  <a:lnTo>
                    <a:pt x="879" y="2578"/>
                  </a:lnTo>
                  <a:lnTo>
                    <a:pt x="888" y="2572"/>
                  </a:lnTo>
                  <a:lnTo>
                    <a:pt x="898" y="2564"/>
                  </a:lnTo>
                  <a:lnTo>
                    <a:pt x="908" y="2559"/>
                  </a:lnTo>
                  <a:lnTo>
                    <a:pt x="920" y="2552"/>
                  </a:lnTo>
                  <a:lnTo>
                    <a:pt x="932" y="2548"/>
                  </a:lnTo>
                  <a:lnTo>
                    <a:pt x="945" y="2543"/>
                  </a:lnTo>
                  <a:lnTo>
                    <a:pt x="959" y="2539"/>
                  </a:lnTo>
                  <a:lnTo>
                    <a:pt x="974" y="2536"/>
                  </a:lnTo>
                  <a:lnTo>
                    <a:pt x="991" y="2534"/>
                  </a:lnTo>
                  <a:lnTo>
                    <a:pt x="1008" y="2532"/>
                  </a:lnTo>
                  <a:lnTo>
                    <a:pt x="1050" y="2531"/>
                  </a:lnTo>
                  <a:lnTo>
                    <a:pt x="1102" y="2530"/>
                  </a:lnTo>
                  <a:lnTo>
                    <a:pt x="1162" y="2529"/>
                  </a:lnTo>
                  <a:lnTo>
                    <a:pt x="1229" y="2528"/>
                  </a:lnTo>
                  <a:lnTo>
                    <a:pt x="1302" y="2527"/>
                  </a:lnTo>
                  <a:lnTo>
                    <a:pt x="1378" y="2527"/>
                  </a:lnTo>
                  <a:lnTo>
                    <a:pt x="1454" y="2526"/>
                  </a:lnTo>
                  <a:lnTo>
                    <a:pt x="1531" y="2526"/>
                  </a:lnTo>
                  <a:lnTo>
                    <a:pt x="1605" y="2525"/>
                  </a:lnTo>
                  <a:lnTo>
                    <a:pt x="1675" y="2525"/>
                  </a:lnTo>
                  <a:lnTo>
                    <a:pt x="1740" y="2525"/>
                  </a:lnTo>
                  <a:lnTo>
                    <a:pt x="1796" y="2525"/>
                  </a:lnTo>
                  <a:lnTo>
                    <a:pt x="1843" y="2525"/>
                  </a:lnTo>
                  <a:lnTo>
                    <a:pt x="1879" y="2525"/>
                  </a:lnTo>
                  <a:lnTo>
                    <a:pt x="1902" y="2525"/>
                  </a:lnTo>
                  <a:lnTo>
                    <a:pt x="1911" y="2525"/>
                  </a:lnTo>
                  <a:lnTo>
                    <a:pt x="1922" y="2529"/>
                  </a:lnTo>
                  <a:lnTo>
                    <a:pt x="1950" y="2543"/>
                  </a:lnTo>
                  <a:lnTo>
                    <a:pt x="1959" y="2549"/>
                  </a:lnTo>
                  <a:lnTo>
                    <a:pt x="1967" y="2555"/>
                  </a:lnTo>
                  <a:lnTo>
                    <a:pt x="1976" y="2563"/>
                  </a:lnTo>
                  <a:lnTo>
                    <a:pt x="1985" y="2571"/>
                  </a:lnTo>
                  <a:lnTo>
                    <a:pt x="1992" y="2579"/>
                  </a:lnTo>
                  <a:lnTo>
                    <a:pt x="2000" y="2589"/>
                  </a:lnTo>
                  <a:lnTo>
                    <a:pt x="2008" y="2600"/>
                  </a:lnTo>
                  <a:lnTo>
                    <a:pt x="2014" y="2612"/>
                  </a:lnTo>
                  <a:lnTo>
                    <a:pt x="2025" y="2637"/>
                  </a:lnTo>
                  <a:lnTo>
                    <a:pt x="2034" y="2661"/>
                  </a:lnTo>
                  <a:lnTo>
                    <a:pt x="2041" y="2684"/>
                  </a:lnTo>
                  <a:lnTo>
                    <a:pt x="2046" y="2705"/>
                  </a:lnTo>
                  <a:lnTo>
                    <a:pt x="2051" y="2736"/>
                  </a:lnTo>
                  <a:lnTo>
                    <a:pt x="2052" y="2749"/>
                  </a:lnTo>
                  <a:lnTo>
                    <a:pt x="2075" y="2733"/>
                  </a:lnTo>
                  <a:lnTo>
                    <a:pt x="2137" y="2689"/>
                  </a:lnTo>
                  <a:lnTo>
                    <a:pt x="2226" y="2627"/>
                  </a:lnTo>
                  <a:lnTo>
                    <a:pt x="2328" y="2554"/>
                  </a:lnTo>
                  <a:lnTo>
                    <a:pt x="2435" y="2480"/>
                  </a:lnTo>
                  <a:lnTo>
                    <a:pt x="2534" y="2411"/>
                  </a:lnTo>
                  <a:lnTo>
                    <a:pt x="2613" y="2358"/>
                  </a:lnTo>
                  <a:lnTo>
                    <a:pt x="2659" y="2327"/>
                  </a:lnTo>
                  <a:lnTo>
                    <a:pt x="2667" y="2323"/>
                  </a:lnTo>
                  <a:lnTo>
                    <a:pt x="2675" y="2315"/>
                  </a:lnTo>
                  <a:lnTo>
                    <a:pt x="2682" y="2308"/>
                  </a:lnTo>
                  <a:lnTo>
                    <a:pt x="2690" y="2298"/>
                  </a:lnTo>
                  <a:lnTo>
                    <a:pt x="2706" y="2274"/>
                  </a:lnTo>
                  <a:lnTo>
                    <a:pt x="2723" y="2246"/>
                  </a:lnTo>
                  <a:lnTo>
                    <a:pt x="2740" y="2214"/>
                  </a:lnTo>
                  <a:lnTo>
                    <a:pt x="2758" y="2180"/>
                  </a:lnTo>
                  <a:lnTo>
                    <a:pt x="2774" y="2144"/>
                  </a:lnTo>
                  <a:lnTo>
                    <a:pt x="2790" y="2108"/>
                  </a:lnTo>
                  <a:lnTo>
                    <a:pt x="2820" y="2038"/>
                  </a:lnTo>
                  <a:lnTo>
                    <a:pt x="2844" y="1978"/>
                  </a:lnTo>
                  <a:lnTo>
                    <a:pt x="2859" y="1937"/>
                  </a:lnTo>
                  <a:lnTo>
                    <a:pt x="2865" y="1921"/>
                  </a:lnTo>
                  <a:lnTo>
                    <a:pt x="2857" y="1222"/>
                  </a:lnTo>
                  <a:lnTo>
                    <a:pt x="2856" y="1214"/>
                  </a:lnTo>
                  <a:lnTo>
                    <a:pt x="2850" y="1192"/>
                  </a:lnTo>
                  <a:lnTo>
                    <a:pt x="2844" y="1157"/>
                  </a:lnTo>
                  <a:lnTo>
                    <a:pt x="2834" y="1113"/>
                  </a:lnTo>
                  <a:lnTo>
                    <a:pt x="2821" y="1058"/>
                  </a:lnTo>
                  <a:lnTo>
                    <a:pt x="2807" y="996"/>
                  </a:lnTo>
                  <a:lnTo>
                    <a:pt x="2791" y="929"/>
                  </a:lnTo>
                  <a:lnTo>
                    <a:pt x="2774" y="859"/>
                  </a:lnTo>
                  <a:lnTo>
                    <a:pt x="2754" y="786"/>
                  </a:lnTo>
                  <a:lnTo>
                    <a:pt x="2735" y="712"/>
                  </a:lnTo>
                  <a:lnTo>
                    <a:pt x="2714" y="642"/>
                  </a:lnTo>
                  <a:lnTo>
                    <a:pt x="2693" y="573"/>
                  </a:lnTo>
                  <a:lnTo>
                    <a:pt x="2682" y="541"/>
                  </a:lnTo>
                  <a:lnTo>
                    <a:pt x="2671" y="510"/>
                  </a:lnTo>
                  <a:lnTo>
                    <a:pt x="2661" y="480"/>
                  </a:lnTo>
                  <a:lnTo>
                    <a:pt x="2650" y="453"/>
                  </a:lnTo>
                  <a:lnTo>
                    <a:pt x="2640" y="428"/>
                  </a:lnTo>
                  <a:lnTo>
                    <a:pt x="2629" y="406"/>
                  </a:lnTo>
                  <a:lnTo>
                    <a:pt x="2618" y="385"/>
                  </a:lnTo>
                  <a:lnTo>
                    <a:pt x="2608" y="368"/>
                  </a:lnTo>
                  <a:lnTo>
                    <a:pt x="2595" y="352"/>
                  </a:lnTo>
                  <a:lnTo>
                    <a:pt x="2576" y="335"/>
                  </a:lnTo>
                  <a:lnTo>
                    <a:pt x="2549" y="319"/>
                  </a:lnTo>
                  <a:lnTo>
                    <a:pt x="2519" y="301"/>
                  </a:lnTo>
                  <a:lnTo>
                    <a:pt x="2484" y="285"/>
                  </a:lnTo>
                  <a:lnTo>
                    <a:pt x="2443" y="268"/>
                  </a:lnTo>
                  <a:lnTo>
                    <a:pt x="2398" y="250"/>
                  </a:lnTo>
                  <a:lnTo>
                    <a:pt x="2350" y="233"/>
                  </a:lnTo>
                  <a:lnTo>
                    <a:pt x="2298" y="216"/>
                  </a:lnTo>
                  <a:lnTo>
                    <a:pt x="2241" y="199"/>
                  </a:lnTo>
                  <a:lnTo>
                    <a:pt x="2183" y="183"/>
                  </a:lnTo>
                  <a:lnTo>
                    <a:pt x="2121" y="166"/>
                  </a:lnTo>
                  <a:lnTo>
                    <a:pt x="2058" y="150"/>
                  </a:lnTo>
                  <a:lnTo>
                    <a:pt x="1992" y="135"/>
                  </a:lnTo>
                  <a:lnTo>
                    <a:pt x="1926" y="119"/>
                  </a:lnTo>
                  <a:lnTo>
                    <a:pt x="1857" y="105"/>
                  </a:lnTo>
                  <a:lnTo>
                    <a:pt x="1789" y="92"/>
                  </a:lnTo>
                  <a:lnTo>
                    <a:pt x="1719" y="79"/>
                  </a:lnTo>
                  <a:lnTo>
                    <a:pt x="1649" y="66"/>
                  </a:lnTo>
                  <a:lnTo>
                    <a:pt x="1579" y="55"/>
                  </a:lnTo>
                  <a:lnTo>
                    <a:pt x="1510" y="44"/>
                  </a:lnTo>
                  <a:lnTo>
                    <a:pt x="1442" y="34"/>
                  </a:lnTo>
                  <a:lnTo>
                    <a:pt x="1374" y="27"/>
                  </a:lnTo>
                  <a:lnTo>
                    <a:pt x="1309" y="19"/>
                  </a:lnTo>
                  <a:lnTo>
                    <a:pt x="1246" y="12"/>
                  </a:lnTo>
                  <a:lnTo>
                    <a:pt x="1185" y="7"/>
                  </a:lnTo>
                  <a:lnTo>
                    <a:pt x="1126" y="4"/>
                  </a:lnTo>
                  <a:lnTo>
                    <a:pt x="1070" y="2"/>
                  </a:lnTo>
                  <a:lnTo>
                    <a:pt x="1018" y="0"/>
                  </a:lnTo>
                  <a:lnTo>
                    <a:pt x="970" y="0"/>
                  </a:lnTo>
                  <a:lnTo>
                    <a:pt x="925" y="3"/>
                  </a:lnTo>
                  <a:lnTo>
                    <a:pt x="885" y="7"/>
                  </a:lnTo>
                  <a:lnTo>
                    <a:pt x="811" y="16"/>
                  </a:lnTo>
                  <a:lnTo>
                    <a:pt x="739" y="26"/>
                  </a:lnTo>
                  <a:lnTo>
                    <a:pt x="671" y="34"/>
                  </a:lnTo>
                  <a:lnTo>
                    <a:pt x="607" y="44"/>
                  </a:lnTo>
                  <a:lnTo>
                    <a:pt x="547" y="55"/>
                  </a:lnTo>
                  <a:lnTo>
                    <a:pt x="489" y="67"/>
                  </a:lnTo>
                  <a:lnTo>
                    <a:pt x="463" y="73"/>
                  </a:lnTo>
                  <a:lnTo>
                    <a:pt x="437" y="80"/>
                  </a:lnTo>
                  <a:lnTo>
                    <a:pt x="412" y="88"/>
                  </a:lnTo>
                  <a:lnTo>
                    <a:pt x="388" y="95"/>
                  </a:lnTo>
                  <a:lnTo>
                    <a:pt x="365" y="103"/>
                  </a:lnTo>
                  <a:lnTo>
                    <a:pt x="343" y="112"/>
                  </a:lnTo>
                  <a:lnTo>
                    <a:pt x="323" y="120"/>
                  </a:lnTo>
                  <a:lnTo>
                    <a:pt x="304" y="130"/>
                  </a:lnTo>
                  <a:lnTo>
                    <a:pt x="285" y="141"/>
                  </a:lnTo>
                  <a:lnTo>
                    <a:pt x="268" y="152"/>
                  </a:lnTo>
                  <a:lnTo>
                    <a:pt x="252" y="163"/>
                  </a:lnTo>
                  <a:lnTo>
                    <a:pt x="236" y="175"/>
                  </a:lnTo>
                  <a:lnTo>
                    <a:pt x="223" y="188"/>
                  </a:lnTo>
                  <a:lnTo>
                    <a:pt x="210" y="202"/>
                  </a:lnTo>
                  <a:lnTo>
                    <a:pt x="199" y="216"/>
                  </a:lnTo>
                  <a:lnTo>
                    <a:pt x="190" y="232"/>
                  </a:lnTo>
                  <a:lnTo>
                    <a:pt x="181" y="248"/>
                  </a:lnTo>
                  <a:lnTo>
                    <a:pt x="173" y="265"/>
                  </a:lnTo>
                  <a:lnTo>
                    <a:pt x="168" y="283"/>
                  </a:lnTo>
                  <a:lnTo>
                    <a:pt x="162" y="302"/>
                  </a:lnTo>
                  <a:lnTo>
                    <a:pt x="154" y="347"/>
                  </a:lnTo>
                  <a:lnTo>
                    <a:pt x="143" y="404"/>
                  </a:lnTo>
                  <a:lnTo>
                    <a:pt x="132" y="469"/>
                  </a:lnTo>
                  <a:lnTo>
                    <a:pt x="119" y="541"/>
                  </a:lnTo>
                  <a:lnTo>
                    <a:pt x="106" y="620"/>
                  </a:lnTo>
                  <a:lnTo>
                    <a:pt x="93" y="700"/>
                  </a:lnTo>
                  <a:lnTo>
                    <a:pt x="78" y="783"/>
                  </a:lnTo>
                  <a:lnTo>
                    <a:pt x="65" y="865"/>
                  </a:lnTo>
                  <a:lnTo>
                    <a:pt x="52" y="945"/>
                  </a:lnTo>
                  <a:lnTo>
                    <a:pt x="40" y="1020"/>
                  </a:lnTo>
                  <a:lnTo>
                    <a:pt x="29" y="1089"/>
                  </a:lnTo>
                  <a:lnTo>
                    <a:pt x="21" y="1150"/>
                  </a:lnTo>
                  <a:lnTo>
                    <a:pt x="12" y="1200"/>
                  </a:lnTo>
                  <a:lnTo>
                    <a:pt x="6" y="1239"/>
                  </a:lnTo>
                  <a:lnTo>
                    <a:pt x="2" y="1263"/>
                  </a:lnTo>
                  <a:lnTo>
                    <a:pt x="1" y="1272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3" name="işlïḍé"/>
            <p:cNvSpPr/>
            <p:nvPr/>
          </p:nvSpPr>
          <p:spPr bwMode="auto">
            <a:xfrm>
              <a:off x="1351756" y="1404144"/>
              <a:ext cx="1027113" cy="665163"/>
            </a:xfrm>
            <a:custGeom>
              <a:avLst/>
              <a:gdLst>
                <a:gd name="T0" fmla="*/ 194 w 3233"/>
                <a:gd name="T1" fmla="*/ 1942 h 2091"/>
                <a:gd name="T2" fmla="*/ 279 w 3233"/>
                <a:gd name="T3" fmla="*/ 1672 h 2091"/>
                <a:gd name="T4" fmla="*/ 369 w 3233"/>
                <a:gd name="T5" fmla="*/ 1431 h 2091"/>
                <a:gd name="T6" fmla="*/ 522 w 3233"/>
                <a:gd name="T7" fmla="*/ 1098 h 2091"/>
                <a:gd name="T8" fmla="*/ 614 w 3233"/>
                <a:gd name="T9" fmla="*/ 922 h 2091"/>
                <a:gd name="T10" fmla="*/ 662 w 3233"/>
                <a:gd name="T11" fmla="*/ 966 h 2091"/>
                <a:gd name="T12" fmla="*/ 732 w 3233"/>
                <a:gd name="T13" fmla="*/ 1020 h 2091"/>
                <a:gd name="T14" fmla="*/ 822 w 3233"/>
                <a:gd name="T15" fmla="*/ 1070 h 2091"/>
                <a:gd name="T16" fmla="*/ 945 w 3233"/>
                <a:gd name="T17" fmla="*/ 1123 h 2091"/>
                <a:gd name="T18" fmla="*/ 1110 w 3233"/>
                <a:gd name="T19" fmla="*/ 1175 h 2091"/>
                <a:gd name="T20" fmla="*/ 1318 w 3233"/>
                <a:gd name="T21" fmla="*/ 1222 h 2091"/>
                <a:gd name="T22" fmla="*/ 1559 w 3233"/>
                <a:gd name="T23" fmla="*/ 1253 h 2091"/>
                <a:gd name="T24" fmla="*/ 1782 w 3233"/>
                <a:gd name="T25" fmla="*/ 1255 h 2091"/>
                <a:gd name="T26" fmla="*/ 1985 w 3233"/>
                <a:gd name="T27" fmla="*/ 1234 h 2091"/>
                <a:gd name="T28" fmla="*/ 2161 w 3233"/>
                <a:gd name="T29" fmla="*/ 1199 h 2091"/>
                <a:gd name="T30" fmla="*/ 2309 w 3233"/>
                <a:gd name="T31" fmla="*/ 1156 h 2091"/>
                <a:gd name="T32" fmla="*/ 2482 w 3233"/>
                <a:gd name="T33" fmla="*/ 1087 h 2091"/>
                <a:gd name="T34" fmla="*/ 2542 w 3233"/>
                <a:gd name="T35" fmla="*/ 1075 h 2091"/>
                <a:gd name="T36" fmla="*/ 2679 w 3233"/>
                <a:gd name="T37" fmla="*/ 1277 h 2091"/>
                <a:gd name="T38" fmla="*/ 2780 w 3233"/>
                <a:gd name="T39" fmla="*/ 1451 h 2091"/>
                <a:gd name="T40" fmla="*/ 2879 w 3233"/>
                <a:gd name="T41" fmla="*/ 1665 h 2091"/>
                <a:gd name="T42" fmla="*/ 2984 w 3233"/>
                <a:gd name="T43" fmla="*/ 1940 h 2091"/>
                <a:gd name="T44" fmla="*/ 3017 w 3233"/>
                <a:gd name="T45" fmla="*/ 2008 h 2091"/>
                <a:gd name="T46" fmla="*/ 3074 w 3233"/>
                <a:gd name="T47" fmla="*/ 1769 h 2091"/>
                <a:gd name="T48" fmla="*/ 3161 w 3233"/>
                <a:gd name="T49" fmla="*/ 1364 h 2091"/>
                <a:gd name="T50" fmla="*/ 3221 w 3233"/>
                <a:gd name="T51" fmla="*/ 1023 h 2091"/>
                <a:gd name="T52" fmla="*/ 3233 w 3233"/>
                <a:gd name="T53" fmla="*/ 886 h 2091"/>
                <a:gd name="T54" fmla="*/ 3218 w 3233"/>
                <a:gd name="T55" fmla="*/ 804 h 2091"/>
                <a:gd name="T56" fmla="*/ 3167 w 3233"/>
                <a:gd name="T57" fmla="*/ 734 h 2091"/>
                <a:gd name="T58" fmla="*/ 3114 w 3233"/>
                <a:gd name="T59" fmla="*/ 692 h 2091"/>
                <a:gd name="T60" fmla="*/ 3068 w 3233"/>
                <a:gd name="T61" fmla="*/ 670 h 2091"/>
                <a:gd name="T62" fmla="*/ 3041 w 3233"/>
                <a:gd name="T63" fmla="*/ 624 h 2091"/>
                <a:gd name="T64" fmla="*/ 2988 w 3233"/>
                <a:gd name="T65" fmla="*/ 538 h 2091"/>
                <a:gd name="T66" fmla="*/ 2897 w 3233"/>
                <a:gd name="T67" fmla="*/ 423 h 2091"/>
                <a:gd name="T68" fmla="*/ 2764 w 3233"/>
                <a:gd name="T69" fmla="*/ 299 h 2091"/>
                <a:gd name="T70" fmla="*/ 2585 w 3233"/>
                <a:gd name="T71" fmla="*/ 178 h 2091"/>
                <a:gd name="T72" fmla="*/ 2354 w 3233"/>
                <a:gd name="T73" fmla="*/ 78 h 2091"/>
                <a:gd name="T74" fmla="*/ 2067 w 3233"/>
                <a:gd name="T75" fmla="*/ 14 h 2091"/>
                <a:gd name="T76" fmla="*/ 1721 w 3233"/>
                <a:gd name="T77" fmla="*/ 1 h 2091"/>
                <a:gd name="T78" fmla="*/ 1398 w 3233"/>
                <a:gd name="T79" fmla="*/ 13 h 2091"/>
                <a:gd name="T80" fmla="*/ 1130 w 3233"/>
                <a:gd name="T81" fmla="*/ 34 h 2091"/>
                <a:gd name="T82" fmla="*/ 916 w 3233"/>
                <a:gd name="T83" fmla="*/ 66 h 2091"/>
                <a:gd name="T84" fmla="*/ 750 w 3233"/>
                <a:gd name="T85" fmla="*/ 107 h 2091"/>
                <a:gd name="T86" fmla="*/ 631 w 3233"/>
                <a:gd name="T87" fmla="*/ 157 h 2091"/>
                <a:gd name="T88" fmla="*/ 558 w 3233"/>
                <a:gd name="T89" fmla="*/ 219 h 2091"/>
                <a:gd name="T90" fmla="*/ 527 w 3233"/>
                <a:gd name="T91" fmla="*/ 290 h 2091"/>
                <a:gd name="T92" fmla="*/ 546 w 3233"/>
                <a:gd name="T93" fmla="*/ 429 h 2091"/>
                <a:gd name="T94" fmla="*/ 577 w 3233"/>
                <a:gd name="T95" fmla="*/ 623 h 2091"/>
                <a:gd name="T96" fmla="*/ 573 w 3233"/>
                <a:gd name="T97" fmla="*/ 658 h 2091"/>
                <a:gd name="T98" fmla="*/ 475 w 3233"/>
                <a:gd name="T99" fmla="*/ 601 h 2091"/>
                <a:gd name="T100" fmla="*/ 384 w 3233"/>
                <a:gd name="T101" fmla="*/ 563 h 2091"/>
                <a:gd name="T102" fmla="*/ 280 w 3233"/>
                <a:gd name="T103" fmla="*/ 543 h 2091"/>
                <a:gd name="T104" fmla="*/ 179 w 3233"/>
                <a:gd name="T105" fmla="*/ 557 h 2091"/>
                <a:gd name="T106" fmla="*/ 90 w 3233"/>
                <a:gd name="T107" fmla="*/ 622 h 2091"/>
                <a:gd name="T108" fmla="*/ 28 w 3233"/>
                <a:gd name="T109" fmla="*/ 755 h 2091"/>
                <a:gd name="T110" fmla="*/ 2 w 3233"/>
                <a:gd name="T111" fmla="*/ 969 h 2091"/>
                <a:gd name="T112" fmla="*/ 2 w 3233"/>
                <a:gd name="T113" fmla="*/ 1200 h 2091"/>
                <a:gd name="T114" fmla="*/ 16 w 3233"/>
                <a:gd name="T115" fmla="*/ 1416 h 2091"/>
                <a:gd name="T116" fmla="*/ 49 w 3233"/>
                <a:gd name="T117" fmla="*/ 1656 h 2091"/>
                <a:gd name="T118" fmla="*/ 110 w 3233"/>
                <a:gd name="T119" fmla="*/ 1946 h 2091"/>
                <a:gd name="T120" fmla="*/ 150 w 3233"/>
                <a:gd name="T121" fmla="*/ 208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33" h="2091">
                  <a:moveTo>
                    <a:pt x="153" y="2091"/>
                  </a:moveTo>
                  <a:lnTo>
                    <a:pt x="158" y="2072"/>
                  </a:lnTo>
                  <a:lnTo>
                    <a:pt x="172" y="2021"/>
                  </a:lnTo>
                  <a:lnTo>
                    <a:pt x="194" y="1942"/>
                  </a:lnTo>
                  <a:lnTo>
                    <a:pt x="223" y="1843"/>
                  </a:lnTo>
                  <a:lnTo>
                    <a:pt x="241" y="1789"/>
                  </a:lnTo>
                  <a:lnTo>
                    <a:pt x="259" y="1731"/>
                  </a:lnTo>
                  <a:lnTo>
                    <a:pt x="279" y="1672"/>
                  </a:lnTo>
                  <a:lnTo>
                    <a:pt x="300" y="1611"/>
                  </a:lnTo>
                  <a:lnTo>
                    <a:pt x="323" y="1550"/>
                  </a:lnTo>
                  <a:lnTo>
                    <a:pt x="345" y="1490"/>
                  </a:lnTo>
                  <a:lnTo>
                    <a:pt x="369" y="1431"/>
                  </a:lnTo>
                  <a:lnTo>
                    <a:pt x="393" y="1374"/>
                  </a:lnTo>
                  <a:lnTo>
                    <a:pt x="440" y="1269"/>
                  </a:lnTo>
                  <a:lnTo>
                    <a:pt x="484" y="1178"/>
                  </a:lnTo>
                  <a:lnTo>
                    <a:pt x="522" y="1098"/>
                  </a:lnTo>
                  <a:lnTo>
                    <a:pt x="555" y="1033"/>
                  </a:lnTo>
                  <a:lnTo>
                    <a:pt x="581" y="982"/>
                  </a:lnTo>
                  <a:lnTo>
                    <a:pt x="600" y="945"/>
                  </a:lnTo>
                  <a:lnTo>
                    <a:pt x="614" y="922"/>
                  </a:lnTo>
                  <a:lnTo>
                    <a:pt x="618" y="914"/>
                  </a:lnTo>
                  <a:lnTo>
                    <a:pt x="623" y="924"/>
                  </a:lnTo>
                  <a:lnTo>
                    <a:pt x="644" y="949"/>
                  </a:lnTo>
                  <a:lnTo>
                    <a:pt x="662" y="966"/>
                  </a:lnTo>
                  <a:lnTo>
                    <a:pt x="686" y="986"/>
                  </a:lnTo>
                  <a:lnTo>
                    <a:pt x="699" y="997"/>
                  </a:lnTo>
                  <a:lnTo>
                    <a:pt x="715" y="1008"/>
                  </a:lnTo>
                  <a:lnTo>
                    <a:pt x="732" y="1020"/>
                  </a:lnTo>
                  <a:lnTo>
                    <a:pt x="752" y="1032"/>
                  </a:lnTo>
                  <a:lnTo>
                    <a:pt x="773" y="1045"/>
                  </a:lnTo>
                  <a:lnTo>
                    <a:pt x="796" y="1057"/>
                  </a:lnTo>
                  <a:lnTo>
                    <a:pt x="822" y="1070"/>
                  </a:lnTo>
                  <a:lnTo>
                    <a:pt x="849" y="1083"/>
                  </a:lnTo>
                  <a:lnTo>
                    <a:pt x="878" y="1096"/>
                  </a:lnTo>
                  <a:lnTo>
                    <a:pt x="911" y="1109"/>
                  </a:lnTo>
                  <a:lnTo>
                    <a:pt x="945" y="1123"/>
                  </a:lnTo>
                  <a:lnTo>
                    <a:pt x="982" y="1136"/>
                  </a:lnTo>
                  <a:lnTo>
                    <a:pt x="1022" y="1148"/>
                  </a:lnTo>
                  <a:lnTo>
                    <a:pt x="1064" y="1162"/>
                  </a:lnTo>
                  <a:lnTo>
                    <a:pt x="1110" y="1175"/>
                  </a:lnTo>
                  <a:lnTo>
                    <a:pt x="1156" y="1187"/>
                  </a:lnTo>
                  <a:lnTo>
                    <a:pt x="1208" y="1199"/>
                  </a:lnTo>
                  <a:lnTo>
                    <a:pt x="1261" y="1211"/>
                  </a:lnTo>
                  <a:lnTo>
                    <a:pt x="1318" y="1222"/>
                  </a:lnTo>
                  <a:lnTo>
                    <a:pt x="1378" y="1231"/>
                  </a:lnTo>
                  <a:lnTo>
                    <a:pt x="1439" y="1241"/>
                  </a:lnTo>
                  <a:lnTo>
                    <a:pt x="1500" y="1248"/>
                  </a:lnTo>
                  <a:lnTo>
                    <a:pt x="1559" y="1253"/>
                  </a:lnTo>
                  <a:lnTo>
                    <a:pt x="1616" y="1256"/>
                  </a:lnTo>
                  <a:lnTo>
                    <a:pt x="1673" y="1257"/>
                  </a:lnTo>
                  <a:lnTo>
                    <a:pt x="1729" y="1256"/>
                  </a:lnTo>
                  <a:lnTo>
                    <a:pt x="1782" y="1255"/>
                  </a:lnTo>
                  <a:lnTo>
                    <a:pt x="1835" y="1251"/>
                  </a:lnTo>
                  <a:lnTo>
                    <a:pt x="1887" y="1247"/>
                  </a:lnTo>
                  <a:lnTo>
                    <a:pt x="1937" y="1241"/>
                  </a:lnTo>
                  <a:lnTo>
                    <a:pt x="1985" y="1234"/>
                  </a:lnTo>
                  <a:lnTo>
                    <a:pt x="2032" y="1226"/>
                  </a:lnTo>
                  <a:lnTo>
                    <a:pt x="2076" y="1217"/>
                  </a:lnTo>
                  <a:lnTo>
                    <a:pt x="2120" y="1208"/>
                  </a:lnTo>
                  <a:lnTo>
                    <a:pt x="2161" y="1199"/>
                  </a:lnTo>
                  <a:lnTo>
                    <a:pt x="2202" y="1188"/>
                  </a:lnTo>
                  <a:lnTo>
                    <a:pt x="2239" y="1177"/>
                  </a:lnTo>
                  <a:lnTo>
                    <a:pt x="2275" y="1167"/>
                  </a:lnTo>
                  <a:lnTo>
                    <a:pt x="2309" y="1156"/>
                  </a:lnTo>
                  <a:lnTo>
                    <a:pt x="2340" y="1145"/>
                  </a:lnTo>
                  <a:lnTo>
                    <a:pt x="2397" y="1123"/>
                  </a:lnTo>
                  <a:lnTo>
                    <a:pt x="2445" y="1104"/>
                  </a:lnTo>
                  <a:lnTo>
                    <a:pt x="2482" y="1087"/>
                  </a:lnTo>
                  <a:lnTo>
                    <a:pt x="2510" y="1074"/>
                  </a:lnTo>
                  <a:lnTo>
                    <a:pt x="2527" y="1066"/>
                  </a:lnTo>
                  <a:lnTo>
                    <a:pt x="2532" y="1062"/>
                  </a:lnTo>
                  <a:lnTo>
                    <a:pt x="2542" y="1075"/>
                  </a:lnTo>
                  <a:lnTo>
                    <a:pt x="2568" y="1111"/>
                  </a:lnTo>
                  <a:lnTo>
                    <a:pt x="2606" y="1167"/>
                  </a:lnTo>
                  <a:lnTo>
                    <a:pt x="2653" y="1238"/>
                  </a:lnTo>
                  <a:lnTo>
                    <a:pt x="2679" y="1277"/>
                  </a:lnTo>
                  <a:lnTo>
                    <a:pt x="2705" y="1319"/>
                  </a:lnTo>
                  <a:lnTo>
                    <a:pt x="2730" y="1362"/>
                  </a:lnTo>
                  <a:lnTo>
                    <a:pt x="2757" y="1406"/>
                  </a:lnTo>
                  <a:lnTo>
                    <a:pt x="2780" y="1451"/>
                  </a:lnTo>
                  <a:lnTo>
                    <a:pt x="2804" y="1495"/>
                  </a:lnTo>
                  <a:lnTo>
                    <a:pt x="2825" y="1539"/>
                  </a:lnTo>
                  <a:lnTo>
                    <a:pt x="2845" y="1582"/>
                  </a:lnTo>
                  <a:lnTo>
                    <a:pt x="2879" y="1665"/>
                  </a:lnTo>
                  <a:lnTo>
                    <a:pt x="2910" y="1745"/>
                  </a:lnTo>
                  <a:lnTo>
                    <a:pt x="2939" y="1819"/>
                  </a:lnTo>
                  <a:lnTo>
                    <a:pt x="2964" y="1886"/>
                  </a:lnTo>
                  <a:lnTo>
                    <a:pt x="2984" y="1940"/>
                  </a:lnTo>
                  <a:lnTo>
                    <a:pt x="3001" y="1983"/>
                  </a:lnTo>
                  <a:lnTo>
                    <a:pt x="3010" y="2010"/>
                  </a:lnTo>
                  <a:lnTo>
                    <a:pt x="3014" y="2020"/>
                  </a:lnTo>
                  <a:lnTo>
                    <a:pt x="3017" y="2008"/>
                  </a:lnTo>
                  <a:lnTo>
                    <a:pt x="3025" y="1974"/>
                  </a:lnTo>
                  <a:lnTo>
                    <a:pt x="3038" y="1920"/>
                  </a:lnTo>
                  <a:lnTo>
                    <a:pt x="3054" y="1851"/>
                  </a:lnTo>
                  <a:lnTo>
                    <a:pt x="3074" y="1769"/>
                  </a:lnTo>
                  <a:lnTo>
                    <a:pt x="3094" y="1675"/>
                  </a:lnTo>
                  <a:lnTo>
                    <a:pt x="3116" y="1575"/>
                  </a:lnTo>
                  <a:lnTo>
                    <a:pt x="3139" y="1470"/>
                  </a:lnTo>
                  <a:lnTo>
                    <a:pt x="3161" y="1364"/>
                  </a:lnTo>
                  <a:lnTo>
                    <a:pt x="3182" y="1260"/>
                  </a:lnTo>
                  <a:lnTo>
                    <a:pt x="3200" y="1159"/>
                  </a:lnTo>
                  <a:lnTo>
                    <a:pt x="3214" y="1067"/>
                  </a:lnTo>
                  <a:lnTo>
                    <a:pt x="3221" y="1023"/>
                  </a:lnTo>
                  <a:lnTo>
                    <a:pt x="3226" y="984"/>
                  </a:lnTo>
                  <a:lnTo>
                    <a:pt x="3230" y="947"/>
                  </a:lnTo>
                  <a:lnTo>
                    <a:pt x="3232" y="914"/>
                  </a:lnTo>
                  <a:lnTo>
                    <a:pt x="3233" y="886"/>
                  </a:lnTo>
                  <a:lnTo>
                    <a:pt x="3233" y="861"/>
                  </a:lnTo>
                  <a:lnTo>
                    <a:pt x="3231" y="841"/>
                  </a:lnTo>
                  <a:lnTo>
                    <a:pt x="3227" y="827"/>
                  </a:lnTo>
                  <a:lnTo>
                    <a:pt x="3218" y="804"/>
                  </a:lnTo>
                  <a:lnTo>
                    <a:pt x="3206" y="784"/>
                  </a:lnTo>
                  <a:lnTo>
                    <a:pt x="3194" y="766"/>
                  </a:lnTo>
                  <a:lnTo>
                    <a:pt x="3181" y="749"/>
                  </a:lnTo>
                  <a:lnTo>
                    <a:pt x="3167" y="734"/>
                  </a:lnTo>
                  <a:lnTo>
                    <a:pt x="3153" y="721"/>
                  </a:lnTo>
                  <a:lnTo>
                    <a:pt x="3140" y="710"/>
                  </a:lnTo>
                  <a:lnTo>
                    <a:pt x="3127" y="700"/>
                  </a:lnTo>
                  <a:lnTo>
                    <a:pt x="3114" y="692"/>
                  </a:lnTo>
                  <a:lnTo>
                    <a:pt x="3102" y="685"/>
                  </a:lnTo>
                  <a:lnTo>
                    <a:pt x="3091" y="680"/>
                  </a:lnTo>
                  <a:lnTo>
                    <a:pt x="3081" y="675"/>
                  </a:lnTo>
                  <a:lnTo>
                    <a:pt x="3068" y="670"/>
                  </a:lnTo>
                  <a:lnTo>
                    <a:pt x="3063" y="668"/>
                  </a:lnTo>
                  <a:lnTo>
                    <a:pt x="3060" y="660"/>
                  </a:lnTo>
                  <a:lnTo>
                    <a:pt x="3050" y="639"/>
                  </a:lnTo>
                  <a:lnTo>
                    <a:pt x="3041" y="624"/>
                  </a:lnTo>
                  <a:lnTo>
                    <a:pt x="3031" y="605"/>
                  </a:lnTo>
                  <a:lnTo>
                    <a:pt x="3019" y="585"/>
                  </a:lnTo>
                  <a:lnTo>
                    <a:pt x="3004" y="562"/>
                  </a:lnTo>
                  <a:lnTo>
                    <a:pt x="2988" y="538"/>
                  </a:lnTo>
                  <a:lnTo>
                    <a:pt x="2969" y="511"/>
                  </a:lnTo>
                  <a:lnTo>
                    <a:pt x="2947" y="483"/>
                  </a:lnTo>
                  <a:lnTo>
                    <a:pt x="2923" y="454"/>
                  </a:lnTo>
                  <a:lnTo>
                    <a:pt x="2897" y="423"/>
                  </a:lnTo>
                  <a:lnTo>
                    <a:pt x="2868" y="393"/>
                  </a:lnTo>
                  <a:lnTo>
                    <a:pt x="2836" y="361"/>
                  </a:lnTo>
                  <a:lnTo>
                    <a:pt x="2802" y="330"/>
                  </a:lnTo>
                  <a:lnTo>
                    <a:pt x="2764" y="299"/>
                  </a:lnTo>
                  <a:lnTo>
                    <a:pt x="2724" y="267"/>
                  </a:lnTo>
                  <a:lnTo>
                    <a:pt x="2681" y="237"/>
                  </a:lnTo>
                  <a:lnTo>
                    <a:pt x="2634" y="206"/>
                  </a:lnTo>
                  <a:lnTo>
                    <a:pt x="2585" y="178"/>
                  </a:lnTo>
                  <a:lnTo>
                    <a:pt x="2532" y="151"/>
                  </a:lnTo>
                  <a:lnTo>
                    <a:pt x="2476" y="125"/>
                  </a:lnTo>
                  <a:lnTo>
                    <a:pt x="2416" y="99"/>
                  </a:lnTo>
                  <a:lnTo>
                    <a:pt x="2354" y="78"/>
                  </a:lnTo>
                  <a:lnTo>
                    <a:pt x="2288" y="58"/>
                  </a:lnTo>
                  <a:lnTo>
                    <a:pt x="2217" y="41"/>
                  </a:lnTo>
                  <a:lnTo>
                    <a:pt x="2144" y="25"/>
                  </a:lnTo>
                  <a:lnTo>
                    <a:pt x="2067" y="14"/>
                  </a:lnTo>
                  <a:lnTo>
                    <a:pt x="1985" y="6"/>
                  </a:lnTo>
                  <a:lnTo>
                    <a:pt x="1900" y="1"/>
                  </a:lnTo>
                  <a:lnTo>
                    <a:pt x="1810" y="0"/>
                  </a:lnTo>
                  <a:lnTo>
                    <a:pt x="1721" y="1"/>
                  </a:lnTo>
                  <a:lnTo>
                    <a:pt x="1635" y="3"/>
                  </a:lnTo>
                  <a:lnTo>
                    <a:pt x="1552" y="6"/>
                  </a:lnTo>
                  <a:lnTo>
                    <a:pt x="1474" y="9"/>
                  </a:lnTo>
                  <a:lnTo>
                    <a:pt x="1398" y="13"/>
                  </a:lnTo>
                  <a:lnTo>
                    <a:pt x="1326" y="18"/>
                  </a:lnTo>
                  <a:lnTo>
                    <a:pt x="1258" y="22"/>
                  </a:lnTo>
                  <a:lnTo>
                    <a:pt x="1192" y="29"/>
                  </a:lnTo>
                  <a:lnTo>
                    <a:pt x="1130" y="34"/>
                  </a:lnTo>
                  <a:lnTo>
                    <a:pt x="1071" y="42"/>
                  </a:lnTo>
                  <a:lnTo>
                    <a:pt x="1017" y="48"/>
                  </a:lnTo>
                  <a:lnTo>
                    <a:pt x="965" y="57"/>
                  </a:lnTo>
                  <a:lnTo>
                    <a:pt x="916" y="66"/>
                  </a:lnTo>
                  <a:lnTo>
                    <a:pt x="870" y="74"/>
                  </a:lnTo>
                  <a:lnTo>
                    <a:pt x="826" y="85"/>
                  </a:lnTo>
                  <a:lnTo>
                    <a:pt x="787" y="95"/>
                  </a:lnTo>
                  <a:lnTo>
                    <a:pt x="750" y="107"/>
                  </a:lnTo>
                  <a:lnTo>
                    <a:pt x="716" y="118"/>
                  </a:lnTo>
                  <a:lnTo>
                    <a:pt x="684" y="131"/>
                  </a:lnTo>
                  <a:lnTo>
                    <a:pt x="657" y="144"/>
                  </a:lnTo>
                  <a:lnTo>
                    <a:pt x="631" y="157"/>
                  </a:lnTo>
                  <a:lnTo>
                    <a:pt x="609" y="173"/>
                  </a:lnTo>
                  <a:lnTo>
                    <a:pt x="590" y="187"/>
                  </a:lnTo>
                  <a:lnTo>
                    <a:pt x="572" y="203"/>
                  </a:lnTo>
                  <a:lnTo>
                    <a:pt x="558" y="219"/>
                  </a:lnTo>
                  <a:lnTo>
                    <a:pt x="546" y="236"/>
                  </a:lnTo>
                  <a:lnTo>
                    <a:pt x="537" y="253"/>
                  </a:lnTo>
                  <a:lnTo>
                    <a:pt x="531" y="272"/>
                  </a:lnTo>
                  <a:lnTo>
                    <a:pt x="527" y="290"/>
                  </a:lnTo>
                  <a:lnTo>
                    <a:pt x="525" y="310"/>
                  </a:lnTo>
                  <a:lnTo>
                    <a:pt x="526" y="330"/>
                  </a:lnTo>
                  <a:lnTo>
                    <a:pt x="530" y="350"/>
                  </a:lnTo>
                  <a:lnTo>
                    <a:pt x="546" y="429"/>
                  </a:lnTo>
                  <a:lnTo>
                    <a:pt x="558" y="494"/>
                  </a:lnTo>
                  <a:lnTo>
                    <a:pt x="567" y="548"/>
                  </a:lnTo>
                  <a:lnTo>
                    <a:pt x="573" y="591"/>
                  </a:lnTo>
                  <a:lnTo>
                    <a:pt x="577" y="623"/>
                  </a:lnTo>
                  <a:lnTo>
                    <a:pt x="579" y="646"/>
                  </a:lnTo>
                  <a:lnTo>
                    <a:pt x="579" y="659"/>
                  </a:lnTo>
                  <a:lnTo>
                    <a:pt x="580" y="662"/>
                  </a:lnTo>
                  <a:lnTo>
                    <a:pt x="573" y="658"/>
                  </a:lnTo>
                  <a:lnTo>
                    <a:pt x="556" y="647"/>
                  </a:lnTo>
                  <a:lnTo>
                    <a:pt x="530" y="630"/>
                  </a:lnTo>
                  <a:lnTo>
                    <a:pt x="495" y="611"/>
                  </a:lnTo>
                  <a:lnTo>
                    <a:pt x="475" y="601"/>
                  </a:lnTo>
                  <a:lnTo>
                    <a:pt x="453" y="590"/>
                  </a:lnTo>
                  <a:lnTo>
                    <a:pt x="432" y="580"/>
                  </a:lnTo>
                  <a:lnTo>
                    <a:pt x="408" y="572"/>
                  </a:lnTo>
                  <a:lnTo>
                    <a:pt x="384" y="563"/>
                  </a:lnTo>
                  <a:lnTo>
                    <a:pt x="357" y="556"/>
                  </a:lnTo>
                  <a:lnTo>
                    <a:pt x="332" y="550"/>
                  </a:lnTo>
                  <a:lnTo>
                    <a:pt x="306" y="545"/>
                  </a:lnTo>
                  <a:lnTo>
                    <a:pt x="280" y="543"/>
                  </a:lnTo>
                  <a:lnTo>
                    <a:pt x="254" y="543"/>
                  </a:lnTo>
                  <a:lnTo>
                    <a:pt x="229" y="544"/>
                  </a:lnTo>
                  <a:lnTo>
                    <a:pt x="204" y="550"/>
                  </a:lnTo>
                  <a:lnTo>
                    <a:pt x="179" y="557"/>
                  </a:lnTo>
                  <a:lnTo>
                    <a:pt x="155" y="568"/>
                  </a:lnTo>
                  <a:lnTo>
                    <a:pt x="132" y="583"/>
                  </a:lnTo>
                  <a:lnTo>
                    <a:pt x="111" y="600"/>
                  </a:lnTo>
                  <a:lnTo>
                    <a:pt x="90" y="622"/>
                  </a:lnTo>
                  <a:lnTo>
                    <a:pt x="72" y="648"/>
                  </a:lnTo>
                  <a:lnTo>
                    <a:pt x="55" y="678"/>
                  </a:lnTo>
                  <a:lnTo>
                    <a:pt x="40" y="714"/>
                  </a:lnTo>
                  <a:lnTo>
                    <a:pt x="28" y="755"/>
                  </a:lnTo>
                  <a:lnTo>
                    <a:pt x="17" y="801"/>
                  </a:lnTo>
                  <a:lnTo>
                    <a:pt x="10" y="852"/>
                  </a:lnTo>
                  <a:lnTo>
                    <a:pt x="4" y="909"/>
                  </a:lnTo>
                  <a:lnTo>
                    <a:pt x="2" y="969"/>
                  </a:lnTo>
                  <a:lnTo>
                    <a:pt x="0" y="1027"/>
                  </a:lnTo>
                  <a:lnTo>
                    <a:pt x="0" y="1086"/>
                  </a:lnTo>
                  <a:lnTo>
                    <a:pt x="0" y="1143"/>
                  </a:lnTo>
                  <a:lnTo>
                    <a:pt x="2" y="1200"/>
                  </a:lnTo>
                  <a:lnTo>
                    <a:pt x="4" y="1255"/>
                  </a:lnTo>
                  <a:lnTo>
                    <a:pt x="8" y="1310"/>
                  </a:lnTo>
                  <a:lnTo>
                    <a:pt x="12" y="1363"/>
                  </a:lnTo>
                  <a:lnTo>
                    <a:pt x="16" y="1416"/>
                  </a:lnTo>
                  <a:lnTo>
                    <a:pt x="22" y="1467"/>
                  </a:lnTo>
                  <a:lnTo>
                    <a:pt x="28" y="1516"/>
                  </a:lnTo>
                  <a:lnTo>
                    <a:pt x="35" y="1564"/>
                  </a:lnTo>
                  <a:lnTo>
                    <a:pt x="49" y="1656"/>
                  </a:lnTo>
                  <a:lnTo>
                    <a:pt x="64" y="1741"/>
                  </a:lnTo>
                  <a:lnTo>
                    <a:pt x="81" y="1817"/>
                  </a:lnTo>
                  <a:lnTo>
                    <a:pt x="96" y="1886"/>
                  </a:lnTo>
                  <a:lnTo>
                    <a:pt x="110" y="1946"/>
                  </a:lnTo>
                  <a:lnTo>
                    <a:pt x="124" y="1997"/>
                  </a:lnTo>
                  <a:lnTo>
                    <a:pt x="135" y="2037"/>
                  </a:lnTo>
                  <a:lnTo>
                    <a:pt x="145" y="2067"/>
                  </a:lnTo>
                  <a:lnTo>
                    <a:pt x="150" y="2085"/>
                  </a:lnTo>
                  <a:lnTo>
                    <a:pt x="153" y="2091"/>
                  </a:lnTo>
                  <a:close/>
                </a:path>
              </a:pathLst>
            </a:custGeom>
            <a:solidFill>
              <a:srgbClr val="684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4" name="îŝ1ïḓe"/>
            <p:cNvSpPr/>
            <p:nvPr/>
          </p:nvSpPr>
          <p:spPr bwMode="auto">
            <a:xfrm>
              <a:off x="1688306" y="2529682"/>
              <a:ext cx="344488" cy="263525"/>
            </a:xfrm>
            <a:custGeom>
              <a:avLst/>
              <a:gdLst>
                <a:gd name="T0" fmla="*/ 1087 w 1087"/>
                <a:gd name="T1" fmla="*/ 0 h 829"/>
                <a:gd name="T2" fmla="*/ 1086 w 1087"/>
                <a:gd name="T3" fmla="*/ 435 h 829"/>
                <a:gd name="T4" fmla="*/ 1082 w 1087"/>
                <a:gd name="T5" fmla="*/ 478 h 829"/>
                <a:gd name="T6" fmla="*/ 1074 w 1087"/>
                <a:gd name="T7" fmla="*/ 518 h 829"/>
                <a:gd name="T8" fmla="*/ 1062 w 1087"/>
                <a:gd name="T9" fmla="*/ 556 h 829"/>
                <a:gd name="T10" fmla="*/ 1046 w 1087"/>
                <a:gd name="T11" fmla="*/ 593 h 829"/>
                <a:gd name="T12" fmla="*/ 1026 w 1087"/>
                <a:gd name="T13" fmla="*/ 629 h 829"/>
                <a:gd name="T14" fmla="*/ 1004 w 1087"/>
                <a:gd name="T15" fmla="*/ 662 h 829"/>
                <a:gd name="T16" fmla="*/ 979 w 1087"/>
                <a:gd name="T17" fmla="*/ 692 h 829"/>
                <a:gd name="T18" fmla="*/ 951 w 1087"/>
                <a:gd name="T19" fmla="*/ 721 h 829"/>
                <a:gd name="T20" fmla="*/ 920 w 1087"/>
                <a:gd name="T21" fmla="*/ 746 h 829"/>
                <a:gd name="T22" fmla="*/ 887 w 1087"/>
                <a:gd name="T23" fmla="*/ 769 h 829"/>
                <a:gd name="T24" fmla="*/ 852 w 1087"/>
                <a:gd name="T25" fmla="*/ 787 h 829"/>
                <a:gd name="T26" fmla="*/ 815 w 1087"/>
                <a:gd name="T27" fmla="*/ 804 h 829"/>
                <a:gd name="T28" fmla="*/ 775 w 1087"/>
                <a:gd name="T29" fmla="*/ 816 h 829"/>
                <a:gd name="T30" fmla="*/ 735 w 1087"/>
                <a:gd name="T31" fmla="*/ 824 h 829"/>
                <a:gd name="T32" fmla="*/ 694 w 1087"/>
                <a:gd name="T33" fmla="*/ 829 h 829"/>
                <a:gd name="T34" fmla="*/ 614 w 1087"/>
                <a:gd name="T35" fmla="*/ 829 h 829"/>
                <a:gd name="T36" fmla="*/ 663 w 1087"/>
                <a:gd name="T37" fmla="*/ 574 h 829"/>
                <a:gd name="T38" fmla="*/ 675 w 1087"/>
                <a:gd name="T39" fmla="*/ 571 h 829"/>
                <a:gd name="T40" fmla="*/ 685 w 1087"/>
                <a:gd name="T41" fmla="*/ 565 h 829"/>
                <a:gd name="T42" fmla="*/ 693 w 1087"/>
                <a:gd name="T43" fmla="*/ 554 h 829"/>
                <a:gd name="T44" fmla="*/ 695 w 1087"/>
                <a:gd name="T45" fmla="*/ 542 h 829"/>
                <a:gd name="T46" fmla="*/ 694 w 1087"/>
                <a:gd name="T47" fmla="*/ 535 h 829"/>
                <a:gd name="T48" fmla="*/ 689 w 1087"/>
                <a:gd name="T49" fmla="*/ 524 h 829"/>
                <a:gd name="T50" fmla="*/ 681 w 1087"/>
                <a:gd name="T51" fmla="*/ 516 h 829"/>
                <a:gd name="T52" fmla="*/ 669 w 1087"/>
                <a:gd name="T53" fmla="*/ 510 h 829"/>
                <a:gd name="T54" fmla="*/ 409 w 1087"/>
                <a:gd name="T55" fmla="*/ 510 h 829"/>
                <a:gd name="T56" fmla="*/ 396 w 1087"/>
                <a:gd name="T57" fmla="*/ 512 h 829"/>
                <a:gd name="T58" fmla="*/ 386 w 1087"/>
                <a:gd name="T59" fmla="*/ 519 h 829"/>
                <a:gd name="T60" fmla="*/ 380 w 1087"/>
                <a:gd name="T61" fmla="*/ 530 h 829"/>
                <a:gd name="T62" fmla="*/ 377 w 1087"/>
                <a:gd name="T63" fmla="*/ 542 h 829"/>
                <a:gd name="T64" fmla="*/ 378 w 1087"/>
                <a:gd name="T65" fmla="*/ 548 h 829"/>
                <a:gd name="T66" fmla="*/ 382 w 1087"/>
                <a:gd name="T67" fmla="*/ 559 h 829"/>
                <a:gd name="T68" fmla="*/ 391 w 1087"/>
                <a:gd name="T69" fmla="*/ 568 h 829"/>
                <a:gd name="T70" fmla="*/ 403 w 1087"/>
                <a:gd name="T71" fmla="*/ 574 h 829"/>
                <a:gd name="T72" fmla="*/ 468 w 1087"/>
                <a:gd name="T73" fmla="*/ 574 h 829"/>
                <a:gd name="T74" fmla="*/ 416 w 1087"/>
                <a:gd name="T75" fmla="*/ 829 h 829"/>
                <a:gd name="T76" fmla="*/ 373 w 1087"/>
                <a:gd name="T77" fmla="*/ 827 h 829"/>
                <a:gd name="T78" fmla="*/ 332 w 1087"/>
                <a:gd name="T79" fmla="*/ 820 h 829"/>
                <a:gd name="T80" fmla="*/ 293 w 1087"/>
                <a:gd name="T81" fmla="*/ 810 h 829"/>
                <a:gd name="T82" fmla="*/ 254 w 1087"/>
                <a:gd name="T83" fmla="*/ 796 h 829"/>
                <a:gd name="T84" fmla="*/ 218 w 1087"/>
                <a:gd name="T85" fmla="*/ 779 h 829"/>
                <a:gd name="T86" fmla="*/ 184 w 1087"/>
                <a:gd name="T87" fmla="*/ 758 h 829"/>
                <a:gd name="T88" fmla="*/ 152 w 1087"/>
                <a:gd name="T89" fmla="*/ 734 h 829"/>
                <a:gd name="T90" fmla="*/ 123 w 1087"/>
                <a:gd name="T91" fmla="*/ 707 h 829"/>
                <a:gd name="T92" fmla="*/ 95 w 1087"/>
                <a:gd name="T93" fmla="*/ 677 h 829"/>
                <a:gd name="T94" fmla="*/ 71 w 1087"/>
                <a:gd name="T95" fmla="*/ 646 h 829"/>
                <a:gd name="T96" fmla="*/ 51 w 1087"/>
                <a:gd name="T97" fmla="*/ 612 h 829"/>
                <a:gd name="T98" fmla="*/ 33 w 1087"/>
                <a:gd name="T99" fmla="*/ 575 h 829"/>
                <a:gd name="T100" fmla="*/ 20 w 1087"/>
                <a:gd name="T101" fmla="*/ 538 h 829"/>
                <a:gd name="T102" fmla="*/ 9 w 1087"/>
                <a:gd name="T103" fmla="*/ 497 h 829"/>
                <a:gd name="T104" fmla="*/ 3 w 1087"/>
                <a:gd name="T105" fmla="*/ 457 h 829"/>
                <a:gd name="T106" fmla="*/ 0 w 1087"/>
                <a:gd name="T107" fmla="*/ 414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87" h="829">
                  <a:moveTo>
                    <a:pt x="0" y="0"/>
                  </a:moveTo>
                  <a:lnTo>
                    <a:pt x="1087" y="0"/>
                  </a:lnTo>
                  <a:lnTo>
                    <a:pt x="1087" y="414"/>
                  </a:lnTo>
                  <a:lnTo>
                    <a:pt x="1086" y="435"/>
                  </a:lnTo>
                  <a:lnTo>
                    <a:pt x="1085" y="457"/>
                  </a:lnTo>
                  <a:lnTo>
                    <a:pt x="1082" y="478"/>
                  </a:lnTo>
                  <a:lnTo>
                    <a:pt x="1078" y="497"/>
                  </a:lnTo>
                  <a:lnTo>
                    <a:pt x="1074" y="518"/>
                  </a:lnTo>
                  <a:lnTo>
                    <a:pt x="1069" y="538"/>
                  </a:lnTo>
                  <a:lnTo>
                    <a:pt x="1062" y="556"/>
                  </a:lnTo>
                  <a:lnTo>
                    <a:pt x="1055" y="575"/>
                  </a:lnTo>
                  <a:lnTo>
                    <a:pt x="1046" y="593"/>
                  </a:lnTo>
                  <a:lnTo>
                    <a:pt x="1037" y="612"/>
                  </a:lnTo>
                  <a:lnTo>
                    <a:pt x="1026" y="629"/>
                  </a:lnTo>
                  <a:lnTo>
                    <a:pt x="1016" y="646"/>
                  </a:lnTo>
                  <a:lnTo>
                    <a:pt x="1004" y="662"/>
                  </a:lnTo>
                  <a:lnTo>
                    <a:pt x="992" y="677"/>
                  </a:lnTo>
                  <a:lnTo>
                    <a:pt x="979" y="692"/>
                  </a:lnTo>
                  <a:lnTo>
                    <a:pt x="965" y="707"/>
                  </a:lnTo>
                  <a:lnTo>
                    <a:pt x="951" y="721"/>
                  </a:lnTo>
                  <a:lnTo>
                    <a:pt x="936" y="734"/>
                  </a:lnTo>
                  <a:lnTo>
                    <a:pt x="920" y="746"/>
                  </a:lnTo>
                  <a:lnTo>
                    <a:pt x="904" y="758"/>
                  </a:lnTo>
                  <a:lnTo>
                    <a:pt x="887" y="769"/>
                  </a:lnTo>
                  <a:lnTo>
                    <a:pt x="869" y="779"/>
                  </a:lnTo>
                  <a:lnTo>
                    <a:pt x="852" y="787"/>
                  </a:lnTo>
                  <a:lnTo>
                    <a:pt x="833" y="796"/>
                  </a:lnTo>
                  <a:lnTo>
                    <a:pt x="815" y="804"/>
                  </a:lnTo>
                  <a:lnTo>
                    <a:pt x="795" y="810"/>
                  </a:lnTo>
                  <a:lnTo>
                    <a:pt x="775" y="816"/>
                  </a:lnTo>
                  <a:lnTo>
                    <a:pt x="756" y="820"/>
                  </a:lnTo>
                  <a:lnTo>
                    <a:pt x="735" y="824"/>
                  </a:lnTo>
                  <a:lnTo>
                    <a:pt x="714" y="827"/>
                  </a:lnTo>
                  <a:lnTo>
                    <a:pt x="694" y="829"/>
                  </a:lnTo>
                  <a:lnTo>
                    <a:pt x="672" y="829"/>
                  </a:lnTo>
                  <a:lnTo>
                    <a:pt x="614" y="829"/>
                  </a:lnTo>
                  <a:lnTo>
                    <a:pt x="614" y="574"/>
                  </a:lnTo>
                  <a:lnTo>
                    <a:pt x="663" y="574"/>
                  </a:lnTo>
                  <a:lnTo>
                    <a:pt x="669" y="574"/>
                  </a:lnTo>
                  <a:lnTo>
                    <a:pt x="675" y="571"/>
                  </a:lnTo>
                  <a:lnTo>
                    <a:pt x="681" y="568"/>
                  </a:lnTo>
                  <a:lnTo>
                    <a:pt x="685" y="565"/>
                  </a:lnTo>
                  <a:lnTo>
                    <a:pt x="689" y="559"/>
                  </a:lnTo>
                  <a:lnTo>
                    <a:pt x="693" y="554"/>
                  </a:lnTo>
                  <a:lnTo>
                    <a:pt x="694" y="548"/>
                  </a:lnTo>
                  <a:lnTo>
                    <a:pt x="695" y="542"/>
                  </a:lnTo>
                  <a:lnTo>
                    <a:pt x="695" y="542"/>
                  </a:lnTo>
                  <a:lnTo>
                    <a:pt x="694" y="535"/>
                  </a:lnTo>
                  <a:lnTo>
                    <a:pt x="693" y="530"/>
                  </a:lnTo>
                  <a:lnTo>
                    <a:pt x="689" y="524"/>
                  </a:lnTo>
                  <a:lnTo>
                    <a:pt x="685" y="519"/>
                  </a:lnTo>
                  <a:lnTo>
                    <a:pt x="681" y="516"/>
                  </a:lnTo>
                  <a:lnTo>
                    <a:pt x="675" y="512"/>
                  </a:lnTo>
                  <a:lnTo>
                    <a:pt x="669" y="510"/>
                  </a:lnTo>
                  <a:lnTo>
                    <a:pt x="663" y="510"/>
                  </a:lnTo>
                  <a:lnTo>
                    <a:pt x="409" y="510"/>
                  </a:lnTo>
                  <a:lnTo>
                    <a:pt x="403" y="510"/>
                  </a:lnTo>
                  <a:lnTo>
                    <a:pt x="396" y="512"/>
                  </a:lnTo>
                  <a:lnTo>
                    <a:pt x="391" y="516"/>
                  </a:lnTo>
                  <a:lnTo>
                    <a:pt x="386" y="519"/>
                  </a:lnTo>
                  <a:lnTo>
                    <a:pt x="382" y="524"/>
                  </a:lnTo>
                  <a:lnTo>
                    <a:pt x="380" y="530"/>
                  </a:lnTo>
                  <a:lnTo>
                    <a:pt x="378" y="535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8" y="548"/>
                  </a:lnTo>
                  <a:lnTo>
                    <a:pt x="380" y="554"/>
                  </a:lnTo>
                  <a:lnTo>
                    <a:pt x="382" y="559"/>
                  </a:lnTo>
                  <a:lnTo>
                    <a:pt x="386" y="565"/>
                  </a:lnTo>
                  <a:lnTo>
                    <a:pt x="391" y="568"/>
                  </a:lnTo>
                  <a:lnTo>
                    <a:pt x="396" y="571"/>
                  </a:lnTo>
                  <a:lnTo>
                    <a:pt x="403" y="574"/>
                  </a:lnTo>
                  <a:lnTo>
                    <a:pt x="409" y="574"/>
                  </a:lnTo>
                  <a:lnTo>
                    <a:pt x="468" y="574"/>
                  </a:lnTo>
                  <a:lnTo>
                    <a:pt x="468" y="829"/>
                  </a:lnTo>
                  <a:lnTo>
                    <a:pt x="416" y="829"/>
                  </a:lnTo>
                  <a:lnTo>
                    <a:pt x="394" y="829"/>
                  </a:lnTo>
                  <a:lnTo>
                    <a:pt x="373" y="827"/>
                  </a:lnTo>
                  <a:lnTo>
                    <a:pt x="353" y="824"/>
                  </a:lnTo>
                  <a:lnTo>
                    <a:pt x="332" y="820"/>
                  </a:lnTo>
                  <a:lnTo>
                    <a:pt x="312" y="816"/>
                  </a:lnTo>
                  <a:lnTo>
                    <a:pt x="293" y="810"/>
                  </a:lnTo>
                  <a:lnTo>
                    <a:pt x="273" y="804"/>
                  </a:lnTo>
                  <a:lnTo>
                    <a:pt x="254" y="796"/>
                  </a:lnTo>
                  <a:lnTo>
                    <a:pt x="236" y="787"/>
                  </a:lnTo>
                  <a:lnTo>
                    <a:pt x="218" y="779"/>
                  </a:lnTo>
                  <a:lnTo>
                    <a:pt x="201" y="769"/>
                  </a:lnTo>
                  <a:lnTo>
                    <a:pt x="184" y="758"/>
                  </a:lnTo>
                  <a:lnTo>
                    <a:pt x="167" y="746"/>
                  </a:lnTo>
                  <a:lnTo>
                    <a:pt x="152" y="734"/>
                  </a:lnTo>
                  <a:lnTo>
                    <a:pt x="137" y="721"/>
                  </a:lnTo>
                  <a:lnTo>
                    <a:pt x="123" y="707"/>
                  </a:lnTo>
                  <a:lnTo>
                    <a:pt x="108" y="692"/>
                  </a:lnTo>
                  <a:lnTo>
                    <a:pt x="95" y="677"/>
                  </a:lnTo>
                  <a:lnTo>
                    <a:pt x="83" y="662"/>
                  </a:lnTo>
                  <a:lnTo>
                    <a:pt x="71" y="646"/>
                  </a:lnTo>
                  <a:lnTo>
                    <a:pt x="62" y="629"/>
                  </a:lnTo>
                  <a:lnTo>
                    <a:pt x="51" y="612"/>
                  </a:lnTo>
                  <a:lnTo>
                    <a:pt x="42" y="593"/>
                  </a:lnTo>
                  <a:lnTo>
                    <a:pt x="33" y="575"/>
                  </a:lnTo>
                  <a:lnTo>
                    <a:pt x="26" y="556"/>
                  </a:lnTo>
                  <a:lnTo>
                    <a:pt x="20" y="538"/>
                  </a:lnTo>
                  <a:lnTo>
                    <a:pt x="14" y="518"/>
                  </a:lnTo>
                  <a:lnTo>
                    <a:pt x="9" y="497"/>
                  </a:lnTo>
                  <a:lnTo>
                    <a:pt x="6" y="478"/>
                  </a:lnTo>
                  <a:lnTo>
                    <a:pt x="3" y="457"/>
                  </a:lnTo>
                  <a:lnTo>
                    <a:pt x="2" y="435"/>
                  </a:lnTo>
                  <a:lnTo>
                    <a:pt x="0" y="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5" name="îŝḷîďè"/>
            <p:cNvSpPr/>
            <p:nvPr/>
          </p:nvSpPr>
          <p:spPr bwMode="auto">
            <a:xfrm>
              <a:off x="1529556" y="1934369"/>
              <a:ext cx="225425" cy="101600"/>
            </a:xfrm>
            <a:custGeom>
              <a:avLst/>
              <a:gdLst>
                <a:gd name="T0" fmla="*/ 711 w 711"/>
                <a:gd name="T1" fmla="*/ 0 h 323"/>
                <a:gd name="T2" fmla="*/ 711 w 711"/>
                <a:gd name="T3" fmla="*/ 160 h 323"/>
                <a:gd name="T4" fmla="*/ 0 w 711"/>
                <a:gd name="T5" fmla="*/ 323 h 323"/>
                <a:gd name="T6" fmla="*/ 711 w 711"/>
                <a:gd name="T7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1" h="323">
                  <a:moveTo>
                    <a:pt x="711" y="0"/>
                  </a:moveTo>
                  <a:lnTo>
                    <a:pt x="711" y="160"/>
                  </a:lnTo>
                  <a:lnTo>
                    <a:pt x="0" y="323"/>
                  </a:lnTo>
                  <a:lnTo>
                    <a:pt x="71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6" name="ïsḷïḓè"/>
            <p:cNvSpPr/>
            <p:nvPr/>
          </p:nvSpPr>
          <p:spPr bwMode="auto">
            <a:xfrm>
              <a:off x="1701006" y="2539207"/>
              <a:ext cx="312738" cy="142875"/>
            </a:xfrm>
            <a:custGeom>
              <a:avLst/>
              <a:gdLst>
                <a:gd name="T0" fmla="*/ 988 w 988"/>
                <a:gd name="T1" fmla="*/ 0 h 453"/>
                <a:gd name="T2" fmla="*/ 988 w 988"/>
                <a:gd name="T3" fmla="*/ 48 h 453"/>
                <a:gd name="T4" fmla="*/ 984 w 988"/>
                <a:gd name="T5" fmla="*/ 100 h 453"/>
                <a:gd name="T6" fmla="*/ 974 w 988"/>
                <a:gd name="T7" fmla="*/ 161 h 453"/>
                <a:gd name="T8" fmla="*/ 965 w 988"/>
                <a:gd name="T9" fmla="*/ 193 h 453"/>
                <a:gd name="T10" fmla="*/ 954 w 988"/>
                <a:gd name="T11" fmla="*/ 226 h 453"/>
                <a:gd name="T12" fmla="*/ 940 w 988"/>
                <a:gd name="T13" fmla="*/ 259 h 453"/>
                <a:gd name="T14" fmla="*/ 924 w 988"/>
                <a:gd name="T15" fmla="*/ 289 h 453"/>
                <a:gd name="T16" fmla="*/ 903 w 988"/>
                <a:gd name="T17" fmla="*/ 319 h 453"/>
                <a:gd name="T18" fmla="*/ 878 w 988"/>
                <a:gd name="T19" fmla="*/ 346 h 453"/>
                <a:gd name="T20" fmla="*/ 849 w 988"/>
                <a:gd name="T21" fmla="*/ 370 h 453"/>
                <a:gd name="T22" fmla="*/ 816 w 988"/>
                <a:gd name="T23" fmla="*/ 390 h 453"/>
                <a:gd name="T24" fmla="*/ 778 w 988"/>
                <a:gd name="T25" fmla="*/ 405 h 453"/>
                <a:gd name="T26" fmla="*/ 736 w 988"/>
                <a:gd name="T27" fmla="*/ 419 h 453"/>
                <a:gd name="T28" fmla="*/ 693 w 988"/>
                <a:gd name="T29" fmla="*/ 430 h 453"/>
                <a:gd name="T30" fmla="*/ 648 w 988"/>
                <a:gd name="T31" fmla="*/ 439 h 453"/>
                <a:gd name="T32" fmla="*/ 600 w 988"/>
                <a:gd name="T33" fmla="*/ 446 h 453"/>
                <a:gd name="T34" fmla="*/ 552 w 988"/>
                <a:gd name="T35" fmla="*/ 451 h 453"/>
                <a:gd name="T36" fmla="*/ 503 w 988"/>
                <a:gd name="T37" fmla="*/ 453 h 453"/>
                <a:gd name="T38" fmla="*/ 454 w 988"/>
                <a:gd name="T39" fmla="*/ 452 h 453"/>
                <a:gd name="T40" fmla="*/ 406 w 988"/>
                <a:gd name="T41" fmla="*/ 450 h 453"/>
                <a:gd name="T42" fmla="*/ 359 w 988"/>
                <a:gd name="T43" fmla="*/ 445 h 453"/>
                <a:gd name="T44" fmla="*/ 314 w 988"/>
                <a:gd name="T45" fmla="*/ 439 h 453"/>
                <a:gd name="T46" fmla="*/ 270 w 988"/>
                <a:gd name="T47" fmla="*/ 430 h 453"/>
                <a:gd name="T48" fmla="*/ 230 w 988"/>
                <a:gd name="T49" fmla="*/ 419 h 453"/>
                <a:gd name="T50" fmla="*/ 193 w 988"/>
                <a:gd name="T51" fmla="*/ 405 h 453"/>
                <a:gd name="T52" fmla="*/ 159 w 988"/>
                <a:gd name="T53" fmla="*/ 390 h 453"/>
                <a:gd name="T54" fmla="*/ 129 w 988"/>
                <a:gd name="T55" fmla="*/ 372 h 453"/>
                <a:gd name="T56" fmla="*/ 103 w 988"/>
                <a:gd name="T57" fmla="*/ 353 h 453"/>
                <a:gd name="T58" fmla="*/ 81 w 988"/>
                <a:gd name="T59" fmla="*/ 329 h 453"/>
                <a:gd name="T60" fmla="*/ 63 w 988"/>
                <a:gd name="T61" fmla="*/ 301 h 453"/>
                <a:gd name="T62" fmla="*/ 48 w 988"/>
                <a:gd name="T63" fmla="*/ 273 h 453"/>
                <a:gd name="T64" fmla="*/ 35 w 988"/>
                <a:gd name="T65" fmla="*/ 243 h 453"/>
                <a:gd name="T66" fmla="*/ 25 w 988"/>
                <a:gd name="T67" fmla="*/ 212 h 453"/>
                <a:gd name="T68" fmla="*/ 11 w 988"/>
                <a:gd name="T69" fmla="*/ 150 h 453"/>
                <a:gd name="T70" fmla="*/ 3 w 988"/>
                <a:gd name="T71" fmla="*/ 92 h 453"/>
                <a:gd name="T72" fmla="*/ 0 w 988"/>
                <a:gd name="T73" fmla="*/ 45 h 453"/>
                <a:gd name="T74" fmla="*/ 1 w 988"/>
                <a:gd name="T75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88" h="453">
                  <a:moveTo>
                    <a:pt x="1" y="0"/>
                  </a:moveTo>
                  <a:lnTo>
                    <a:pt x="988" y="0"/>
                  </a:lnTo>
                  <a:lnTo>
                    <a:pt x="988" y="14"/>
                  </a:lnTo>
                  <a:lnTo>
                    <a:pt x="988" y="48"/>
                  </a:lnTo>
                  <a:lnTo>
                    <a:pt x="986" y="72"/>
                  </a:lnTo>
                  <a:lnTo>
                    <a:pt x="984" y="100"/>
                  </a:lnTo>
                  <a:lnTo>
                    <a:pt x="980" y="129"/>
                  </a:lnTo>
                  <a:lnTo>
                    <a:pt x="974" y="161"/>
                  </a:lnTo>
                  <a:lnTo>
                    <a:pt x="970" y="177"/>
                  </a:lnTo>
                  <a:lnTo>
                    <a:pt x="965" y="193"/>
                  </a:lnTo>
                  <a:lnTo>
                    <a:pt x="960" y="210"/>
                  </a:lnTo>
                  <a:lnTo>
                    <a:pt x="954" y="226"/>
                  </a:lnTo>
                  <a:lnTo>
                    <a:pt x="948" y="243"/>
                  </a:lnTo>
                  <a:lnTo>
                    <a:pt x="940" y="259"/>
                  </a:lnTo>
                  <a:lnTo>
                    <a:pt x="933" y="274"/>
                  </a:lnTo>
                  <a:lnTo>
                    <a:pt x="924" y="289"/>
                  </a:lnTo>
                  <a:lnTo>
                    <a:pt x="913" y="305"/>
                  </a:lnTo>
                  <a:lnTo>
                    <a:pt x="903" y="319"/>
                  </a:lnTo>
                  <a:lnTo>
                    <a:pt x="891" y="333"/>
                  </a:lnTo>
                  <a:lnTo>
                    <a:pt x="878" y="346"/>
                  </a:lnTo>
                  <a:lnTo>
                    <a:pt x="864" y="358"/>
                  </a:lnTo>
                  <a:lnTo>
                    <a:pt x="849" y="370"/>
                  </a:lnTo>
                  <a:lnTo>
                    <a:pt x="833" y="380"/>
                  </a:lnTo>
                  <a:lnTo>
                    <a:pt x="816" y="390"/>
                  </a:lnTo>
                  <a:lnTo>
                    <a:pt x="798" y="397"/>
                  </a:lnTo>
                  <a:lnTo>
                    <a:pt x="778" y="405"/>
                  </a:lnTo>
                  <a:lnTo>
                    <a:pt x="758" y="413"/>
                  </a:lnTo>
                  <a:lnTo>
                    <a:pt x="736" y="419"/>
                  </a:lnTo>
                  <a:lnTo>
                    <a:pt x="716" y="425"/>
                  </a:lnTo>
                  <a:lnTo>
                    <a:pt x="693" y="430"/>
                  </a:lnTo>
                  <a:lnTo>
                    <a:pt x="671" y="434"/>
                  </a:lnTo>
                  <a:lnTo>
                    <a:pt x="648" y="439"/>
                  </a:lnTo>
                  <a:lnTo>
                    <a:pt x="624" y="443"/>
                  </a:lnTo>
                  <a:lnTo>
                    <a:pt x="600" y="446"/>
                  </a:lnTo>
                  <a:lnTo>
                    <a:pt x="576" y="449"/>
                  </a:lnTo>
                  <a:lnTo>
                    <a:pt x="552" y="451"/>
                  </a:lnTo>
                  <a:lnTo>
                    <a:pt x="528" y="452"/>
                  </a:lnTo>
                  <a:lnTo>
                    <a:pt x="503" y="453"/>
                  </a:lnTo>
                  <a:lnTo>
                    <a:pt x="479" y="453"/>
                  </a:lnTo>
                  <a:lnTo>
                    <a:pt x="454" y="452"/>
                  </a:lnTo>
                  <a:lnTo>
                    <a:pt x="430" y="452"/>
                  </a:lnTo>
                  <a:lnTo>
                    <a:pt x="406" y="450"/>
                  </a:lnTo>
                  <a:lnTo>
                    <a:pt x="382" y="448"/>
                  </a:lnTo>
                  <a:lnTo>
                    <a:pt x="359" y="445"/>
                  </a:lnTo>
                  <a:lnTo>
                    <a:pt x="336" y="442"/>
                  </a:lnTo>
                  <a:lnTo>
                    <a:pt x="314" y="439"/>
                  </a:lnTo>
                  <a:lnTo>
                    <a:pt x="292" y="434"/>
                  </a:lnTo>
                  <a:lnTo>
                    <a:pt x="270" y="430"/>
                  </a:lnTo>
                  <a:lnTo>
                    <a:pt x="249" y="425"/>
                  </a:lnTo>
                  <a:lnTo>
                    <a:pt x="230" y="419"/>
                  </a:lnTo>
                  <a:lnTo>
                    <a:pt x="210" y="413"/>
                  </a:lnTo>
                  <a:lnTo>
                    <a:pt x="193" y="405"/>
                  </a:lnTo>
                  <a:lnTo>
                    <a:pt x="175" y="398"/>
                  </a:lnTo>
                  <a:lnTo>
                    <a:pt x="159" y="390"/>
                  </a:lnTo>
                  <a:lnTo>
                    <a:pt x="144" y="382"/>
                  </a:lnTo>
                  <a:lnTo>
                    <a:pt x="129" y="372"/>
                  </a:lnTo>
                  <a:lnTo>
                    <a:pt x="116" y="364"/>
                  </a:lnTo>
                  <a:lnTo>
                    <a:pt x="103" y="353"/>
                  </a:lnTo>
                  <a:lnTo>
                    <a:pt x="92" y="341"/>
                  </a:lnTo>
                  <a:lnTo>
                    <a:pt x="81" y="329"/>
                  </a:lnTo>
                  <a:lnTo>
                    <a:pt x="73" y="316"/>
                  </a:lnTo>
                  <a:lnTo>
                    <a:pt x="63" y="301"/>
                  </a:lnTo>
                  <a:lnTo>
                    <a:pt x="55" y="287"/>
                  </a:lnTo>
                  <a:lnTo>
                    <a:pt x="48" y="273"/>
                  </a:lnTo>
                  <a:lnTo>
                    <a:pt x="41" y="258"/>
                  </a:lnTo>
                  <a:lnTo>
                    <a:pt x="35" y="243"/>
                  </a:lnTo>
                  <a:lnTo>
                    <a:pt x="29" y="227"/>
                  </a:lnTo>
                  <a:lnTo>
                    <a:pt x="25" y="212"/>
                  </a:lnTo>
                  <a:lnTo>
                    <a:pt x="16" y="180"/>
                  </a:lnTo>
                  <a:lnTo>
                    <a:pt x="11" y="150"/>
                  </a:lnTo>
                  <a:lnTo>
                    <a:pt x="6" y="120"/>
                  </a:lnTo>
                  <a:lnTo>
                    <a:pt x="3" y="92"/>
                  </a:lnTo>
                  <a:lnTo>
                    <a:pt x="1" y="67"/>
                  </a:lnTo>
                  <a:lnTo>
                    <a:pt x="0" y="45"/>
                  </a:lnTo>
                  <a:lnTo>
                    <a:pt x="0" y="1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7" name="í$1ïdê"/>
            <p:cNvSpPr/>
            <p:nvPr/>
          </p:nvSpPr>
          <p:spPr bwMode="auto">
            <a:xfrm>
              <a:off x="1562893" y="2085182"/>
              <a:ext cx="177800" cy="176213"/>
            </a:xfrm>
            <a:custGeom>
              <a:avLst/>
              <a:gdLst>
                <a:gd name="T0" fmla="*/ 307 w 558"/>
                <a:gd name="T1" fmla="*/ 1 h 558"/>
                <a:gd name="T2" fmla="*/ 349 w 558"/>
                <a:gd name="T3" fmla="*/ 8 h 558"/>
                <a:gd name="T4" fmla="*/ 387 w 558"/>
                <a:gd name="T5" fmla="*/ 22 h 558"/>
                <a:gd name="T6" fmla="*/ 423 w 558"/>
                <a:gd name="T7" fmla="*/ 40 h 558"/>
                <a:gd name="T8" fmla="*/ 455 w 558"/>
                <a:gd name="T9" fmla="*/ 63 h 558"/>
                <a:gd name="T10" fmla="*/ 485 w 558"/>
                <a:gd name="T11" fmla="*/ 90 h 558"/>
                <a:gd name="T12" fmla="*/ 510 w 558"/>
                <a:gd name="T13" fmla="*/ 122 h 558"/>
                <a:gd name="T14" fmla="*/ 530 w 558"/>
                <a:gd name="T15" fmla="*/ 158 h 558"/>
                <a:gd name="T16" fmla="*/ 545 w 558"/>
                <a:gd name="T17" fmla="*/ 195 h 558"/>
                <a:gd name="T18" fmla="*/ 555 w 558"/>
                <a:gd name="T19" fmla="*/ 236 h 558"/>
                <a:gd name="T20" fmla="*/ 558 w 558"/>
                <a:gd name="T21" fmla="*/ 279 h 558"/>
                <a:gd name="T22" fmla="*/ 555 w 558"/>
                <a:gd name="T23" fmla="*/ 321 h 558"/>
                <a:gd name="T24" fmla="*/ 545 w 558"/>
                <a:gd name="T25" fmla="*/ 362 h 558"/>
                <a:gd name="T26" fmla="*/ 530 w 558"/>
                <a:gd name="T27" fmla="*/ 400 h 558"/>
                <a:gd name="T28" fmla="*/ 510 w 558"/>
                <a:gd name="T29" fmla="*/ 435 h 558"/>
                <a:gd name="T30" fmla="*/ 485 w 558"/>
                <a:gd name="T31" fmla="*/ 466 h 558"/>
                <a:gd name="T32" fmla="*/ 455 w 558"/>
                <a:gd name="T33" fmla="*/ 494 h 558"/>
                <a:gd name="T34" fmla="*/ 423 w 558"/>
                <a:gd name="T35" fmla="*/ 517 h 558"/>
                <a:gd name="T36" fmla="*/ 387 w 558"/>
                <a:gd name="T37" fmla="*/ 535 h 558"/>
                <a:gd name="T38" fmla="*/ 349 w 558"/>
                <a:gd name="T39" fmla="*/ 548 h 558"/>
                <a:gd name="T40" fmla="*/ 307 w 558"/>
                <a:gd name="T41" fmla="*/ 556 h 558"/>
                <a:gd name="T42" fmla="*/ 264 w 558"/>
                <a:gd name="T43" fmla="*/ 557 h 558"/>
                <a:gd name="T44" fmla="*/ 222 w 558"/>
                <a:gd name="T45" fmla="*/ 552 h 558"/>
                <a:gd name="T46" fmla="*/ 183 w 558"/>
                <a:gd name="T47" fmla="*/ 541 h 558"/>
                <a:gd name="T48" fmla="*/ 146 w 558"/>
                <a:gd name="T49" fmla="*/ 524 h 558"/>
                <a:gd name="T50" fmla="*/ 111 w 558"/>
                <a:gd name="T51" fmla="*/ 502 h 558"/>
                <a:gd name="T52" fmla="*/ 82 w 558"/>
                <a:gd name="T53" fmla="*/ 476 h 558"/>
                <a:gd name="T54" fmla="*/ 54 w 558"/>
                <a:gd name="T55" fmla="*/ 446 h 558"/>
                <a:gd name="T56" fmla="*/ 33 w 558"/>
                <a:gd name="T57" fmla="*/ 412 h 558"/>
                <a:gd name="T58" fmla="*/ 16 w 558"/>
                <a:gd name="T59" fmla="*/ 375 h 558"/>
                <a:gd name="T60" fmla="*/ 5 w 558"/>
                <a:gd name="T61" fmla="*/ 335 h 558"/>
                <a:gd name="T62" fmla="*/ 0 w 558"/>
                <a:gd name="T63" fmla="*/ 293 h 558"/>
                <a:gd name="T64" fmla="*/ 1 w 558"/>
                <a:gd name="T65" fmla="*/ 249 h 558"/>
                <a:gd name="T66" fmla="*/ 9 w 558"/>
                <a:gd name="T67" fmla="*/ 209 h 558"/>
                <a:gd name="T68" fmla="*/ 22 w 558"/>
                <a:gd name="T69" fmla="*/ 170 h 558"/>
                <a:gd name="T70" fmla="*/ 40 w 558"/>
                <a:gd name="T71" fmla="*/ 134 h 558"/>
                <a:gd name="T72" fmla="*/ 63 w 558"/>
                <a:gd name="T73" fmla="*/ 101 h 558"/>
                <a:gd name="T74" fmla="*/ 90 w 558"/>
                <a:gd name="T75" fmla="*/ 72 h 558"/>
                <a:gd name="T76" fmla="*/ 122 w 558"/>
                <a:gd name="T77" fmla="*/ 47 h 558"/>
                <a:gd name="T78" fmla="*/ 158 w 558"/>
                <a:gd name="T79" fmla="*/ 27 h 558"/>
                <a:gd name="T80" fmla="*/ 195 w 558"/>
                <a:gd name="T81" fmla="*/ 12 h 558"/>
                <a:gd name="T82" fmla="*/ 236 w 558"/>
                <a:gd name="T83" fmla="*/ 3 h 558"/>
                <a:gd name="T84" fmla="*/ 279 w 558"/>
                <a:gd name="T85" fmla="*/ 0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lnTo>
                    <a:pt x="293" y="0"/>
                  </a:lnTo>
                  <a:lnTo>
                    <a:pt x="307" y="1"/>
                  </a:lnTo>
                  <a:lnTo>
                    <a:pt x="321" y="3"/>
                  </a:lnTo>
                  <a:lnTo>
                    <a:pt x="334" y="5"/>
                  </a:lnTo>
                  <a:lnTo>
                    <a:pt x="349" y="8"/>
                  </a:lnTo>
                  <a:lnTo>
                    <a:pt x="362" y="12"/>
                  </a:lnTo>
                  <a:lnTo>
                    <a:pt x="375" y="16"/>
                  </a:lnTo>
                  <a:lnTo>
                    <a:pt x="387" y="22"/>
                  </a:lnTo>
                  <a:lnTo>
                    <a:pt x="400" y="27"/>
                  </a:lnTo>
                  <a:lnTo>
                    <a:pt x="412" y="32"/>
                  </a:lnTo>
                  <a:lnTo>
                    <a:pt x="423" y="40"/>
                  </a:lnTo>
                  <a:lnTo>
                    <a:pt x="435" y="47"/>
                  </a:lnTo>
                  <a:lnTo>
                    <a:pt x="446" y="54"/>
                  </a:lnTo>
                  <a:lnTo>
                    <a:pt x="455" y="63"/>
                  </a:lnTo>
                  <a:lnTo>
                    <a:pt x="466" y="72"/>
                  </a:lnTo>
                  <a:lnTo>
                    <a:pt x="476" y="82"/>
                  </a:lnTo>
                  <a:lnTo>
                    <a:pt x="485" y="90"/>
                  </a:lnTo>
                  <a:lnTo>
                    <a:pt x="494" y="101"/>
                  </a:lnTo>
                  <a:lnTo>
                    <a:pt x="502" y="111"/>
                  </a:lnTo>
                  <a:lnTo>
                    <a:pt x="510" y="122"/>
                  </a:lnTo>
                  <a:lnTo>
                    <a:pt x="516" y="134"/>
                  </a:lnTo>
                  <a:lnTo>
                    <a:pt x="524" y="146"/>
                  </a:lnTo>
                  <a:lnTo>
                    <a:pt x="530" y="158"/>
                  </a:lnTo>
                  <a:lnTo>
                    <a:pt x="535" y="170"/>
                  </a:lnTo>
                  <a:lnTo>
                    <a:pt x="540" y="183"/>
                  </a:lnTo>
                  <a:lnTo>
                    <a:pt x="545" y="195"/>
                  </a:lnTo>
                  <a:lnTo>
                    <a:pt x="548" y="209"/>
                  </a:lnTo>
                  <a:lnTo>
                    <a:pt x="551" y="222"/>
                  </a:lnTo>
                  <a:lnTo>
                    <a:pt x="555" y="236"/>
                  </a:lnTo>
                  <a:lnTo>
                    <a:pt x="556" y="249"/>
                  </a:lnTo>
                  <a:lnTo>
                    <a:pt x="557" y="264"/>
                  </a:lnTo>
                  <a:lnTo>
                    <a:pt x="558" y="279"/>
                  </a:lnTo>
                  <a:lnTo>
                    <a:pt x="557" y="293"/>
                  </a:lnTo>
                  <a:lnTo>
                    <a:pt x="556" y="307"/>
                  </a:lnTo>
                  <a:lnTo>
                    <a:pt x="555" y="321"/>
                  </a:lnTo>
                  <a:lnTo>
                    <a:pt x="551" y="335"/>
                  </a:lnTo>
                  <a:lnTo>
                    <a:pt x="548" y="349"/>
                  </a:lnTo>
                  <a:lnTo>
                    <a:pt x="545" y="362"/>
                  </a:lnTo>
                  <a:lnTo>
                    <a:pt x="540" y="375"/>
                  </a:lnTo>
                  <a:lnTo>
                    <a:pt x="535" y="387"/>
                  </a:lnTo>
                  <a:lnTo>
                    <a:pt x="530" y="400"/>
                  </a:lnTo>
                  <a:lnTo>
                    <a:pt x="524" y="412"/>
                  </a:lnTo>
                  <a:lnTo>
                    <a:pt x="516" y="423"/>
                  </a:lnTo>
                  <a:lnTo>
                    <a:pt x="510" y="435"/>
                  </a:lnTo>
                  <a:lnTo>
                    <a:pt x="502" y="446"/>
                  </a:lnTo>
                  <a:lnTo>
                    <a:pt x="494" y="456"/>
                  </a:lnTo>
                  <a:lnTo>
                    <a:pt x="485" y="466"/>
                  </a:lnTo>
                  <a:lnTo>
                    <a:pt x="476" y="476"/>
                  </a:lnTo>
                  <a:lnTo>
                    <a:pt x="466" y="485"/>
                  </a:lnTo>
                  <a:lnTo>
                    <a:pt x="455" y="494"/>
                  </a:lnTo>
                  <a:lnTo>
                    <a:pt x="446" y="502"/>
                  </a:lnTo>
                  <a:lnTo>
                    <a:pt x="435" y="510"/>
                  </a:lnTo>
                  <a:lnTo>
                    <a:pt x="423" y="517"/>
                  </a:lnTo>
                  <a:lnTo>
                    <a:pt x="412" y="524"/>
                  </a:lnTo>
                  <a:lnTo>
                    <a:pt x="400" y="530"/>
                  </a:lnTo>
                  <a:lnTo>
                    <a:pt x="387" y="535"/>
                  </a:lnTo>
                  <a:lnTo>
                    <a:pt x="375" y="541"/>
                  </a:lnTo>
                  <a:lnTo>
                    <a:pt x="362" y="545"/>
                  </a:lnTo>
                  <a:lnTo>
                    <a:pt x="349" y="548"/>
                  </a:lnTo>
                  <a:lnTo>
                    <a:pt x="334" y="552"/>
                  </a:lnTo>
                  <a:lnTo>
                    <a:pt x="321" y="555"/>
                  </a:lnTo>
                  <a:lnTo>
                    <a:pt x="307" y="556"/>
                  </a:lnTo>
                  <a:lnTo>
                    <a:pt x="293" y="557"/>
                  </a:lnTo>
                  <a:lnTo>
                    <a:pt x="279" y="558"/>
                  </a:lnTo>
                  <a:lnTo>
                    <a:pt x="264" y="557"/>
                  </a:lnTo>
                  <a:lnTo>
                    <a:pt x="249" y="556"/>
                  </a:lnTo>
                  <a:lnTo>
                    <a:pt x="236" y="555"/>
                  </a:lnTo>
                  <a:lnTo>
                    <a:pt x="222" y="552"/>
                  </a:lnTo>
                  <a:lnTo>
                    <a:pt x="209" y="548"/>
                  </a:lnTo>
                  <a:lnTo>
                    <a:pt x="195" y="545"/>
                  </a:lnTo>
                  <a:lnTo>
                    <a:pt x="183" y="541"/>
                  </a:lnTo>
                  <a:lnTo>
                    <a:pt x="170" y="535"/>
                  </a:lnTo>
                  <a:lnTo>
                    <a:pt x="158" y="530"/>
                  </a:lnTo>
                  <a:lnTo>
                    <a:pt x="146" y="524"/>
                  </a:lnTo>
                  <a:lnTo>
                    <a:pt x="134" y="517"/>
                  </a:lnTo>
                  <a:lnTo>
                    <a:pt x="122" y="510"/>
                  </a:lnTo>
                  <a:lnTo>
                    <a:pt x="111" y="502"/>
                  </a:lnTo>
                  <a:lnTo>
                    <a:pt x="101" y="494"/>
                  </a:lnTo>
                  <a:lnTo>
                    <a:pt x="90" y="485"/>
                  </a:lnTo>
                  <a:lnTo>
                    <a:pt x="82" y="476"/>
                  </a:lnTo>
                  <a:lnTo>
                    <a:pt x="72" y="466"/>
                  </a:lnTo>
                  <a:lnTo>
                    <a:pt x="63" y="456"/>
                  </a:lnTo>
                  <a:lnTo>
                    <a:pt x="54" y="446"/>
                  </a:lnTo>
                  <a:lnTo>
                    <a:pt x="47" y="435"/>
                  </a:lnTo>
                  <a:lnTo>
                    <a:pt x="40" y="423"/>
                  </a:lnTo>
                  <a:lnTo>
                    <a:pt x="33" y="412"/>
                  </a:lnTo>
                  <a:lnTo>
                    <a:pt x="27" y="400"/>
                  </a:lnTo>
                  <a:lnTo>
                    <a:pt x="22" y="387"/>
                  </a:lnTo>
                  <a:lnTo>
                    <a:pt x="16" y="375"/>
                  </a:lnTo>
                  <a:lnTo>
                    <a:pt x="12" y="362"/>
                  </a:lnTo>
                  <a:lnTo>
                    <a:pt x="9" y="349"/>
                  </a:lnTo>
                  <a:lnTo>
                    <a:pt x="5" y="335"/>
                  </a:lnTo>
                  <a:lnTo>
                    <a:pt x="3" y="321"/>
                  </a:lnTo>
                  <a:lnTo>
                    <a:pt x="1" y="307"/>
                  </a:lnTo>
                  <a:lnTo>
                    <a:pt x="0" y="293"/>
                  </a:lnTo>
                  <a:lnTo>
                    <a:pt x="0" y="279"/>
                  </a:lnTo>
                  <a:lnTo>
                    <a:pt x="0" y="264"/>
                  </a:lnTo>
                  <a:lnTo>
                    <a:pt x="1" y="249"/>
                  </a:lnTo>
                  <a:lnTo>
                    <a:pt x="3" y="236"/>
                  </a:lnTo>
                  <a:lnTo>
                    <a:pt x="5" y="222"/>
                  </a:lnTo>
                  <a:lnTo>
                    <a:pt x="9" y="209"/>
                  </a:lnTo>
                  <a:lnTo>
                    <a:pt x="12" y="195"/>
                  </a:lnTo>
                  <a:lnTo>
                    <a:pt x="16" y="183"/>
                  </a:lnTo>
                  <a:lnTo>
                    <a:pt x="22" y="170"/>
                  </a:lnTo>
                  <a:lnTo>
                    <a:pt x="27" y="158"/>
                  </a:lnTo>
                  <a:lnTo>
                    <a:pt x="33" y="146"/>
                  </a:lnTo>
                  <a:lnTo>
                    <a:pt x="40" y="134"/>
                  </a:lnTo>
                  <a:lnTo>
                    <a:pt x="47" y="122"/>
                  </a:lnTo>
                  <a:lnTo>
                    <a:pt x="54" y="111"/>
                  </a:lnTo>
                  <a:lnTo>
                    <a:pt x="63" y="101"/>
                  </a:lnTo>
                  <a:lnTo>
                    <a:pt x="72" y="90"/>
                  </a:lnTo>
                  <a:lnTo>
                    <a:pt x="82" y="82"/>
                  </a:lnTo>
                  <a:lnTo>
                    <a:pt x="90" y="72"/>
                  </a:lnTo>
                  <a:lnTo>
                    <a:pt x="101" y="63"/>
                  </a:lnTo>
                  <a:lnTo>
                    <a:pt x="111" y="54"/>
                  </a:lnTo>
                  <a:lnTo>
                    <a:pt x="122" y="47"/>
                  </a:lnTo>
                  <a:lnTo>
                    <a:pt x="134" y="40"/>
                  </a:lnTo>
                  <a:lnTo>
                    <a:pt x="146" y="32"/>
                  </a:lnTo>
                  <a:lnTo>
                    <a:pt x="158" y="27"/>
                  </a:lnTo>
                  <a:lnTo>
                    <a:pt x="170" y="22"/>
                  </a:lnTo>
                  <a:lnTo>
                    <a:pt x="183" y="16"/>
                  </a:lnTo>
                  <a:lnTo>
                    <a:pt x="195" y="12"/>
                  </a:lnTo>
                  <a:lnTo>
                    <a:pt x="209" y="8"/>
                  </a:lnTo>
                  <a:lnTo>
                    <a:pt x="222" y="5"/>
                  </a:lnTo>
                  <a:lnTo>
                    <a:pt x="236" y="3"/>
                  </a:lnTo>
                  <a:lnTo>
                    <a:pt x="249" y="1"/>
                  </a:lnTo>
                  <a:lnTo>
                    <a:pt x="264" y="0"/>
                  </a:lnTo>
                  <a:lnTo>
                    <a:pt x="2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8" name="iş1îḑé"/>
            <p:cNvSpPr/>
            <p:nvPr/>
          </p:nvSpPr>
          <p:spPr bwMode="auto">
            <a:xfrm>
              <a:off x="1600993" y="2123282"/>
              <a:ext cx="100013" cy="100013"/>
            </a:xfrm>
            <a:custGeom>
              <a:avLst/>
              <a:gdLst>
                <a:gd name="T0" fmla="*/ 172 w 313"/>
                <a:gd name="T1" fmla="*/ 1 h 313"/>
                <a:gd name="T2" fmla="*/ 203 w 313"/>
                <a:gd name="T3" fmla="*/ 6 h 313"/>
                <a:gd name="T4" fmla="*/ 231 w 313"/>
                <a:gd name="T5" fmla="*/ 18 h 313"/>
                <a:gd name="T6" fmla="*/ 256 w 313"/>
                <a:gd name="T7" fmla="*/ 36 h 313"/>
                <a:gd name="T8" fmla="*/ 277 w 313"/>
                <a:gd name="T9" fmla="*/ 57 h 313"/>
                <a:gd name="T10" fmla="*/ 294 w 313"/>
                <a:gd name="T11" fmla="*/ 82 h 313"/>
                <a:gd name="T12" fmla="*/ 306 w 313"/>
                <a:gd name="T13" fmla="*/ 110 h 313"/>
                <a:gd name="T14" fmla="*/ 312 w 313"/>
                <a:gd name="T15" fmla="*/ 141 h 313"/>
                <a:gd name="T16" fmla="*/ 312 w 313"/>
                <a:gd name="T17" fmla="*/ 172 h 313"/>
                <a:gd name="T18" fmla="*/ 306 w 313"/>
                <a:gd name="T19" fmla="*/ 203 h 313"/>
                <a:gd name="T20" fmla="*/ 294 w 313"/>
                <a:gd name="T21" fmla="*/ 231 h 313"/>
                <a:gd name="T22" fmla="*/ 277 w 313"/>
                <a:gd name="T23" fmla="*/ 256 h 313"/>
                <a:gd name="T24" fmla="*/ 256 w 313"/>
                <a:gd name="T25" fmla="*/ 277 h 313"/>
                <a:gd name="T26" fmla="*/ 231 w 313"/>
                <a:gd name="T27" fmla="*/ 294 h 313"/>
                <a:gd name="T28" fmla="*/ 203 w 313"/>
                <a:gd name="T29" fmla="*/ 306 h 313"/>
                <a:gd name="T30" fmla="*/ 172 w 313"/>
                <a:gd name="T31" fmla="*/ 312 h 313"/>
                <a:gd name="T32" fmla="*/ 140 w 313"/>
                <a:gd name="T33" fmla="*/ 312 h 313"/>
                <a:gd name="T34" fmla="*/ 110 w 313"/>
                <a:gd name="T35" fmla="*/ 306 h 313"/>
                <a:gd name="T36" fmla="*/ 82 w 313"/>
                <a:gd name="T37" fmla="*/ 294 h 313"/>
                <a:gd name="T38" fmla="*/ 57 w 313"/>
                <a:gd name="T39" fmla="*/ 277 h 313"/>
                <a:gd name="T40" fmla="*/ 36 w 313"/>
                <a:gd name="T41" fmla="*/ 256 h 313"/>
                <a:gd name="T42" fmla="*/ 18 w 313"/>
                <a:gd name="T43" fmla="*/ 231 h 313"/>
                <a:gd name="T44" fmla="*/ 6 w 313"/>
                <a:gd name="T45" fmla="*/ 203 h 313"/>
                <a:gd name="T46" fmla="*/ 1 w 313"/>
                <a:gd name="T47" fmla="*/ 172 h 313"/>
                <a:gd name="T48" fmla="*/ 1 w 313"/>
                <a:gd name="T49" fmla="*/ 141 h 313"/>
                <a:gd name="T50" fmla="*/ 6 w 313"/>
                <a:gd name="T51" fmla="*/ 110 h 313"/>
                <a:gd name="T52" fmla="*/ 18 w 313"/>
                <a:gd name="T53" fmla="*/ 82 h 313"/>
                <a:gd name="T54" fmla="*/ 36 w 313"/>
                <a:gd name="T55" fmla="*/ 57 h 313"/>
                <a:gd name="T56" fmla="*/ 57 w 313"/>
                <a:gd name="T57" fmla="*/ 36 h 313"/>
                <a:gd name="T58" fmla="*/ 82 w 313"/>
                <a:gd name="T59" fmla="*/ 18 h 313"/>
                <a:gd name="T60" fmla="*/ 110 w 313"/>
                <a:gd name="T61" fmla="*/ 6 h 313"/>
                <a:gd name="T62" fmla="*/ 140 w 313"/>
                <a:gd name="T63" fmla="*/ 1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3" h="313">
                  <a:moveTo>
                    <a:pt x="157" y="0"/>
                  </a:moveTo>
                  <a:lnTo>
                    <a:pt x="172" y="1"/>
                  </a:lnTo>
                  <a:lnTo>
                    <a:pt x="187" y="3"/>
                  </a:lnTo>
                  <a:lnTo>
                    <a:pt x="203" y="6"/>
                  </a:lnTo>
                  <a:lnTo>
                    <a:pt x="217" y="12"/>
                  </a:lnTo>
                  <a:lnTo>
                    <a:pt x="231" y="18"/>
                  </a:lnTo>
                  <a:lnTo>
                    <a:pt x="244" y="26"/>
                  </a:lnTo>
                  <a:lnTo>
                    <a:pt x="256" y="36"/>
                  </a:lnTo>
                  <a:lnTo>
                    <a:pt x="267" y="46"/>
                  </a:lnTo>
                  <a:lnTo>
                    <a:pt x="277" y="57"/>
                  </a:lnTo>
                  <a:lnTo>
                    <a:pt x="287" y="69"/>
                  </a:lnTo>
                  <a:lnTo>
                    <a:pt x="294" y="82"/>
                  </a:lnTo>
                  <a:lnTo>
                    <a:pt x="301" y="96"/>
                  </a:lnTo>
                  <a:lnTo>
                    <a:pt x="306" y="110"/>
                  </a:lnTo>
                  <a:lnTo>
                    <a:pt x="309" y="125"/>
                  </a:lnTo>
                  <a:lnTo>
                    <a:pt x="312" y="141"/>
                  </a:lnTo>
                  <a:lnTo>
                    <a:pt x="313" y="157"/>
                  </a:lnTo>
                  <a:lnTo>
                    <a:pt x="312" y="172"/>
                  </a:lnTo>
                  <a:lnTo>
                    <a:pt x="309" y="187"/>
                  </a:lnTo>
                  <a:lnTo>
                    <a:pt x="306" y="203"/>
                  </a:lnTo>
                  <a:lnTo>
                    <a:pt x="301" y="217"/>
                  </a:lnTo>
                  <a:lnTo>
                    <a:pt x="294" y="231"/>
                  </a:lnTo>
                  <a:lnTo>
                    <a:pt x="287" y="244"/>
                  </a:lnTo>
                  <a:lnTo>
                    <a:pt x="277" y="256"/>
                  </a:lnTo>
                  <a:lnTo>
                    <a:pt x="267" y="267"/>
                  </a:lnTo>
                  <a:lnTo>
                    <a:pt x="256" y="277"/>
                  </a:lnTo>
                  <a:lnTo>
                    <a:pt x="244" y="287"/>
                  </a:lnTo>
                  <a:lnTo>
                    <a:pt x="231" y="294"/>
                  </a:lnTo>
                  <a:lnTo>
                    <a:pt x="217" y="301"/>
                  </a:lnTo>
                  <a:lnTo>
                    <a:pt x="203" y="306"/>
                  </a:lnTo>
                  <a:lnTo>
                    <a:pt x="187" y="310"/>
                  </a:lnTo>
                  <a:lnTo>
                    <a:pt x="172" y="312"/>
                  </a:lnTo>
                  <a:lnTo>
                    <a:pt x="157" y="313"/>
                  </a:lnTo>
                  <a:lnTo>
                    <a:pt x="140" y="312"/>
                  </a:lnTo>
                  <a:lnTo>
                    <a:pt x="125" y="310"/>
                  </a:lnTo>
                  <a:lnTo>
                    <a:pt x="110" y="306"/>
                  </a:lnTo>
                  <a:lnTo>
                    <a:pt x="96" y="301"/>
                  </a:lnTo>
                  <a:lnTo>
                    <a:pt x="82" y="294"/>
                  </a:lnTo>
                  <a:lnTo>
                    <a:pt x="69" y="287"/>
                  </a:lnTo>
                  <a:lnTo>
                    <a:pt x="57" y="277"/>
                  </a:lnTo>
                  <a:lnTo>
                    <a:pt x="46" y="267"/>
                  </a:lnTo>
                  <a:lnTo>
                    <a:pt x="36" y="256"/>
                  </a:lnTo>
                  <a:lnTo>
                    <a:pt x="26" y="244"/>
                  </a:lnTo>
                  <a:lnTo>
                    <a:pt x="18" y="231"/>
                  </a:lnTo>
                  <a:lnTo>
                    <a:pt x="12" y="217"/>
                  </a:lnTo>
                  <a:lnTo>
                    <a:pt x="6" y="203"/>
                  </a:lnTo>
                  <a:lnTo>
                    <a:pt x="3" y="187"/>
                  </a:lnTo>
                  <a:lnTo>
                    <a:pt x="1" y="172"/>
                  </a:lnTo>
                  <a:lnTo>
                    <a:pt x="0" y="157"/>
                  </a:lnTo>
                  <a:lnTo>
                    <a:pt x="1" y="141"/>
                  </a:lnTo>
                  <a:lnTo>
                    <a:pt x="3" y="125"/>
                  </a:lnTo>
                  <a:lnTo>
                    <a:pt x="6" y="110"/>
                  </a:lnTo>
                  <a:lnTo>
                    <a:pt x="12" y="96"/>
                  </a:lnTo>
                  <a:lnTo>
                    <a:pt x="18" y="82"/>
                  </a:lnTo>
                  <a:lnTo>
                    <a:pt x="26" y="69"/>
                  </a:lnTo>
                  <a:lnTo>
                    <a:pt x="36" y="57"/>
                  </a:lnTo>
                  <a:lnTo>
                    <a:pt x="46" y="46"/>
                  </a:lnTo>
                  <a:lnTo>
                    <a:pt x="57" y="36"/>
                  </a:lnTo>
                  <a:lnTo>
                    <a:pt x="69" y="26"/>
                  </a:lnTo>
                  <a:lnTo>
                    <a:pt x="82" y="18"/>
                  </a:lnTo>
                  <a:lnTo>
                    <a:pt x="96" y="12"/>
                  </a:lnTo>
                  <a:lnTo>
                    <a:pt x="110" y="6"/>
                  </a:lnTo>
                  <a:lnTo>
                    <a:pt x="125" y="3"/>
                  </a:lnTo>
                  <a:lnTo>
                    <a:pt x="140" y="1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9" name="íS1idé"/>
            <p:cNvSpPr/>
            <p:nvPr/>
          </p:nvSpPr>
          <p:spPr bwMode="auto">
            <a:xfrm>
              <a:off x="1654968" y="2139157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36 w 60"/>
                <a:gd name="T3" fmla="*/ 0 h 60"/>
                <a:gd name="T4" fmla="*/ 41 w 60"/>
                <a:gd name="T5" fmla="*/ 2 h 60"/>
                <a:gd name="T6" fmla="*/ 47 w 60"/>
                <a:gd name="T7" fmla="*/ 4 h 60"/>
                <a:gd name="T8" fmla="*/ 51 w 60"/>
                <a:gd name="T9" fmla="*/ 9 h 60"/>
                <a:gd name="T10" fmla="*/ 56 w 60"/>
                <a:gd name="T11" fmla="*/ 13 h 60"/>
                <a:gd name="T12" fmla="*/ 58 w 60"/>
                <a:gd name="T13" fmla="*/ 19 h 60"/>
                <a:gd name="T14" fmla="*/ 60 w 60"/>
                <a:gd name="T15" fmla="*/ 24 h 60"/>
                <a:gd name="T16" fmla="*/ 60 w 60"/>
                <a:gd name="T17" fmla="*/ 29 h 60"/>
                <a:gd name="T18" fmla="*/ 60 w 60"/>
                <a:gd name="T19" fmla="*/ 36 h 60"/>
                <a:gd name="T20" fmla="*/ 58 w 60"/>
                <a:gd name="T21" fmla="*/ 41 h 60"/>
                <a:gd name="T22" fmla="*/ 56 w 60"/>
                <a:gd name="T23" fmla="*/ 47 h 60"/>
                <a:gd name="T24" fmla="*/ 51 w 60"/>
                <a:gd name="T25" fmla="*/ 51 h 60"/>
                <a:gd name="T26" fmla="*/ 47 w 60"/>
                <a:gd name="T27" fmla="*/ 55 h 60"/>
                <a:gd name="T28" fmla="*/ 41 w 60"/>
                <a:gd name="T29" fmla="*/ 58 h 60"/>
                <a:gd name="T30" fmla="*/ 36 w 60"/>
                <a:gd name="T31" fmla="*/ 59 h 60"/>
                <a:gd name="T32" fmla="*/ 30 w 60"/>
                <a:gd name="T33" fmla="*/ 60 h 60"/>
                <a:gd name="T34" fmla="*/ 24 w 60"/>
                <a:gd name="T35" fmla="*/ 59 h 60"/>
                <a:gd name="T36" fmla="*/ 18 w 60"/>
                <a:gd name="T37" fmla="*/ 58 h 60"/>
                <a:gd name="T38" fmla="*/ 13 w 60"/>
                <a:gd name="T39" fmla="*/ 55 h 60"/>
                <a:gd name="T40" fmla="*/ 9 w 60"/>
                <a:gd name="T41" fmla="*/ 51 h 60"/>
                <a:gd name="T42" fmla="*/ 5 w 60"/>
                <a:gd name="T43" fmla="*/ 47 h 60"/>
                <a:gd name="T44" fmla="*/ 2 w 60"/>
                <a:gd name="T45" fmla="*/ 41 h 60"/>
                <a:gd name="T46" fmla="*/ 1 w 60"/>
                <a:gd name="T47" fmla="*/ 36 h 60"/>
                <a:gd name="T48" fmla="*/ 0 w 60"/>
                <a:gd name="T49" fmla="*/ 29 h 60"/>
                <a:gd name="T50" fmla="*/ 1 w 60"/>
                <a:gd name="T51" fmla="*/ 24 h 60"/>
                <a:gd name="T52" fmla="*/ 2 w 60"/>
                <a:gd name="T53" fmla="*/ 19 h 60"/>
                <a:gd name="T54" fmla="*/ 5 w 60"/>
                <a:gd name="T55" fmla="*/ 13 h 60"/>
                <a:gd name="T56" fmla="*/ 9 w 60"/>
                <a:gd name="T57" fmla="*/ 9 h 60"/>
                <a:gd name="T58" fmla="*/ 13 w 60"/>
                <a:gd name="T59" fmla="*/ 4 h 60"/>
                <a:gd name="T60" fmla="*/ 18 w 60"/>
                <a:gd name="T61" fmla="*/ 2 h 60"/>
                <a:gd name="T62" fmla="*/ 24 w 60"/>
                <a:gd name="T63" fmla="*/ 0 h 60"/>
                <a:gd name="T64" fmla="*/ 30 w 60"/>
                <a:gd name="T6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36" y="0"/>
                  </a:lnTo>
                  <a:lnTo>
                    <a:pt x="41" y="2"/>
                  </a:lnTo>
                  <a:lnTo>
                    <a:pt x="47" y="4"/>
                  </a:lnTo>
                  <a:lnTo>
                    <a:pt x="51" y="9"/>
                  </a:lnTo>
                  <a:lnTo>
                    <a:pt x="56" y="13"/>
                  </a:lnTo>
                  <a:lnTo>
                    <a:pt x="58" y="19"/>
                  </a:lnTo>
                  <a:lnTo>
                    <a:pt x="60" y="24"/>
                  </a:lnTo>
                  <a:lnTo>
                    <a:pt x="60" y="29"/>
                  </a:lnTo>
                  <a:lnTo>
                    <a:pt x="60" y="36"/>
                  </a:lnTo>
                  <a:lnTo>
                    <a:pt x="58" y="41"/>
                  </a:lnTo>
                  <a:lnTo>
                    <a:pt x="56" y="47"/>
                  </a:lnTo>
                  <a:lnTo>
                    <a:pt x="51" y="51"/>
                  </a:lnTo>
                  <a:lnTo>
                    <a:pt x="47" y="55"/>
                  </a:lnTo>
                  <a:lnTo>
                    <a:pt x="41" y="58"/>
                  </a:lnTo>
                  <a:lnTo>
                    <a:pt x="36" y="59"/>
                  </a:lnTo>
                  <a:lnTo>
                    <a:pt x="30" y="60"/>
                  </a:lnTo>
                  <a:lnTo>
                    <a:pt x="24" y="59"/>
                  </a:lnTo>
                  <a:lnTo>
                    <a:pt x="18" y="58"/>
                  </a:lnTo>
                  <a:lnTo>
                    <a:pt x="13" y="55"/>
                  </a:lnTo>
                  <a:lnTo>
                    <a:pt x="9" y="51"/>
                  </a:lnTo>
                  <a:lnTo>
                    <a:pt x="5" y="47"/>
                  </a:lnTo>
                  <a:lnTo>
                    <a:pt x="2" y="41"/>
                  </a:lnTo>
                  <a:lnTo>
                    <a:pt x="1" y="36"/>
                  </a:lnTo>
                  <a:lnTo>
                    <a:pt x="0" y="29"/>
                  </a:lnTo>
                  <a:lnTo>
                    <a:pt x="1" y="24"/>
                  </a:lnTo>
                  <a:lnTo>
                    <a:pt x="2" y="19"/>
                  </a:lnTo>
                  <a:lnTo>
                    <a:pt x="5" y="13"/>
                  </a:lnTo>
                  <a:lnTo>
                    <a:pt x="9" y="9"/>
                  </a:lnTo>
                  <a:lnTo>
                    <a:pt x="13" y="4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0" name="í$ḷiḍè"/>
            <p:cNvSpPr/>
            <p:nvPr/>
          </p:nvSpPr>
          <p:spPr bwMode="auto">
            <a:xfrm>
              <a:off x="1972468" y="1934369"/>
              <a:ext cx="225425" cy="101600"/>
            </a:xfrm>
            <a:custGeom>
              <a:avLst/>
              <a:gdLst>
                <a:gd name="T0" fmla="*/ 0 w 711"/>
                <a:gd name="T1" fmla="*/ 0 h 323"/>
                <a:gd name="T2" fmla="*/ 0 w 711"/>
                <a:gd name="T3" fmla="*/ 160 h 323"/>
                <a:gd name="T4" fmla="*/ 711 w 711"/>
                <a:gd name="T5" fmla="*/ 323 h 323"/>
                <a:gd name="T6" fmla="*/ 0 w 711"/>
                <a:gd name="T7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1" h="323">
                  <a:moveTo>
                    <a:pt x="0" y="0"/>
                  </a:moveTo>
                  <a:lnTo>
                    <a:pt x="0" y="160"/>
                  </a:lnTo>
                  <a:lnTo>
                    <a:pt x="711" y="3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1" name="íṩḻiḑé"/>
            <p:cNvSpPr/>
            <p:nvPr/>
          </p:nvSpPr>
          <p:spPr bwMode="auto">
            <a:xfrm>
              <a:off x="1959768" y="2085182"/>
              <a:ext cx="177800" cy="176213"/>
            </a:xfrm>
            <a:custGeom>
              <a:avLst/>
              <a:gdLst>
                <a:gd name="T0" fmla="*/ 251 w 558"/>
                <a:gd name="T1" fmla="*/ 1 h 558"/>
                <a:gd name="T2" fmla="*/ 210 w 558"/>
                <a:gd name="T3" fmla="*/ 8 h 558"/>
                <a:gd name="T4" fmla="*/ 171 w 558"/>
                <a:gd name="T5" fmla="*/ 22 h 558"/>
                <a:gd name="T6" fmla="*/ 135 w 558"/>
                <a:gd name="T7" fmla="*/ 40 h 558"/>
                <a:gd name="T8" fmla="*/ 103 w 558"/>
                <a:gd name="T9" fmla="*/ 63 h 558"/>
                <a:gd name="T10" fmla="*/ 73 w 558"/>
                <a:gd name="T11" fmla="*/ 90 h 558"/>
                <a:gd name="T12" fmla="*/ 48 w 558"/>
                <a:gd name="T13" fmla="*/ 122 h 558"/>
                <a:gd name="T14" fmla="*/ 28 w 558"/>
                <a:gd name="T15" fmla="*/ 158 h 558"/>
                <a:gd name="T16" fmla="*/ 13 w 558"/>
                <a:gd name="T17" fmla="*/ 195 h 558"/>
                <a:gd name="T18" fmla="*/ 3 w 558"/>
                <a:gd name="T19" fmla="*/ 236 h 558"/>
                <a:gd name="T20" fmla="*/ 0 w 558"/>
                <a:gd name="T21" fmla="*/ 279 h 558"/>
                <a:gd name="T22" fmla="*/ 3 w 558"/>
                <a:gd name="T23" fmla="*/ 321 h 558"/>
                <a:gd name="T24" fmla="*/ 13 w 558"/>
                <a:gd name="T25" fmla="*/ 362 h 558"/>
                <a:gd name="T26" fmla="*/ 28 w 558"/>
                <a:gd name="T27" fmla="*/ 400 h 558"/>
                <a:gd name="T28" fmla="*/ 48 w 558"/>
                <a:gd name="T29" fmla="*/ 435 h 558"/>
                <a:gd name="T30" fmla="*/ 73 w 558"/>
                <a:gd name="T31" fmla="*/ 466 h 558"/>
                <a:gd name="T32" fmla="*/ 103 w 558"/>
                <a:gd name="T33" fmla="*/ 494 h 558"/>
                <a:gd name="T34" fmla="*/ 135 w 558"/>
                <a:gd name="T35" fmla="*/ 517 h 558"/>
                <a:gd name="T36" fmla="*/ 171 w 558"/>
                <a:gd name="T37" fmla="*/ 535 h 558"/>
                <a:gd name="T38" fmla="*/ 210 w 558"/>
                <a:gd name="T39" fmla="*/ 548 h 558"/>
                <a:gd name="T40" fmla="*/ 251 w 558"/>
                <a:gd name="T41" fmla="*/ 556 h 558"/>
                <a:gd name="T42" fmla="*/ 294 w 558"/>
                <a:gd name="T43" fmla="*/ 557 h 558"/>
                <a:gd name="T44" fmla="*/ 336 w 558"/>
                <a:gd name="T45" fmla="*/ 552 h 558"/>
                <a:gd name="T46" fmla="*/ 375 w 558"/>
                <a:gd name="T47" fmla="*/ 541 h 558"/>
                <a:gd name="T48" fmla="*/ 413 w 558"/>
                <a:gd name="T49" fmla="*/ 524 h 558"/>
                <a:gd name="T50" fmla="*/ 447 w 558"/>
                <a:gd name="T51" fmla="*/ 502 h 558"/>
                <a:gd name="T52" fmla="*/ 476 w 558"/>
                <a:gd name="T53" fmla="*/ 476 h 558"/>
                <a:gd name="T54" fmla="*/ 504 w 558"/>
                <a:gd name="T55" fmla="*/ 446 h 558"/>
                <a:gd name="T56" fmla="*/ 526 w 558"/>
                <a:gd name="T57" fmla="*/ 412 h 558"/>
                <a:gd name="T58" fmla="*/ 542 w 558"/>
                <a:gd name="T59" fmla="*/ 375 h 558"/>
                <a:gd name="T60" fmla="*/ 553 w 558"/>
                <a:gd name="T61" fmla="*/ 335 h 558"/>
                <a:gd name="T62" fmla="*/ 558 w 558"/>
                <a:gd name="T63" fmla="*/ 293 h 558"/>
                <a:gd name="T64" fmla="*/ 557 w 558"/>
                <a:gd name="T65" fmla="*/ 249 h 558"/>
                <a:gd name="T66" fmla="*/ 549 w 558"/>
                <a:gd name="T67" fmla="*/ 209 h 558"/>
                <a:gd name="T68" fmla="*/ 536 w 558"/>
                <a:gd name="T69" fmla="*/ 170 h 558"/>
                <a:gd name="T70" fmla="*/ 518 w 558"/>
                <a:gd name="T71" fmla="*/ 134 h 558"/>
                <a:gd name="T72" fmla="*/ 495 w 558"/>
                <a:gd name="T73" fmla="*/ 101 h 558"/>
                <a:gd name="T74" fmla="*/ 468 w 558"/>
                <a:gd name="T75" fmla="*/ 72 h 558"/>
                <a:gd name="T76" fmla="*/ 436 w 558"/>
                <a:gd name="T77" fmla="*/ 47 h 558"/>
                <a:gd name="T78" fmla="*/ 400 w 558"/>
                <a:gd name="T79" fmla="*/ 27 h 558"/>
                <a:gd name="T80" fmla="*/ 363 w 558"/>
                <a:gd name="T81" fmla="*/ 12 h 558"/>
                <a:gd name="T82" fmla="*/ 322 w 558"/>
                <a:gd name="T83" fmla="*/ 3 h 558"/>
                <a:gd name="T84" fmla="*/ 279 w 558"/>
                <a:gd name="T85" fmla="*/ 0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lnTo>
                    <a:pt x="265" y="0"/>
                  </a:lnTo>
                  <a:lnTo>
                    <a:pt x="251" y="1"/>
                  </a:lnTo>
                  <a:lnTo>
                    <a:pt x="238" y="3"/>
                  </a:lnTo>
                  <a:lnTo>
                    <a:pt x="224" y="5"/>
                  </a:lnTo>
                  <a:lnTo>
                    <a:pt x="210" y="8"/>
                  </a:lnTo>
                  <a:lnTo>
                    <a:pt x="196" y="12"/>
                  </a:lnTo>
                  <a:lnTo>
                    <a:pt x="183" y="16"/>
                  </a:lnTo>
                  <a:lnTo>
                    <a:pt x="171" y="22"/>
                  </a:lnTo>
                  <a:lnTo>
                    <a:pt x="158" y="27"/>
                  </a:lnTo>
                  <a:lnTo>
                    <a:pt x="146" y="32"/>
                  </a:lnTo>
                  <a:lnTo>
                    <a:pt x="135" y="40"/>
                  </a:lnTo>
                  <a:lnTo>
                    <a:pt x="123" y="47"/>
                  </a:lnTo>
                  <a:lnTo>
                    <a:pt x="112" y="54"/>
                  </a:lnTo>
                  <a:lnTo>
                    <a:pt x="103" y="63"/>
                  </a:lnTo>
                  <a:lnTo>
                    <a:pt x="92" y="72"/>
                  </a:lnTo>
                  <a:lnTo>
                    <a:pt x="82" y="82"/>
                  </a:lnTo>
                  <a:lnTo>
                    <a:pt x="73" y="90"/>
                  </a:lnTo>
                  <a:lnTo>
                    <a:pt x="64" y="101"/>
                  </a:lnTo>
                  <a:lnTo>
                    <a:pt x="56" y="111"/>
                  </a:lnTo>
                  <a:lnTo>
                    <a:pt x="48" y="122"/>
                  </a:lnTo>
                  <a:lnTo>
                    <a:pt x="42" y="134"/>
                  </a:lnTo>
                  <a:lnTo>
                    <a:pt x="34" y="146"/>
                  </a:lnTo>
                  <a:lnTo>
                    <a:pt x="28" y="158"/>
                  </a:lnTo>
                  <a:lnTo>
                    <a:pt x="23" y="170"/>
                  </a:lnTo>
                  <a:lnTo>
                    <a:pt x="18" y="183"/>
                  </a:lnTo>
                  <a:lnTo>
                    <a:pt x="13" y="195"/>
                  </a:lnTo>
                  <a:lnTo>
                    <a:pt x="10" y="209"/>
                  </a:lnTo>
                  <a:lnTo>
                    <a:pt x="7" y="222"/>
                  </a:lnTo>
                  <a:lnTo>
                    <a:pt x="3" y="236"/>
                  </a:lnTo>
                  <a:lnTo>
                    <a:pt x="2" y="249"/>
                  </a:lnTo>
                  <a:lnTo>
                    <a:pt x="1" y="264"/>
                  </a:lnTo>
                  <a:lnTo>
                    <a:pt x="0" y="279"/>
                  </a:lnTo>
                  <a:lnTo>
                    <a:pt x="1" y="293"/>
                  </a:lnTo>
                  <a:lnTo>
                    <a:pt x="2" y="307"/>
                  </a:lnTo>
                  <a:lnTo>
                    <a:pt x="3" y="321"/>
                  </a:lnTo>
                  <a:lnTo>
                    <a:pt x="7" y="335"/>
                  </a:lnTo>
                  <a:lnTo>
                    <a:pt x="10" y="349"/>
                  </a:lnTo>
                  <a:lnTo>
                    <a:pt x="13" y="362"/>
                  </a:lnTo>
                  <a:lnTo>
                    <a:pt x="18" y="375"/>
                  </a:lnTo>
                  <a:lnTo>
                    <a:pt x="23" y="387"/>
                  </a:lnTo>
                  <a:lnTo>
                    <a:pt x="28" y="400"/>
                  </a:lnTo>
                  <a:lnTo>
                    <a:pt x="34" y="412"/>
                  </a:lnTo>
                  <a:lnTo>
                    <a:pt x="42" y="423"/>
                  </a:lnTo>
                  <a:lnTo>
                    <a:pt x="48" y="435"/>
                  </a:lnTo>
                  <a:lnTo>
                    <a:pt x="56" y="446"/>
                  </a:lnTo>
                  <a:lnTo>
                    <a:pt x="64" y="456"/>
                  </a:lnTo>
                  <a:lnTo>
                    <a:pt x="73" y="466"/>
                  </a:lnTo>
                  <a:lnTo>
                    <a:pt x="82" y="476"/>
                  </a:lnTo>
                  <a:lnTo>
                    <a:pt x="92" y="485"/>
                  </a:lnTo>
                  <a:lnTo>
                    <a:pt x="103" y="494"/>
                  </a:lnTo>
                  <a:lnTo>
                    <a:pt x="112" y="502"/>
                  </a:lnTo>
                  <a:lnTo>
                    <a:pt x="123" y="510"/>
                  </a:lnTo>
                  <a:lnTo>
                    <a:pt x="135" y="517"/>
                  </a:lnTo>
                  <a:lnTo>
                    <a:pt x="146" y="524"/>
                  </a:lnTo>
                  <a:lnTo>
                    <a:pt x="158" y="530"/>
                  </a:lnTo>
                  <a:lnTo>
                    <a:pt x="171" y="535"/>
                  </a:lnTo>
                  <a:lnTo>
                    <a:pt x="183" y="541"/>
                  </a:lnTo>
                  <a:lnTo>
                    <a:pt x="196" y="545"/>
                  </a:lnTo>
                  <a:lnTo>
                    <a:pt x="210" y="548"/>
                  </a:lnTo>
                  <a:lnTo>
                    <a:pt x="224" y="552"/>
                  </a:lnTo>
                  <a:lnTo>
                    <a:pt x="238" y="555"/>
                  </a:lnTo>
                  <a:lnTo>
                    <a:pt x="251" y="556"/>
                  </a:lnTo>
                  <a:lnTo>
                    <a:pt x="265" y="557"/>
                  </a:lnTo>
                  <a:lnTo>
                    <a:pt x="279" y="558"/>
                  </a:lnTo>
                  <a:lnTo>
                    <a:pt x="294" y="557"/>
                  </a:lnTo>
                  <a:lnTo>
                    <a:pt x="309" y="556"/>
                  </a:lnTo>
                  <a:lnTo>
                    <a:pt x="322" y="555"/>
                  </a:lnTo>
                  <a:lnTo>
                    <a:pt x="336" y="552"/>
                  </a:lnTo>
                  <a:lnTo>
                    <a:pt x="349" y="548"/>
                  </a:lnTo>
                  <a:lnTo>
                    <a:pt x="363" y="545"/>
                  </a:lnTo>
                  <a:lnTo>
                    <a:pt x="375" y="541"/>
                  </a:lnTo>
                  <a:lnTo>
                    <a:pt x="388" y="535"/>
                  </a:lnTo>
                  <a:lnTo>
                    <a:pt x="400" y="530"/>
                  </a:lnTo>
                  <a:lnTo>
                    <a:pt x="413" y="524"/>
                  </a:lnTo>
                  <a:lnTo>
                    <a:pt x="424" y="517"/>
                  </a:lnTo>
                  <a:lnTo>
                    <a:pt x="436" y="510"/>
                  </a:lnTo>
                  <a:lnTo>
                    <a:pt x="447" y="502"/>
                  </a:lnTo>
                  <a:lnTo>
                    <a:pt x="457" y="494"/>
                  </a:lnTo>
                  <a:lnTo>
                    <a:pt x="468" y="485"/>
                  </a:lnTo>
                  <a:lnTo>
                    <a:pt x="476" y="476"/>
                  </a:lnTo>
                  <a:lnTo>
                    <a:pt x="486" y="466"/>
                  </a:lnTo>
                  <a:lnTo>
                    <a:pt x="495" y="456"/>
                  </a:lnTo>
                  <a:lnTo>
                    <a:pt x="504" y="446"/>
                  </a:lnTo>
                  <a:lnTo>
                    <a:pt x="511" y="435"/>
                  </a:lnTo>
                  <a:lnTo>
                    <a:pt x="518" y="423"/>
                  </a:lnTo>
                  <a:lnTo>
                    <a:pt x="526" y="412"/>
                  </a:lnTo>
                  <a:lnTo>
                    <a:pt x="531" y="400"/>
                  </a:lnTo>
                  <a:lnTo>
                    <a:pt x="536" y="387"/>
                  </a:lnTo>
                  <a:lnTo>
                    <a:pt x="542" y="375"/>
                  </a:lnTo>
                  <a:lnTo>
                    <a:pt x="546" y="362"/>
                  </a:lnTo>
                  <a:lnTo>
                    <a:pt x="549" y="349"/>
                  </a:lnTo>
                  <a:lnTo>
                    <a:pt x="553" y="335"/>
                  </a:lnTo>
                  <a:lnTo>
                    <a:pt x="556" y="321"/>
                  </a:lnTo>
                  <a:lnTo>
                    <a:pt x="557" y="307"/>
                  </a:lnTo>
                  <a:lnTo>
                    <a:pt x="558" y="293"/>
                  </a:lnTo>
                  <a:lnTo>
                    <a:pt x="558" y="279"/>
                  </a:lnTo>
                  <a:lnTo>
                    <a:pt x="558" y="264"/>
                  </a:lnTo>
                  <a:lnTo>
                    <a:pt x="557" y="249"/>
                  </a:lnTo>
                  <a:lnTo>
                    <a:pt x="556" y="236"/>
                  </a:lnTo>
                  <a:lnTo>
                    <a:pt x="553" y="222"/>
                  </a:lnTo>
                  <a:lnTo>
                    <a:pt x="549" y="209"/>
                  </a:lnTo>
                  <a:lnTo>
                    <a:pt x="546" y="195"/>
                  </a:lnTo>
                  <a:lnTo>
                    <a:pt x="542" y="183"/>
                  </a:lnTo>
                  <a:lnTo>
                    <a:pt x="536" y="170"/>
                  </a:lnTo>
                  <a:lnTo>
                    <a:pt x="531" y="158"/>
                  </a:lnTo>
                  <a:lnTo>
                    <a:pt x="526" y="146"/>
                  </a:lnTo>
                  <a:lnTo>
                    <a:pt x="518" y="134"/>
                  </a:lnTo>
                  <a:lnTo>
                    <a:pt x="511" y="122"/>
                  </a:lnTo>
                  <a:lnTo>
                    <a:pt x="504" y="111"/>
                  </a:lnTo>
                  <a:lnTo>
                    <a:pt x="495" y="101"/>
                  </a:lnTo>
                  <a:lnTo>
                    <a:pt x="486" y="90"/>
                  </a:lnTo>
                  <a:lnTo>
                    <a:pt x="476" y="82"/>
                  </a:lnTo>
                  <a:lnTo>
                    <a:pt x="468" y="72"/>
                  </a:lnTo>
                  <a:lnTo>
                    <a:pt x="457" y="63"/>
                  </a:lnTo>
                  <a:lnTo>
                    <a:pt x="447" y="54"/>
                  </a:lnTo>
                  <a:lnTo>
                    <a:pt x="436" y="47"/>
                  </a:lnTo>
                  <a:lnTo>
                    <a:pt x="424" y="40"/>
                  </a:lnTo>
                  <a:lnTo>
                    <a:pt x="413" y="32"/>
                  </a:lnTo>
                  <a:lnTo>
                    <a:pt x="400" y="27"/>
                  </a:lnTo>
                  <a:lnTo>
                    <a:pt x="388" y="22"/>
                  </a:lnTo>
                  <a:lnTo>
                    <a:pt x="375" y="16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6" y="5"/>
                  </a:lnTo>
                  <a:lnTo>
                    <a:pt x="322" y="3"/>
                  </a:lnTo>
                  <a:lnTo>
                    <a:pt x="309" y="1"/>
                  </a:lnTo>
                  <a:lnTo>
                    <a:pt x="294" y="0"/>
                  </a:lnTo>
                  <a:lnTo>
                    <a:pt x="2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2" name="iślïḑe"/>
            <p:cNvSpPr/>
            <p:nvPr/>
          </p:nvSpPr>
          <p:spPr bwMode="auto">
            <a:xfrm>
              <a:off x="1999456" y="2123282"/>
              <a:ext cx="98425" cy="100013"/>
            </a:xfrm>
            <a:custGeom>
              <a:avLst/>
              <a:gdLst>
                <a:gd name="T0" fmla="*/ 141 w 313"/>
                <a:gd name="T1" fmla="*/ 1 h 313"/>
                <a:gd name="T2" fmla="*/ 110 w 313"/>
                <a:gd name="T3" fmla="*/ 6 h 313"/>
                <a:gd name="T4" fmla="*/ 82 w 313"/>
                <a:gd name="T5" fmla="*/ 18 h 313"/>
                <a:gd name="T6" fmla="*/ 57 w 313"/>
                <a:gd name="T7" fmla="*/ 36 h 313"/>
                <a:gd name="T8" fmla="*/ 36 w 313"/>
                <a:gd name="T9" fmla="*/ 57 h 313"/>
                <a:gd name="T10" fmla="*/ 19 w 313"/>
                <a:gd name="T11" fmla="*/ 82 h 313"/>
                <a:gd name="T12" fmla="*/ 7 w 313"/>
                <a:gd name="T13" fmla="*/ 110 h 313"/>
                <a:gd name="T14" fmla="*/ 1 w 313"/>
                <a:gd name="T15" fmla="*/ 141 h 313"/>
                <a:gd name="T16" fmla="*/ 1 w 313"/>
                <a:gd name="T17" fmla="*/ 172 h 313"/>
                <a:gd name="T18" fmla="*/ 7 w 313"/>
                <a:gd name="T19" fmla="*/ 203 h 313"/>
                <a:gd name="T20" fmla="*/ 19 w 313"/>
                <a:gd name="T21" fmla="*/ 231 h 313"/>
                <a:gd name="T22" fmla="*/ 36 w 313"/>
                <a:gd name="T23" fmla="*/ 256 h 313"/>
                <a:gd name="T24" fmla="*/ 57 w 313"/>
                <a:gd name="T25" fmla="*/ 277 h 313"/>
                <a:gd name="T26" fmla="*/ 82 w 313"/>
                <a:gd name="T27" fmla="*/ 294 h 313"/>
                <a:gd name="T28" fmla="*/ 110 w 313"/>
                <a:gd name="T29" fmla="*/ 306 h 313"/>
                <a:gd name="T30" fmla="*/ 141 w 313"/>
                <a:gd name="T31" fmla="*/ 312 h 313"/>
                <a:gd name="T32" fmla="*/ 173 w 313"/>
                <a:gd name="T33" fmla="*/ 312 h 313"/>
                <a:gd name="T34" fmla="*/ 203 w 313"/>
                <a:gd name="T35" fmla="*/ 306 h 313"/>
                <a:gd name="T36" fmla="*/ 231 w 313"/>
                <a:gd name="T37" fmla="*/ 294 h 313"/>
                <a:gd name="T38" fmla="*/ 256 w 313"/>
                <a:gd name="T39" fmla="*/ 277 h 313"/>
                <a:gd name="T40" fmla="*/ 277 w 313"/>
                <a:gd name="T41" fmla="*/ 256 h 313"/>
                <a:gd name="T42" fmla="*/ 295 w 313"/>
                <a:gd name="T43" fmla="*/ 231 h 313"/>
                <a:gd name="T44" fmla="*/ 307 w 313"/>
                <a:gd name="T45" fmla="*/ 203 h 313"/>
                <a:gd name="T46" fmla="*/ 312 w 313"/>
                <a:gd name="T47" fmla="*/ 172 h 313"/>
                <a:gd name="T48" fmla="*/ 312 w 313"/>
                <a:gd name="T49" fmla="*/ 141 h 313"/>
                <a:gd name="T50" fmla="*/ 307 w 313"/>
                <a:gd name="T51" fmla="*/ 110 h 313"/>
                <a:gd name="T52" fmla="*/ 295 w 313"/>
                <a:gd name="T53" fmla="*/ 82 h 313"/>
                <a:gd name="T54" fmla="*/ 277 w 313"/>
                <a:gd name="T55" fmla="*/ 57 h 313"/>
                <a:gd name="T56" fmla="*/ 256 w 313"/>
                <a:gd name="T57" fmla="*/ 36 h 313"/>
                <a:gd name="T58" fmla="*/ 231 w 313"/>
                <a:gd name="T59" fmla="*/ 18 h 313"/>
                <a:gd name="T60" fmla="*/ 203 w 313"/>
                <a:gd name="T61" fmla="*/ 6 h 313"/>
                <a:gd name="T62" fmla="*/ 173 w 313"/>
                <a:gd name="T63" fmla="*/ 1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3" h="313">
                  <a:moveTo>
                    <a:pt x="156" y="0"/>
                  </a:moveTo>
                  <a:lnTo>
                    <a:pt x="141" y="1"/>
                  </a:lnTo>
                  <a:lnTo>
                    <a:pt x="126" y="3"/>
                  </a:lnTo>
                  <a:lnTo>
                    <a:pt x="110" y="6"/>
                  </a:lnTo>
                  <a:lnTo>
                    <a:pt x="96" y="12"/>
                  </a:lnTo>
                  <a:lnTo>
                    <a:pt x="82" y="18"/>
                  </a:lnTo>
                  <a:lnTo>
                    <a:pt x="69" y="26"/>
                  </a:lnTo>
                  <a:lnTo>
                    <a:pt x="57" y="36"/>
                  </a:lnTo>
                  <a:lnTo>
                    <a:pt x="46" y="46"/>
                  </a:lnTo>
                  <a:lnTo>
                    <a:pt x="36" y="57"/>
                  </a:lnTo>
                  <a:lnTo>
                    <a:pt x="26" y="69"/>
                  </a:lnTo>
                  <a:lnTo>
                    <a:pt x="19" y="82"/>
                  </a:lnTo>
                  <a:lnTo>
                    <a:pt x="12" y="96"/>
                  </a:lnTo>
                  <a:lnTo>
                    <a:pt x="7" y="110"/>
                  </a:lnTo>
                  <a:lnTo>
                    <a:pt x="4" y="125"/>
                  </a:lnTo>
                  <a:lnTo>
                    <a:pt x="1" y="141"/>
                  </a:lnTo>
                  <a:lnTo>
                    <a:pt x="0" y="157"/>
                  </a:lnTo>
                  <a:lnTo>
                    <a:pt x="1" y="172"/>
                  </a:lnTo>
                  <a:lnTo>
                    <a:pt x="4" y="187"/>
                  </a:lnTo>
                  <a:lnTo>
                    <a:pt x="7" y="203"/>
                  </a:lnTo>
                  <a:lnTo>
                    <a:pt x="12" y="217"/>
                  </a:lnTo>
                  <a:lnTo>
                    <a:pt x="19" y="231"/>
                  </a:lnTo>
                  <a:lnTo>
                    <a:pt x="26" y="244"/>
                  </a:lnTo>
                  <a:lnTo>
                    <a:pt x="36" y="256"/>
                  </a:lnTo>
                  <a:lnTo>
                    <a:pt x="46" y="267"/>
                  </a:lnTo>
                  <a:lnTo>
                    <a:pt x="57" y="277"/>
                  </a:lnTo>
                  <a:lnTo>
                    <a:pt x="69" y="287"/>
                  </a:lnTo>
                  <a:lnTo>
                    <a:pt x="82" y="294"/>
                  </a:lnTo>
                  <a:lnTo>
                    <a:pt x="96" y="301"/>
                  </a:lnTo>
                  <a:lnTo>
                    <a:pt x="110" y="306"/>
                  </a:lnTo>
                  <a:lnTo>
                    <a:pt x="126" y="310"/>
                  </a:lnTo>
                  <a:lnTo>
                    <a:pt x="141" y="312"/>
                  </a:lnTo>
                  <a:lnTo>
                    <a:pt x="156" y="313"/>
                  </a:lnTo>
                  <a:lnTo>
                    <a:pt x="173" y="312"/>
                  </a:lnTo>
                  <a:lnTo>
                    <a:pt x="188" y="310"/>
                  </a:lnTo>
                  <a:lnTo>
                    <a:pt x="203" y="306"/>
                  </a:lnTo>
                  <a:lnTo>
                    <a:pt x="217" y="301"/>
                  </a:lnTo>
                  <a:lnTo>
                    <a:pt x="231" y="294"/>
                  </a:lnTo>
                  <a:lnTo>
                    <a:pt x="244" y="287"/>
                  </a:lnTo>
                  <a:lnTo>
                    <a:pt x="256" y="277"/>
                  </a:lnTo>
                  <a:lnTo>
                    <a:pt x="267" y="267"/>
                  </a:lnTo>
                  <a:lnTo>
                    <a:pt x="277" y="256"/>
                  </a:lnTo>
                  <a:lnTo>
                    <a:pt x="287" y="244"/>
                  </a:lnTo>
                  <a:lnTo>
                    <a:pt x="295" y="231"/>
                  </a:lnTo>
                  <a:lnTo>
                    <a:pt x="301" y="217"/>
                  </a:lnTo>
                  <a:lnTo>
                    <a:pt x="307" y="203"/>
                  </a:lnTo>
                  <a:lnTo>
                    <a:pt x="310" y="187"/>
                  </a:lnTo>
                  <a:lnTo>
                    <a:pt x="312" y="172"/>
                  </a:lnTo>
                  <a:lnTo>
                    <a:pt x="313" y="157"/>
                  </a:lnTo>
                  <a:lnTo>
                    <a:pt x="312" y="141"/>
                  </a:lnTo>
                  <a:lnTo>
                    <a:pt x="310" y="125"/>
                  </a:lnTo>
                  <a:lnTo>
                    <a:pt x="307" y="110"/>
                  </a:lnTo>
                  <a:lnTo>
                    <a:pt x="301" y="96"/>
                  </a:lnTo>
                  <a:lnTo>
                    <a:pt x="295" y="82"/>
                  </a:lnTo>
                  <a:lnTo>
                    <a:pt x="287" y="69"/>
                  </a:lnTo>
                  <a:lnTo>
                    <a:pt x="277" y="57"/>
                  </a:lnTo>
                  <a:lnTo>
                    <a:pt x="267" y="46"/>
                  </a:lnTo>
                  <a:lnTo>
                    <a:pt x="256" y="36"/>
                  </a:lnTo>
                  <a:lnTo>
                    <a:pt x="244" y="26"/>
                  </a:lnTo>
                  <a:lnTo>
                    <a:pt x="231" y="18"/>
                  </a:lnTo>
                  <a:lnTo>
                    <a:pt x="217" y="12"/>
                  </a:lnTo>
                  <a:lnTo>
                    <a:pt x="203" y="6"/>
                  </a:lnTo>
                  <a:lnTo>
                    <a:pt x="188" y="3"/>
                  </a:lnTo>
                  <a:lnTo>
                    <a:pt x="173" y="1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3" name="îṣļiďê"/>
            <p:cNvSpPr/>
            <p:nvPr/>
          </p:nvSpPr>
          <p:spPr bwMode="auto">
            <a:xfrm>
              <a:off x="2024856" y="2139157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24 w 60"/>
                <a:gd name="T3" fmla="*/ 0 h 60"/>
                <a:gd name="T4" fmla="*/ 19 w 60"/>
                <a:gd name="T5" fmla="*/ 2 h 60"/>
                <a:gd name="T6" fmla="*/ 13 w 60"/>
                <a:gd name="T7" fmla="*/ 4 h 60"/>
                <a:gd name="T8" fmla="*/ 9 w 60"/>
                <a:gd name="T9" fmla="*/ 9 h 60"/>
                <a:gd name="T10" fmla="*/ 4 w 60"/>
                <a:gd name="T11" fmla="*/ 13 h 60"/>
                <a:gd name="T12" fmla="*/ 2 w 60"/>
                <a:gd name="T13" fmla="*/ 19 h 60"/>
                <a:gd name="T14" fmla="*/ 0 w 60"/>
                <a:gd name="T15" fmla="*/ 24 h 60"/>
                <a:gd name="T16" fmla="*/ 0 w 60"/>
                <a:gd name="T17" fmla="*/ 29 h 60"/>
                <a:gd name="T18" fmla="*/ 0 w 60"/>
                <a:gd name="T19" fmla="*/ 36 h 60"/>
                <a:gd name="T20" fmla="*/ 2 w 60"/>
                <a:gd name="T21" fmla="*/ 41 h 60"/>
                <a:gd name="T22" fmla="*/ 4 w 60"/>
                <a:gd name="T23" fmla="*/ 47 h 60"/>
                <a:gd name="T24" fmla="*/ 9 w 60"/>
                <a:gd name="T25" fmla="*/ 51 h 60"/>
                <a:gd name="T26" fmla="*/ 13 w 60"/>
                <a:gd name="T27" fmla="*/ 55 h 60"/>
                <a:gd name="T28" fmla="*/ 19 w 60"/>
                <a:gd name="T29" fmla="*/ 58 h 60"/>
                <a:gd name="T30" fmla="*/ 24 w 60"/>
                <a:gd name="T31" fmla="*/ 59 h 60"/>
                <a:gd name="T32" fmla="*/ 30 w 60"/>
                <a:gd name="T33" fmla="*/ 60 h 60"/>
                <a:gd name="T34" fmla="*/ 36 w 60"/>
                <a:gd name="T35" fmla="*/ 59 h 60"/>
                <a:gd name="T36" fmla="*/ 42 w 60"/>
                <a:gd name="T37" fmla="*/ 58 h 60"/>
                <a:gd name="T38" fmla="*/ 47 w 60"/>
                <a:gd name="T39" fmla="*/ 55 h 60"/>
                <a:gd name="T40" fmla="*/ 51 w 60"/>
                <a:gd name="T41" fmla="*/ 51 h 60"/>
                <a:gd name="T42" fmla="*/ 55 w 60"/>
                <a:gd name="T43" fmla="*/ 47 h 60"/>
                <a:gd name="T44" fmla="*/ 58 w 60"/>
                <a:gd name="T45" fmla="*/ 41 h 60"/>
                <a:gd name="T46" fmla="*/ 59 w 60"/>
                <a:gd name="T47" fmla="*/ 36 h 60"/>
                <a:gd name="T48" fmla="*/ 60 w 60"/>
                <a:gd name="T49" fmla="*/ 29 h 60"/>
                <a:gd name="T50" fmla="*/ 59 w 60"/>
                <a:gd name="T51" fmla="*/ 24 h 60"/>
                <a:gd name="T52" fmla="*/ 58 w 60"/>
                <a:gd name="T53" fmla="*/ 19 h 60"/>
                <a:gd name="T54" fmla="*/ 55 w 60"/>
                <a:gd name="T55" fmla="*/ 13 h 60"/>
                <a:gd name="T56" fmla="*/ 51 w 60"/>
                <a:gd name="T57" fmla="*/ 9 h 60"/>
                <a:gd name="T58" fmla="*/ 47 w 60"/>
                <a:gd name="T59" fmla="*/ 4 h 60"/>
                <a:gd name="T60" fmla="*/ 42 w 60"/>
                <a:gd name="T61" fmla="*/ 2 h 60"/>
                <a:gd name="T62" fmla="*/ 36 w 60"/>
                <a:gd name="T63" fmla="*/ 0 h 60"/>
                <a:gd name="T64" fmla="*/ 30 w 60"/>
                <a:gd name="T6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24" y="0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9"/>
                  </a:lnTo>
                  <a:lnTo>
                    <a:pt x="4" y="13"/>
                  </a:lnTo>
                  <a:lnTo>
                    <a:pt x="2" y="19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2" y="41"/>
                  </a:lnTo>
                  <a:lnTo>
                    <a:pt x="4" y="47"/>
                  </a:lnTo>
                  <a:lnTo>
                    <a:pt x="9" y="51"/>
                  </a:lnTo>
                  <a:lnTo>
                    <a:pt x="13" y="55"/>
                  </a:lnTo>
                  <a:lnTo>
                    <a:pt x="19" y="58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6" y="59"/>
                  </a:lnTo>
                  <a:lnTo>
                    <a:pt x="42" y="58"/>
                  </a:lnTo>
                  <a:lnTo>
                    <a:pt x="47" y="55"/>
                  </a:lnTo>
                  <a:lnTo>
                    <a:pt x="51" y="51"/>
                  </a:lnTo>
                  <a:lnTo>
                    <a:pt x="55" y="47"/>
                  </a:lnTo>
                  <a:lnTo>
                    <a:pt x="58" y="41"/>
                  </a:lnTo>
                  <a:lnTo>
                    <a:pt x="59" y="36"/>
                  </a:lnTo>
                  <a:lnTo>
                    <a:pt x="60" y="29"/>
                  </a:lnTo>
                  <a:lnTo>
                    <a:pt x="59" y="24"/>
                  </a:lnTo>
                  <a:lnTo>
                    <a:pt x="58" y="19"/>
                  </a:lnTo>
                  <a:lnTo>
                    <a:pt x="55" y="13"/>
                  </a:lnTo>
                  <a:lnTo>
                    <a:pt x="51" y="9"/>
                  </a:lnTo>
                  <a:lnTo>
                    <a:pt x="47" y="4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4" name="iṧ1idê"/>
            <p:cNvSpPr/>
            <p:nvPr/>
          </p:nvSpPr>
          <p:spPr bwMode="auto">
            <a:xfrm>
              <a:off x="1756568" y="2286794"/>
              <a:ext cx="61913" cy="104775"/>
            </a:xfrm>
            <a:custGeom>
              <a:avLst/>
              <a:gdLst>
                <a:gd name="T0" fmla="*/ 132 w 195"/>
                <a:gd name="T1" fmla="*/ 0 h 329"/>
                <a:gd name="T2" fmla="*/ 126 w 195"/>
                <a:gd name="T3" fmla="*/ 10 h 329"/>
                <a:gd name="T4" fmla="*/ 108 w 195"/>
                <a:gd name="T5" fmla="*/ 39 h 329"/>
                <a:gd name="T6" fmla="*/ 84 w 195"/>
                <a:gd name="T7" fmla="*/ 80 h 329"/>
                <a:gd name="T8" fmla="*/ 58 w 195"/>
                <a:gd name="T9" fmla="*/ 129 h 329"/>
                <a:gd name="T10" fmla="*/ 45 w 195"/>
                <a:gd name="T11" fmla="*/ 156 h 329"/>
                <a:gd name="T12" fmla="*/ 33 w 195"/>
                <a:gd name="T13" fmla="*/ 182 h 329"/>
                <a:gd name="T14" fmla="*/ 22 w 195"/>
                <a:gd name="T15" fmla="*/ 207 h 329"/>
                <a:gd name="T16" fmla="*/ 12 w 195"/>
                <a:gd name="T17" fmla="*/ 231 h 329"/>
                <a:gd name="T18" fmla="*/ 6 w 195"/>
                <a:gd name="T19" fmla="*/ 253 h 329"/>
                <a:gd name="T20" fmla="*/ 1 w 195"/>
                <a:gd name="T21" fmla="*/ 272 h 329"/>
                <a:gd name="T22" fmla="*/ 0 w 195"/>
                <a:gd name="T23" fmla="*/ 281 h 329"/>
                <a:gd name="T24" fmla="*/ 1 w 195"/>
                <a:gd name="T25" fmla="*/ 289 h 329"/>
                <a:gd name="T26" fmla="*/ 1 w 195"/>
                <a:gd name="T27" fmla="*/ 295 h 329"/>
                <a:gd name="T28" fmla="*/ 4 w 195"/>
                <a:gd name="T29" fmla="*/ 301 h 329"/>
                <a:gd name="T30" fmla="*/ 7 w 195"/>
                <a:gd name="T31" fmla="*/ 306 h 329"/>
                <a:gd name="T32" fmla="*/ 10 w 195"/>
                <a:gd name="T33" fmla="*/ 310 h 329"/>
                <a:gd name="T34" fmla="*/ 16 w 195"/>
                <a:gd name="T35" fmla="*/ 314 h 329"/>
                <a:gd name="T36" fmla="*/ 20 w 195"/>
                <a:gd name="T37" fmla="*/ 317 h 329"/>
                <a:gd name="T38" fmla="*/ 25 w 195"/>
                <a:gd name="T39" fmla="*/ 320 h 329"/>
                <a:gd name="T40" fmla="*/ 32 w 195"/>
                <a:gd name="T41" fmla="*/ 322 h 329"/>
                <a:gd name="T42" fmla="*/ 38 w 195"/>
                <a:gd name="T43" fmla="*/ 325 h 329"/>
                <a:gd name="T44" fmla="*/ 45 w 195"/>
                <a:gd name="T45" fmla="*/ 326 h 329"/>
                <a:gd name="T46" fmla="*/ 60 w 195"/>
                <a:gd name="T47" fmla="*/ 328 h 329"/>
                <a:gd name="T48" fmla="*/ 77 w 195"/>
                <a:gd name="T49" fmla="*/ 329 h 329"/>
                <a:gd name="T50" fmla="*/ 93 w 195"/>
                <a:gd name="T51" fmla="*/ 328 h 329"/>
                <a:gd name="T52" fmla="*/ 110 w 195"/>
                <a:gd name="T53" fmla="*/ 327 h 329"/>
                <a:gd name="T54" fmla="*/ 142 w 195"/>
                <a:gd name="T55" fmla="*/ 322 h 329"/>
                <a:gd name="T56" fmla="*/ 169 w 195"/>
                <a:gd name="T57" fmla="*/ 318 h 329"/>
                <a:gd name="T58" fmla="*/ 189 w 195"/>
                <a:gd name="T59" fmla="*/ 314 h 329"/>
                <a:gd name="T60" fmla="*/ 195 w 195"/>
                <a:gd name="T61" fmla="*/ 311 h 329"/>
                <a:gd name="T62" fmla="*/ 192 w 195"/>
                <a:gd name="T63" fmla="*/ 311 h 329"/>
                <a:gd name="T64" fmla="*/ 182 w 195"/>
                <a:gd name="T65" fmla="*/ 310 h 329"/>
                <a:gd name="T66" fmla="*/ 169 w 195"/>
                <a:gd name="T67" fmla="*/ 307 h 329"/>
                <a:gd name="T68" fmla="*/ 153 w 195"/>
                <a:gd name="T69" fmla="*/ 303 h 329"/>
                <a:gd name="T70" fmla="*/ 144 w 195"/>
                <a:gd name="T71" fmla="*/ 298 h 329"/>
                <a:gd name="T72" fmla="*/ 135 w 195"/>
                <a:gd name="T73" fmla="*/ 295 h 329"/>
                <a:gd name="T74" fmla="*/ 127 w 195"/>
                <a:gd name="T75" fmla="*/ 290 h 329"/>
                <a:gd name="T76" fmla="*/ 118 w 195"/>
                <a:gd name="T77" fmla="*/ 284 h 329"/>
                <a:gd name="T78" fmla="*/ 110 w 195"/>
                <a:gd name="T79" fmla="*/ 278 h 329"/>
                <a:gd name="T80" fmla="*/ 103 w 195"/>
                <a:gd name="T81" fmla="*/ 270 h 329"/>
                <a:gd name="T82" fmla="*/ 96 w 195"/>
                <a:gd name="T83" fmla="*/ 261 h 329"/>
                <a:gd name="T84" fmla="*/ 92 w 195"/>
                <a:gd name="T85" fmla="*/ 251 h 329"/>
                <a:gd name="T86" fmla="*/ 90 w 195"/>
                <a:gd name="T87" fmla="*/ 246 h 329"/>
                <a:gd name="T88" fmla="*/ 87 w 195"/>
                <a:gd name="T89" fmla="*/ 239 h 329"/>
                <a:gd name="T90" fmla="*/ 86 w 195"/>
                <a:gd name="T91" fmla="*/ 233 h 329"/>
                <a:gd name="T92" fmla="*/ 86 w 195"/>
                <a:gd name="T93" fmla="*/ 225 h 329"/>
                <a:gd name="T94" fmla="*/ 86 w 195"/>
                <a:gd name="T95" fmla="*/ 208 h 329"/>
                <a:gd name="T96" fmla="*/ 87 w 195"/>
                <a:gd name="T97" fmla="*/ 189 h 329"/>
                <a:gd name="T98" fmla="*/ 90 w 195"/>
                <a:gd name="T99" fmla="*/ 169 h 329"/>
                <a:gd name="T100" fmla="*/ 94 w 195"/>
                <a:gd name="T101" fmla="*/ 148 h 329"/>
                <a:gd name="T102" fmla="*/ 98 w 195"/>
                <a:gd name="T103" fmla="*/ 126 h 329"/>
                <a:gd name="T104" fmla="*/ 103 w 195"/>
                <a:gd name="T105" fmla="*/ 105 h 329"/>
                <a:gd name="T106" fmla="*/ 113 w 195"/>
                <a:gd name="T107" fmla="*/ 65 h 329"/>
                <a:gd name="T108" fmla="*/ 122 w 195"/>
                <a:gd name="T109" fmla="*/ 31 h 329"/>
                <a:gd name="T110" fmla="*/ 130 w 195"/>
                <a:gd name="T111" fmla="*/ 8 h 329"/>
                <a:gd name="T112" fmla="*/ 132 w 195"/>
                <a:gd name="T113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5" h="329">
                  <a:moveTo>
                    <a:pt x="132" y="0"/>
                  </a:moveTo>
                  <a:lnTo>
                    <a:pt x="126" y="10"/>
                  </a:lnTo>
                  <a:lnTo>
                    <a:pt x="108" y="39"/>
                  </a:lnTo>
                  <a:lnTo>
                    <a:pt x="84" y="80"/>
                  </a:lnTo>
                  <a:lnTo>
                    <a:pt x="58" y="129"/>
                  </a:lnTo>
                  <a:lnTo>
                    <a:pt x="45" y="156"/>
                  </a:lnTo>
                  <a:lnTo>
                    <a:pt x="33" y="182"/>
                  </a:lnTo>
                  <a:lnTo>
                    <a:pt x="22" y="207"/>
                  </a:lnTo>
                  <a:lnTo>
                    <a:pt x="12" y="231"/>
                  </a:lnTo>
                  <a:lnTo>
                    <a:pt x="6" y="253"/>
                  </a:lnTo>
                  <a:lnTo>
                    <a:pt x="1" y="272"/>
                  </a:lnTo>
                  <a:lnTo>
                    <a:pt x="0" y="281"/>
                  </a:lnTo>
                  <a:lnTo>
                    <a:pt x="1" y="289"/>
                  </a:lnTo>
                  <a:lnTo>
                    <a:pt x="1" y="295"/>
                  </a:lnTo>
                  <a:lnTo>
                    <a:pt x="4" y="301"/>
                  </a:lnTo>
                  <a:lnTo>
                    <a:pt x="7" y="306"/>
                  </a:lnTo>
                  <a:lnTo>
                    <a:pt x="10" y="310"/>
                  </a:lnTo>
                  <a:lnTo>
                    <a:pt x="16" y="314"/>
                  </a:lnTo>
                  <a:lnTo>
                    <a:pt x="20" y="317"/>
                  </a:lnTo>
                  <a:lnTo>
                    <a:pt x="25" y="320"/>
                  </a:lnTo>
                  <a:lnTo>
                    <a:pt x="32" y="322"/>
                  </a:lnTo>
                  <a:lnTo>
                    <a:pt x="38" y="325"/>
                  </a:lnTo>
                  <a:lnTo>
                    <a:pt x="45" y="326"/>
                  </a:lnTo>
                  <a:lnTo>
                    <a:pt x="60" y="328"/>
                  </a:lnTo>
                  <a:lnTo>
                    <a:pt x="77" y="329"/>
                  </a:lnTo>
                  <a:lnTo>
                    <a:pt x="93" y="328"/>
                  </a:lnTo>
                  <a:lnTo>
                    <a:pt x="110" y="327"/>
                  </a:lnTo>
                  <a:lnTo>
                    <a:pt x="142" y="322"/>
                  </a:lnTo>
                  <a:lnTo>
                    <a:pt x="169" y="318"/>
                  </a:lnTo>
                  <a:lnTo>
                    <a:pt x="189" y="314"/>
                  </a:lnTo>
                  <a:lnTo>
                    <a:pt x="195" y="311"/>
                  </a:lnTo>
                  <a:lnTo>
                    <a:pt x="192" y="311"/>
                  </a:lnTo>
                  <a:lnTo>
                    <a:pt x="182" y="310"/>
                  </a:lnTo>
                  <a:lnTo>
                    <a:pt x="169" y="307"/>
                  </a:lnTo>
                  <a:lnTo>
                    <a:pt x="153" y="303"/>
                  </a:lnTo>
                  <a:lnTo>
                    <a:pt x="144" y="298"/>
                  </a:lnTo>
                  <a:lnTo>
                    <a:pt x="135" y="295"/>
                  </a:lnTo>
                  <a:lnTo>
                    <a:pt x="127" y="290"/>
                  </a:lnTo>
                  <a:lnTo>
                    <a:pt x="118" y="284"/>
                  </a:lnTo>
                  <a:lnTo>
                    <a:pt x="110" y="278"/>
                  </a:lnTo>
                  <a:lnTo>
                    <a:pt x="103" y="270"/>
                  </a:lnTo>
                  <a:lnTo>
                    <a:pt x="96" y="261"/>
                  </a:lnTo>
                  <a:lnTo>
                    <a:pt x="92" y="251"/>
                  </a:lnTo>
                  <a:lnTo>
                    <a:pt x="90" y="246"/>
                  </a:lnTo>
                  <a:lnTo>
                    <a:pt x="87" y="239"/>
                  </a:lnTo>
                  <a:lnTo>
                    <a:pt x="86" y="233"/>
                  </a:lnTo>
                  <a:lnTo>
                    <a:pt x="86" y="225"/>
                  </a:lnTo>
                  <a:lnTo>
                    <a:pt x="86" y="208"/>
                  </a:lnTo>
                  <a:lnTo>
                    <a:pt x="87" y="189"/>
                  </a:lnTo>
                  <a:lnTo>
                    <a:pt x="90" y="169"/>
                  </a:lnTo>
                  <a:lnTo>
                    <a:pt x="94" y="148"/>
                  </a:lnTo>
                  <a:lnTo>
                    <a:pt x="98" y="126"/>
                  </a:lnTo>
                  <a:lnTo>
                    <a:pt x="103" y="105"/>
                  </a:lnTo>
                  <a:lnTo>
                    <a:pt x="113" y="65"/>
                  </a:lnTo>
                  <a:lnTo>
                    <a:pt x="122" y="31"/>
                  </a:lnTo>
                  <a:lnTo>
                    <a:pt x="130" y="8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9C6F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5" name="iş1iḑé"/>
            <p:cNvSpPr/>
            <p:nvPr/>
          </p:nvSpPr>
          <p:spPr bwMode="auto">
            <a:xfrm>
              <a:off x="1516856" y="2039144"/>
              <a:ext cx="269875" cy="269875"/>
            </a:xfrm>
            <a:custGeom>
              <a:avLst/>
              <a:gdLst>
                <a:gd name="T0" fmla="*/ 734 w 851"/>
                <a:gd name="T1" fmla="*/ 0 h 851"/>
                <a:gd name="T2" fmla="*/ 773 w 851"/>
                <a:gd name="T3" fmla="*/ 10 h 851"/>
                <a:gd name="T4" fmla="*/ 804 w 851"/>
                <a:gd name="T5" fmla="*/ 29 h 851"/>
                <a:gd name="T6" fmla="*/ 829 w 851"/>
                <a:gd name="T7" fmla="*/ 57 h 851"/>
                <a:gd name="T8" fmla="*/ 846 w 851"/>
                <a:gd name="T9" fmla="*/ 90 h 851"/>
                <a:gd name="T10" fmla="*/ 851 w 851"/>
                <a:gd name="T11" fmla="*/ 130 h 851"/>
                <a:gd name="T12" fmla="*/ 849 w 851"/>
                <a:gd name="T13" fmla="*/ 748 h 851"/>
                <a:gd name="T14" fmla="*/ 836 w 851"/>
                <a:gd name="T15" fmla="*/ 784 h 851"/>
                <a:gd name="T16" fmla="*/ 813 w 851"/>
                <a:gd name="T17" fmla="*/ 814 h 851"/>
                <a:gd name="T18" fmla="*/ 783 w 851"/>
                <a:gd name="T19" fmla="*/ 836 h 851"/>
                <a:gd name="T20" fmla="*/ 747 w 851"/>
                <a:gd name="T21" fmla="*/ 849 h 851"/>
                <a:gd name="T22" fmla="*/ 128 w 851"/>
                <a:gd name="T23" fmla="*/ 851 h 851"/>
                <a:gd name="T24" fmla="*/ 90 w 851"/>
                <a:gd name="T25" fmla="*/ 846 h 851"/>
                <a:gd name="T26" fmla="*/ 56 w 851"/>
                <a:gd name="T27" fmla="*/ 830 h 851"/>
                <a:gd name="T28" fmla="*/ 29 w 851"/>
                <a:gd name="T29" fmla="*/ 805 h 851"/>
                <a:gd name="T30" fmla="*/ 10 w 851"/>
                <a:gd name="T31" fmla="*/ 773 h 851"/>
                <a:gd name="T32" fmla="*/ 0 w 851"/>
                <a:gd name="T33" fmla="*/ 736 h 851"/>
                <a:gd name="T34" fmla="*/ 0 w 851"/>
                <a:gd name="T35" fmla="*/ 116 h 851"/>
                <a:gd name="T36" fmla="*/ 10 w 851"/>
                <a:gd name="T37" fmla="*/ 79 h 851"/>
                <a:gd name="T38" fmla="*/ 29 w 851"/>
                <a:gd name="T39" fmla="*/ 47 h 851"/>
                <a:gd name="T40" fmla="*/ 56 w 851"/>
                <a:gd name="T41" fmla="*/ 22 h 851"/>
                <a:gd name="T42" fmla="*/ 90 w 851"/>
                <a:gd name="T43" fmla="*/ 5 h 851"/>
                <a:gd name="T44" fmla="*/ 128 w 851"/>
                <a:gd name="T45" fmla="*/ 0 h 851"/>
                <a:gd name="T46" fmla="*/ 674 w 851"/>
                <a:gd name="T47" fmla="*/ 83 h 851"/>
                <a:gd name="T48" fmla="*/ 705 w 851"/>
                <a:gd name="T49" fmla="*/ 91 h 851"/>
                <a:gd name="T50" fmla="*/ 730 w 851"/>
                <a:gd name="T51" fmla="*/ 107 h 851"/>
                <a:gd name="T52" fmla="*/ 751 w 851"/>
                <a:gd name="T53" fmla="*/ 128 h 851"/>
                <a:gd name="T54" fmla="*/ 764 w 851"/>
                <a:gd name="T55" fmla="*/ 156 h 851"/>
                <a:gd name="T56" fmla="*/ 768 w 851"/>
                <a:gd name="T57" fmla="*/ 187 h 851"/>
                <a:gd name="T58" fmla="*/ 766 w 851"/>
                <a:gd name="T59" fmla="*/ 686 h 851"/>
                <a:gd name="T60" fmla="*/ 755 w 851"/>
                <a:gd name="T61" fmla="*/ 714 h 851"/>
                <a:gd name="T62" fmla="*/ 738 w 851"/>
                <a:gd name="T63" fmla="*/ 738 h 851"/>
                <a:gd name="T64" fmla="*/ 714 w 851"/>
                <a:gd name="T65" fmla="*/ 757 h 851"/>
                <a:gd name="T66" fmla="*/ 685 w 851"/>
                <a:gd name="T67" fmla="*/ 766 h 851"/>
                <a:gd name="T68" fmla="*/ 186 w 851"/>
                <a:gd name="T69" fmla="*/ 769 h 851"/>
                <a:gd name="T70" fmla="*/ 156 w 851"/>
                <a:gd name="T71" fmla="*/ 764 h 851"/>
                <a:gd name="T72" fmla="*/ 128 w 851"/>
                <a:gd name="T73" fmla="*/ 751 h 851"/>
                <a:gd name="T74" fmla="*/ 107 w 851"/>
                <a:gd name="T75" fmla="*/ 730 h 851"/>
                <a:gd name="T76" fmla="*/ 90 w 851"/>
                <a:gd name="T77" fmla="*/ 705 h 851"/>
                <a:gd name="T78" fmla="*/ 83 w 851"/>
                <a:gd name="T79" fmla="*/ 675 h 851"/>
                <a:gd name="T80" fmla="*/ 83 w 851"/>
                <a:gd name="T81" fmla="*/ 176 h 851"/>
                <a:gd name="T82" fmla="*/ 90 w 851"/>
                <a:gd name="T83" fmla="*/ 147 h 851"/>
                <a:gd name="T84" fmla="*/ 107 w 851"/>
                <a:gd name="T85" fmla="*/ 121 h 851"/>
                <a:gd name="T86" fmla="*/ 128 w 851"/>
                <a:gd name="T87" fmla="*/ 100 h 851"/>
                <a:gd name="T88" fmla="*/ 156 w 851"/>
                <a:gd name="T89" fmla="*/ 87 h 851"/>
                <a:gd name="T90" fmla="*/ 186 w 851"/>
                <a:gd name="T91" fmla="*/ 83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51" h="851">
                  <a:moveTo>
                    <a:pt x="128" y="0"/>
                  </a:moveTo>
                  <a:lnTo>
                    <a:pt x="721" y="0"/>
                  </a:lnTo>
                  <a:lnTo>
                    <a:pt x="734" y="0"/>
                  </a:lnTo>
                  <a:lnTo>
                    <a:pt x="747" y="2"/>
                  </a:lnTo>
                  <a:lnTo>
                    <a:pt x="761" y="5"/>
                  </a:lnTo>
                  <a:lnTo>
                    <a:pt x="773" y="10"/>
                  </a:lnTo>
                  <a:lnTo>
                    <a:pt x="783" y="15"/>
                  </a:lnTo>
                  <a:lnTo>
                    <a:pt x="794" y="22"/>
                  </a:lnTo>
                  <a:lnTo>
                    <a:pt x="804" y="29"/>
                  </a:lnTo>
                  <a:lnTo>
                    <a:pt x="813" y="38"/>
                  </a:lnTo>
                  <a:lnTo>
                    <a:pt x="822" y="47"/>
                  </a:lnTo>
                  <a:lnTo>
                    <a:pt x="829" y="57"/>
                  </a:lnTo>
                  <a:lnTo>
                    <a:pt x="836" y="67"/>
                  </a:lnTo>
                  <a:lnTo>
                    <a:pt x="841" y="79"/>
                  </a:lnTo>
                  <a:lnTo>
                    <a:pt x="846" y="90"/>
                  </a:lnTo>
                  <a:lnTo>
                    <a:pt x="849" y="103"/>
                  </a:lnTo>
                  <a:lnTo>
                    <a:pt x="851" y="116"/>
                  </a:lnTo>
                  <a:lnTo>
                    <a:pt x="851" y="130"/>
                  </a:lnTo>
                  <a:lnTo>
                    <a:pt x="851" y="723"/>
                  </a:lnTo>
                  <a:lnTo>
                    <a:pt x="851" y="736"/>
                  </a:lnTo>
                  <a:lnTo>
                    <a:pt x="849" y="748"/>
                  </a:lnTo>
                  <a:lnTo>
                    <a:pt x="846" y="761"/>
                  </a:lnTo>
                  <a:lnTo>
                    <a:pt x="841" y="773"/>
                  </a:lnTo>
                  <a:lnTo>
                    <a:pt x="836" y="784"/>
                  </a:lnTo>
                  <a:lnTo>
                    <a:pt x="829" y="795"/>
                  </a:lnTo>
                  <a:lnTo>
                    <a:pt x="822" y="805"/>
                  </a:lnTo>
                  <a:lnTo>
                    <a:pt x="813" y="814"/>
                  </a:lnTo>
                  <a:lnTo>
                    <a:pt x="804" y="822"/>
                  </a:lnTo>
                  <a:lnTo>
                    <a:pt x="794" y="830"/>
                  </a:lnTo>
                  <a:lnTo>
                    <a:pt x="783" y="836"/>
                  </a:lnTo>
                  <a:lnTo>
                    <a:pt x="773" y="842"/>
                  </a:lnTo>
                  <a:lnTo>
                    <a:pt x="761" y="846"/>
                  </a:lnTo>
                  <a:lnTo>
                    <a:pt x="747" y="849"/>
                  </a:lnTo>
                  <a:lnTo>
                    <a:pt x="734" y="851"/>
                  </a:lnTo>
                  <a:lnTo>
                    <a:pt x="721" y="851"/>
                  </a:lnTo>
                  <a:lnTo>
                    <a:pt x="128" y="851"/>
                  </a:lnTo>
                  <a:lnTo>
                    <a:pt x="115" y="851"/>
                  </a:lnTo>
                  <a:lnTo>
                    <a:pt x="103" y="849"/>
                  </a:lnTo>
                  <a:lnTo>
                    <a:pt x="90" y="846"/>
                  </a:lnTo>
                  <a:lnTo>
                    <a:pt x="78" y="842"/>
                  </a:lnTo>
                  <a:lnTo>
                    <a:pt x="67" y="836"/>
                  </a:lnTo>
                  <a:lnTo>
                    <a:pt x="56" y="830"/>
                  </a:lnTo>
                  <a:lnTo>
                    <a:pt x="47" y="822"/>
                  </a:lnTo>
                  <a:lnTo>
                    <a:pt x="37" y="814"/>
                  </a:lnTo>
                  <a:lnTo>
                    <a:pt x="29" y="805"/>
                  </a:lnTo>
                  <a:lnTo>
                    <a:pt x="22" y="795"/>
                  </a:lnTo>
                  <a:lnTo>
                    <a:pt x="15" y="784"/>
                  </a:lnTo>
                  <a:lnTo>
                    <a:pt x="10" y="773"/>
                  </a:lnTo>
                  <a:lnTo>
                    <a:pt x="5" y="761"/>
                  </a:lnTo>
                  <a:lnTo>
                    <a:pt x="2" y="748"/>
                  </a:lnTo>
                  <a:lnTo>
                    <a:pt x="0" y="736"/>
                  </a:lnTo>
                  <a:lnTo>
                    <a:pt x="0" y="723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3"/>
                  </a:lnTo>
                  <a:lnTo>
                    <a:pt x="5" y="90"/>
                  </a:lnTo>
                  <a:lnTo>
                    <a:pt x="10" y="79"/>
                  </a:lnTo>
                  <a:lnTo>
                    <a:pt x="15" y="67"/>
                  </a:lnTo>
                  <a:lnTo>
                    <a:pt x="22" y="57"/>
                  </a:lnTo>
                  <a:lnTo>
                    <a:pt x="29" y="47"/>
                  </a:lnTo>
                  <a:lnTo>
                    <a:pt x="37" y="38"/>
                  </a:lnTo>
                  <a:lnTo>
                    <a:pt x="47" y="29"/>
                  </a:lnTo>
                  <a:lnTo>
                    <a:pt x="56" y="22"/>
                  </a:lnTo>
                  <a:lnTo>
                    <a:pt x="67" y="15"/>
                  </a:lnTo>
                  <a:lnTo>
                    <a:pt x="78" y="10"/>
                  </a:lnTo>
                  <a:lnTo>
                    <a:pt x="90" y="5"/>
                  </a:lnTo>
                  <a:lnTo>
                    <a:pt x="103" y="2"/>
                  </a:lnTo>
                  <a:lnTo>
                    <a:pt x="115" y="0"/>
                  </a:lnTo>
                  <a:lnTo>
                    <a:pt x="128" y="0"/>
                  </a:lnTo>
                  <a:close/>
                  <a:moveTo>
                    <a:pt x="186" y="83"/>
                  </a:moveTo>
                  <a:lnTo>
                    <a:pt x="664" y="83"/>
                  </a:lnTo>
                  <a:lnTo>
                    <a:pt x="674" y="83"/>
                  </a:lnTo>
                  <a:lnTo>
                    <a:pt x="685" y="85"/>
                  </a:lnTo>
                  <a:lnTo>
                    <a:pt x="695" y="87"/>
                  </a:lnTo>
                  <a:lnTo>
                    <a:pt x="705" y="91"/>
                  </a:lnTo>
                  <a:lnTo>
                    <a:pt x="714" y="96"/>
                  </a:lnTo>
                  <a:lnTo>
                    <a:pt x="722" y="100"/>
                  </a:lnTo>
                  <a:lnTo>
                    <a:pt x="730" y="107"/>
                  </a:lnTo>
                  <a:lnTo>
                    <a:pt x="738" y="113"/>
                  </a:lnTo>
                  <a:lnTo>
                    <a:pt x="744" y="121"/>
                  </a:lnTo>
                  <a:lnTo>
                    <a:pt x="751" y="128"/>
                  </a:lnTo>
                  <a:lnTo>
                    <a:pt x="755" y="137"/>
                  </a:lnTo>
                  <a:lnTo>
                    <a:pt x="761" y="147"/>
                  </a:lnTo>
                  <a:lnTo>
                    <a:pt x="764" y="156"/>
                  </a:lnTo>
                  <a:lnTo>
                    <a:pt x="766" y="166"/>
                  </a:lnTo>
                  <a:lnTo>
                    <a:pt x="768" y="176"/>
                  </a:lnTo>
                  <a:lnTo>
                    <a:pt x="768" y="187"/>
                  </a:lnTo>
                  <a:lnTo>
                    <a:pt x="768" y="665"/>
                  </a:lnTo>
                  <a:lnTo>
                    <a:pt x="768" y="675"/>
                  </a:lnTo>
                  <a:lnTo>
                    <a:pt x="766" y="686"/>
                  </a:lnTo>
                  <a:lnTo>
                    <a:pt x="764" y="696"/>
                  </a:lnTo>
                  <a:lnTo>
                    <a:pt x="761" y="705"/>
                  </a:lnTo>
                  <a:lnTo>
                    <a:pt x="755" y="714"/>
                  </a:lnTo>
                  <a:lnTo>
                    <a:pt x="751" y="723"/>
                  </a:lnTo>
                  <a:lnTo>
                    <a:pt x="744" y="730"/>
                  </a:lnTo>
                  <a:lnTo>
                    <a:pt x="738" y="738"/>
                  </a:lnTo>
                  <a:lnTo>
                    <a:pt x="730" y="745"/>
                  </a:lnTo>
                  <a:lnTo>
                    <a:pt x="722" y="751"/>
                  </a:lnTo>
                  <a:lnTo>
                    <a:pt x="714" y="757"/>
                  </a:lnTo>
                  <a:lnTo>
                    <a:pt x="705" y="761"/>
                  </a:lnTo>
                  <a:lnTo>
                    <a:pt x="695" y="764"/>
                  </a:lnTo>
                  <a:lnTo>
                    <a:pt x="685" y="766"/>
                  </a:lnTo>
                  <a:lnTo>
                    <a:pt x="674" y="769"/>
                  </a:lnTo>
                  <a:lnTo>
                    <a:pt x="664" y="769"/>
                  </a:lnTo>
                  <a:lnTo>
                    <a:pt x="186" y="769"/>
                  </a:lnTo>
                  <a:lnTo>
                    <a:pt x="176" y="769"/>
                  </a:lnTo>
                  <a:lnTo>
                    <a:pt x="165" y="766"/>
                  </a:lnTo>
                  <a:lnTo>
                    <a:pt x="156" y="764"/>
                  </a:lnTo>
                  <a:lnTo>
                    <a:pt x="146" y="761"/>
                  </a:lnTo>
                  <a:lnTo>
                    <a:pt x="137" y="757"/>
                  </a:lnTo>
                  <a:lnTo>
                    <a:pt x="128" y="751"/>
                  </a:lnTo>
                  <a:lnTo>
                    <a:pt x="121" y="745"/>
                  </a:lnTo>
                  <a:lnTo>
                    <a:pt x="113" y="738"/>
                  </a:lnTo>
                  <a:lnTo>
                    <a:pt x="107" y="730"/>
                  </a:lnTo>
                  <a:lnTo>
                    <a:pt x="100" y="723"/>
                  </a:lnTo>
                  <a:lnTo>
                    <a:pt x="95" y="714"/>
                  </a:lnTo>
                  <a:lnTo>
                    <a:pt x="90" y="705"/>
                  </a:lnTo>
                  <a:lnTo>
                    <a:pt x="87" y="696"/>
                  </a:lnTo>
                  <a:lnTo>
                    <a:pt x="85" y="686"/>
                  </a:lnTo>
                  <a:lnTo>
                    <a:pt x="83" y="675"/>
                  </a:lnTo>
                  <a:lnTo>
                    <a:pt x="83" y="665"/>
                  </a:lnTo>
                  <a:lnTo>
                    <a:pt x="83" y="187"/>
                  </a:lnTo>
                  <a:lnTo>
                    <a:pt x="83" y="176"/>
                  </a:lnTo>
                  <a:lnTo>
                    <a:pt x="85" y="166"/>
                  </a:lnTo>
                  <a:lnTo>
                    <a:pt x="87" y="156"/>
                  </a:lnTo>
                  <a:lnTo>
                    <a:pt x="90" y="147"/>
                  </a:lnTo>
                  <a:lnTo>
                    <a:pt x="95" y="137"/>
                  </a:lnTo>
                  <a:lnTo>
                    <a:pt x="100" y="128"/>
                  </a:lnTo>
                  <a:lnTo>
                    <a:pt x="107" y="121"/>
                  </a:lnTo>
                  <a:lnTo>
                    <a:pt x="113" y="113"/>
                  </a:lnTo>
                  <a:lnTo>
                    <a:pt x="121" y="107"/>
                  </a:lnTo>
                  <a:lnTo>
                    <a:pt x="128" y="100"/>
                  </a:lnTo>
                  <a:lnTo>
                    <a:pt x="137" y="96"/>
                  </a:lnTo>
                  <a:lnTo>
                    <a:pt x="146" y="91"/>
                  </a:lnTo>
                  <a:lnTo>
                    <a:pt x="156" y="87"/>
                  </a:lnTo>
                  <a:lnTo>
                    <a:pt x="165" y="85"/>
                  </a:lnTo>
                  <a:lnTo>
                    <a:pt x="176" y="83"/>
                  </a:lnTo>
                  <a:lnTo>
                    <a:pt x="186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6" name="î$ḷîḍé"/>
            <p:cNvSpPr/>
            <p:nvPr/>
          </p:nvSpPr>
          <p:spPr bwMode="auto">
            <a:xfrm>
              <a:off x="1915318" y="2039144"/>
              <a:ext cx="269875" cy="269875"/>
            </a:xfrm>
            <a:custGeom>
              <a:avLst/>
              <a:gdLst>
                <a:gd name="T0" fmla="*/ 736 w 853"/>
                <a:gd name="T1" fmla="*/ 0 h 851"/>
                <a:gd name="T2" fmla="*/ 773 w 853"/>
                <a:gd name="T3" fmla="*/ 10 h 851"/>
                <a:gd name="T4" fmla="*/ 805 w 853"/>
                <a:gd name="T5" fmla="*/ 29 h 851"/>
                <a:gd name="T6" fmla="*/ 830 w 853"/>
                <a:gd name="T7" fmla="*/ 57 h 851"/>
                <a:gd name="T8" fmla="*/ 846 w 853"/>
                <a:gd name="T9" fmla="*/ 90 h 851"/>
                <a:gd name="T10" fmla="*/ 853 w 853"/>
                <a:gd name="T11" fmla="*/ 130 h 851"/>
                <a:gd name="T12" fmla="*/ 850 w 853"/>
                <a:gd name="T13" fmla="*/ 748 h 851"/>
                <a:gd name="T14" fmla="*/ 836 w 853"/>
                <a:gd name="T15" fmla="*/ 784 h 851"/>
                <a:gd name="T16" fmla="*/ 815 w 853"/>
                <a:gd name="T17" fmla="*/ 814 h 851"/>
                <a:gd name="T18" fmla="*/ 784 w 853"/>
                <a:gd name="T19" fmla="*/ 836 h 851"/>
                <a:gd name="T20" fmla="*/ 749 w 853"/>
                <a:gd name="T21" fmla="*/ 849 h 851"/>
                <a:gd name="T22" fmla="*/ 130 w 853"/>
                <a:gd name="T23" fmla="*/ 851 h 851"/>
                <a:gd name="T24" fmla="*/ 92 w 853"/>
                <a:gd name="T25" fmla="*/ 846 h 851"/>
                <a:gd name="T26" fmla="*/ 57 w 853"/>
                <a:gd name="T27" fmla="*/ 830 h 851"/>
                <a:gd name="T28" fmla="*/ 30 w 853"/>
                <a:gd name="T29" fmla="*/ 805 h 851"/>
                <a:gd name="T30" fmla="*/ 10 w 853"/>
                <a:gd name="T31" fmla="*/ 773 h 851"/>
                <a:gd name="T32" fmla="*/ 2 w 853"/>
                <a:gd name="T33" fmla="*/ 736 h 851"/>
                <a:gd name="T34" fmla="*/ 2 w 853"/>
                <a:gd name="T35" fmla="*/ 116 h 851"/>
                <a:gd name="T36" fmla="*/ 10 w 853"/>
                <a:gd name="T37" fmla="*/ 79 h 851"/>
                <a:gd name="T38" fmla="*/ 30 w 853"/>
                <a:gd name="T39" fmla="*/ 47 h 851"/>
                <a:gd name="T40" fmla="*/ 57 w 853"/>
                <a:gd name="T41" fmla="*/ 22 h 851"/>
                <a:gd name="T42" fmla="*/ 92 w 853"/>
                <a:gd name="T43" fmla="*/ 5 h 851"/>
                <a:gd name="T44" fmla="*/ 130 w 853"/>
                <a:gd name="T45" fmla="*/ 0 h 851"/>
                <a:gd name="T46" fmla="*/ 675 w 853"/>
                <a:gd name="T47" fmla="*/ 83 h 851"/>
                <a:gd name="T48" fmla="*/ 706 w 853"/>
                <a:gd name="T49" fmla="*/ 91 h 851"/>
                <a:gd name="T50" fmla="*/ 732 w 853"/>
                <a:gd name="T51" fmla="*/ 107 h 851"/>
                <a:gd name="T52" fmla="*/ 751 w 853"/>
                <a:gd name="T53" fmla="*/ 128 h 851"/>
                <a:gd name="T54" fmla="*/ 765 w 853"/>
                <a:gd name="T55" fmla="*/ 156 h 851"/>
                <a:gd name="T56" fmla="*/ 769 w 853"/>
                <a:gd name="T57" fmla="*/ 187 h 851"/>
                <a:gd name="T58" fmla="*/ 767 w 853"/>
                <a:gd name="T59" fmla="*/ 686 h 851"/>
                <a:gd name="T60" fmla="*/ 757 w 853"/>
                <a:gd name="T61" fmla="*/ 714 h 851"/>
                <a:gd name="T62" fmla="*/ 738 w 853"/>
                <a:gd name="T63" fmla="*/ 738 h 851"/>
                <a:gd name="T64" fmla="*/ 714 w 853"/>
                <a:gd name="T65" fmla="*/ 757 h 851"/>
                <a:gd name="T66" fmla="*/ 686 w 853"/>
                <a:gd name="T67" fmla="*/ 766 h 851"/>
                <a:gd name="T68" fmla="*/ 188 w 853"/>
                <a:gd name="T69" fmla="*/ 769 h 851"/>
                <a:gd name="T70" fmla="*/ 156 w 853"/>
                <a:gd name="T71" fmla="*/ 764 h 851"/>
                <a:gd name="T72" fmla="*/ 129 w 853"/>
                <a:gd name="T73" fmla="*/ 751 h 851"/>
                <a:gd name="T74" fmla="*/ 107 w 853"/>
                <a:gd name="T75" fmla="*/ 730 h 851"/>
                <a:gd name="T76" fmla="*/ 92 w 853"/>
                <a:gd name="T77" fmla="*/ 705 h 851"/>
                <a:gd name="T78" fmla="*/ 84 w 853"/>
                <a:gd name="T79" fmla="*/ 675 h 851"/>
                <a:gd name="T80" fmla="*/ 84 w 853"/>
                <a:gd name="T81" fmla="*/ 176 h 851"/>
                <a:gd name="T82" fmla="*/ 92 w 853"/>
                <a:gd name="T83" fmla="*/ 147 h 851"/>
                <a:gd name="T84" fmla="*/ 107 w 853"/>
                <a:gd name="T85" fmla="*/ 121 h 851"/>
                <a:gd name="T86" fmla="*/ 129 w 853"/>
                <a:gd name="T87" fmla="*/ 100 h 851"/>
                <a:gd name="T88" fmla="*/ 156 w 853"/>
                <a:gd name="T89" fmla="*/ 87 h 851"/>
                <a:gd name="T90" fmla="*/ 188 w 853"/>
                <a:gd name="T91" fmla="*/ 83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53" h="851">
                  <a:moveTo>
                    <a:pt x="130" y="0"/>
                  </a:moveTo>
                  <a:lnTo>
                    <a:pt x="723" y="0"/>
                  </a:lnTo>
                  <a:lnTo>
                    <a:pt x="736" y="0"/>
                  </a:lnTo>
                  <a:lnTo>
                    <a:pt x="749" y="2"/>
                  </a:lnTo>
                  <a:lnTo>
                    <a:pt x="761" y="5"/>
                  </a:lnTo>
                  <a:lnTo>
                    <a:pt x="773" y="10"/>
                  </a:lnTo>
                  <a:lnTo>
                    <a:pt x="784" y="15"/>
                  </a:lnTo>
                  <a:lnTo>
                    <a:pt x="795" y="22"/>
                  </a:lnTo>
                  <a:lnTo>
                    <a:pt x="805" y="29"/>
                  </a:lnTo>
                  <a:lnTo>
                    <a:pt x="815" y="38"/>
                  </a:lnTo>
                  <a:lnTo>
                    <a:pt x="822" y="47"/>
                  </a:lnTo>
                  <a:lnTo>
                    <a:pt x="830" y="57"/>
                  </a:lnTo>
                  <a:lnTo>
                    <a:pt x="836" y="67"/>
                  </a:lnTo>
                  <a:lnTo>
                    <a:pt x="842" y="79"/>
                  </a:lnTo>
                  <a:lnTo>
                    <a:pt x="846" y="90"/>
                  </a:lnTo>
                  <a:lnTo>
                    <a:pt x="850" y="103"/>
                  </a:lnTo>
                  <a:lnTo>
                    <a:pt x="852" y="116"/>
                  </a:lnTo>
                  <a:lnTo>
                    <a:pt x="853" y="130"/>
                  </a:lnTo>
                  <a:lnTo>
                    <a:pt x="853" y="723"/>
                  </a:lnTo>
                  <a:lnTo>
                    <a:pt x="852" y="736"/>
                  </a:lnTo>
                  <a:lnTo>
                    <a:pt x="850" y="748"/>
                  </a:lnTo>
                  <a:lnTo>
                    <a:pt x="846" y="761"/>
                  </a:lnTo>
                  <a:lnTo>
                    <a:pt x="842" y="773"/>
                  </a:lnTo>
                  <a:lnTo>
                    <a:pt x="836" y="784"/>
                  </a:lnTo>
                  <a:lnTo>
                    <a:pt x="830" y="795"/>
                  </a:lnTo>
                  <a:lnTo>
                    <a:pt x="822" y="805"/>
                  </a:lnTo>
                  <a:lnTo>
                    <a:pt x="815" y="814"/>
                  </a:lnTo>
                  <a:lnTo>
                    <a:pt x="805" y="822"/>
                  </a:lnTo>
                  <a:lnTo>
                    <a:pt x="795" y="830"/>
                  </a:lnTo>
                  <a:lnTo>
                    <a:pt x="784" y="836"/>
                  </a:lnTo>
                  <a:lnTo>
                    <a:pt x="773" y="842"/>
                  </a:lnTo>
                  <a:lnTo>
                    <a:pt x="761" y="846"/>
                  </a:lnTo>
                  <a:lnTo>
                    <a:pt x="749" y="849"/>
                  </a:lnTo>
                  <a:lnTo>
                    <a:pt x="736" y="851"/>
                  </a:lnTo>
                  <a:lnTo>
                    <a:pt x="723" y="851"/>
                  </a:lnTo>
                  <a:lnTo>
                    <a:pt x="130" y="851"/>
                  </a:lnTo>
                  <a:lnTo>
                    <a:pt x="117" y="851"/>
                  </a:lnTo>
                  <a:lnTo>
                    <a:pt x="104" y="849"/>
                  </a:lnTo>
                  <a:lnTo>
                    <a:pt x="92" y="846"/>
                  </a:lnTo>
                  <a:lnTo>
                    <a:pt x="80" y="842"/>
                  </a:lnTo>
                  <a:lnTo>
                    <a:pt x="68" y="836"/>
                  </a:lnTo>
                  <a:lnTo>
                    <a:pt x="57" y="830"/>
                  </a:lnTo>
                  <a:lnTo>
                    <a:pt x="47" y="822"/>
                  </a:lnTo>
                  <a:lnTo>
                    <a:pt x="39" y="814"/>
                  </a:lnTo>
                  <a:lnTo>
                    <a:pt x="30" y="805"/>
                  </a:lnTo>
                  <a:lnTo>
                    <a:pt x="22" y="795"/>
                  </a:lnTo>
                  <a:lnTo>
                    <a:pt x="16" y="784"/>
                  </a:lnTo>
                  <a:lnTo>
                    <a:pt x="10" y="773"/>
                  </a:lnTo>
                  <a:lnTo>
                    <a:pt x="6" y="761"/>
                  </a:lnTo>
                  <a:lnTo>
                    <a:pt x="3" y="748"/>
                  </a:lnTo>
                  <a:lnTo>
                    <a:pt x="2" y="736"/>
                  </a:lnTo>
                  <a:lnTo>
                    <a:pt x="0" y="723"/>
                  </a:lnTo>
                  <a:lnTo>
                    <a:pt x="0" y="130"/>
                  </a:lnTo>
                  <a:lnTo>
                    <a:pt x="2" y="116"/>
                  </a:lnTo>
                  <a:lnTo>
                    <a:pt x="3" y="103"/>
                  </a:lnTo>
                  <a:lnTo>
                    <a:pt x="6" y="90"/>
                  </a:lnTo>
                  <a:lnTo>
                    <a:pt x="10" y="79"/>
                  </a:lnTo>
                  <a:lnTo>
                    <a:pt x="16" y="67"/>
                  </a:lnTo>
                  <a:lnTo>
                    <a:pt x="22" y="57"/>
                  </a:lnTo>
                  <a:lnTo>
                    <a:pt x="30" y="47"/>
                  </a:lnTo>
                  <a:lnTo>
                    <a:pt x="39" y="38"/>
                  </a:lnTo>
                  <a:lnTo>
                    <a:pt x="47" y="29"/>
                  </a:lnTo>
                  <a:lnTo>
                    <a:pt x="57" y="22"/>
                  </a:lnTo>
                  <a:lnTo>
                    <a:pt x="68" y="15"/>
                  </a:lnTo>
                  <a:lnTo>
                    <a:pt x="80" y="10"/>
                  </a:lnTo>
                  <a:lnTo>
                    <a:pt x="92" y="5"/>
                  </a:lnTo>
                  <a:lnTo>
                    <a:pt x="104" y="2"/>
                  </a:lnTo>
                  <a:lnTo>
                    <a:pt x="117" y="0"/>
                  </a:lnTo>
                  <a:lnTo>
                    <a:pt x="130" y="0"/>
                  </a:lnTo>
                  <a:close/>
                  <a:moveTo>
                    <a:pt x="188" y="83"/>
                  </a:moveTo>
                  <a:lnTo>
                    <a:pt x="665" y="83"/>
                  </a:lnTo>
                  <a:lnTo>
                    <a:pt x="675" y="83"/>
                  </a:lnTo>
                  <a:lnTo>
                    <a:pt x="686" y="85"/>
                  </a:lnTo>
                  <a:lnTo>
                    <a:pt x="696" y="87"/>
                  </a:lnTo>
                  <a:lnTo>
                    <a:pt x="706" y="91"/>
                  </a:lnTo>
                  <a:lnTo>
                    <a:pt x="714" y="96"/>
                  </a:lnTo>
                  <a:lnTo>
                    <a:pt x="723" y="100"/>
                  </a:lnTo>
                  <a:lnTo>
                    <a:pt x="732" y="107"/>
                  </a:lnTo>
                  <a:lnTo>
                    <a:pt x="738" y="113"/>
                  </a:lnTo>
                  <a:lnTo>
                    <a:pt x="745" y="121"/>
                  </a:lnTo>
                  <a:lnTo>
                    <a:pt x="751" y="128"/>
                  </a:lnTo>
                  <a:lnTo>
                    <a:pt x="757" y="137"/>
                  </a:lnTo>
                  <a:lnTo>
                    <a:pt x="761" y="147"/>
                  </a:lnTo>
                  <a:lnTo>
                    <a:pt x="765" y="156"/>
                  </a:lnTo>
                  <a:lnTo>
                    <a:pt x="767" y="166"/>
                  </a:lnTo>
                  <a:lnTo>
                    <a:pt x="769" y="176"/>
                  </a:lnTo>
                  <a:lnTo>
                    <a:pt x="769" y="187"/>
                  </a:lnTo>
                  <a:lnTo>
                    <a:pt x="769" y="665"/>
                  </a:lnTo>
                  <a:lnTo>
                    <a:pt x="769" y="675"/>
                  </a:lnTo>
                  <a:lnTo>
                    <a:pt x="767" y="686"/>
                  </a:lnTo>
                  <a:lnTo>
                    <a:pt x="765" y="696"/>
                  </a:lnTo>
                  <a:lnTo>
                    <a:pt x="761" y="705"/>
                  </a:lnTo>
                  <a:lnTo>
                    <a:pt x="757" y="714"/>
                  </a:lnTo>
                  <a:lnTo>
                    <a:pt x="751" y="723"/>
                  </a:lnTo>
                  <a:lnTo>
                    <a:pt x="745" y="730"/>
                  </a:lnTo>
                  <a:lnTo>
                    <a:pt x="738" y="738"/>
                  </a:lnTo>
                  <a:lnTo>
                    <a:pt x="732" y="745"/>
                  </a:lnTo>
                  <a:lnTo>
                    <a:pt x="723" y="751"/>
                  </a:lnTo>
                  <a:lnTo>
                    <a:pt x="714" y="757"/>
                  </a:lnTo>
                  <a:lnTo>
                    <a:pt x="706" y="761"/>
                  </a:lnTo>
                  <a:lnTo>
                    <a:pt x="696" y="764"/>
                  </a:lnTo>
                  <a:lnTo>
                    <a:pt x="686" y="766"/>
                  </a:lnTo>
                  <a:lnTo>
                    <a:pt x="675" y="769"/>
                  </a:lnTo>
                  <a:lnTo>
                    <a:pt x="665" y="769"/>
                  </a:lnTo>
                  <a:lnTo>
                    <a:pt x="188" y="769"/>
                  </a:lnTo>
                  <a:lnTo>
                    <a:pt x="177" y="769"/>
                  </a:lnTo>
                  <a:lnTo>
                    <a:pt x="167" y="766"/>
                  </a:lnTo>
                  <a:lnTo>
                    <a:pt x="156" y="764"/>
                  </a:lnTo>
                  <a:lnTo>
                    <a:pt x="148" y="761"/>
                  </a:lnTo>
                  <a:lnTo>
                    <a:pt x="138" y="757"/>
                  </a:lnTo>
                  <a:lnTo>
                    <a:pt x="129" y="751"/>
                  </a:lnTo>
                  <a:lnTo>
                    <a:pt x="121" y="745"/>
                  </a:lnTo>
                  <a:lnTo>
                    <a:pt x="114" y="738"/>
                  </a:lnTo>
                  <a:lnTo>
                    <a:pt x="107" y="730"/>
                  </a:lnTo>
                  <a:lnTo>
                    <a:pt x="102" y="723"/>
                  </a:lnTo>
                  <a:lnTo>
                    <a:pt x="96" y="714"/>
                  </a:lnTo>
                  <a:lnTo>
                    <a:pt x="92" y="705"/>
                  </a:lnTo>
                  <a:lnTo>
                    <a:pt x="88" y="696"/>
                  </a:lnTo>
                  <a:lnTo>
                    <a:pt x="85" y="686"/>
                  </a:lnTo>
                  <a:lnTo>
                    <a:pt x="84" y="675"/>
                  </a:lnTo>
                  <a:lnTo>
                    <a:pt x="83" y="665"/>
                  </a:lnTo>
                  <a:lnTo>
                    <a:pt x="83" y="187"/>
                  </a:lnTo>
                  <a:lnTo>
                    <a:pt x="84" y="176"/>
                  </a:lnTo>
                  <a:lnTo>
                    <a:pt x="85" y="166"/>
                  </a:lnTo>
                  <a:lnTo>
                    <a:pt x="88" y="156"/>
                  </a:lnTo>
                  <a:lnTo>
                    <a:pt x="92" y="147"/>
                  </a:lnTo>
                  <a:lnTo>
                    <a:pt x="96" y="137"/>
                  </a:lnTo>
                  <a:lnTo>
                    <a:pt x="102" y="128"/>
                  </a:lnTo>
                  <a:lnTo>
                    <a:pt x="107" y="121"/>
                  </a:lnTo>
                  <a:lnTo>
                    <a:pt x="114" y="113"/>
                  </a:lnTo>
                  <a:lnTo>
                    <a:pt x="121" y="107"/>
                  </a:lnTo>
                  <a:lnTo>
                    <a:pt x="129" y="100"/>
                  </a:lnTo>
                  <a:lnTo>
                    <a:pt x="138" y="96"/>
                  </a:lnTo>
                  <a:lnTo>
                    <a:pt x="148" y="91"/>
                  </a:lnTo>
                  <a:lnTo>
                    <a:pt x="156" y="87"/>
                  </a:lnTo>
                  <a:lnTo>
                    <a:pt x="167" y="85"/>
                  </a:lnTo>
                  <a:lnTo>
                    <a:pt x="177" y="83"/>
                  </a:lnTo>
                  <a:lnTo>
                    <a:pt x="188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7" name="ïşlíḓè"/>
            <p:cNvSpPr/>
            <p:nvPr/>
          </p:nvSpPr>
          <p:spPr bwMode="auto">
            <a:xfrm>
              <a:off x="1781968" y="2124869"/>
              <a:ext cx="142875" cy="285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8" name="íṥļïḍè"/>
            <p:cNvSpPr/>
            <p:nvPr/>
          </p:nvSpPr>
          <p:spPr bwMode="auto">
            <a:xfrm>
              <a:off x="1467643" y="2116932"/>
              <a:ext cx="49213" cy="317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9" name="islïdé"/>
            <p:cNvSpPr/>
            <p:nvPr/>
          </p:nvSpPr>
          <p:spPr bwMode="auto">
            <a:xfrm>
              <a:off x="2185193" y="2116932"/>
              <a:ext cx="49213" cy="317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</p:grpSp>
      <p:pic>
        <p:nvPicPr>
          <p:cNvPr id="5" name="ECB019B1-382A-4266-B25C-5B523AA43C14-40" descr="C:/Users/ADMINI~1/AppData/Local/Temp/qt_temp.cf7320qt_temp"/>
          <p:cNvPicPr>
            <a:picLocks noChangeAspect="1"/>
          </p:cNvPicPr>
          <p:nvPr/>
        </p:nvPicPr>
        <p:blipFill>
          <a:blip r:embed="rId3"/>
          <a:srcRect l="7780" t="4235" r="14688" b="54828"/>
          <a:stretch>
            <a:fillRect/>
          </a:stretch>
        </p:blipFill>
        <p:spPr>
          <a:xfrm>
            <a:off x="6463665" y="1397000"/>
            <a:ext cx="4946400" cy="5137393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2385695" y="1633855"/>
            <a:ext cx="3620770" cy="31381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olidFill>
                  <a:srgbClr val="DF0A01"/>
                </a:solidFill>
                <a:sym typeface="+mn-ea"/>
              </a:rPr>
              <a:t># 找出三个数中最大的数</a:t>
            </a:r>
            <a:endParaRPr lang="zh-CN" altLang="en-US">
              <a:solidFill>
                <a:srgbClr val="DF0A01"/>
              </a:solidFill>
            </a:endParaRPr>
          </a:p>
          <a:p>
            <a:r>
              <a:rPr lang="en-US" altLang="zh-CN">
                <a:sym typeface="+mn-ea"/>
              </a:rPr>
              <a:t>a</a:t>
            </a:r>
            <a:r>
              <a:rPr lang="zh-CN" altLang="en-US">
                <a:sym typeface="+mn-ea"/>
              </a:rPr>
              <a:t> =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floa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inpu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第</a:t>
            </a:r>
            <a:r>
              <a:rPr lang="en-US" altLang="zh-CN">
                <a:solidFill>
                  <a:srgbClr val="19B66B"/>
                </a:solidFill>
                <a:sym typeface="+mn-ea"/>
              </a:rPr>
              <a:t>1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个数：'</a:t>
            </a:r>
            <a:r>
              <a:rPr lang="zh-CN" altLang="en-US">
                <a:sym typeface="+mn-ea"/>
              </a:rPr>
              <a:t>))</a:t>
            </a:r>
            <a:endParaRPr lang="zh-CN" altLang="en-US"/>
          </a:p>
          <a:p>
            <a:r>
              <a:rPr lang="en-US" altLang="zh-CN">
                <a:sym typeface="+mn-ea"/>
              </a:rPr>
              <a:t>b</a:t>
            </a:r>
            <a:r>
              <a:rPr lang="zh-CN" altLang="en-US">
                <a:sym typeface="+mn-ea"/>
              </a:rPr>
              <a:t> =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floa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inpu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第</a:t>
            </a:r>
            <a:r>
              <a:rPr lang="en-US" altLang="zh-CN">
                <a:solidFill>
                  <a:srgbClr val="19B66B"/>
                </a:solidFill>
                <a:sym typeface="+mn-ea"/>
              </a:rPr>
              <a:t>2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个数：'</a:t>
            </a:r>
            <a:r>
              <a:rPr lang="zh-CN" altLang="en-US">
                <a:sym typeface="+mn-ea"/>
              </a:rPr>
              <a:t>))</a:t>
            </a:r>
            <a:endParaRPr lang="zh-CN" altLang="en-US">
              <a:sym typeface="+mn-ea"/>
            </a:endParaRPr>
          </a:p>
          <a:p>
            <a:r>
              <a:rPr lang="en-US" altLang="zh-CN">
                <a:sym typeface="+mn-ea"/>
              </a:rPr>
              <a:t>c</a:t>
            </a:r>
            <a:r>
              <a:rPr lang="zh-CN" altLang="en-US">
                <a:sym typeface="+mn-ea"/>
              </a:rPr>
              <a:t> =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floa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inpu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第</a:t>
            </a:r>
            <a:r>
              <a:rPr lang="en-US" altLang="zh-CN">
                <a:solidFill>
                  <a:srgbClr val="19B66B"/>
                </a:solidFill>
                <a:sym typeface="+mn-ea"/>
              </a:rPr>
              <a:t>3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个数：'</a:t>
            </a:r>
            <a:r>
              <a:rPr lang="zh-CN" altLang="en-US">
                <a:sym typeface="+mn-ea"/>
              </a:rPr>
              <a:t>))</a:t>
            </a:r>
            <a:endParaRPr lang="zh-CN" altLang="en-US">
              <a:sym typeface="+mn-ea"/>
            </a:endParaRPr>
          </a:p>
          <a:p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  <a:sym typeface="+mn-ea"/>
              </a:rPr>
              <a:t>if</a:t>
            </a:r>
            <a:r>
              <a:rPr lang="zh-CN" altLang="en-US">
                <a:sym typeface="+mn-ea"/>
              </a:rPr>
              <a:t> </a:t>
            </a:r>
            <a:r>
              <a:rPr lang="en-US" altLang="zh-CN">
                <a:sym typeface="+mn-ea"/>
              </a:rPr>
              <a:t>a</a:t>
            </a:r>
            <a:r>
              <a:rPr lang="zh-CN" altLang="en-US">
                <a:sym typeface="+mn-ea"/>
              </a:rPr>
              <a:t>&gt;</a:t>
            </a:r>
            <a:r>
              <a:rPr lang="en-US" altLang="zh-CN">
                <a:sym typeface="+mn-ea"/>
              </a:rPr>
              <a:t>b </a:t>
            </a:r>
            <a:r>
              <a:rPr lang="zh-CN" altLang="en-US">
                <a:solidFill>
                  <a:srgbClr val="FF790B"/>
                </a:solidFill>
                <a:sym typeface="+mn-ea"/>
              </a:rPr>
              <a:t>and</a:t>
            </a:r>
            <a:r>
              <a:rPr lang="en-US" altLang="zh-CN">
                <a:sym typeface="+mn-ea"/>
              </a:rPr>
              <a:t> a&gt;c</a:t>
            </a:r>
            <a:r>
              <a:rPr lang="zh-CN" altLang="en-US">
                <a:sym typeface="+mn-ea"/>
              </a:rPr>
              <a:t>:</a:t>
            </a:r>
            <a:endParaRPr lang="zh-CN" altLang="en-US"/>
          </a:p>
          <a:p>
            <a:r>
              <a:rPr lang="zh-CN" altLang="en-US">
                <a:sym typeface="+mn-ea"/>
              </a:rPr>
              <a:t>   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三个数中最大数为'</a:t>
            </a:r>
            <a:r>
              <a:rPr lang="en-US" altLang="zh-CN">
                <a:solidFill>
                  <a:schemeClr val="tx1"/>
                </a:solidFill>
                <a:sym typeface="+mn-ea"/>
              </a:rPr>
              <a:t>, a</a:t>
            </a:r>
            <a:r>
              <a:rPr lang="zh-CN" altLang="en-US">
                <a:sym typeface="+mn-ea"/>
              </a:rPr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  <a:sym typeface="+mn-ea"/>
              </a:rPr>
              <a:t>elif</a:t>
            </a:r>
            <a:r>
              <a:rPr lang="zh-CN" altLang="en-US">
                <a:sym typeface="+mn-ea"/>
              </a:rPr>
              <a:t> </a:t>
            </a:r>
            <a:r>
              <a:rPr lang="en-US" altLang="zh-CN">
                <a:sym typeface="+mn-ea"/>
              </a:rPr>
              <a:t>b&gt;c</a:t>
            </a:r>
            <a:r>
              <a:rPr lang="zh-CN" altLang="en-US">
                <a:sym typeface="+mn-ea"/>
              </a:rPr>
              <a:t>:</a:t>
            </a:r>
            <a:endParaRPr lang="zh-CN" altLang="en-US"/>
          </a:p>
          <a:p>
            <a:r>
              <a:rPr lang="zh-CN" altLang="en-US">
                <a:sym typeface="+mn-ea"/>
              </a:rPr>
              <a:t>   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三个数中最大数为'</a:t>
            </a:r>
            <a:r>
              <a:rPr lang="en-US" altLang="zh-CN">
                <a:sym typeface="+mn-ea"/>
              </a:rPr>
              <a:t>, b</a:t>
            </a:r>
            <a:r>
              <a:rPr lang="zh-CN" altLang="en-US">
                <a:sym typeface="+mn-ea"/>
              </a:rPr>
              <a:t>)</a:t>
            </a:r>
            <a:endParaRPr lang="zh-CN" altLang="en-US"/>
          </a:p>
          <a:p>
            <a:r>
              <a:rPr lang="zh-CN" altLang="en-US">
                <a:solidFill>
                  <a:srgbClr val="FF790B"/>
                </a:solidFill>
                <a:sym typeface="+mn-ea"/>
              </a:rPr>
              <a:t>else</a:t>
            </a:r>
            <a:r>
              <a:rPr lang="zh-CN" altLang="en-US">
                <a:sym typeface="+mn-ea"/>
              </a:rPr>
              <a:t>:</a:t>
            </a:r>
            <a:endParaRPr lang="zh-CN" altLang="en-US"/>
          </a:p>
          <a:p>
            <a:r>
              <a:rPr lang="zh-CN" altLang="en-US">
                <a:sym typeface="+mn-ea"/>
              </a:rPr>
              <a:t>    </a:t>
            </a:r>
            <a:r>
              <a:rPr lang="zh-CN" altLang="en-US">
                <a:solidFill>
                  <a:srgbClr val="9F1AA1"/>
                </a:solidFill>
                <a:sym typeface="+mn-ea"/>
              </a:rPr>
              <a:t>print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olidFill>
                  <a:srgbClr val="19B66B"/>
                </a:solidFill>
                <a:sym typeface="+mn-ea"/>
              </a:rPr>
              <a:t>'三个数中最大数为'</a:t>
            </a:r>
            <a:r>
              <a:rPr lang="en-US" altLang="zh-CN">
                <a:sym typeface="+mn-ea"/>
              </a:rPr>
              <a:t>, c</a:t>
            </a:r>
            <a:r>
              <a:rPr lang="zh-CN" altLang="en-US">
                <a:sym typeface="+mn-ea"/>
              </a:rPr>
              <a:t>)</a:t>
            </a:r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2417445" y="1667510"/>
            <a:ext cx="3000375" cy="11309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2417445" y="3029585"/>
            <a:ext cx="1666875" cy="260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2646680" y="3335655"/>
            <a:ext cx="3000375" cy="260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2417445" y="3622040"/>
            <a:ext cx="1666875" cy="260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2647315" y="3894455"/>
            <a:ext cx="3000375" cy="260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2417445" y="4166870"/>
            <a:ext cx="1666875" cy="260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2696210" y="4427855"/>
            <a:ext cx="3000375" cy="260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8" name="圆角矩形 17"/>
          <p:cNvSpPr/>
          <p:nvPr/>
        </p:nvSpPr>
        <p:spPr>
          <a:xfrm>
            <a:off x="6453505" y="2033905"/>
            <a:ext cx="2000250" cy="655320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圆角矩形 20"/>
          <p:cNvSpPr/>
          <p:nvPr/>
        </p:nvSpPr>
        <p:spPr>
          <a:xfrm>
            <a:off x="6581775" y="2885440"/>
            <a:ext cx="1739265" cy="736600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2" name="圆角矩形 21"/>
          <p:cNvSpPr/>
          <p:nvPr/>
        </p:nvSpPr>
        <p:spPr>
          <a:xfrm>
            <a:off x="6749415" y="5029835"/>
            <a:ext cx="1428750" cy="558165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3" name="圆角矩形 22"/>
          <p:cNvSpPr/>
          <p:nvPr/>
        </p:nvSpPr>
        <p:spPr>
          <a:xfrm>
            <a:off x="8189595" y="3610610"/>
            <a:ext cx="1739265" cy="736600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圆角矩形 23"/>
          <p:cNvSpPr/>
          <p:nvPr/>
        </p:nvSpPr>
        <p:spPr>
          <a:xfrm>
            <a:off x="8368030" y="5029835"/>
            <a:ext cx="1428750" cy="558165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5" name="圆角矩形 24"/>
          <p:cNvSpPr/>
          <p:nvPr/>
        </p:nvSpPr>
        <p:spPr>
          <a:xfrm>
            <a:off x="9981565" y="5029835"/>
            <a:ext cx="1428750" cy="558165"/>
          </a:xfrm>
          <a:prstGeom prst="roundRect">
            <a:avLst/>
          </a:prstGeom>
          <a:noFill/>
          <a:ln w="19050">
            <a:solidFill>
              <a:srgbClr val="E7272D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8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5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22" presetClass="exit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5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2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8" grpId="0" bldLvl="0" animBg="1"/>
      <p:bldP spid="21" grpId="0" bldLvl="0" animBg="1"/>
      <p:bldP spid="23" grpId="0" bldLvl="0" animBg="1"/>
      <p:bldP spid="22" grpId="0" bldLvl="0" animBg="1"/>
      <p:bldP spid="24" grpId="0" bldLvl="0" animBg="1"/>
      <p:bldP spid="25" grpId="0" bldLvl="0" animBg="1"/>
      <p:bldP spid="18" grpId="1" bldLvl="0" animBg="1"/>
      <p:bldP spid="21" grpId="1" bldLvl="0" animBg="1"/>
      <p:bldP spid="23" grpId="1" bldLvl="0" animBg="1"/>
      <p:bldP spid="22" grpId="1" bldLvl="0" animBg="1"/>
      <p:bldP spid="24" grpId="1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lstStyle/>
          <a:p>
            <a:r>
              <a:rPr lang="zh-CN" dirty="0"/>
              <a:t>亲身体验</a:t>
            </a:r>
            <a:endParaRPr lang="zh-CN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8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38" name="ïśḷíḍé"/>
          <p:cNvGrpSpPr/>
          <p:nvPr/>
        </p:nvGrpSpPr>
        <p:grpSpPr>
          <a:xfrm>
            <a:off x="1635310" y="1130300"/>
            <a:ext cx="4543548" cy="4858551"/>
            <a:chOff x="1731169" y="1028700"/>
            <a:chExt cx="4351830" cy="4653542"/>
          </a:xfrm>
        </p:grpSpPr>
        <p:sp>
          <p:nvSpPr>
            <p:cNvPr id="92" name="iṡ1iḍe"/>
            <p:cNvSpPr/>
            <p:nvPr/>
          </p:nvSpPr>
          <p:spPr bwMode="auto">
            <a:xfrm>
              <a:off x="3325212" y="1028700"/>
              <a:ext cx="1163744" cy="4653542"/>
            </a:xfrm>
            <a:custGeom>
              <a:avLst/>
              <a:gdLst>
                <a:gd name="T0" fmla="*/ 1764 w 4053"/>
                <a:gd name="T1" fmla="*/ 0 h 16197"/>
                <a:gd name="T2" fmla="*/ 2323 w 4053"/>
                <a:gd name="T3" fmla="*/ 0 h 16197"/>
                <a:gd name="T4" fmla="*/ 2323 w 4053"/>
                <a:gd name="T5" fmla="*/ 892 h 16197"/>
                <a:gd name="T6" fmla="*/ 1764 w 4053"/>
                <a:gd name="T7" fmla="*/ 892 h 16197"/>
                <a:gd name="T8" fmla="*/ 1764 w 4053"/>
                <a:gd name="T9" fmla="*/ 0 h 16197"/>
                <a:gd name="T10" fmla="*/ 1831 w 4053"/>
                <a:gd name="T11" fmla="*/ 11317 h 16197"/>
                <a:gd name="T12" fmla="*/ 2256 w 4053"/>
                <a:gd name="T13" fmla="*/ 11317 h 16197"/>
                <a:gd name="T14" fmla="*/ 2256 w 4053"/>
                <a:gd name="T15" fmla="*/ 13709 h 16197"/>
                <a:gd name="T16" fmla="*/ 4053 w 4053"/>
                <a:gd name="T17" fmla="*/ 15988 h 16197"/>
                <a:gd name="T18" fmla="*/ 3787 w 4053"/>
                <a:gd name="T19" fmla="*/ 16197 h 16197"/>
                <a:gd name="T20" fmla="*/ 2256 w 4053"/>
                <a:gd name="T21" fmla="*/ 14256 h 16197"/>
                <a:gd name="T22" fmla="*/ 2256 w 4053"/>
                <a:gd name="T23" fmla="*/ 16151 h 16197"/>
                <a:gd name="T24" fmla="*/ 1831 w 4053"/>
                <a:gd name="T25" fmla="*/ 16151 h 16197"/>
                <a:gd name="T26" fmla="*/ 1831 w 4053"/>
                <a:gd name="T27" fmla="*/ 14215 h 16197"/>
                <a:gd name="T28" fmla="*/ 266 w 4053"/>
                <a:gd name="T29" fmla="*/ 16197 h 16197"/>
                <a:gd name="T30" fmla="*/ 0 w 4053"/>
                <a:gd name="T31" fmla="*/ 15988 h 16197"/>
                <a:gd name="T32" fmla="*/ 1831 w 4053"/>
                <a:gd name="T33" fmla="*/ 13668 h 16197"/>
                <a:gd name="T34" fmla="*/ 1831 w 4053"/>
                <a:gd name="T35" fmla="*/ 11317 h 16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53" h="16197">
                  <a:moveTo>
                    <a:pt x="1764" y="0"/>
                  </a:moveTo>
                  <a:lnTo>
                    <a:pt x="2323" y="0"/>
                  </a:lnTo>
                  <a:lnTo>
                    <a:pt x="2323" y="892"/>
                  </a:lnTo>
                  <a:lnTo>
                    <a:pt x="1764" y="892"/>
                  </a:lnTo>
                  <a:lnTo>
                    <a:pt x="1764" y="0"/>
                  </a:lnTo>
                  <a:close/>
                  <a:moveTo>
                    <a:pt x="1831" y="11317"/>
                  </a:moveTo>
                  <a:lnTo>
                    <a:pt x="2256" y="11317"/>
                  </a:lnTo>
                  <a:lnTo>
                    <a:pt x="2256" y="13709"/>
                  </a:lnTo>
                  <a:lnTo>
                    <a:pt x="4053" y="15988"/>
                  </a:lnTo>
                  <a:lnTo>
                    <a:pt x="3787" y="16197"/>
                  </a:lnTo>
                  <a:lnTo>
                    <a:pt x="2256" y="14256"/>
                  </a:lnTo>
                  <a:lnTo>
                    <a:pt x="2256" y="16151"/>
                  </a:lnTo>
                  <a:lnTo>
                    <a:pt x="1831" y="16151"/>
                  </a:lnTo>
                  <a:lnTo>
                    <a:pt x="1831" y="14215"/>
                  </a:lnTo>
                  <a:lnTo>
                    <a:pt x="266" y="16197"/>
                  </a:lnTo>
                  <a:lnTo>
                    <a:pt x="0" y="15988"/>
                  </a:lnTo>
                  <a:lnTo>
                    <a:pt x="1831" y="13668"/>
                  </a:lnTo>
                  <a:lnTo>
                    <a:pt x="1831" y="113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90" name="işļïḋè"/>
            <p:cNvSpPr/>
            <p:nvPr/>
          </p:nvSpPr>
          <p:spPr bwMode="auto">
            <a:xfrm>
              <a:off x="1731169" y="1284435"/>
              <a:ext cx="4351830" cy="3543459"/>
            </a:xfrm>
            <a:custGeom>
              <a:avLst/>
              <a:gdLst>
                <a:gd name="T0" fmla="*/ 233 w 15146"/>
                <a:gd name="T1" fmla="*/ 466 h 10425"/>
                <a:gd name="T2" fmla="*/ 186 w 15146"/>
                <a:gd name="T3" fmla="*/ 460 h 10425"/>
                <a:gd name="T4" fmla="*/ 142 w 15146"/>
                <a:gd name="T5" fmla="*/ 447 h 10425"/>
                <a:gd name="T6" fmla="*/ 68 w 15146"/>
                <a:gd name="T7" fmla="*/ 397 h 10425"/>
                <a:gd name="T8" fmla="*/ 19 w 15146"/>
                <a:gd name="T9" fmla="*/ 323 h 10425"/>
                <a:gd name="T10" fmla="*/ 5 w 15146"/>
                <a:gd name="T11" fmla="*/ 279 h 10425"/>
                <a:gd name="T12" fmla="*/ 0 w 15146"/>
                <a:gd name="T13" fmla="*/ 233 h 10425"/>
                <a:gd name="T14" fmla="*/ 3 w 15146"/>
                <a:gd name="T15" fmla="*/ 197 h 10425"/>
                <a:gd name="T16" fmla="*/ 15 w 15146"/>
                <a:gd name="T17" fmla="*/ 154 h 10425"/>
                <a:gd name="T18" fmla="*/ 54 w 15146"/>
                <a:gd name="T19" fmla="*/ 85 h 10425"/>
                <a:gd name="T20" fmla="*/ 123 w 15146"/>
                <a:gd name="T21" fmla="*/ 28 h 10425"/>
                <a:gd name="T22" fmla="*/ 175 w 15146"/>
                <a:gd name="T23" fmla="*/ 8 h 10425"/>
                <a:gd name="T24" fmla="*/ 221 w 15146"/>
                <a:gd name="T25" fmla="*/ 1 h 10425"/>
                <a:gd name="T26" fmla="*/ 14938 w 15146"/>
                <a:gd name="T27" fmla="*/ 2 h 10425"/>
                <a:gd name="T28" fmla="*/ 14983 w 15146"/>
                <a:gd name="T29" fmla="*/ 11 h 10425"/>
                <a:gd name="T30" fmla="*/ 15044 w 15146"/>
                <a:gd name="T31" fmla="*/ 40 h 10425"/>
                <a:gd name="T32" fmla="*/ 15106 w 15146"/>
                <a:gd name="T33" fmla="*/ 104 h 10425"/>
                <a:gd name="T34" fmla="*/ 15135 w 15146"/>
                <a:gd name="T35" fmla="*/ 164 h 10425"/>
                <a:gd name="T36" fmla="*/ 15145 w 15146"/>
                <a:gd name="T37" fmla="*/ 209 h 10425"/>
                <a:gd name="T38" fmla="*/ 15146 w 15146"/>
                <a:gd name="T39" fmla="*/ 245 h 10425"/>
                <a:gd name="T40" fmla="*/ 15138 w 15146"/>
                <a:gd name="T41" fmla="*/ 291 h 10425"/>
                <a:gd name="T42" fmla="*/ 15118 w 15146"/>
                <a:gd name="T43" fmla="*/ 343 h 10425"/>
                <a:gd name="T44" fmla="*/ 15061 w 15146"/>
                <a:gd name="T45" fmla="*/ 412 h 10425"/>
                <a:gd name="T46" fmla="*/ 14993 w 15146"/>
                <a:gd name="T47" fmla="*/ 451 h 10425"/>
                <a:gd name="T48" fmla="*/ 14949 w 15146"/>
                <a:gd name="T49" fmla="*/ 462 h 10425"/>
                <a:gd name="T50" fmla="*/ 14729 w 15146"/>
                <a:gd name="T51" fmla="*/ 466 h 10425"/>
                <a:gd name="T52" fmla="*/ 14938 w 15146"/>
                <a:gd name="T53" fmla="*/ 9960 h 10425"/>
                <a:gd name="T54" fmla="*/ 14983 w 15146"/>
                <a:gd name="T55" fmla="*/ 9970 h 10425"/>
                <a:gd name="T56" fmla="*/ 15044 w 15146"/>
                <a:gd name="T57" fmla="*/ 9999 h 10425"/>
                <a:gd name="T58" fmla="*/ 15106 w 15146"/>
                <a:gd name="T59" fmla="*/ 10062 h 10425"/>
                <a:gd name="T60" fmla="*/ 15135 w 15146"/>
                <a:gd name="T61" fmla="*/ 10123 h 10425"/>
                <a:gd name="T62" fmla="*/ 15145 w 15146"/>
                <a:gd name="T63" fmla="*/ 10168 h 10425"/>
                <a:gd name="T64" fmla="*/ 15146 w 15146"/>
                <a:gd name="T65" fmla="*/ 10203 h 10425"/>
                <a:gd name="T66" fmla="*/ 15138 w 15146"/>
                <a:gd name="T67" fmla="*/ 10249 h 10425"/>
                <a:gd name="T68" fmla="*/ 15118 w 15146"/>
                <a:gd name="T69" fmla="*/ 10303 h 10425"/>
                <a:gd name="T70" fmla="*/ 15061 w 15146"/>
                <a:gd name="T71" fmla="*/ 10371 h 10425"/>
                <a:gd name="T72" fmla="*/ 14993 w 15146"/>
                <a:gd name="T73" fmla="*/ 10410 h 10425"/>
                <a:gd name="T74" fmla="*/ 14949 w 15146"/>
                <a:gd name="T75" fmla="*/ 10421 h 10425"/>
                <a:gd name="T76" fmla="*/ 233 w 15146"/>
                <a:gd name="T77" fmla="*/ 10425 h 10425"/>
                <a:gd name="T78" fmla="*/ 186 w 15146"/>
                <a:gd name="T79" fmla="*/ 10419 h 10425"/>
                <a:gd name="T80" fmla="*/ 142 w 15146"/>
                <a:gd name="T81" fmla="*/ 10406 h 10425"/>
                <a:gd name="T82" fmla="*/ 68 w 15146"/>
                <a:gd name="T83" fmla="*/ 10356 h 10425"/>
                <a:gd name="T84" fmla="*/ 19 w 15146"/>
                <a:gd name="T85" fmla="*/ 10282 h 10425"/>
                <a:gd name="T86" fmla="*/ 5 w 15146"/>
                <a:gd name="T87" fmla="*/ 10238 h 10425"/>
                <a:gd name="T88" fmla="*/ 0 w 15146"/>
                <a:gd name="T89" fmla="*/ 10191 h 10425"/>
                <a:gd name="T90" fmla="*/ 3 w 15146"/>
                <a:gd name="T91" fmla="*/ 10156 h 10425"/>
                <a:gd name="T92" fmla="*/ 15 w 15146"/>
                <a:gd name="T93" fmla="*/ 10112 h 10425"/>
                <a:gd name="T94" fmla="*/ 54 w 15146"/>
                <a:gd name="T95" fmla="*/ 10044 h 10425"/>
                <a:gd name="T96" fmla="*/ 123 w 15146"/>
                <a:gd name="T97" fmla="*/ 9987 h 10425"/>
                <a:gd name="T98" fmla="*/ 175 w 15146"/>
                <a:gd name="T99" fmla="*/ 9967 h 10425"/>
                <a:gd name="T100" fmla="*/ 221 w 15146"/>
                <a:gd name="T101" fmla="*/ 9959 h 10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46" h="10425">
                  <a:moveTo>
                    <a:pt x="233" y="9959"/>
                  </a:moveTo>
                  <a:lnTo>
                    <a:pt x="418" y="9959"/>
                  </a:lnTo>
                  <a:lnTo>
                    <a:pt x="418" y="466"/>
                  </a:lnTo>
                  <a:lnTo>
                    <a:pt x="233" y="466"/>
                  </a:lnTo>
                  <a:lnTo>
                    <a:pt x="221" y="466"/>
                  </a:lnTo>
                  <a:lnTo>
                    <a:pt x="209" y="465"/>
                  </a:lnTo>
                  <a:lnTo>
                    <a:pt x="198" y="462"/>
                  </a:lnTo>
                  <a:lnTo>
                    <a:pt x="186" y="460"/>
                  </a:lnTo>
                  <a:lnTo>
                    <a:pt x="175" y="458"/>
                  </a:lnTo>
                  <a:lnTo>
                    <a:pt x="164" y="455"/>
                  </a:lnTo>
                  <a:lnTo>
                    <a:pt x="153" y="451"/>
                  </a:lnTo>
                  <a:lnTo>
                    <a:pt x="142" y="447"/>
                  </a:lnTo>
                  <a:lnTo>
                    <a:pt x="123" y="437"/>
                  </a:lnTo>
                  <a:lnTo>
                    <a:pt x="103" y="425"/>
                  </a:lnTo>
                  <a:lnTo>
                    <a:pt x="85" y="412"/>
                  </a:lnTo>
                  <a:lnTo>
                    <a:pt x="68" y="397"/>
                  </a:lnTo>
                  <a:lnTo>
                    <a:pt x="54" y="381"/>
                  </a:lnTo>
                  <a:lnTo>
                    <a:pt x="40" y="363"/>
                  </a:lnTo>
                  <a:lnTo>
                    <a:pt x="29" y="343"/>
                  </a:lnTo>
                  <a:lnTo>
                    <a:pt x="19" y="323"/>
                  </a:lnTo>
                  <a:lnTo>
                    <a:pt x="15" y="313"/>
                  </a:lnTo>
                  <a:lnTo>
                    <a:pt x="10" y="302"/>
                  </a:lnTo>
                  <a:lnTo>
                    <a:pt x="8" y="291"/>
                  </a:lnTo>
                  <a:lnTo>
                    <a:pt x="5" y="279"/>
                  </a:lnTo>
                  <a:lnTo>
                    <a:pt x="3" y="268"/>
                  </a:lnTo>
                  <a:lnTo>
                    <a:pt x="2" y="256"/>
                  </a:lnTo>
                  <a:lnTo>
                    <a:pt x="0" y="245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21"/>
                  </a:lnTo>
                  <a:lnTo>
                    <a:pt x="2" y="209"/>
                  </a:lnTo>
                  <a:lnTo>
                    <a:pt x="3" y="197"/>
                  </a:lnTo>
                  <a:lnTo>
                    <a:pt x="5" y="186"/>
                  </a:lnTo>
                  <a:lnTo>
                    <a:pt x="8" y="174"/>
                  </a:lnTo>
                  <a:lnTo>
                    <a:pt x="10" y="164"/>
                  </a:lnTo>
                  <a:lnTo>
                    <a:pt x="15" y="154"/>
                  </a:lnTo>
                  <a:lnTo>
                    <a:pt x="19" y="143"/>
                  </a:lnTo>
                  <a:lnTo>
                    <a:pt x="29" y="122"/>
                  </a:lnTo>
                  <a:lnTo>
                    <a:pt x="40" y="104"/>
                  </a:lnTo>
                  <a:lnTo>
                    <a:pt x="54" y="85"/>
                  </a:lnTo>
                  <a:lnTo>
                    <a:pt x="68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2" y="19"/>
                  </a:lnTo>
                  <a:lnTo>
                    <a:pt x="153" y="14"/>
                  </a:lnTo>
                  <a:lnTo>
                    <a:pt x="164" y="11"/>
                  </a:lnTo>
                  <a:lnTo>
                    <a:pt x="175" y="8"/>
                  </a:lnTo>
                  <a:lnTo>
                    <a:pt x="186" y="5"/>
                  </a:lnTo>
                  <a:lnTo>
                    <a:pt x="198" y="3"/>
                  </a:lnTo>
                  <a:lnTo>
                    <a:pt x="209" y="2"/>
                  </a:lnTo>
                  <a:lnTo>
                    <a:pt x="221" y="1"/>
                  </a:lnTo>
                  <a:lnTo>
                    <a:pt x="233" y="0"/>
                  </a:lnTo>
                  <a:lnTo>
                    <a:pt x="14914" y="0"/>
                  </a:lnTo>
                  <a:lnTo>
                    <a:pt x="14926" y="1"/>
                  </a:lnTo>
                  <a:lnTo>
                    <a:pt x="14938" y="2"/>
                  </a:lnTo>
                  <a:lnTo>
                    <a:pt x="14949" y="3"/>
                  </a:lnTo>
                  <a:lnTo>
                    <a:pt x="14961" y="5"/>
                  </a:lnTo>
                  <a:lnTo>
                    <a:pt x="14972" y="8"/>
                  </a:lnTo>
                  <a:lnTo>
                    <a:pt x="14983" y="11"/>
                  </a:lnTo>
                  <a:lnTo>
                    <a:pt x="14993" y="14"/>
                  </a:lnTo>
                  <a:lnTo>
                    <a:pt x="15004" y="19"/>
                  </a:lnTo>
                  <a:lnTo>
                    <a:pt x="15024" y="28"/>
                  </a:lnTo>
                  <a:lnTo>
                    <a:pt x="15044" y="40"/>
                  </a:lnTo>
                  <a:lnTo>
                    <a:pt x="15061" y="53"/>
                  </a:lnTo>
                  <a:lnTo>
                    <a:pt x="15077" y="69"/>
                  </a:lnTo>
                  <a:lnTo>
                    <a:pt x="15093" y="85"/>
                  </a:lnTo>
                  <a:lnTo>
                    <a:pt x="15106" y="104"/>
                  </a:lnTo>
                  <a:lnTo>
                    <a:pt x="15118" y="122"/>
                  </a:lnTo>
                  <a:lnTo>
                    <a:pt x="15127" y="143"/>
                  </a:lnTo>
                  <a:lnTo>
                    <a:pt x="15132" y="154"/>
                  </a:lnTo>
                  <a:lnTo>
                    <a:pt x="15135" y="164"/>
                  </a:lnTo>
                  <a:lnTo>
                    <a:pt x="15138" y="174"/>
                  </a:lnTo>
                  <a:lnTo>
                    <a:pt x="15142" y="186"/>
                  </a:lnTo>
                  <a:lnTo>
                    <a:pt x="15144" y="197"/>
                  </a:lnTo>
                  <a:lnTo>
                    <a:pt x="15145" y="209"/>
                  </a:lnTo>
                  <a:lnTo>
                    <a:pt x="15146" y="221"/>
                  </a:lnTo>
                  <a:lnTo>
                    <a:pt x="15146" y="233"/>
                  </a:lnTo>
                  <a:lnTo>
                    <a:pt x="15146" y="233"/>
                  </a:lnTo>
                  <a:lnTo>
                    <a:pt x="15146" y="245"/>
                  </a:lnTo>
                  <a:lnTo>
                    <a:pt x="15145" y="256"/>
                  </a:lnTo>
                  <a:lnTo>
                    <a:pt x="15144" y="268"/>
                  </a:lnTo>
                  <a:lnTo>
                    <a:pt x="15142" y="279"/>
                  </a:lnTo>
                  <a:lnTo>
                    <a:pt x="15138" y="291"/>
                  </a:lnTo>
                  <a:lnTo>
                    <a:pt x="15135" y="302"/>
                  </a:lnTo>
                  <a:lnTo>
                    <a:pt x="15132" y="313"/>
                  </a:lnTo>
                  <a:lnTo>
                    <a:pt x="15127" y="323"/>
                  </a:lnTo>
                  <a:lnTo>
                    <a:pt x="15118" y="343"/>
                  </a:lnTo>
                  <a:lnTo>
                    <a:pt x="15106" y="363"/>
                  </a:lnTo>
                  <a:lnTo>
                    <a:pt x="15093" y="381"/>
                  </a:lnTo>
                  <a:lnTo>
                    <a:pt x="15077" y="397"/>
                  </a:lnTo>
                  <a:lnTo>
                    <a:pt x="15061" y="412"/>
                  </a:lnTo>
                  <a:lnTo>
                    <a:pt x="15044" y="425"/>
                  </a:lnTo>
                  <a:lnTo>
                    <a:pt x="15024" y="437"/>
                  </a:lnTo>
                  <a:lnTo>
                    <a:pt x="15004" y="447"/>
                  </a:lnTo>
                  <a:lnTo>
                    <a:pt x="14993" y="451"/>
                  </a:lnTo>
                  <a:lnTo>
                    <a:pt x="14983" y="455"/>
                  </a:lnTo>
                  <a:lnTo>
                    <a:pt x="14972" y="458"/>
                  </a:lnTo>
                  <a:lnTo>
                    <a:pt x="14961" y="460"/>
                  </a:lnTo>
                  <a:lnTo>
                    <a:pt x="14949" y="462"/>
                  </a:lnTo>
                  <a:lnTo>
                    <a:pt x="14938" y="465"/>
                  </a:lnTo>
                  <a:lnTo>
                    <a:pt x="14926" y="466"/>
                  </a:lnTo>
                  <a:lnTo>
                    <a:pt x="14914" y="466"/>
                  </a:lnTo>
                  <a:lnTo>
                    <a:pt x="14729" y="466"/>
                  </a:lnTo>
                  <a:lnTo>
                    <a:pt x="14729" y="9959"/>
                  </a:lnTo>
                  <a:lnTo>
                    <a:pt x="14914" y="9959"/>
                  </a:lnTo>
                  <a:lnTo>
                    <a:pt x="14926" y="9959"/>
                  </a:lnTo>
                  <a:lnTo>
                    <a:pt x="14938" y="9960"/>
                  </a:lnTo>
                  <a:lnTo>
                    <a:pt x="14949" y="9962"/>
                  </a:lnTo>
                  <a:lnTo>
                    <a:pt x="14961" y="9964"/>
                  </a:lnTo>
                  <a:lnTo>
                    <a:pt x="14972" y="9967"/>
                  </a:lnTo>
                  <a:lnTo>
                    <a:pt x="14983" y="9970"/>
                  </a:lnTo>
                  <a:lnTo>
                    <a:pt x="14993" y="9973"/>
                  </a:lnTo>
                  <a:lnTo>
                    <a:pt x="15004" y="9978"/>
                  </a:lnTo>
                  <a:lnTo>
                    <a:pt x="15024" y="9987"/>
                  </a:lnTo>
                  <a:lnTo>
                    <a:pt x="15044" y="9999"/>
                  </a:lnTo>
                  <a:lnTo>
                    <a:pt x="15061" y="10012"/>
                  </a:lnTo>
                  <a:lnTo>
                    <a:pt x="15077" y="10028"/>
                  </a:lnTo>
                  <a:lnTo>
                    <a:pt x="15093" y="10044"/>
                  </a:lnTo>
                  <a:lnTo>
                    <a:pt x="15106" y="10062"/>
                  </a:lnTo>
                  <a:lnTo>
                    <a:pt x="15118" y="10081"/>
                  </a:lnTo>
                  <a:lnTo>
                    <a:pt x="15127" y="10102"/>
                  </a:lnTo>
                  <a:lnTo>
                    <a:pt x="15132" y="10112"/>
                  </a:lnTo>
                  <a:lnTo>
                    <a:pt x="15135" y="10123"/>
                  </a:lnTo>
                  <a:lnTo>
                    <a:pt x="15138" y="10133"/>
                  </a:lnTo>
                  <a:lnTo>
                    <a:pt x="15142" y="10145"/>
                  </a:lnTo>
                  <a:lnTo>
                    <a:pt x="15144" y="10156"/>
                  </a:lnTo>
                  <a:lnTo>
                    <a:pt x="15145" y="10168"/>
                  </a:lnTo>
                  <a:lnTo>
                    <a:pt x="15146" y="10179"/>
                  </a:lnTo>
                  <a:lnTo>
                    <a:pt x="15146" y="10191"/>
                  </a:lnTo>
                  <a:lnTo>
                    <a:pt x="15146" y="10191"/>
                  </a:lnTo>
                  <a:lnTo>
                    <a:pt x="15146" y="10203"/>
                  </a:lnTo>
                  <a:lnTo>
                    <a:pt x="15145" y="10215"/>
                  </a:lnTo>
                  <a:lnTo>
                    <a:pt x="15144" y="10227"/>
                  </a:lnTo>
                  <a:lnTo>
                    <a:pt x="15142" y="10238"/>
                  </a:lnTo>
                  <a:lnTo>
                    <a:pt x="15138" y="10249"/>
                  </a:lnTo>
                  <a:lnTo>
                    <a:pt x="15135" y="10261"/>
                  </a:lnTo>
                  <a:lnTo>
                    <a:pt x="15132" y="10271"/>
                  </a:lnTo>
                  <a:lnTo>
                    <a:pt x="15127" y="10282"/>
                  </a:lnTo>
                  <a:lnTo>
                    <a:pt x="15118" y="10303"/>
                  </a:lnTo>
                  <a:lnTo>
                    <a:pt x="15106" y="10321"/>
                  </a:lnTo>
                  <a:lnTo>
                    <a:pt x="15093" y="10340"/>
                  </a:lnTo>
                  <a:lnTo>
                    <a:pt x="15077" y="10356"/>
                  </a:lnTo>
                  <a:lnTo>
                    <a:pt x="15061" y="10371"/>
                  </a:lnTo>
                  <a:lnTo>
                    <a:pt x="15044" y="10384"/>
                  </a:lnTo>
                  <a:lnTo>
                    <a:pt x="15024" y="10396"/>
                  </a:lnTo>
                  <a:lnTo>
                    <a:pt x="15004" y="10406"/>
                  </a:lnTo>
                  <a:lnTo>
                    <a:pt x="14993" y="10410"/>
                  </a:lnTo>
                  <a:lnTo>
                    <a:pt x="14983" y="10414"/>
                  </a:lnTo>
                  <a:lnTo>
                    <a:pt x="14972" y="10417"/>
                  </a:lnTo>
                  <a:lnTo>
                    <a:pt x="14961" y="10419"/>
                  </a:lnTo>
                  <a:lnTo>
                    <a:pt x="14949" y="10421"/>
                  </a:lnTo>
                  <a:lnTo>
                    <a:pt x="14938" y="10422"/>
                  </a:lnTo>
                  <a:lnTo>
                    <a:pt x="14926" y="10424"/>
                  </a:lnTo>
                  <a:lnTo>
                    <a:pt x="14914" y="10425"/>
                  </a:lnTo>
                  <a:lnTo>
                    <a:pt x="233" y="10425"/>
                  </a:lnTo>
                  <a:lnTo>
                    <a:pt x="221" y="10424"/>
                  </a:lnTo>
                  <a:lnTo>
                    <a:pt x="209" y="10422"/>
                  </a:lnTo>
                  <a:lnTo>
                    <a:pt x="198" y="10421"/>
                  </a:lnTo>
                  <a:lnTo>
                    <a:pt x="186" y="10419"/>
                  </a:lnTo>
                  <a:lnTo>
                    <a:pt x="175" y="10417"/>
                  </a:lnTo>
                  <a:lnTo>
                    <a:pt x="164" y="10414"/>
                  </a:lnTo>
                  <a:lnTo>
                    <a:pt x="153" y="10410"/>
                  </a:lnTo>
                  <a:lnTo>
                    <a:pt x="142" y="10406"/>
                  </a:lnTo>
                  <a:lnTo>
                    <a:pt x="123" y="10396"/>
                  </a:lnTo>
                  <a:lnTo>
                    <a:pt x="103" y="10384"/>
                  </a:lnTo>
                  <a:lnTo>
                    <a:pt x="85" y="10371"/>
                  </a:lnTo>
                  <a:lnTo>
                    <a:pt x="68" y="10356"/>
                  </a:lnTo>
                  <a:lnTo>
                    <a:pt x="54" y="10340"/>
                  </a:lnTo>
                  <a:lnTo>
                    <a:pt x="40" y="10321"/>
                  </a:lnTo>
                  <a:lnTo>
                    <a:pt x="29" y="10303"/>
                  </a:lnTo>
                  <a:lnTo>
                    <a:pt x="19" y="10282"/>
                  </a:lnTo>
                  <a:lnTo>
                    <a:pt x="15" y="10271"/>
                  </a:lnTo>
                  <a:lnTo>
                    <a:pt x="10" y="10261"/>
                  </a:lnTo>
                  <a:lnTo>
                    <a:pt x="8" y="10249"/>
                  </a:lnTo>
                  <a:lnTo>
                    <a:pt x="5" y="10238"/>
                  </a:lnTo>
                  <a:lnTo>
                    <a:pt x="3" y="10227"/>
                  </a:lnTo>
                  <a:lnTo>
                    <a:pt x="2" y="10215"/>
                  </a:lnTo>
                  <a:lnTo>
                    <a:pt x="0" y="10203"/>
                  </a:lnTo>
                  <a:lnTo>
                    <a:pt x="0" y="10191"/>
                  </a:lnTo>
                  <a:lnTo>
                    <a:pt x="0" y="10191"/>
                  </a:lnTo>
                  <a:lnTo>
                    <a:pt x="0" y="10179"/>
                  </a:lnTo>
                  <a:lnTo>
                    <a:pt x="2" y="10168"/>
                  </a:lnTo>
                  <a:lnTo>
                    <a:pt x="3" y="10156"/>
                  </a:lnTo>
                  <a:lnTo>
                    <a:pt x="5" y="10145"/>
                  </a:lnTo>
                  <a:lnTo>
                    <a:pt x="8" y="10133"/>
                  </a:lnTo>
                  <a:lnTo>
                    <a:pt x="10" y="10123"/>
                  </a:lnTo>
                  <a:lnTo>
                    <a:pt x="15" y="10112"/>
                  </a:lnTo>
                  <a:lnTo>
                    <a:pt x="19" y="10102"/>
                  </a:lnTo>
                  <a:lnTo>
                    <a:pt x="29" y="10081"/>
                  </a:lnTo>
                  <a:lnTo>
                    <a:pt x="40" y="10062"/>
                  </a:lnTo>
                  <a:lnTo>
                    <a:pt x="54" y="10044"/>
                  </a:lnTo>
                  <a:lnTo>
                    <a:pt x="68" y="10028"/>
                  </a:lnTo>
                  <a:lnTo>
                    <a:pt x="85" y="10012"/>
                  </a:lnTo>
                  <a:lnTo>
                    <a:pt x="103" y="9999"/>
                  </a:lnTo>
                  <a:lnTo>
                    <a:pt x="123" y="9987"/>
                  </a:lnTo>
                  <a:lnTo>
                    <a:pt x="142" y="9978"/>
                  </a:lnTo>
                  <a:lnTo>
                    <a:pt x="153" y="9973"/>
                  </a:lnTo>
                  <a:lnTo>
                    <a:pt x="164" y="9970"/>
                  </a:lnTo>
                  <a:lnTo>
                    <a:pt x="175" y="9967"/>
                  </a:lnTo>
                  <a:lnTo>
                    <a:pt x="186" y="9964"/>
                  </a:lnTo>
                  <a:lnTo>
                    <a:pt x="198" y="9962"/>
                  </a:lnTo>
                  <a:lnTo>
                    <a:pt x="209" y="9960"/>
                  </a:lnTo>
                  <a:lnTo>
                    <a:pt x="221" y="9959"/>
                  </a:lnTo>
                  <a:lnTo>
                    <a:pt x="233" y="995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91" name="íSḷîḍè"/>
            <p:cNvSpPr/>
            <p:nvPr/>
          </p:nvSpPr>
          <p:spPr bwMode="auto">
            <a:xfrm>
              <a:off x="1896392" y="1419487"/>
              <a:ext cx="4021384" cy="32321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</p:grpSp>
      <p:grpSp>
        <p:nvGrpSpPr>
          <p:cNvPr id="40" name="islíḍè"/>
          <p:cNvGrpSpPr/>
          <p:nvPr/>
        </p:nvGrpSpPr>
        <p:grpSpPr>
          <a:xfrm>
            <a:off x="303035" y="2938686"/>
            <a:ext cx="2082800" cy="3127533"/>
            <a:chOff x="794543" y="1404144"/>
            <a:chExt cx="2733675" cy="4700588"/>
          </a:xfrm>
        </p:grpSpPr>
        <p:sp>
          <p:nvSpPr>
            <p:cNvPr id="41" name="ïŝľíḋé"/>
            <p:cNvSpPr/>
            <p:nvPr/>
          </p:nvSpPr>
          <p:spPr bwMode="auto">
            <a:xfrm>
              <a:off x="1381918" y="4166394"/>
              <a:ext cx="989013" cy="1736725"/>
            </a:xfrm>
            <a:custGeom>
              <a:avLst/>
              <a:gdLst>
                <a:gd name="T0" fmla="*/ 0 w 3117"/>
                <a:gd name="T1" fmla="*/ 0 h 5469"/>
                <a:gd name="T2" fmla="*/ 3117 w 3117"/>
                <a:gd name="T3" fmla="*/ 0 h 5469"/>
                <a:gd name="T4" fmla="*/ 2488 w 3117"/>
                <a:gd name="T5" fmla="*/ 5469 h 5469"/>
                <a:gd name="T6" fmla="*/ 1859 w 3117"/>
                <a:gd name="T7" fmla="*/ 5469 h 5469"/>
                <a:gd name="T8" fmla="*/ 1339 w 3117"/>
                <a:gd name="T9" fmla="*/ 1313 h 5469"/>
                <a:gd name="T10" fmla="*/ 957 w 3117"/>
                <a:gd name="T11" fmla="*/ 5333 h 5469"/>
                <a:gd name="T12" fmla="*/ 246 w 3117"/>
                <a:gd name="T13" fmla="*/ 5333 h 5469"/>
                <a:gd name="T14" fmla="*/ 0 w 3117"/>
                <a:gd name="T15" fmla="*/ 0 h 5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17" h="5469">
                  <a:moveTo>
                    <a:pt x="0" y="0"/>
                  </a:moveTo>
                  <a:lnTo>
                    <a:pt x="3117" y="0"/>
                  </a:lnTo>
                  <a:lnTo>
                    <a:pt x="2488" y="5469"/>
                  </a:lnTo>
                  <a:lnTo>
                    <a:pt x="1859" y="5469"/>
                  </a:lnTo>
                  <a:lnTo>
                    <a:pt x="1339" y="1313"/>
                  </a:lnTo>
                  <a:lnTo>
                    <a:pt x="957" y="5333"/>
                  </a:lnTo>
                  <a:lnTo>
                    <a:pt x="246" y="5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2" name="ïṡḻîḑè"/>
            <p:cNvSpPr/>
            <p:nvPr/>
          </p:nvSpPr>
          <p:spPr bwMode="auto">
            <a:xfrm>
              <a:off x="3185318" y="2393157"/>
              <a:ext cx="342900" cy="468313"/>
            </a:xfrm>
            <a:custGeom>
              <a:avLst/>
              <a:gdLst>
                <a:gd name="T0" fmla="*/ 14 w 1078"/>
                <a:gd name="T1" fmla="*/ 965 h 1477"/>
                <a:gd name="T2" fmla="*/ 106 w 1078"/>
                <a:gd name="T3" fmla="*/ 882 h 1477"/>
                <a:gd name="T4" fmla="*/ 244 w 1078"/>
                <a:gd name="T5" fmla="*/ 759 h 1477"/>
                <a:gd name="T6" fmla="*/ 351 w 1078"/>
                <a:gd name="T7" fmla="*/ 672 h 1477"/>
                <a:gd name="T8" fmla="*/ 413 w 1078"/>
                <a:gd name="T9" fmla="*/ 627 h 1477"/>
                <a:gd name="T10" fmla="*/ 463 w 1078"/>
                <a:gd name="T11" fmla="*/ 598 h 1477"/>
                <a:gd name="T12" fmla="*/ 509 w 1078"/>
                <a:gd name="T13" fmla="*/ 569 h 1477"/>
                <a:gd name="T14" fmla="*/ 551 w 1078"/>
                <a:gd name="T15" fmla="*/ 538 h 1477"/>
                <a:gd name="T16" fmla="*/ 593 w 1078"/>
                <a:gd name="T17" fmla="*/ 506 h 1477"/>
                <a:gd name="T18" fmla="*/ 653 w 1078"/>
                <a:gd name="T19" fmla="*/ 455 h 1477"/>
                <a:gd name="T20" fmla="*/ 730 w 1078"/>
                <a:gd name="T21" fmla="*/ 382 h 1477"/>
                <a:gd name="T22" fmla="*/ 788 w 1078"/>
                <a:gd name="T23" fmla="*/ 320 h 1477"/>
                <a:gd name="T24" fmla="*/ 826 w 1078"/>
                <a:gd name="T25" fmla="*/ 267 h 1477"/>
                <a:gd name="T26" fmla="*/ 884 w 1078"/>
                <a:gd name="T27" fmla="*/ 173 h 1477"/>
                <a:gd name="T28" fmla="*/ 939 w 1078"/>
                <a:gd name="T29" fmla="*/ 83 h 1477"/>
                <a:gd name="T30" fmla="*/ 966 w 1078"/>
                <a:gd name="T31" fmla="*/ 47 h 1477"/>
                <a:gd name="T32" fmla="*/ 983 w 1078"/>
                <a:gd name="T33" fmla="*/ 28 h 1477"/>
                <a:gd name="T34" fmla="*/ 999 w 1078"/>
                <a:gd name="T35" fmla="*/ 12 h 1477"/>
                <a:gd name="T36" fmla="*/ 1016 w 1078"/>
                <a:gd name="T37" fmla="*/ 4 h 1477"/>
                <a:gd name="T38" fmla="*/ 1032 w 1078"/>
                <a:gd name="T39" fmla="*/ 0 h 1477"/>
                <a:gd name="T40" fmla="*/ 1047 w 1078"/>
                <a:gd name="T41" fmla="*/ 5 h 1477"/>
                <a:gd name="T42" fmla="*/ 1060 w 1078"/>
                <a:gd name="T43" fmla="*/ 16 h 1477"/>
                <a:gd name="T44" fmla="*/ 1070 w 1078"/>
                <a:gd name="T45" fmla="*/ 34 h 1477"/>
                <a:gd name="T46" fmla="*/ 1076 w 1078"/>
                <a:gd name="T47" fmla="*/ 59 h 1477"/>
                <a:gd name="T48" fmla="*/ 1078 w 1078"/>
                <a:gd name="T49" fmla="*/ 88 h 1477"/>
                <a:gd name="T50" fmla="*/ 1076 w 1078"/>
                <a:gd name="T51" fmla="*/ 121 h 1477"/>
                <a:gd name="T52" fmla="*/ 1070 w 1078"/>
                <a:gd name="T53" fmla="*/ 157 h 1477"/>
                <a:gd name="T54" fmla="*/ 1058 w 1078"/>
                <a:gd name="T55" fmla="*/ 216 h 1477"/>
                <a:gd name="T56" fmla="*/ 1033 w 1078"/>
                <a:gd name="T57" fmla="*/ 298 h 1477"/>
                <a:gd name="T58" fmla="*/ 1002 w 1078"/>
                <a:gd name="T59" fmla="*/ 379 h 1477"/>
                <a:gd name="T60" fmla="*/ 967 w 1078"/>
                <a:gd name="T61" fmla="*/ 451 h 1477"/>
                <a:gd name="T62" fmla="*/ 939 w 1078"/>
                <a:gd name="T63" fmla="*/ 497 h 1477"/>
                <a:gd name="T64" fmla="*/ 922 w 1078"/>
                <a:gd name="T65" fmla="*/ 521 h 1477"/>
                <a:gd name="T66" fmla="*/ 905 w 1078"/>
                <a:gd name="T67" fmla="*/ 540 h 1477"/>
                <a:gd name="T68" fmla="*/ 888 w 1078"/>
                <a:gd name="T69" fmla="*/ 563 h 1477"/>
                <a:gd name="T70" fmla="*/ 864 w 1078"/>
                <a:gd name="T71" fmla="*/ 603 h 1477"/>
                <a:gd name="T72" fmla="*/ 834 w 1078"/>
                <a:gd name="T73" fmla="*/ 668 h 1477"/>
                <a:gd name="T74" fmla="*/ 803 w 1078"/>
                <a:gd name="T75" fmla="*/ 740 h 1477"/>
                <a:gd name="T76" fmla="*/ 760 w 1078"/>
                <a:gd name="T77" fmla="*/ 855 h 1477"/>
                <a:gd name="T78" fmla="*/ 717 w 1078"/>
                <a:gd name="T79" fmla="*/ 968 h 1477"/>
                <a:gd name="T80" fmla="*/ 689 w 1078"/>
                <a:gd name="T81" fmla="*/ 1034 h 1477"/>
                <a:gd name="T82" fmla="*/ 658 w 1078"/>
                <a:gd name="T83" fmla="*/ 1093 h 1477"/>
                <a:gd name="T84" fmla="*/ 619 w 1078"/>
                <a:gd name="T85" fmla="*/ 1154 h 1477"/>
                <a:gd name="T86" fmla="*/ 571 w 1078"/>
                <a:gd name="T87" fmla="*/ 1217 h 1477"/>
                <a:gd name="T88" fmla="*/ 520 w 1078"/>
                <a:gd name="T89" fmla="*/ 1280 h 1477"/>
                <a:gd name="T90" fmla="*/ 444 w 1078"/>
                <a:gd name="T91" fmla="*/ 1365 h 1477"/>
                <a:gd name="T92" fmla="*/ 359 w 1078"/>
                <a:gd name="T93" fmla="*/ 1451 h 1477"/>
                <a:gd name="T94" fmla="*/ 327 w 1078"/>
                <a:gd name="T95" fmla="*/ 1477 h 1477"/>
                <a:gd name="T96" fmla="*/ 313 w 1078"/>
                <a:gd name="T97" fmla="*/ 1471 h 1477"/>
                <a:gd name="T98" fmla="*/ 294 w 1078"/>
                <a:gd name="T99" fmla="*/ 1456 h 1477"/>
                <a:gd name="T100" fmla="*/ 271 w 1078"/>
                <a:gd name="T101" fmla="*/ 1430 h 1477"/>
                <a:gd name="T102" fmla="*/ 233 w 1078"/>
                <a:gd name="T103" fmla="*/ 1378 h 1477"/>
                <a:gd name="T104" fmla="*/ 176 w 1078"/>
                <a:gd name="T105" fmla="*/ 1290 h 1477"/>
                <a:gd name="T106" fmla="*/ 91 w 1078"/>
                <a:gd name="T107" fmla="*/ 1146 h 1477"/>
                <a:gd name="T108" fmla="*/ 12 w 1078"/>
                <a:gd name="T109" fmla="*/ 1001 h 1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8" h="1477">
                  <a:moveTo>
                    <a:pt x="0" y="979"/>
                  </a:moveTo>
                  <a:lnTo>
                    <a:pt x="14" y="965"/>
                  </a:lnTo>
                  <a:lnTo>
                    <a:pt x="51" y="931"/>
                  </a:lnTo>
                  <a:lnTo>
                    <a:pt x="106" y="882"/>
                  </a:lnTo>
                  <a:lnTo>
                    <a:pt x="172" y="822"/>
                  </a:lnTo>
                  <a:lnTo>
                    <a:pt x="244" y="759"/>
                  </a:lnTo>
                  <a:lnTo>
                    <a:pt x="317" y="699"/>
                  </a:lnTo>
                  <a:lnTo>
                    <a:pt x="351" y="672"/>
                  </a:lnTo>
                  <a:lnTo>
                    <a:pt x="384" y="648"/>
                  </a:lnTo>
                  <a:lnTo>
                    <a:pt x="413" y="627"/>
                  </a:lnTo>
                  <a:lnTo>
                    <a:pt x="439" y="611"/>
                  </a:lnTo>
                  <a:lnTo>
                    <a:pt x="463" y="598"/>
                  </a:lnTo>
                  <a:lnTo>
                    <a:pt x="486" y="584"/>
                  </a:lnTo>
                  <a:lnTo>
                    <a:pt x="509" y="569"/>
                  </a:lnTo>
                  <a:lnTo>
                    <a:pt x="531" y="553"/>
                  </a:lnTo>
                  <a:lnTo>
                    <a:pt x="551" y="538"/>
                  </a:lnTo>
                  <a:lnTo>
                    <a:pt x="573" y="523"/>
                  </a:lnTo>
                  <a:lnTo>
                    <a:pt x="593" y="506"/>
                  </a:lnTo>
                  <a:lnTo>
                    <a:pt x="614" y="490"/>
                  </a:lnTo>
                  <a:lnTo>
                    <a:pt x="653" y="455"/>
                  </a:lnTo>
                  <a:lnTo>
                    <a:pt x="692" y="419"/>
                  </a:lnTo>
                  <a:lnTo>
                    <a:pt x="730" y="382"/>
                  </a:lnTo>
                  <a:lnTo>
                    <a:pt x="768" y="343"/>
                  </a:lnTo>
                  <a:lnTo>
                    <a:pt x="788" y="320"/>
                  </a:lnTo>
                  <a:lnTo>
                    <a:pt x="807" y="295"/>
                  </a:lnTo>
                  <a:lnTo>
                    <a:pt x="826" y="267"/>
                  </a:lnTo>
                  <a:lnTo>
                    <a:pt x="846" y="236"/>
                  </a:lnTo>
                  <a:lnTo>
                    <a:pt x="884" y="173"/>
                  </a:lnTo>
                  <a:lnTo>
                    <a:pt x="921" y="112"/>
                  </a:lnTo>
                  <a:lnTo>
                    <a:pt x="939" y="83"/>
                  </a:lnTo>
                  <a:lnTo>
                    <a:pt x="957" y="58"/>
                  </a:lnTo>
                  <a:lnTo>
                    <a:pt x="966" y="47"/>
                  </a:lnTo>
                  <a:lnTo>
                    <a:pt x="974" y="36"/>
                  </a:lnTo>
                  <a:lnTo>
                    <a:pt x="983" y="28"/>
                  </a:lnTo>
                  <a:lnTo>
                    <a:pt x="992" y="19"/>
                  </a:lnTo>
                  <a:lnTo>
                    <a:pt x="999" y="12"/>
                  </a:lnTo>
                  <a:lnTo>
                    <a:pt x="1008" y="7"/>
                  </a:lnTo>
                  <a:lnTo>
                    <a:pt x="1016" y="4"/>
                  </a:lnTo>
                  <a:lnTo>
                    <a:pt x="1025" y="0"/>
                  </a:lnTo>
                  <a:lnTo>
                    <a:pt x="1032" y="0"/>
                  </a:lnTo>
                  <a:lnTo>
                    <a:pt x="1040" y="2"/>
                  </a:lnTo>
                  <a:lnTo>
                    <a:pt x="1047" y="5"/>
                  </a:lnTo>
                  <a:lnTo>
                    <a:pt x="1054" y="9"/>
                  </a:lnTo>
                  <a:lnTo>
                    <a:pt x="1060" y="16"/>
                  </a:lnTo>
                  <a:lnTo>
                    <a:pt x="1066" y="24"/>
                  </a:lnTo>
                  <a:lnTo>
                    <a:pt x="1070" y="34"/>
                  </a:lnTo>
                  <a:lnTo>
                    <a:pt x="1074" y="46"/>
                  </a:lnTo>
                  <a:lnTo>
                    <a:pt x="1076" y="59"/>
                  </a:lnTo>
                  <a:lnTo>
                    <a:pt x="1078" y="72"/>
                  </a:lnTo>
                  <a:lnTo>
                    <a:pt x="1078" y="88"/>
                  </a:lnTo>
                  <a:lnTo>
                    <a:pt x="1077" y="104"/>
                  </a:lnTo>
                  <a:lnTo>
                    <a:pt x="1076" y="121"/>
                  </a:lnTo>
                  <a:lnTo>
                    <a:pt x="1074" y="139"/>
                  </a:lnTo>
                  <a:lnTo>
                    <a:pt x="1070" y="157"/>
                  </a:lnTo>
                  <a:lnTo>
                    <a:pt x="1067" y="176"/>
                  </a:lnTo>
                  <a:lnTo>
                    <a:pt x="1058" y="216"/>
                  </a:lnTo>
                  <a:lnTo>
                    <a:pt x="1046" y="257"/>
                  </a:lnTo>
                  <a:lnTo>
                    <a:pt x="1033" y="298"/>
                  </a:lnTo>
                  <a:lnTo>
                    <a:pt x="1018" y="340"/>
                  </a:lnTo>
                  <a:lnTo>
                    <a:pt x="1002" y="379"/>
                  </a:lnTo>
                  <a:lnTo>
                    <a:pt x="984" y="417"/>
                  </a:lnTo>
                  <a:lnTo>
                    <a:pt x="967" y="451"/>
                  </a:lnTo>
                  <a:lnTo>
                    <a:pt x="948" y="482"/>
                  </a:lnTo>
                  <a:lnTo>
                    <a:pt x="939" y="497"/>
                  </a:lnTo>
                  <a:lnTo>
                    <a:pt x="931" y="509"/>
                  </a:lnTo>
                  <a:lnTo>
                    <a:pt x="922" y="521"/>
                  </a:lnTo>
                  <a:lnTo>
                    <a:pt x="913" y="530"/>
                  </a:lnTo>
                  <a:lnTo>
                    <a:pt x="905" y="540"/>
                  </a:lnTo>
                  <a:lnTo>
                    <a:pt x="897" y="551"/>
                  </a:lnTo>
                  <a:lnTo>
                    <a:pt x="888" y="563"/>
                  </a:lnTo>
                  <a:lnTo>
                    <a:pt x="881" y="575"/>
                  </a:lnTo>
                  <a:lnTo>
                    <a:pt x="864" y="603"/>
                  </a:lnTo>
                  <a:lnTo>
                    <a:pt x="849" y="634"/>
                  </a:lnTo>
                  <a:lnTo>
                    <a:pt x="834" y="668"/>
                  </a:lnTo>
                  <a:lnTo>
                    <a:pt x="818" y="703"/>
                  </a:lnTo>
                  <a:lnTo>
                    <a:pt x="803" y="740"/>
                  </a:lnTo>
                  <a:lnTo>
                    <a:pt x="789" y="778"/>
                  </a:lnTo>
                  <a:lnTo>
                    <a:pt x="760" y="855"/>
                  </a:lnTo>
                  <a:lnTo>
                    <a:pt x="731" y="932"/>
                  </a:lnTo>
                  <a:lnTo>
                    <a:pt x="717" y="968"/>
                  </a:lnTo>
                  <a:lnTo>
                    <a:pt x="703" y="1003"/>
                  </a:lnTo>
                  <a:lnTo>
                    <a:pt x="689" y="1034"/>
                  </a:lnTo>
                  <a:lnTo>
                    <a:pt x="675" y="1065"/>
                  </a:lnTo>
                  <a:lnTo>
                    <a:pt x="658" y="1093"/>
                  </a:lnTo>
                  <a:lnTo>
                    <a:pt x="640" y="1123"/>
                  </a:lnTo>
                  <a:lnTo>
                    <a:pt x="619" y="1154"/>
                  </a:lnTo>
                  <a:lnTo>
                    <a:pt x="596" y="1186"/>
                  </a:lnTo>
                  <a:lnTo>
                    <a:pt x="571" y="1217"/>
                  </a:lnTo>
                  <a:lnTo>
                    <a:pt x="546" y="1248"/>
                  </a:lnTo>
                  <a:lnTo>
                    <a:pt x="520" y="1280"/>
                  </a:lnTo>
                  <a:lnTo>
                    <a:pt x="494" y="1309"/>
                  </a:lnTo>
                  <a:lnTo>
                    <a:pt x="444" y="1365"/>
                  </a:lnTo>
                  <a:lnTo>
                    <a:pt x="397" y="1414"/>
                  </a:lnTo>
                  <a:lnTo>
                    <a:pt x="359" y="1451"/>
                  </a:lnTo>
                  <a:lnTo>
                    <a:pt x="332" y="1475"/>
                  </a:lnTo>
                  <a:lnTo>
                    <a:pt x="327" y="1477"/>
                  </a:lnTo>
                  <a:lnTo>
                    <a:pt x="320" y="1476"/>
                  </a:lnTo>
                  <a:lnTo>
                    <a:pt x="313" y="1471"/>
                  </a:lnTo>
                  <a:lnTo>
                    <a:pt x="304" y="1465"/>
                  </a:lnTo>
                  <a:lnTo>
                    <a:pt x="294" y="1456"/>
                  </a:lnTo>
                  <a:lnTo>
                    <a:pt x="283" y="1444"/>
                  </a:lnTo>
                  <a:lnTo>
                    <a:pt x="271" y="1430"/>
                  </a:lnTo>
                  <a:lnTo>
                    <a:pt x="259" y="1415"/>
                  </a:lnTo>
                  <a:lnTo>
                    <a:pt x="233" y="1378"/>
                  </a:lnTo>
                  <a:lnTo>
                    <a:pt x="205" y="1336"/>
                  </a:lnTo>
                  <a:lnTo>
                    <a:pt x="176" y="1290"/>
                  </a:lnTo>
                  <a:lnTo>
                    <a:pt x="147" y="1242"/>
                  </a:lnTo>
                  <a:lnTo>
                    <a:pt x="91" y="1146"/>
                  </a:lnTo>
                  <a:lnTo>
                    <a:pt x="45" y="1061"/>
                  </a:lnTo>
                  <a:lnTo>
                    <a:pt x="12" y="1001"/>
                  </a:lnTo>
                  <a:lnTo>
                    <a:pt x="0" y="979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3" name="ïśľîdé"/>
            <p:cNvSpPr/>
            <p:nvPr/>
          </p:nvSpPr>
          <p:spPr bwMode="auto">
            <a:xfrm>
              <a:off x="1299368" y="5857082"/>
              <a:ext cx="385763" cy="201613"/>
            </a:xfrm>
            <a:custGeom>
              <a:avLst/>
              <a:gdLst>
                <a:gd name="T0" fmla="*/ 612 w 1214"/>
                <a:gd name="T1" fmla="*/ 7 h 637"/>
                <a:gd name="T2" fmla="*/ 555 w 1214"/>
                <a:gd name="T3" fmla="*/ 50 h 637"/>
                <a:gd name="T4" fmla="*/ 468 w 1214"/>
                <a:gd name="T5" fmla="*/ 116 h 637"/>
                <a:gd name="T6" fmla="*/ 379 w 1214"/>
                <a:gd name="T7" fmla="*/ 180 h 637"/>
                <a:gd name="T8" fmla="*/ 334 w 1214"/>
                <a:gd name="T9" fmla="*/ 210 h 637"/>
                <a:gd name="T10" fmla="*/ 313 w 1214"/>
                <a:gd name="T11" fmla="*/ 219 h 637"/>
                <a:gd name="T12" fmla="*/ 275 w 1214"/>
                <a:gd name="T13" fmla="*/ 230 h 637"/>
                <a:gd name="T14" fmla="*/ 215 w 1214"/>
                <a:gd name="T15" fmla="*/ 246 h 637"/>
                <a:gd name="T16" fmla="*/ 151 w 1214"/>
                <a:gd name="T17" fmla="*/ 264 h 637"/>
                <a:gd name="T18" fmla="*/ 105 w 1214"/>
                <a:gd name="T19" fmla="*/ 284 h 637"/>
                <a:gd name="T20" fmla="*/ 78 w 1214"/>
                <a:gd name="T21" fmla="*/ 299 h 637"/>
                <a:gd name="T22" fmla="*/ 53 w 1214"/>
                <a:gd name="T23" fmla="*/ 318 h 637"/>
                <a:gd name="T24" fmla="*/ 31 w 1214"/>
                <a:gd name="T25" fmla="*/ 340 h 637"/>
                <a:gd name="T26" fmla="*/ 15 w 1214"/>
                <a:gd name="T27" fmla="*/ 368 h 637"/>
                <a:gd name="T28" fmla="*/ 4 w 1214"/>
                <a:gd name="T29" fmla="*/ 400 h 637"/>
                <a:gd name="T30" fmla="*/ 0 w 1214"/>
                <a:gd name="T31" fmla="*/ 438 h 637"/>
                <a:gd name="T32" fmla="*/ 4 w 1214"/>
                <a:gd name="T33" fmla="*/ 481 h 637"/>
                <a:gd name="T34" fmla="*/ 16 w 1214"/>
                <a:gd name="T35" fmla="*/ 529 h 637"/>
                <a:gd name="T36" fmla="*/ 40 w 1214"/>
                <a:gd name="T37" fmla="*/ 568 h 637"/>
                <a:gd name="T38" fmla="*/ 75 w 1214"/>
                <a:gd name="T39" fmla="*/ 598 h 637"/>
                <a:gd name="T40" fmla="*/ 118 w 1214"/>
                <a:gd name="T41" fmla="*/ 619 h 637"/>
                <a:gd name="T42" fmla="*/ 170 w 1214"/>
                <a:gd name="T43" fmla="*/ 631 h 637"/>
                <a:gd name="T44" fmla="*/ 229 w 1214"/>
                <a:gd name="T45" fmla="*/ 637 h 637"/>
                <a:gd name="T46" fmla="*/ 294 w 1214"/>
                <a:gd name="T47" fmla="*/ 637 h 637"/>
                <a:gd name="T48" fmla="*/ 360 w 1214"/>
                <a:gd name="T49" fmla="*/ 632 h 637"/>
                <a:gd name="T50" fmla="*/ 430 w 1214"/>
                <a:gd name="T51" fmla="*/ 623 h 637"/>
                <a:gd name="T52" fmla="*/ 501 w 1214"/>
                <a:gd name="T53" fmla="*/ 612 h 637"/>
                <a:gd name="T54" fmla="*/ 604 w 1214"/>
                <a:gd name="T55" fmla="*/ 591 h 637"/>
                <a:gd name="T56" fmla="*/ 732 w 1214"/>
                <a:gd name="T57" fmla="*/ 562 h 637"/>
                <a:gd name="T58" fmla="*/ 835 w 1214"/>
                <a:gd name="T59" fmla="*/ 540 h 637"/>
                <a:gd name="T60" fmla="*/ 911 w 1214"/>
                <a:gd name="T61" fmla="*/ 529 h 637"/>
                <a:gd name="T62" fmla="*/ 980 w 1214"/>
                <a:gd name="T63" fmla="*/ 516 h 637"/>
                <a:gd name="T64" fmla="*/ 1030 w 1214"/>
                <a:gd name="T65" fmla="*/ 503 h 637"/>
                <a:gd name="T66" fmla="*/ 1061 w 1214"/>
                <a:gd name="T67" fmla="*/ 491 h 637"/>
                <a:gd name="T68" fmla="*/ 1091 w 1214"/>
                <a:gd name="T69" fmla="*/ 477 h 637"/>
                <a:gd name="T70" fmla="*/ 1119 w 1214"/>
                <a:gd name="T71" fmla="*/ 460 h 637"/>
                <a:gd name="T72" fmla="*/ 1143 w 1214"/>
                <a:gd name="T73" fmla="*/ 441 h 637"/>
                <a:gd name="T74" fmla="*/ 1165 w 1214"/>
                <a:gd name="T75" fmla="*/ 417 h 637"/>
                <a:gd name="T76" fmla="*/ 1183 w 1214"/>
                <a:gd name="T77" fmla="*/ 390 h 637"/>
                <a:gd name="T78" fmla="*/ 1197 w 1214"/>
                <a:gd name="T79" fmla="*/ 359 h 637"/>
                <a:gd name="T80" fmla="*/ 1207 w 1214"/>
                <a:gd name="T81" fmla="*/ 323 h 637"/>
                <a:gd name="T82" fmla="*/ 1212 w 1214"/>
                <a:gd name="T83" fmla="*/ 283 h 637"/>
                <a:gd name="T84" fmla="*/ 1214 w 1214"/>
                <a:gd name="T85" fmla="*/ 238 h 637"/>
                <a:gd name="T86" fmla="*/ 1208 w 1214"/>
                <a:gd name="T87" fmla="*/ 187 h 637"/>
                <a:gd name="T88" fmla="*/ 1195 w 1214"/>
                <a:gd name="T89" fmla="*/ 115 h 637"/>
                <a:gd name="T90" fmla="*/ 1179 w 1214"/>
                <a:gd name="T91" fmla="*/ 35 h 637"/>
                <a:gd name="T92" fmla="*/ 621 w 1214"/>
                <a:gd name="T93" fmla="*/ 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14" h="637">
                  <a:moveTo>
                    <a:pt x="621" y="0"/>
                  </a:moveTo>
                  <a:lnTo>
                    <a:pt x="612" y="7"/>
                  </a:lnTo>
                  <a:lnTo>
                    <a:pt x="589" y="24"/>
                  </a:lnTo>
                  <a:lnTo>
                    <a:pt x="555" y="50"/>
                  </a:lnTo>
                  <a:lnTo>
                    <a:pt x="514" y="82"/>
                  </a:lnTo>
                  <a:lnTo>
                    <a:pt x="468" y="116"/>
                  </a:lnTo>
                  <a:lnTo>
                    <a:pt x="422" y="149"/>
                  </a:lnTo>
                  <a:lnTo>
                    <a:pt x="379" y="180"/>
                  </a:lnTo>
                  <a:lnTo>
                    <a:pt x="343" y="205"/>
                  </a:lnTo>
                  <a:lnTo>
                    <a:pt x="334" y="210"/>
                  </a:lnTo>
                  <a:lnTo>
                    <a:pt x="324" y="215"/>
                  </a:lnTo>
                  <a:lnTo>
                    <a:pt x="313" y="219"/>
                  </a:lnTo>
                  <a:lnTo>
                    <a:pt x="301" y="223"/>
                  </a:lnTo>
                  <a:lnTo>
                    <a:pt x="275" y="230"/>
                  </a:lnTo>
                  <a:lnTo>
                    <a:pt x="246" y="238"/>
                  </a:lnTo>
                  <a:lnTo>
                    <a:pt x="215" y="246"/>
                  </a:lnTo>
                  <a:lnTo>
                    <a:pt x="184" y="254"/>
                  </a:lnTo>
                  <a:lnTo>
                    <a:pt x="151" y="264"/>
                  </a:lnTo>
                  <a:lnTo>
                    <a:pt x="120" y="276"/>
                  </a:lnTo>
                  <a:lnTo>
                    <a:pt x="105" y="284"/>
                  </a:lnTo>
                  <a:lnTo>
                    <a:pt x="91" y="290"/>
                  </a:lnTo>
                  <a:lnTo>
                    <a:pt x="78" y="299"/>
                  </a:lnTo>
                  <a:lnTo>
                    <a:pt x="65" y="308"/>
                  </a:lnTo>
                  <a:lnTo>
                    <a:pt x="53" y="318"/>
                  </a:lnTo>
                  <a:lnTo>
                    <a:pt x="41" y="328"/>
                  </a:lnTo>
                  <a:lnTo>
                    <a:pt x="31" y="340"/>
                  </a:lnTo>
                  <a:lnTo>
                    <a:pt x="22" y="354"/>
                  </a:lnTo>
                  <a:lnTo>
                    <a:pt x="15" y="368"/>
                  </a:lnTo>
                  <a:lnTo>
                    <a:pt x="9" y="384"/>
                  </a:lnTo>
                  <a:lnTo>
                    <a:pt x="4" y="400"/>
                  </a:lnTo>
                  <a:lnTo>
                    <a:pt x="1" y="418"/>
                  </a:lnTo>
                  <a:lnTo>
                    <a:pt x="0" y="438"/>
                  </a:lnTo>
                  <a:lnTo>
                    <a:pt x="0" y="458"/>
                  </a:lnTo>
                  <a:lnTo>
                    <a:pt x="4" y="481"/>
                  </a:lnTo>
                  <a:lnTo>
                    <a:pt x="8" y="505"/>
                  </a:lnTo>
                  <a:lnTo>
                    <a:pt x="16" y="529"/>
                  </a:lnTo>
                  <a:lnTo>
                    <a:pt x="27" y="550"/>
                  </a:lnTo>
                  <a:lnTo>
                    <a:pt x="40" y="568"/>
                  </a:lnTo>
                  <a:lnTo>
                    <a:pt x="56" y="584"/>
                  </a:lnTo>
                  <a:lnTo>
                    <a:pt x="75" y="598"/>
                  </a:lnTo>
                  <a:lnTo>
                    <a:pt x="95" y="609"/>
                  </a:lnTo>
                  <a:lnTo>
                    <a:pt x="118" y="619"/>
                  </a:lnTo>
                  <a:lnTo>
                    <a:pt x="144" y="625"/>
                  </a:lnTo>
                  <a:lnTo>
                    <a:pt x="170" y="631"/>
                  </a:lnTo>
                  <a:lnTo>
                    <a:pt x="200" y="635"/>
                  </a:lnTo>
                  <a:lnTo>
                    <a:pt x="229" y="637"/>
                  </a:lnTo>
                  <a:lnTo>
                    <a:pt x="261" y="637"/>
                  </a:lnTo>
                  <a:lnTo>
                    <a:pt x="294" y="637"/>
                  </a:lnTo>
                  <a:lnTo>
                    <a:pt x="326" y="635"/>
                  </a:lnTo>
                  <a:lnTo>
                    <a:pt x="360" y="632"/>
                  </a:lnTo>
                  <a:lnTo>
                    <a:pt x="395" y="628"/>
                  </a:lnTo>
                  <a:lnTo>
                    <a:pt x="430" y="623"/>
                  </a:lnTo>
                  <a:lnTo>
                    <a:pt x="465" y="617"/>
                  </a:lnTo>
                  <a:lnTo>
                    <a:pt x="501" y="612"/>
                  </a:lnTo>
                  <a:lnTo>
                    <a:pt x="536" y="605"/>
                  </a:lnTo>
                  <a:lnTo>
                    <a:pt x="604" y="591"/>
                  </a:lnTo>
                  <a:lnTo>
                    <a:pt x="670" y="576"/>
                  </a:lnTo>
                  <a:lnTo>
                    <a:pt x="732" y="562"/>
                  </a:lnTo>
                  <a:lnTo>
                    <a:pt x="787" y="550"/>
                  </a:lnTo>
                  <a:lnTo>
                    <a:pt x="835" y="540"/>
                  </a:lnTo>
                  <a:lnTo>
                    <a:pt x="876" y="533"/>
                  </a:lnTo>
                  <a:lnTo>
                    <a:pt x="911" y="529"/>
                  </a:lnTo>
                  <a:lnTo>
                    <a:pt x="945" y="524"/>
                  </a:lnTo>
                  <a:lnTo>
                    <a:pt x="980" y="516"/>
                  </a:lnTo>
                  <a:lnTo>
                    <a:pt x="1014" y="508"/>
                  </a:lnTo>
                  <a:lnTo>
                    <a:pt x="1030" y="503"/>
                  </a:lnTo>
                  <a:lnTo>
                    <a:pt x="1046" y="497"/>
                  </a:lnTo>
                  <a:lnTo>
                    <a:pt x="1061" y="491"/>
                  </a:lnTo>
                  <a:lnTo>
                    <a:pt x="1076" y="484"/>
                  </a:lnTo>
                  <a:lnTo>
                    <a:pt x="1091" y="477"/>
                  </a:lnTo>
                  <a:lnTo>
                    <a:pt x="1105" y="469"/>
                  </a:lnTo>
                  <a:lnTo>
                    <a:pt x="1119" y="460"/>
                  </a:lnTo>
                  <a:lnTo>
                    <a:pt x="1131" y="451"/>
                  </a:lnTo>
                  <a:lnTo>
                    <a:pt x="1143" y="441"/>
                  </a:lnTo>
                  <a:lnTo>
                    <a:pt x="1155" y="429"/>
                  </a:lnTo>
                  <a:lnTo>
                    <a:pt x="1165" y="417"/>
                  </a:lnTo>
                  <a:lnTo>
                    <a:pt x="1174" y="404"/>
                  </a:lnTo>
                  <a:lnTo>
                    <a:pt x="1183" y="390"/>
                  </a:lnTo>
                  <a:lnTo>
                    <a:pt x="1191" y="375"/>
                  </a:lnTo>
                  <a:lnTo>
                    <a:pt x="1197" y="359"/>
                  </a:lnTo>
                  <a:lnTo>
                    <a:pt x="1203" y="342"/>
                  </a:lnTo>
                  <a:lnTo>
                    <a:pt x="1207" y="323"/>
                  </a:lnTo>
                  <a:lnTo>
                    <a:pt x="1210" y="303"/>
                  </a:lnTo>
                  <a:lnTo>
                    <a:pt x="1212" y="283"/>
                  </a:lnTo>
                  <a:lnTo>
                    <a:pt x="1214" y="261"/>
                  </a:lnTo>
                  <a:lnTo>
                    <a:pt x="1214" y="238"/>
                  </a:lnTo>
                  <a:lnTo>
                    <a:pt x="1211" y="213"/>
                  </a:lnTo>
                  <a:lnTo>
                    <a:pt x="1208" y="187"/>
                  </a:lnTo>
                  <a:lnTo>
                    <a:pt x="1204" y="159"/>
                  </a:lnTo>
                  <a:lnTo>
                    <a:pt x="1195" y="115"/>
                  </a:lnTo>
                  <a:lnTo>
                    <a:pt x="1187" y="73"/>
                  </a:lnTo>
                  <a:lnTo>
                    <a:pt x="1179" y="35"/>
                  </a:lnTo>
                  <a:lnTo>
                    <a:pt x="1171" y="0"/>
                  </a:lnTo>
                  <a:lnTo>
                    <a:pt x="621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4" name="ï$ḷíďê"/>
            <p:cNvSpPr/>
            <p:nvPr/>
          </p:nvSpPr>
          <p:spPr bwMode="auto">
            <a:xfrm>
              <a:off x="1967706" y="5903119"/>
              <a:ext cx="384175" cy="201613"/>
            </a:xfrm>
            <a:custGeom>
              <a:avLst/>
              <a:gdLst>
                <a:gd name="T0" fmla="*/ 602 w 1213"/>
                <a:gd name="T1" fmla="*/ 7 h 637"/>
                <a:gd name="T2" fmla="*/ 658 w 1213"/>
                <a:gd name="T3" fmla="*/ 50 h 637"/>
                <a:gd name="T4" fmla="*/ 745 w 1213"/>
                <a:gd name="T5" fmla="*/ 115 h 637"/>
                <a:gd name="T6" fmla="*/ 835 w 1213"/>
                <a:gd name="T7" fmla="*/ 179 h 637"/>
                <a:gd name="T8" fmla="*/ 880 w 1213"/>
                <a:gd name="T9" fmla="*/ 210 h 637"/>
                <a:gd name="T10" fmla="*/ 900 w 1213"/>
                <a:gd name="T11" fmla="*/ 218 h 637"/>
                <a:gd name="T12" fmla="*/ 938 w 1213"/>
                <a:gd name="T13" fmla="*/ 230 h 637"/>
                <a:gd name="T14" fmla="*/ 998 w 1213"/>
                <a:gd name="T15" fmla="*/ 246 h 637"/>
                <a:gd name="T16" fmla="*/ 1063 w 1213"/>
                <a:gd name="T17" fmla="*/ 264 h 637"/>
                <a:gd name="T18" fmla="*/ 1108 w 1213"/>
                <a:gd name="T19" fmla="*/ 283 h 637"/>
                <a:gd name="T20" fmla="*/ 1137 w 1213"/>
                <a:gd name="T21" fmla="*/ 299 h 637"/>
                <a:gd name="T22" fmla="*/ 1162 w 1213"/>
                <a:gd name="T23" fmla="*/ 317 h 637"/>
                <a:gd name="T24" fmla="*/ 1183 w 1213"/>
                <a:gd name="T25" fmla="*/ 340 h 637"/>
                <a:gd name="T26" fmla="*/ 1199 w 1213"/>
                <a:gd name="T27" fmla="*/ 368 h 637"/>
                <a:gd name="T28" fmla="*/ 1210 w 1213"/>
                <a:gd name="T29" fmla="*/ 400 h 637"/>
                <a:gd name="T30" fmla="*/ 1213 w 1213"/>
                <a:gd name="T31" fmla="*/ 437 h 637"/>
                <a:gd name="T32" fmla="*/ 1210 w 1213"/>
                <a:gd name="T33" fmla="*/ 481 h 637"/>
                <a:gd name="T34" fmla="*/ 1198 w 1213"/>
                <a:gd name="T35" fmla="*/ 529 h 637"/>
                <a:gd name="T36" fmla="*/ 1174 w 1213"/>
                <a:gd name="T37" fmla="*/ 567 h 637"/>
                <a:gd name="T38" fmla="*/ 1139 w 1213"/>
                <a:gd name="T39" fmla="*/ 597 h 637"/>
                <a:gd name="T40" fmla="*/ 1095 w 1213"/>
                <a:gd name="T41" fmla="*/ 617 h 637"/>
                <a:gd name="T42" fmla="*/ 1043 w 1213"/>
                <a:gd name="T43" fmla="*/ 630 h 637"/>
                <a:gd name="T44" fmla="*/ 984 w 1213"/>
                <a:gd name="T45" fmla="*/ 636 h 637"/>
                <a:gd name="T46" fmla="*/ 921 w 1213"/>
                <a:gd name="T47" fmla="*/ 636 h 637"/>
                <a:gd name="T48" fmla="*/ 853 w 1213"/>
                <a:gd name="T49" fmla="*/ 632 h 637"/>
                <a:gd name="T50" fmla="*/ 784 w 1213"/>
                <a:gd name="T51" fmla="*/ 623 h 637"/>
                <a:gd name="T52" fmla="*/ 714 w 1213"/>
                <a:gd name="T53" fmla="*/ 611 h 637"/>
                <a:gd name="T54" fmla="*/ 609 w 1213"/>
                <a:gd name="T55" fmla="*/ 590 h 637"/>
                <a:gd name="T56" fmla="*/ 483 w 1213"/>
                <a:gd name="T57" fmla="*/ 562 h 637"/>
                <a:gd name="T58" fmla="*/ 378 w 1213"/>
                <a:gd name="T59" fmla="*/ 540 h 637"/>
                <a:gd name="T60" fmla="*/ 303 w 1213"/>
                <a:gd name="T61" fmla="*/ 529 h 637"/>
                <a:gd name="T62" fmla="*/ 234 w 1213"/>
                <a:gd name="T63" fmla="*/ 516 h 637"/>
                <a:gd name="T64" fmla="*/ 184 w 1213"/>
                <a:gd name="T65" fmla="*/ 503 h 637"/>
                <a:gd name="T66" fmla="*/ 153 w 1213"/>
                <a:gd name="T67" fmla="*/ 491 h 637"/>
                <a:gd name="T68" fmla="*/ 123 w 1213"/>
                <a:gd name="T69" fmla="*/ 477 h 637"/>
                <a:gd name="T70" fmla="*/ 96 w 1213"/>
                <a:gd name="T71" fmla="*/ 460 h 637"/>
                <a:gd name="T72" fmla="*/ 71 w 1213"/>
                <a:gd name="T73" fmla="*/ 440 h 637"/>
                <a:gd name="T74" fmla="*/ 49 w 1213"/>
                <a:gd name="T75" fmla="*/ 417 h 637"/>
                <a:gd name="T76" fmla="*/ 30 w 1213"/>
                <a:gd name="T77" fmla="*/ 389 h 637"/>
                <a:gd name="T78" fmla="*/ 16 w 1213"/>
                <a:gd name="T79" fmla="*/ 358 h 637"/>
                <a:gd name="T80" fmla="*/ 6 w 1213"/>
                <a:gd name="T81" fmla="*/ 323 h 637"/>
                <a:gd name="T82" fmla="*/ 1 w 1213"/>
                <a:gd name="T83" fmla="*/ 283 h 637"/>
                <a:gd name="T84" fmla="*/ 0 w 1213"/>
                <a:gd name="T85" fmla="*/ 237 h 637"/>
                <a:gd name="T86" fmla="*/ 5 w 1213"/>
                <a:gd name="T87" fmla="*/ 187 h 637"/>
                <a:gd name="T88" fmla="*/ 18 w 1213"/>
                <a:gd name="T89" fmla="*/ 114 h 637"/>
                <a:gd name="T90" fmla="*/ 35 w 1213"/>
                <a:gd name="T91" fmla="*/ 35 h 637"/>
                <a:gd name="T92" fmla="*/ 593 w 1213"/>
                <a:gd name="T93" fmla="*/ 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13" h="637">
                  <a:moveTo>
                    <a:pt x="593" y="0"/>
                  </a:moveTo>
                  <a:lnTo>
                    <a:pt x="602" y="7"/>
                  </a:lnTo>
                  <a:lnTo>
                    <a:pt x="624" y="24"/>
                  </a:lnTo>
                  <a:lnTo>
                    <a:pt x="658" y="50"/>
                  </a:lnTo>
                  <a:lnTo>
                    <a:pt x="701" y="81"/>
                  </a:lnTo>
                  <a:lnTo>
                    <a:pt x="745" y="115"/>
                  </a:lnTo>
                  <a:lnTo>
                    <a:pt x="791" y="148"/>
                  </a:lnTo>
                  <a:lnTo>
                    <a:pt x="835" y="179"/>
                  </a:lnTo>
                  <a:lnTo>
                    <a:pt x="871" y="204"/>
                  </a:lnTo>
                  <a:lnTo>
                    <a:pt x="880" y="210"/>
                  </a:lnTo>
                  <a:lnTo>
                    <a:pt x="889" y="214"/>
                  </a:lnTo>
                  <a:lnTo>
                    <a:pt x="900" y="218"/>
                  </a:lnTo>
                  <a:lnTo>
                    <a:pt x="912" y="223"/>
                  </a:lnTo>
                  <a:lnTo>
                    <a:pt x="938" y="230"/>
                  </a:lnTo>
                  <a:lnTo>
                    <a:pt x="968" y="238"/>
                  </a:lnTo>
                  <a:lnTo>
                    <a:pt x="998" y="246"/>
                  </a:lnTo>
                  <a:lnTo>
                    <a:pt x="1031" y="254"/>
                  </a:lnTo>
                  <a:lnTo>
                    <a:pt x="1063" y="264"/>
                  </a:lnTo>
                  <a:lnTo>
                    <a:pt x="1093" y="276"/>
                  </a:lnTo>
                  <a:lnTo>
                    <a:pt x="1108" y="283"/>
                  </a:lnTo>
                  <a:lnTo>
                    <a:pt x="1123" y="290"/>
                  </a:lnTo>
                  <a:lnTo>
                    <a:pt x="1137" y="299"/>
                  </a:lnTo>
                  <a:lnTo>
                    <a:pt x="1150" y="308"/>
                  </a:lnTo>
                  <a:lnTo>
                    <a:pt x="1162" y="317"/>
                  </a:lnTo>
                  <a:lnTo>
                    <a:pt x="1173" y="328"/>
                  </a:lnTo>
                  <a:lnTo>
                    <a:pt x="1183" y="340"/>
                  </a:lnTo>
                  <a:lnTo>
                    <a:pt x="1191" y="353"/>
                  </a:lnTo>
                  <a:lnTo>
                    <a:pt x="1199" y="368"/>
                  </a:lnTo>
                  <a:lnTo>
                    <a:pt x="1204" y="383"/>
                  </a:lnTo>
                  <a:lnTo>
                    <a:pt x="1210" y="400"/>
                  </a:lnTo>
                  <a:lnTo>
                    <a:pt x="1212" y="418"/>
                  </a:lnTo>
                  <a:lnTo>
                    <a:pt x="1213" y="437"/>
                  </a:lnTo>
                  <a:lnTo>
                    <a:pt x="1213" y="458"/>
                  </a:lnTo>
                  <a:lnTo>
                    <a:pt x="1210" y="481"/>
                  </a:lnTo>
                  <a:lnTo>
                    <a:pt x="1205" y="505"/>
                  </a:lnTo>
                  <a:lnTo>
                    <a:pt x="1198" y="529"/>
                  </a:lnTo>
                  <a:lnTo>
                    <a:pt x="1187" y="550"/>
                  </a:lnTo>
                  <a:lnTo>
                    <a:pt x="1174" y="567"/>
                  </a:lnTo>
                  <a:lnTo>
                    <a:pt x="1158" y="584"/>
                  </a:lnTo>
                  <a:lnTo>
                    <a:pt x="1139" y="597"/>
                  </a:lnTo>
                  <a:lnTo>
                    <a:pt x="1118" y="609"/>
                  </a:lnTo>
                  <a:lnTo>
                    <a:pt x="1095" y="617"/>
                  </a:lnTo>
                  <a:lnTo>
                    <a:pt x="1070" y="625"/>
                  </a:lnTo>
                  <a:lnTo>
                    <a:pt x="1043" y="630"/>
                  </a:lnTo>
                  <a:lnTo>
                    <a:pt x="1015" y="634"/>
                  </a:lnTo>
                  <a:lnTo>
                    <a:pt x="984" y="636"/>
                  </a:lnTo>
                  <a:lnTo>
                    <a:pt x="953" y="637"/>
                  </a:lnTo>
                  <a:lnTo>
                    <a:pt x="921" y="636"/>
                  </a:lnTo>
                  <a:lnTo>
                    <a:pt x="887" y="635"/>
                  </a:lnTo>
                  <a:lnTo>
                    <a:pt x="853" y="632"/>
                  </a:lnTo>
                  <a:lnTo>
                    <a:pt x="819" y="627"/>
                  </a:lnTo>
                  <a:lnTo>
                    <a:pt x="784" y="623"/>
                  </a:lnTo>
                  <a:lnTo>
                    <a:pt x="749" y="617"/>
                  </a:lnTo>
                  <a:lnTo>
                    <a:pt x="714" y="611"/>
                  </a:lnTo>
                  <a:lnTo>
                    <a:pt x="678" y="604"/>
                  </a:lnTo>
                  <a:lnTo>
                    <a:pt x="609" y="590"/>
                  </a:lnTo>
                  <a:lnTo>
                    <a:pt x="544" y="576"/>
                  </a:lnTo>
                  <a:lnTo>
                    <a:pt x="483" y="562"/>
                  </a:lnTo>
                  <a:lnTo>
                    <a:pt x="427" y="550"/>
                  </a:lnTo>
                  <a:lnTo>
                    <a:pt x="378" y="540"/>
                  </a:lnTo>
                  <a:lnTo>
                    <a:pt x="339" y="533"/>
                  </a:lnTo>
                  <a:lnTo>
                    <a:pt x="303" y="529"/>
                  </a:lnTo>
                  <a:lnTo>
                    <a:pt x="268" y="523"/>
                  </a:lnTo>
                  <a:lnTo>
                    <a:pt x="234" y="516"/>
                  </a:lnTo>
                  <a:lnTo>
                    <a:pt x="200" y="507"/>
                  </a:lnTo>
                  <a:lnTo>
                    <a:pt x="184" y="503"/>
                  </a:lnTo>
                  <a:lnTo>
                    <a:pt x="168" y="497"/>
                  </a:lnTo>
                  <a:lnTo>
                    <a:pt x="153" y="491"/>
                  </a:lnTo>
                  <a:lnTo>
                    <a:pt x="137" y="484"/>
                  </a:lnTo>
                  <a:lnTo>
                    <a:pt x="123" y="477"/>
                  </a:lnTo>
                  <a:lnTo>
                    <a:pt x="109" y="469"/>
                  </a:lnTo>
                  <a:lnTo>
                    <a:pt x="96" y="460"/>
                  </a:lnTo>
                  <a:lnTo>
                    <a:pt x="83" y="451"/>
                  </a:lnTo>
                  <a:lnTo>
                    <a:pt x="71" y="440"/>
                  </a:lnTo>
                  <a:lnTo>
                    <a:pt x="60" y="429"/>
                  </a:lnTo>
                  <a:lnTo>
                    <a:pt x="49" y="417"/>
                  </a:lnTo>
                  <a:lnTo>
                    <a:pt x="39" y="404"/>
                  </a:lnTo>
                  <a:lnTo>
                    <a:pt x="30" y="389"/>
                  </a:lnTo>
                  <a:lnTo>
                    <a:pt x="23" y="374"/>
                  </a:lnTo>
                  <a:lnTo>
                    <a:pt x="16" y="358"/>
                  </a:lnTo>
                  <a:lnTo>
                    <a:pt x="11" y="341"/>
                  </a:lnTo>
                  <a:lnTo>
                    <a:pt x="6" y="323"/>
                  </a:lnTo>
                  <a:lnTo>
                    <a:pt x="3" y="303"/>
                  </a:lnTo>
                  <a:lnTo>
                    <a:pt x="1" y="283"/>
                  </a:lnTo>
                  <a:lnTo>
                    <a:pt x="0" y="261"/>
                  </a:lnTo>
                  <a:lnTo>
                    <a:pt x="0" y="237"/>
                  </a:lnTo>
                  <a:lnTo>
                    <a:pt x="2" y="213"/>
                  </a:lnTo>
                  <a:lnTo>
                    <a:pt x="5" y="187"/>
                  </a:lnTo>
                  <a:lnTo>
                    <a:pt x="10" y="159"/>
                  </a:lnTo>
                  <a:lnTo>
                    <a:pt x="18" y="114"/>
                  </a:lnTo>
                  <a:lnTo>
                    <a:pt x="27" y="72"/>
                  </a:lnTo>
                  <a:lnTo>
                    <a:pt x="35" y="35"/>
                  </a:lnTo>
                  <a:lnTo>
                    <a:pt x="42" y="0"/>
                  </a:lnTo>
                  <a:lnTo>
                    <a:pt x="59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5" name="ïṧľíde"/>
            <p:cNvSpPr/>
            <p:nvPr/>
          </p:nvSpPr>
          <p:spPr bwMode="auto">
            <a:xfrm>
              <a:off x="794543" y="2688432"/>
              <a:ext cx="2544763" cy="1682750"/>
            </a:xfrm>
            <a:custGeom>
              <a:avLst/>
              <a:gdLst>
                <a:gd name="T0" fmla="*/ 2284 w 8015"/>
                <a:gd name="T1" fmla="*/ 1089 h 5302"/>
                <a:gd name="T2" fmla="*/ 1553 w 8015"/>
                <a:gd name="T3" fmla="*/ 1499 h 5302"/>
                <a:gd name="T4" fmla="*/ 1115 w 8015"/>
                <a:gd name="T5" fmla="*/ 1763 h 5302"/>
                <a:gd name="T6" fmla="*/ 692 w 8015"/>
                <a:gd name="T7" fmla="*/ 2036 h 5302"/>
                <a:gd name="T8" fmla="*/ 334 w 8015"/>
                <a:gd name="T9" fmla="*/ 2301 h 5302"/>
                <a:gd name="T10" fmla="*/ 87 w 8015"/>
                <a:gd name="T11" fmla="*/ 2535 h 5302"/>
                <a:gd name="T12" fmla="*/ 0 w 8015"/>
                <a:gd name="T13" fmla="*/ 2715 h 5302"/>
                <a:gd name="T14" fmla="*/ 62 w 8015"/>
                <a:gd name="T15" fmla="*/ 2915 h 5302"/>
                <a:gd name="T16" fmla="*/ 208 w 8015"/>
                <a:gd name="T17" fmla="*/ 3178 h 5302"/>
                <a:gd name="T18" fmla="*/ 410 w 8015"/>
                <a:gd name="T19" fmla="*/ 3477 h 5302"/>
                <a:gd name="T20" fmla="*/ 639 w 8015"/>
                <a:gd name="T21" fmla="*/ 3783 h 5302"/>
                <a:gd name="T22" fmla="*/ 868 w 8015"/>
                <a:gd name="T23" fmla="*/ 4070 h 5302"/>
                <a:gd name="T24" fmla="*/ 1204 w 8015"/>
                <a:gd name="T25" fmla="*/ 4473 h 5302"/>
                <a:gd name="T26" fmla="*/ 1631 w 8015"/>
                <a:gd name="T27" fmla="*/ 3882 h 5302"/>
                <a:gd name="T28" fmla="*/ 1442 w 8015"/>
                <a:gd name="T29" fmla="*/ 3705 h 5302"/>
                <a:gd name="T30" fmla="*/ 1174 w 8015"/>
                <a:gd name="T31" fmla="*/ 3429 h 5302"/>
                <a:gd name="T32" fmla="*/ 1022 w 8015"/>
                <a:gd name="T33" fmla="*/ 3253 h 5302"/>
                <a:gd name="T34" fmla="*/ 898 w 8015"/>
                <a:gd name="T35" fmla="*/ 3082 h 5302"/>
                <a:gd name="T36" fmla="*/ 821 w 8015"/>
                <a:gd name="T37" fmla="*/ 2930 h 5302"/>
                <a:gd name="T38" fmla="*/ 812 w 8015"/>
                <a:gd name="T39" fmla="*/ 2813 h 5302"/>
                <a:gd name="T40" fmla="*/ 899 w 8015"/>
                <a:gd name="T41" fmla="*/ 2691 h 5302"/>
                <a:gd name="T42" fmla="*/ 1069 w 8015"/>
                <a:gd name="T43" fmla="*/ 2544 h 5302"/>
                <a:gd name="T44" fmla="*/ 1295 w 8015"/>
                <a:gd name="T45" fmla="*/ 2385 h 5302"/>
                <a:gd name="T46" fmla="*/ 1616 w 8015"/>
                <a:gd name="T47" fmla="*/ 2186 h 5302"/>
                <a:gd name="T48" fmla="*/ 2098 w 8015"/>
                <a:gd name="T49" fmla="*/ 1912 h 5302"/>
                <a:gd name="T50" fmla="*/ 1759 w 8015"/>
                <a:gd name="T51" fmla="*/ 4761 h 5302"/>
                <a:gd name="T52" fmla="*/ 1869 w 8015"/>
                <a:gd name="T53" fmla="*/ 4856 h 5302"/>
                <a:gd name="T54" fmla="*/ 2005 w 8015"/>
                <a:gd name="T55" fmla="*/ 4951 h 5302"/>
                <a:gd name="T56" fmla="*/ 2190 w 8015"/>
                <a:gd name="T57" fmla="*/ 5059 h 5302"/>
                <a:gd name="T58" fmla="*/ 2424 w 8015"/>
                <a:gd name="T59" fmla="*/ 5161 h 5302"/>
                <a:gd name="T60" fmla="*/ 2705 w 8015"/>
                <a:gd name="T61" fmla="*/ 5245 h 5302"/>
                <a:gd name="T62" fmla="*/ 3031 w 8015"/>
                <a:gd name="T63" fmla="*/ 5295 h 5302"/>
                <a:gd name="T64" fmla="*/ 3400 w 8015"/>
                <a:gd name="T65" fmla="*/ 5295 h 5302"/>
                <a:gd name="T66" fmla="*/ 3770 w 8015"/>
                <a:gd name="T67" fmla="*/ 5241 h 5302"/>
                <a:gd name="T68" fmla="*/ 4101 w 8015"/>
                <a:gd name="T69" fmla="*/ 5151 h 5302"/>
                <a:gd name="T70" fmla="*/ 4388 w 8015"/>
                <a:gd name="T71" fmla="*/ 5037 h 5302"/>
                <a:gd name="T72" fmla="*/ 4630 w 8015"/>
                <a:gd name="T73" fmla="*/ 4915 h 5302"/>
                <a:gd name="T74" fmla="*/ 4823 w 8015"/>
                <a:gd name="T75" fmla="*/ 4796 h 5302"/>
                <a:gd name="T76" fmla="*/ 4965 w 8015"/>
                <a:gd name="T77" fmla="*/ 4695 h 5302"/>
                <a:gd name="T78" fmla="*/ 5082 w 8015"/>
                <a:gd name="T79" fmla="*/ 4597 h 5302"/>
                <a:gd name="T80" fmla="*/ 4659 w 8015"/>
                <a:gd name="T81" fmla="*/ 1594 h 5302"/>
                <a:gd name="T82" fmla="*/ 5004 w 8015"/>
                <a:gd name="T83" fmla="*/ 1598 h 5302"/>
                <a:gd name="T84" fmla="*/ 5300 w 8015"/>
                <a:gd name="T85" fmla="*/ 1583 h 5302"/>
                <a:gd name="T86" fmla="*/ 5509 w 8015"/>
                <a:gd name="T87" fmla="*/ 1561 h 5302"/>
                <a:gd name="T88" fmla="*/ 5723 w 8015"/>
                <a:gd name="T89" fmla="*/ 1527 h 5302"/>
                <a:gd name="T90" fmla="*/ 5938 w 8015"/>
                <a:gd name="T91" fmla="*/ 1479 h 5302"/>
                <a:gd name="T92" fmla="*/ 6215 w 8015"/>
                <a:gd name="T93" fmla="*/ 1396 h 5302"/>
                <a:gd name="T94" fmla="*/ 6559 w 8015"/>
                <a:gd name="T95" fmla="*/ 1263 h 5302"/>
                <a:gd name="T96" fmla="*/ 6898 w 8015"/>
                <a:gd name="T97" fmla="*/ 1109 h 5302"/>
                <a:gd name="T98" fmla="*/ 7217 w 8015"/>
                <a:gd name="T99" fmla="*/ 947 h 5302"/>
                <a:gd name="T100" fmla="*/ 7627 w 8015"/>
                <a:gd name="T101" fmla="*/ 717 h 5302"/>
                <a:gd name="T102" fmla="*/ 7967 w 8015"/>
                <a:gd name="T103" fmla="*/ 510 h 5302"/>
                <a:gd name="T104" fmla="*/ 7542 w 8015"/>
                <a:gd name="T105" fmla="*/ 8 h 5302"/>
                <a:gd name="T106" fmla="*/ 7393 w 8015"/>
                <a:gd name="T107" fmla="*/ 152 h 5302"/>
                <a:gd name="T108" fmla="*/ 7235 w 8015"/>
                <a:gd name="T109" fmla="*/ 290 h 5302"/>
                <a:gd name="T110" fmla="*/ 7057 w 8015"/>
                <a:gd name="T111" fmla="*/ 431 h 5302"/>
                <a:gd name="T112" fmla="*/ 6900 w 8015"/>
                <a:gd name="T113" fmla="*/ 515 h 5302"/>
                <a:gd name="T114" fmla="*/ 6695 w 8015"/>
                <a:gd name="T115" fmla="*/ 600 h 5302"/>
                <a:gd name="T116" fmla="*/ 6405 w 8015"/>
                <a:gd name="T117" fmla="*/ 702 h 5302"/>
                <a:gd name="T118" fmla="*/ 5968 w 8015"/>
                <a:gd name="T119" fmla="*/ 832 h 5302"/>
                <a:gd name="T120" fmla="*/ 5717 w 8015"/>
                <a:gd name="T121" fmla="*/ 899 h 5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15" h="5302">
                  <a:moveTo>
                    <a:pt x="2484" y="959"/>
                  </a:moveTo>
                  <a:lnTo>
                    <a:pt x="2480" y="984"/>
                  </a:lnTo>
                  <a:lnTo>
                    <a:pt x="2400" y="1025"/>
                  </a:lnTo>
                  <a:lnTo>
                    <a:pt x="2284" y="1089"/>
                  </a:lnTo>
                  <a:lnTo>
                    <a:pt x="2134" y="1169"/>
                  </a:lnTo>
                  <a:lnTo>
                    <a:pt x="1959" y="1268"/>
                  </a:lnTo>
                  <a:lnTo>
                    <a:pt x="1764" y="1378"/>
                  </a:lnTo>
                  <a:lnTo>
                    <a:pt x="1553" y="1499"/>
                  </a:lnTo>
                  <a:lnTo>
                    <a:pt x="1445" y="1563"/>
                  </a:lnTo>
                  <a:lnTo>
                    <a:pt x="1335" y="1627"/>
                  </a:lnTo>
                  <a:lnTo>
                    <a:pt x="1225" y="1695"/>
                  </a:lnTo>
                  <a:lnTo>
                    <a:pt x="1115" y="1763"/>
                  </a:lnTo>
                  <a:lnTo>
                    <a:pt x="1006" y="1830"/>
                  </a:lnTo>
                  <a:lnTo>
                    <a:pt x="899" y="1900"/>
                  </a:lnTo>
                  <a:lnTo>
                    <a:pt x="794" y="1969"/>
                  </a:lnTo>
                  <a:lnTo>
                    <a:pt x="692" y="2036"/>
                  </a:lnTo>
                  <a:lnTo>
                    <a:pt x="595" y="2105"/>
                  </a:lnTo>
                  <a:lnTo>
                    <a:pt x="502" y="2171"/>
                  </a:lnTo>
                  <a:lnTo>
                    <a:pt x="414" y="2237"/>
                  </a:lnTo>
                  <a:lnTo>
                    <a:pt x="334" y="2301"/>
                  </a:lnTo>
                  <a:lnTo>
                    <a:pt x="259" y="2363"/>
                  </a:lnTo>
                  <a:lnTo>
                    <a:pt x="193" y="2422"/>
                  </a:lnTo>
                  <a:lnTo>
                    <a:pt x="135" y="2480"/>
                  </a:lnTo>
                  <a:lnTo>
                    <a:pt x="87" y="2535"/>
                  </a:lnTo>
                  <a:lnTo>
                    <a:pt x="48" y="2585"/>
                  </a:lnTo>
                  <a:lnTo>
                    <a:pt x="21" y="2633"/>
                  </a:lnTo>
                  <a:lnTo>
                    <a:pt x="4" y="2676"/>
                  </a:lnTo>
                  <a:lnTo>
                    <a:pt x="0" y="2715"/>
                  </a:lnTo>
                  <a:lnTo>
                    <a:pt x="7" y="2757"/>
                  </a:lnTo>
                  <a:lnTo>
                    <a:pt x="19" y="2805"/>
                  </a:lnTo>
                  <a:lnTo>
                    <a:pt x="38" y="2857"/>
                  </a:lnTo>
                  <a:lnTo>
                    <a:pt x="62" y="2915"/>
                  </a:lnTo>
                  <a:lnTo>
                    <a:pt x="92" y="2976"/>
                  </a:lnTo>
                  <a:lnTo>
                    <a:pt x="126" y="3041"/>
                  </a:lnTo>
                  <a:lnTo>
                    <a:pt x="166" y="3108"/>
                  </a:lnTo>
                  <a:lnTo>
                    <a:pt x="208" y="3178"/>
                  </a:lnTo>
                  <a:lnTo>
                    <a:pt x="255" y="3251"/>
                  </a:lnTo>
                  <a:lnTo>
                    <a:pt x="304" y="3325"/>
                  </a:lnTo>
                  <a:lnTo>
                    <a:pt x="356" y="3400"/>
                  </a:lnTo>
                  <a:lnTo>
                    <a:pt x="410" y="3477"/>
                  </a:lnTo>
                  <a:lnTo>
                    <a:pt x="467" y="3554"/>
                  </a:lnTo>
                  <a:lnTo>
                    <a:pt x="523" y="3630"/>
                  </a:lnTo>
                  <a:lnTo>
                    <a:pt x="581" y="3708"/>
                  </a:lnTo>
                  <a:lnTo>
                    <a:pt x="639" y="3783"/>
                  </a:lnTo>
                  <a:lnTo>
                    <a:pt x="698" y="3858"/>
                  </a:lnTo>
                  <a:lnTo>
                    <a:pt x="755" y="3931"/>
                  </a:lnTo>
                  <a:lnTo>
                    <a:pt x="812" y="4002"/>
                  </a:lnTo>
                  <a:lnTo>
                    <a:pt x="868" y="4070"/>
                  </a:lnTo>
                  <a:lnTo>
                    <a:pt x="971" y="4198"/>
                  </a:lnTo>
                  <a:lnTo>
                    <a:pt x="1065" y="4309"/>
                  </a:lnTo>
                  <a:lnTo>
                    <a:pt x="1145" y="4403"/>
                  </a:lnTo>
                  <a:lnTo>
                    <a:pt x="1204" y="4473"/>
                  </a:lnTo>
                  <a:lnTo>
                    <a:pt x="1244" y="4518"/>
                  </a:lnTo>
                  <a:lnTo>
                    <a:pt x="1258" y="4533"/>
                  </a:lnTo>
                  <a:lnTo>
                    <a:pt x="1640" y="3891"/>
                  </a:lnTo>
                  <a:lnTo>
                    <a:pt x="1631" y="3882"/>
                  </a:lnTo>
                  <a:lnTo>
                    <a:pt x="1603" y="3857"/>
                  </a:lnTo>
                  <a:lnTo>
                    <a:pt x="1561" y="3818"/>
                  </a:lnTo>
                  <a:lnTo>
                    <a:pt x="1506" y="3767"/>
                  </a:lnTo>
                  <a:lnTo>
                    <a:pt x="1442" y="3705"/>
                  </a:lnTo>
                  <a:lnTo>
                    <a:pt x="1369" y="3634"/>
                  </a:lnTo>
                  <a:lnTo>
                    <a:pt x="1293" y="3555"/>
                  </a:lnTo>
                  <a:lnTo>
                    <a:pt x="1213" y="3472"/>
                  </a:lnTo>
                  <a:lnTo>
                    <a:pt x="1174" y="3429"/>
                  </a:lnTo>
                  <a:lnTo>
                    <a:pt x="1135" y="3385"/>
                  </a:lnTo>
                  <a:lnTo>
                    <a:pt x="1095" y="3342"/>
                  </a:lnTo>
                  <a:lnTo>
                    <a:pt x="1058" y="3298"/>
                  </a:lnTo>
                  <a:lnTo>
                    <a:pt x="1022" y="3253"/>
                  </a:lnTo>
                  <a:lnTo>
                    <a:pt x="988" y="3210"/>
                  </a:lnTo>
                  <a:lnTo>
                    <a:pt x="956" y="3166"/>
                  </a:lnTo>
                  <a:lnTo>
                    <a:pt x="925" y="3123"/>
                  </a:lnTo>
                  <a:lnTo>
                    <a:pt x="898" y="3082"/>
                  </a:lnTo>
                  <a:lnTo>
                    <a:pt x="873" y="3042"/>
                  </a:lnTo>
                  <a:lnTo>
                    <a:pt x="852" y="3003"/>
                  </a:lnTo>
                  <a:lnTo>
                    <a:pt x="835" y="2965"/>
                  </a:lnTo>
                  <a:lnTo>
                    <a:pt x="821" y="2930"/>
                  </a:lnTo>
                  <a:lnTo>
                    <a:pt x="812" y="2898"/>
                  </a:lnTo>
                  <a:lnTo>
                    <a:pt x="807" y="2866"/>
                  </a:lnTo>
                  <a:lnTo>
                    <a:pt x="807" y="2838"/>
                  </a:lnTo>
                  <a:lnTo>
                    <a:pt x="812" y="2813"/>
                  </a:lnTo>
                  <a:lnTo>
                    <a:pt x="825" y="2785"/>
                  </a:lnTo>
                  <a:lnTo>
                    <a:pt x="845" y="2755"/>
                  </a:lnTo>
                  <a:lnTo>
                    <a:pt x="869" y="2723"/>
                  </a:lnTo>
                  <a:lnTo>
                    <a:pt x="899" y="2691"/>
                  </a:lnTo>
                  <a:lnTo>
                    <a:pt x="935" y="2656"/>
                  </a:lnTo>
                  <a:lnTo>
                    <a:pt x="976" y="2620"/>
                  </a:lnTo>
                  <a:lnTo>
                    <a:pt x="1020" y="2583"/>
                  </a:lnTo>
                  <a:lnTo>
                    <a:pt x="1069" y="2544"/>
                  </a:lnTo>
                  <a:lnTo>
                    <a:pt x="1122" y="2505"/>
                  </a:lnTo>
                  <a:lnTo>
                    <a:pt x="1177" y="2466"/>
                  </a:lnTo>
                  <a:lnTo>
                    <a:pt x="1235" y="2426"/>
                  </a:lnTo>
                  <a:lnTo>
                    <a:pt x="1295" y="2385"/>
                  </a:lnTo>
                  <a:lnTo>
                    <a:pt x="1357" y="2345"/>
                  </a:lnTo>
                  <a:lnTo>
                    <a:pt x="1420" y="2305"/>
                  </a:lnTo>
                  <a:lnTo>
                    <a:pt x="1486" y="2264"/>
                  </a:lnTo>
                  <a:lnTo>
                    <a:pt x="1616" y="2186"/>
                  </a:lnTo>
                  <a:lnTo>
                    <a:pt x="1746" y="2109"/>
                  </a:lnTo>
                  <a:lnTo>
                    <a:pt x="1872" y="2037"/>
                  </a:lnTo>
                  <a:lnTo>
                    <a:pt x="1990" y="1971"/>
                  </a:lnTo>
                  <a:lnTo>
                    <a:pt x="2098" y="1912"/>
                  </a:lnTo>
                  <a:lnTo>
                    <a:pt x="2192" y="1862"/>
                  </a:lnTo>
                  <a:lnTo>
                    <a:pt x="2269" y="1821"/>
                  </a:lnTo>
                  <a:lnTo>
                    <a:pt x="2325" y="1792"/>
                  </a:lnTo>
                  <a:lnTo>
                    <a:pt x="1759" y="4761"/>
                  </a:lnTo>
                  <a:lnTo>
                    <a:pt x="1767" y="4768"/>
                  </a:lnTo>
                  <a:lnTo>
                    <a:pt x="1788" y="4787"/>
                  </a:lnTo>
                  <a:lnTo>
                    <a:pt x="1821" y="4817"/>
                  </a:lnTo>
                  <a:lnTo>
                    <a:pt x="1869" y="4856"/>
                  </a:lnTo>
                  <a:lnTo>
                    <a:pt x="1899" y="4878"/>
                  </a:lnTo>
                  <a:lnTo>
                    <a:pt x="1930" y="4901"/>
                  </a:lnTo>
                  <a:lnTo>
                    <a:pt x="1966" y="4926"/>
                  </a:lnTo>
                  <a:lnTo>
                    <a:pt x="2005" y="4951"/>
                  </a:lnTo>
                  <a:lnTo>
                    <a:pt x="2046" y="4977"/>
                  </a:lnTo>
                  <a:lnTo>
                    <a:pt x="2092" y="5004"/>
                  </a:lnTo>
                  <a:lnTo>
                    <a:pt x="2140" y="5032"/>
                  </a:lnTo>
                  <a:lnTo>
                    <a:pt x="2190" y="5059"/>
                  </a:lnTo>
                  <a:lnTo>
                    <a:pt x="2244" y="5085"/>
                  </a:lnTo>
                  <a:lnTo>
                    <a:pt x="2301" y="5111"/>
                  </a:lnTo>
                  <a:lnTo>
                    <a:pt x="2361" y="5137"/>
                  </a:lnTo>
                  <a:lnTo>
                    <a:pt x="2424" y="5161"/>
                  </a:lnTo>
                  <a:lnTo>
                    <a:pt x="2491" y="5185"/>
                  </a:lnTo>
                  <a:lnTo>
                    <a:pt x="2559" y="5207"/>
                  </a:lnTo>
                  <a:lnTo>
                    <a:pt x="2631" y="5227"/>
                  </a:lnTo>
                  <a:lnTo>
                    <a:pt x="2705" y="5245"/>
                  </a:lnTo>
                  <a:lnTo>
                    <a:pt x="2783" y="5262"/>
                  </a:lnTo>
                  <a:lnTo>
                    <a:pt x="2862" y="5276"/>
                  </a:lnTo>
                  <a:lnTo>
                    <a:pt x="2945" y="5287"/>
                  </a:lnTo>
                  <a:lnTo>
                    <a:pt x="3031" y="5295"/>
                  </a:lnTo>
                  <a:lnTo>
                    <a:pt x="3120" y="5300"/>
                  </a:lnTo>
                  <a:lnTo>
                    <a:pt x="3210" y="5302"/>
                  </a:lnTo>
                  <a:lnTo>
                    <a:pt x="3304" y="5300"/>
                  </a:lnTo>
                  <a:lnTo>
                    <a:pt x="3400" y="5295"/>
                  </a:lnTo>
                  <a:lnTo>
                    <a:pt x="3496" y="5285"/>
                  </a:lnTo>
                  <a:lnTo>
                    <a:pt x="3590" y="5273"/>
                  </a:lnTo>
                  <a:lnTo>
                    <a:pt x="3681" y="5259"/>
                  </a:lnTo>
                  <a:lnTo>
                    <a:pt x="3770" y="5241"/>
                  </a:lnTo>
                  <a:lnTo>
                    <a:pt x="3856" y="5221"/>
                  </a:lnTo>
                  <a:lnTo>
                    <a:pt x="3940" y="5200"/>
                  </a:lnTo>
                  <a:lnTo>
                    <a:pt x="4022" y="5176"/>
                  </a:lnTo>
                  <a:lnTo>
                    <a:pt x="4101" y="5151"/>
                  </a:lnTo>
                  <a:lnTo>
                    <a:pt x="4177" y="5124"/>
                  </a:lnTo>
                  <a:lnTo>
                    <a:pt x="4250" y="5096"/>
                  </a:lnTo>
                  <a:lnTo>
                    <a:pt x="4321" y="5068"/>
                  </a:lnTo>
                  <a:lnTo>
                    <a:pt x="4388" y="5037"/>
                  </a:lnTo>
                  <a:lnTo>
                    <a:pt x="4454" y="5008"/>
                  </a:lnTo>
                  <a:lnTo>
                    <a:pt x="4515" y="4976"/>
                  </a:lnTo>
                  <a:lnTo>
                    <a:pt x="4574" y="4946"/>
                  </a:lnTo>
                  <a:lnTo>
                    <a:pt x="4630" y="4915"/>
                  </a:lnTo>
                  <a:lnTo>
                    <a:pt x="4683" y="4885"/>
                  </a:lnTo>
                  <a:lnTo>
                    <a:pt x="4733" y="4854"/>
                  </a:lnTo>
                  <a:lnTo>
                    <a:pt x="4780" y="4825"/>
                  </a:lnTo>
                  <a:lnTo>
                    <a:pt x="4823" y="4796"/>
                  </a:lnTo>
                  <a:lnTo>
                    <a:pt x="4864" y="4769"/>
                  </a:lnTo>
                  <a:lnTo>
                    <a:pt x="4901" y="4742"/>
                  </a:lnTo>
                  <a:lnTo>
                    <a:pt x="4934" y="4718"/>
                  </a:lnTo>
                  <a:lnTo>
                    <a:pt x="4965" y="4695"/>
                  </a:lnTo>
                  <a:lnTo>
                    <a:pt x="5015" y="4654"/>
                  </a:lnTo>
                  <a:lnTo>
                    <a:pt x="5051" y="4624"/>
                  </a:lnTo>
                  <a:lnTo>
                    <a:pt x="5074" y="4604"/>
                  </a:lnTo>
                  <a:lnTo>
                    <a:pt x="5082" y="4597"/>
                  </a:lnTo>
                  <a:lnTo>
                    <a:pt x="4515" y="1586"/>
                  </a:lnTo>
                  <a:lnTo>
                    <a:pt x="4515" y="1586"/>
                  </a:lnTo>
                  <a:lnTo>
                    <a:pt x="4585" y="1590"/>
                  </a:lnTo>
                  <a:lnTo>
                    <a:pt x="4659" y="1594"/>
                  </a:lnTo>
                  <a:lnTo>
                    <a:pt x="4739" y="1597"/>
                  </a:lnTo>
                  <a:lnTo>
                    <a:pt x="4823" y="1599"/>
                  </a:lnTo>
                  <a:lnTo>
                    <a:pt x="4912" y="1599"/>
                  </a:lnTo>
                  <a:lnTo>
                    <a:pt x="5004" y="1598"/>
                  </a:lnTo>
                  <a:lnTo>
                    <a:pt x="5100" y="1595"/>
                  </a:lnTo>
                  <a:lnTo>
                    <a:pt x="5198" y="1590"/>
                  </a:lnTo>
                  <a:lnTo>
                    <a:pt x="5248" y="1587"/>
                  </a:lnTo>
                  <a:lnTo>
                    <a:pt x="5300" y="1583"/>
                  </a:lnTo>
                  <a:lnTo>
                    <a:pt x="5351" y="1578"/>
                  </a:lnTo>
                  <a:lnTo>
                    <a:pt x="5403" y="1573"/>
                  </a:lnTo>
                  <a:lnTo>
                    <a:pt x="5455" y="1567"/>
                  </a:lnTo>
                  <a:lnTo>
                    <a:pt x="5509" y="1561"/>
                  </a:lnTo>
                  <a:lnTo>
                    <a:pt x="5561" y="1553"/>
                  </a:lnTo>
                  <a:lnTo>
                    <a:pt x="5615" y="1546"/>
                  </a:lnTo>
                  <a:lnTo>
                    <a:pt x="5669" y="1536"/>
                  </a:lnTo>
                  <a:lnTo>
                    <a:pt x="5723" y="1527"/>
                  </a:lnTo>
                  <a:lnTo>
                    <a:pt x="5777" y="1516"/>
                  </a:lnTo>
                  <a:lnTo>
                    <a:pt x="5830" y="1504"/>
                  </a:lnTo>
                  <a:lnTo>
                    <a:pt x="5885" y="1492"/>
                  </a:lnTo>
                  <a:lnTo>
                    <a:pt x="5938" y="1479"/>
                  </a:lnTo>
                  <a:lnTo>
                    <a:pt x="5993" y="1465"/>
                  </a:lnTo>
                  <a:lnTo>
                    <a:pt x="6047" y="1450"/>
                  </a:lnTo>
                  <a:lnTo>
                    <a:pt x="6130" y="1423"/>
                  </a:lnTo>
                  <a:lnTo>
                    <a:pt x="6215" y="1396"/>
                  </a:lnTo>
                  <a:lnTo>
                    <a:pt x="6300" y="1366"/>
                  </a:lnTo>
                  <a:lnTo>
                    <a:pt x="6386" y="1333"/>
                  </a:lnTo>
                  <a:lnTo>
                    <a:pt x="6472" y="1299"/>
                  </a:lnTo>
                  <a:lnTo>
                    <a:pt x="6559" y="1263"/>
                  </a:lnTo>
                  <a:lnTo>
                    <a:pt x="6644" y="1226"/>
                  </a:lnTo>
                  <a:lnTo>
                    <a:pt x="6730" y="1188"/>
                  </a:lnTo>
                  <a:lnTo>
                    <a:pt x="6814" y="1149"/>
                  </a:lnTo>
                  <a:lnTo>
                    <a:pt x="6898" y="1109"/>
                  </a:lnTo>
                  <a:lnTo>
                    <a:pt x="6979" y="1069"/>
                  </a:lnTo>
                  <a:lnTo>
                    <a:pt x="7060" y="1028"/>
                  </a:lnTo>
                  <a:lnTo>
                    <a:pt x="7140" y="987"/>
                  </a:lnTo>
                  <a:lnTo>
                    <a:pt x="7217" y="947"/>
                  </a:lnTo>
                  <a:lnTo>
                    <a:pt x="7291" y="907"/>
                  </a:lnTo>
                  <a:lnTo>
                    <a:pt x="7364" y="866"/>
                  </a:lnTo>
                  <a:lnTo>
                    <a:pt x="7501" y="790"/>
                  </a:lnTo>
                  <a:lnTo>
                    <a:pt x="7627" y="717"/>
                  </a:lnTo>
                  <a:lnTo>
                    <a:pt x="7738" y="651"/>
                  </a:lnTo>
                  <a:lnTo>
                    <a:pt x="7833" y="594"/>
                  </a:lnTo>
                  <a:lnTo>
                    <a:pt x="7910" y="546"/>
                  </a:lnTo>
                  <a:lnTo>
                    <a:pt x="7967" y="510"/>
                  </a:lnTo>
                  <a:lnTo>
                    <a:pt x="8003" y="487"/>
                  </a:lnTo>
                  <a:lnTo>
                    <a:pt x="8015" y="478"/>
                  </a:lnTo>
                  <a:lnTo>
                    <a:pt x="7550" y="0"/>
                  </a:lnTo>
                  <a:lnTo>
                    <a:pt x="7542" y="8"/>
                  </a:lnTo>
                  <a:lnTo>
                    <a:pt x="7518" y="33"/>
                  </a:lnTo>
                  <a:lnTo>
                    <a:pt x="7480" y="72"/>
                  </a:lnTo>
                  <a:lnTo>
                    <a:pt x="7426" y="123"/>
                  </a:lnTo>
                  <a:lnTo>
                    <a:pt x="7393" y="152"/>
                  </a:lnTo>
                  <a:lnTo>
                    <a:pt x="7359" y="185"/>
                  </a:lnTo>
                  <a:lnTo>
                    <a:pt x="7320" y="218"/>
                  </a:lnTo>
                  <a:lnTo>
                    <a:pt x="7279" y="253"/>
                  </a:lnTo>
                  <a:lnTo>
                    <a:pt x="7235" y="290"/>
                  </a:lnTo>
                  <a:lnTo>
                    <a:pt x="7189" y="330"/>
                  </a:lnTo>
                  <a:lnTo>
                    <a:pt x="7138" y="369"/>
                  </a:lnTo>
                  <a:lnTo>
                    <a:pt x="7086" y="410"/>
                  </a:lnTo>
                  <a:lnTo>
                    <a:pt x="7057" y="431"/>
                  </a:lnTo>
                  <a:lnTo>
                    <a:pt x="7023" y="452"/>
                  </a:lnTo>
                  <a:lnTo>
                    <a:pt x="6985" y="473"/>
                  </a:lnTo>
                  <a:lnTo>
                    <a:pt x="6944" y="494"/>
                  </a:lnTo>
                  <a:lnTo>
                    <a:pt x="6900" y="515"/>
                  </a:lnTo>
                  <a:lnTo>
                    <a:pt x="6852" y="537"/>
                  </a:lnTo>
                  <a:lnTo>
                    <a:pt x="6802" y="558"/>
                  </a:lnTo>
                  <a:lnTo>
                    <a:pt x="6749" y="579"/>
                  </a:lnTo>
                  <a:lnTo>
                    <a:pt x="6695" y="600"/>
                  </a:lnTo>
                  <a:lnTo>
                    <a:pt x="6638" y="621"/>
                  </a:lnTo>
                  <a:lnTo>
                    <a:pt x="6581" y="642"/>
                  </a:lnTo>
                  <a:lnTo>
                    <a:pt x="6523" y="662"/>
                  </a:lnTo>
                  <a:lnTo>
                    <a:pt x="6405" y="702"/>
                  </a:lnTo>
                  <a:lnTo>
                    <a:pt x="6288" y="739"/>
                  </a:lnTo>
                  <a:lnTo>
                    <a:pt x="6174" y="772"/>
                  </a:lnTo>
                  <a:lnTo>
                    <a:pt x="6066" y="804"/>
                  </a:lnTo>
                  <a:lnTo>
                    <a:pt x="5968" y="832"/>
                  </a:lnTo>
                  <a:lnTo>
                    <a:pt x="5881" y="856"/>
                  </a:lnTo>
                  <a:lnTo>
                    <a:pt x="5808" y="876"/>
                  </a:lnTo>
                  <a:lnTo>
                    <a:pt x="5753" y="890"/>
                  </a:lnTo>
                  <a:lnTo>
                    <a:pt x="5717" y="899"/>
                  </a:lnTo>
                  <a:lnTo>
                    <a:pt x="5705" y="902"/>
                  </a:lnTo>
                  <a:lnTo>
                    <a:pt x="4206" y="973"/>
                  </a:lnTo>
                  <a:lnTo>
                    <a:pt x="2484" y="959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6" name="îṡlïďé"/>
            <p:cNvSpPr/>
            <p:nvPr/>
          </p:nvSpPr>
          <p:spPr bwMode="auto">
            <a:xfrm>
              <a:off x="1758156" y="2993232"/>
              <a:ext cx="280988" cy="104775"/>
            </a:xfrm>
            <a:custGeom>
              <a:avLst/>
              <a:gdLst>
                <a:gd name="T0" fmla="*/ 886 w 886"/>
                <a:gd name="T1" fmla="*/ 8 h 327"/>
                <a:gd name="T2" fmla="*/ 0 w 886"/>
                <a:gd name="T3" fmla="*/ 0 h 327"/>
                <a:gd name="T4" fmla="*/ 414 w 886"/>
                <a:gd name="T5" fmla="*/ 327 h 327"/>
                <a:gd name="T6" fmla="*/ 886 w 886"/>
                <a:gd name="T7" fmla="*/ 8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6" h="327">
                  <a:moveTo>
                    <a:pt x="886" y="8"/>
                  </a:moveTo>
                  <a:lnTo>
                    <a:pt x="0" y="0"/>
                  </a:lnTo>
                  <a:lnTo>
                    <a:pt x="414" y="327"/>
                  </a:lnTo>
                  <a:lnTo>
                    <a:pt x="886" y="8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7" name="ï$ľïďê"/>
            <p:cNvSpPr/>
            <p:nvPr/>
          </p:nvSpPr>
          <p:spPr bwMode="auto">
            <a:xfrm>
              <a:off x="1194593" y="3904457"/>
              <a:ext cx="265113" cy="304800"/>
            </a:xfrm>
            <a:custGeom>
              <a:avLst/>
              <a:gdLst>
                <a:gd name="T0" fmla="*/ 388 w 835"/>
                <a:gd name="T1" fmla="*/ 57 h 958"/>
                <a:gd name="T2" fmla="*/ 429 w 835"/>
                <a:gd name="T3" fmla="*/ 43 h 958"/>
                <a:gd name="T4" fmla="*/ 500 w 835"/>
                <a:gd name="T5" fmla="*/ 22 h 958"/>
                <a:gd name="T6" fmla="*/ 569 w 835"/>
                <a:gd name="T7" fmla="*/ 8 h 958"/>
                <a:gd name="T8" fmla="*/ 618 w 835"/>
                <a:gd name="T9" fmla="*/ 2 h 958"/>
                <a:gd name="T10" fmla="*/ 668 w 835"/>
                <a:gd name="T11" fmla="*/ 0 h 958"/>
                <a:gd name="T12" fmla="*/ 715 w 835"/>
                <a:gd name="T13" fmla="*/ 3 h 958"/>
                <a:gd name="T14" fmla="*/ 756 w 835"/>
                <a:gd name="T15" fmla="*/ 14 h 958"/>
                <a:gd name="T16" fmla="*/ 790 w 835"/>
                <a:gd name="T17" fmla="*/ 29 h 958"/>
                <a:gd name="T18" fmla="*/ 810 w 835"/>
                <a:gd name="T19" fmla="*/ 44 h 958"/>
                <a:gd name="T20" fmla="*/ 820 w 835"/>
                <a:gd name="T21" fmla="*/ 54 h 958"/>
                <a:gd name="T22" fmla="*/ 827 w 835"/>
                <a:gd name="T23" fmla="*/ 66 h 958"/>
                <a:gd name="T24" fmla="*/ 833 w 835"/>
                <a:gd name="T25" fmla="*/ 78 h 958"/>
                <a:gd name="T26" fmla="*/ 835 w 835"/>
                <a:gd name="T27" fmla="*/ 91 h 958"/>
                <a:gd name="T28" fmla="*/ 834 w 835"/>
                <a:gd name="T29" fmla="*/ 105 h 958"/>
                <a:gd name="T30" fmla="*/ 829 w 835"/>
                <a:gd name="T31" fmla="*/ 119 h 958"/>
                <a:gd name="T32" fmla="*/ 823 w 835"/>
                <a:gd name="T33" fmla="*/ 133 h 958"/>
                <a:gd name="T34" fmla="*/ 791 w 835"/>
                <a:gd name="T35" fmla="*/ 176 h 958"/>
                <a:gd name="T36" fmla="*/ 743 w 835"/>
                <a:gd name="T37" fmla="*/ 249 h 958"/>
                <a:gd name="T38" fmla="*/ 709 w 835"/>
                <a:gd name="T39" fmla="*/ 306 h 958"/>
                <a:gd name="T40" fmla="*/ 678 w 835"/>
                <a:gd name="T41" fmla="*/ 368 h 958"/>
                <a:gd name="T42" fmla="*/ 658 w 835"/>
                <a:gd name="T43" fmla="*/ 415 h 958"/>
                <a:gd name="T44" fmla="*/ 647 w 835"/>
                <a:gd name="T45" fmla="*/ 446 h 958"/>
                <a:gd name="T46" fmla="*/ 640 w 835"/>
                <a:gd name="T47" fmla="*/ 477 h 958"/>
                <a:gd name="T48" fmla="*/ 635 w 835"/>
                <a:gd name="T49" fmla="*/ 507 h 958"/>
                <a:gd name="T50" fmla="*/ 634 w 835"/>
                <a:gd name="T51" fmla="*/ 537 h 958"/>
                <a:gd name="T52" fmla="*/ 636 w 835"/>
                <a:gd name="T53" fmla="*/ 565 h 958"/>
                <a:gd name="T54" fmla="*/ 646 w 835"/>
                <a:gd name="T55" fmla="*/ 605 h 958"/>
                <a:gd name="T56" fmla="*/ 654 w 835"/>
                <a:gd name="T57" fmla="*/ 665 h 958"/>
                <a:gd name="T58" fmla="*/ 655 w 835"/>
                <a:gd name="T59" fmla="*/ 713 h 958"/>
                <a:gd name="T60" fmla="*/ 653 w 835"/>
                <a:gd name="T61" fmla="*/ 746 h 958"/>
                <a:gd name="T62" fmla="*/ 647 w 835"/>
                <a:gd name="T63" fmla="*/ 778 h 958"/>
                <a:gd name="T64" fmla="*/ 640 w 835"/>
                <a:gd name="T65" fmla="*/ 808 h 958"/>
                <a:gd name="T66" fmla="*/ 629 w 835"/>
                <a:gd name="T67" fmla="*/ 838 h 958"/>
                <a:gd name="T68" fmla="*/ 615 w 835"/>
                <a:gd name="T69" fmla="*/ 865 h 958"/>
                <a:gd name="T70" fmla="*/ 597 w 835"/>
                <a:gd name="T71" fmla="*/ 890 h 958"/>
                <a:gd name="T72" fmla="*/ 575 w 835"/>
                <a:gd name="T73" fmla="*/ 911 h 958"/>
                <a:gd name="T74" fmla="*/ 549 w 835"/>
                <a:gd name="T75" fmla="*/ 929 h 958"/>
                <a:gd name="T76" fmla="*/ 520 w 835"/>
                <a:gd name="T77" fmla="*/ 943 h 958"/>
                <a:gd name="T78" fmla="*/ 485 w 835"/>
                <a:gd name="T79" fmla="*/ 953 h 958"/>
                <a:gd name="T80" fmla="*/ 446 w 835"/>
                <a:gd name="T81" fmla="*/ 958 h 958"/>
                <a:gd name="T82" fmla="*/ 402 w 835"/>
                <a:gd name="T83" fmla="*/ 957 h 958"/>
                <a:gd name="T84" fmla="*/ 360 w 835"/>
                <a:gd name="T85" fmla="*/ 950 h 958"/>
                <a:gd name="T86" fmla="*/ 318 w 835"/>
                <a:gd name="T87" fmla="*/ 938 h 958"/>
                <a:gd name="T88" fmla="*/ 278 w 835"/>
                <a:gd name="T89" fmla="*/ 924 h 958"/>
                <a:gd name="T90" fmla="*/ 240 w 835"/>
                <a:gd name="T91" fmla="*/ 905 h 958"/>
                <a:gd name="T92" fmla="*/ 204 w 835"/>
                <a:gd name="T93" fmla="*/ 885 h 958"/>
                <a:gd name="T94" fmla="*/ 154 w 835"/>
                <a:gd name="T95" fmla="*/ 851 h 958"/>
                <a:gd name="T96" fmla="*/ 97 w 835"/>
                <a:gd name="T97" fmla="*/ 804 h 958"/>
                <a:gd name="T98" fmla="*/ 51 w 835"/>
                <a:gd name="T99" fmla="*/ 760 h 958"/>
                <a:gd name="T100" fmla="*/ 9 w 835"/>
                <a:gd name="T101" fmla="*/ 712 h 958"/>
                <a:gd name="T102" fmla="*/ 382 w 835"/>
                <a:gd name="T103" fmla="*/ 59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35" h="958">
                  <a:moveTo>
                    <a:pt x="382" y="59"/>
                  </a:moveTo>
                  <a:lnTo>
                    <a:pt x="388" y="57"/>
                  </a:lnTo>
                  <a:lnTo>
                    <a:pt x="404" y="50"/>
                  </a:lnTo>
                  <a:lnTo>
                    <a:pt x="429" y="43"/>
                  </a:lnTo>
                  <a:lnTo>
                    <a:pt x="462" y="32"/>
                  </a:lnTo>
                  <a:lnTo>
                    <a:pt x="500" y="22"/>
                  </a:lnTo>
                  <a:lnTo>
                    <a:pt x="545" y="12"/>
                  </a:lnTo>
                  <a:lnTo>
                    <a:pt x="569" y="8"/>
                  </a:lnTo>
                  <a:lnTo>
                    <a:pt x="593" y="5"/>
                  </a:lnTo>
                  <a:lnTo>
                    <a:pt x="618" y="2"/>
                  </a:lnTo>
                  <a:lnTo>
                    <a:pt x="643" y="0"/>
                  </a:lnTo>
                  <a:lnTo>
                    <a:pt x="668" y="0"/>
                  </a:lnTo>
                  <a:lnTo>
                    <a:pt x="692" y="1"/>
                  </a:lnTo>
                  <a:lnTo>
                    <a:pt x="715" y="3"/>
                  </a:lnTo>
                  <a:lnTo>
                    <a:pt x="737" y="8"/>
                  </a:lnTo>
                  <a:lnTo>
                    <a:pt x="756" y="14"/>
                  </a:lnTo>
                  <a:lnTo>
                    <a:pt x="774" y="21"/>
                  </a:lnTo>
                  <a:lnTo>
                    <a:pt x="790" y="29"/>
                  </a:lnTo>
                  <a:lnTo>
                    <a:pt x="803" y="38"/>
                  </a:lnTo>
                  <a:lnTo>
                    <a:pt x="810" y="44"/>
                  </a:lnTo>
                  <a:lnTo>
                    <a:pt x="815" y="48"/>
                  </a:lnTo>
                  <a:lnTo>
                    <a:pt x="820" y="54"/>
                  </a:lnTo>
                  <a:lnTo>
                    <a:pt x="824" y="60"/>
                  </a:lnTo>
                  <a:lnTo>
                    <a:pt x="827" y="66"/>
                  </a:lnTo>
                  <a:lnTo>
                    <a:pt x="830" y="72"/>
                  </a:lnTo>
                  <a:lnTo>
                    <a:pt x="833" y="78"/>
                  </a:lnTo>
                  <a:lnTo>
                    <a:pt x="834" y="84"/>
                  </a:lnTo>
                  <a:lnTo>
                    <a:pt x="835" y="91"/>
                  </a:lnTo>
                  <a:lnTo>
                    <a:pt x="835" y="97"/>
                  </a:lnTo>
                  <a:lnTo>
                    <a:pt x="834" y="105"/>
                  </a:lnTo>
                  <a:lnTo>
                    <a:pt x="833" y="111"/>
                  </a:lnTo>
                  <a:lnTo>
                    <a:pt x="829" y="119"/>
                  </a:lnTo>
                  <a:lnTo>
                    <a:pt x="826" y="126"/>
                  </a:lnTo>
                  <a:lnTo>
                    <a:pt x="823" y="133"/>
                  </a:lnTo>
                  <a:lnTo>
                    <a:pt x="817" y="141"/>
                  </a:lnTo>
                  <a:lnTo>
                    <a:pt x="791" y="176"/>
                  </a:lnTo>
                  <a:lnTo>
                    <a:pt x="760" y="223"/>
                  </a:lnTo>
                  <a:lnTo>
                    <a:pt x="743" y="249"/>
                  </a:lnTo>
                  <a:lnTo>
                    <a:pt x="726" y="276"/>
                  </a:lnTo>
                  <a:lnTo>
                    <a:pt x="709" y="306"/>
                  </a:lnTo>
                  <a:lnTo>
                    <a:pt x="693" y="336"/>
                  </a:lnTo>
                  <a:lnTo>
                    <a:pt x="678" y="368"/>
                  </a:lnTo>
                  <a:lnTo>
                    <a:pt x="664" y="398"/>
                  </a:lnTo>
                  <a:lnTo>
                    <a:pt x="658" y="415"/>
                  </a:lnTo>
                  <a:lnTo>
                    <a:pt x="653" y="430"/>
                  </a:lnTo>
                  <a:lnTo>
                    <a:pt x="647" y="446"/>
                  </a:lnTo>
                  <a:lnTo>
                    <a:pt x="644" y="461"/>
                  </a:lnTo>
                  <a:lnTo>
                    <a:pt x="640" y="477"/>
                  </a:lnTo>
                  <a:lnTo>
                    <a:pt x="638" y="492"/>
                  </a:lnTo>
                  <a:lnTo>
                    <a:pt x="635" y="507"/>
                  </a:lnTo>
                  <a:lnTo>
                    <a:pt x="634" y="523"/>
                  </a:lnTo>
                  <a:lnTo>
                    <a:pt x="634" y="537"/>
                  </a:lnTo>
                  <a:lnTo>
                    <a:pt x="635" y="551"/>
                  </a:lnTo>
                  <a:lnTo>
                    <a:pt x="636" y="565"/>
                  </a:lnTo>
                  <a:lnTo>
                    <a:pt x="640" y="578"/>
                  </a:lnTo>
                  <a:lnTo>
                    <a:pt x="646" y="605"/>
                  </a:lnTo>
                  <a:lnTo>
                    <a:pt x="651" y="635"/>
                  </a:lnTo>
                  <a:lnTo>
                    <a:pt x="654" y="665"/>
                  </a:lnTo>
                  <a:lnTo>
                    <a:pt x="655" y="697"/>
                  </a:lnTo>
                  <a:lnTo>
                    <a:pt x="655" y="713"/>
                  </a:lnTo>
                  <a:lnTo>
                    <a:pt x="654" y="730"/>
                  </a:lnTo>
                  <a:lnTo>
                    <a:pt x="653" y="746"/>
                  </a:lnTo>
                  <a:lnTo>
                    <a:pt x="651" y="761"/>
                  </a:lnTo>
                  <a:lnTo>
                    <a:pt x="647" y="778"/>
                  </a:lnTo>
                  <a:lnTo>
                    <a:pt x="644" y="793"/>
                  </a:lnTo>
                  <a:lnTo>
                    <a:pt x="640" y="808"/>
                  </a:lnTo>
                  <a:lnTo>
                    <a:pt x="634" y="822"/>
                  </a:lnTo>
                  <a:lnTo>
                    <a:pt x="629" y="838"/>
                  </a:lnTo>
                  <a:lnTo>
                    <a:pt x="622" y="851"/>
                  </a:lnTo>
                  <a:lnTo>
                    <a:pt x="615" y="865"/>
                  </a:lnTo>
                  <a:lnTo>
                    <a:pt x="606" y="877"/>
                  </a:lnTo>
                  <a:lnTo>
                    <a:pt x="597" y="890"/>
                  </a:lnTo>
                  <a:lnTo>
                    <a:pt x="586" y="901"/>
                  </a:lnTo>
                  <a:lnTo>
                    <a:pt x="575" y="911"/>
                  </a:lnTo>
                  <a:lnTo>
                    <a:pt x="563" y="921"/>
                  </a:lnTo>
                  <a:lnTo>
                    <a:pt x="549" y="929"/>
                  </a:lnTo>
                  <a:lnTo>
                    <a:pt x="535" y="937"/>
                  </a:lnTo>
                  <a:lnTo>
                    <a:pt x="520" y="943"/>
                  </a:lnTo>
                  <a:lnTo>
                    <a:pt x="503" y="949"/>
                  </a:lnTo>
                  <a:lnTo>
                    <a:pt x="485" y="953"/>
                  </a:lnTo>
                  <a:lnTo>
                    <a:pt x="466" y="955"/>
                  </a:lnTo>
                  <a:lnTo>
                    <a:pt x="446" y="958"/>
                  </a:lnTo>
                  <a:lnTo>
                    <a:pt x="425" y="958"/>
                  </a:lnTo>
                  <a:lnTo>
                    <a:pt x="402" y="957"/>
                  </a:lnTo>
                  <a:lnTo>
                    <a:pt x="381" y="953"/>
                  </a:lnTo>
                  <a:lnTo>
                    <a:pt x="360" y="950"/>
                  </a:lnTo>
                  <a:lnTo>
                    <a:pt x="339" y="945"/>
                  </a:lnTo>
                  <a:lnTo>
                    <a:pt x="318" y="938"/>
                  </a:lnTo>
                  <a:lnTo>
                    <a:pt x="297" y="931"/>
                  </a:lnTo>
                  <a:lnTo>
                    <a:pt x="278" y="924"/>
                  </a:lnTo>
                  <a:lnTo>
                    <a:pt x="258" y="915"/>
                  </a:lnTo>
                  <a:lnTo>
                    <a:pt x="240" y="905"/>
                  </a:lnTo>
                  <a:lnTo>
                    <a:pt x="221" y="895"/>
                  </a:lnTo>
                  <a:lnTo>
                    <a:pt x="204" y="885"/>
                  </a:lnTo>
                  <a:lnTo>
                    <a:pt x="186" y="874"/>
                  </a:lnTo>
                  <a:lnTo>
                    <a:pt x="154" y="851"/>
                  </a:lnTo>
                  <a:lnTo>
                    <a:pt x="124" y="827"/>
                  </a:lnTo>
                  <a:lnTo>
                    <a:pt x="97" y="804"/>
                  </a:lnTo>
                  <a:lnTo>
                    <a:pt x="72" y="781"/>
                  </a:lnTo>
                  <a:lnTo>
                    <a:pt x="51" y="760"/>
                  </a:lnTo>
                  <a:lnTo>
                    <a:pt x="33" y="741"/>
                  </a:lnTo>
                  <a:lnTo>
                    <a:pt x="9" y="712"/>
                  </a:lnTo>
                  <a:lnTo>
                    <a:pt x="0" y="701"/>
                  </a:lnTo>
                  <a:lnTo>
                    <a:pt x="382" y="59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8" name="iśliḓé"/>
            <p:cNvSpPr/>
            <p:nvPr/>
          </p:nvSpPr>
          <p:spPr bwMode="auto">
            <a:xfrm>
              <a:off x="1794668" y="2951957"/>
              <a:ext cx="203200" cy="44450"/>
            </a:xfrm>
            <a:custGeom>
              <a:avLst/>
              <a:gdLst>
                <a:gd name="T0" fmla="*/ 641 w 641"/>
                <a:gd name="T1" fmla="*/ 0 h 138"/>
                <a:gd name="T2" fmla="*/ 638 w 641"/>
                <a:gd name="T3" fmla="*/ 19 h 138"/>
                <a:gd name="T4" fmla="*/ 633 w 641"/>
                <a:gd name="T5" fmla="*/ 37 h 138"/>
                <a:gd name="T6" fmla="*/ 628 w 641"/>
                <a:gd name="T7" fmla="*/ 55 h 138"/>
                <a:gd name="T8" fmla="*/ 621 w 641"/>
                <a:gd name="T9" fmla="*/ 72 h 138"/>
                <a:gd name="T10" fmla="*/ 614 w 641"/>
                <a:gd name="T11" fmla="*/ 90 h 138"/>
                <a:gd name="T12" fmla="*/ 606 w 641"/>
                <a:gd name="T13" fmla="*/ 106 h 138"/>
                <a:gd name="T14" fmla="*/ 598 w 641"/>
                <a:gd name="T15" fmla="*/ 121 h 138"/>
                <a:gd name="T16" fmla="*/ 588 w 641"/>
                <a:gd name="T17" fmla="*/ 138 h 138"/>
                <a:gd name="T18" fmla="*/ 47 w 641"/>
                <a:gd name="T19" fmla="*/ 133 h 138"/>
                <a:gd name="T20" fmla="*/ 38 w 641"/>
                <a:gd name="T21" fmla="*/ 120 h 138"/>
                <a:gd name="T22" fmla="*/ 32 w 641"/>
                <a:gd name="T23" fmla="*/ 107 h 138"/>
                <a:gd name="T24" fmla="*/ 24 w 641"/>
                <a:gd name="T25" fmla="*/ 94 h 138"/>
                <a:gd name="T26" fmla="*/ 19 w 641"/>
                <a:gd name="T27" fmla="*/ 80 h 138"/>
                <a:gd name="T28" fmla="*/ 13 w 641"/>
                <a:gd name="T29" fmla="*/ 67 h 138"/>
                <a:gd name="T30" fmla="*/ 8 w 641"/>
                <a:gd name="T31" fmla="*/ 52 h 138"/>
                <a:gd name="T32" fmla="*/ 3 w 641"/>
                <a:gd name="T33" fmla="*/ 37 h 138"/>
                <a:gd name="T34" fmla="*/ 0 w 641"/>
                <a:gd name="T35" fmla="*/ 22 h 138"/>
                <a:gd name="T36" fmla="*/ 33 w 641"/>
                <a:gd name="T37" fmla="*/ 29 h 138"/>
                <a:gd name="T38" fmla="*/ 66 w 641"/>
                <a:gd name="T39" fmla="*/ 33 h 138"/>
                <a:gd name="T40" fmla="*/ 99 w 641"/>
                <a:gd name="T41" fmla="*/ 37 h 138"/>
                <a:gd name="T42" fmla="*/ 133 w 641"/>
                <a:gd name="T43" fmla="*/ 41 h 138"/>
                <a:gd name="T44" fmla="*/ 167 w 641"/>
                <a:gd name="T45" fmla="*/ 44 h 138"/>
                <a:gd name="T46" fmla="*/ 201 w 641"/>
                <a:gd name="T47" fmla="*/ 46 h 138"/>
                <a:gd name="T48" fmla="*/ 236 w 641"/>
                <a:gd name="T49" fmla="*/ 47 h 138"/>
                <a:gd name="T50" fmla="*/ 269 w 641"/>
                <a:gd name="T51" fmla="*/ 47 h 138"/>
                <a:gd name="T52" fmla="*/ 269 w 641"/>
                <a:gd name="T53" fmla="*/ 47 h 138"/>
                <a:gd name="T54" fmla="*/ 317 w 641"/>
                <a:gd name="T55" fmla="*/ 47 h 138"/>
                <a:gd name="T56" fmla="*/ 365 w 641"/>
                <a:gd name="T57" fmla="*/ 44 h 138"/>
                <a:gd name="T58" fmla="*/ 412 w 641"/>
                <a:gd name="T59" fmla="*/ 41 h 138"/>
                <a:gd name="T60" fmla="*/ 459 w 641"/>
                <a:gd name="T61" fmla="*/ 35 h 138"/>
                <a:gd name="T62" fmla="*/ 505 w 641"/>
                <a:gd name="T63" fmla="*/ 29 h 138"/>
                <a:gd name="T64" fmla="*/ 551 w 641"/>
                <a:gd name="T65" fmla="*/ 20 h 138"/>
                <a:gd name="T66" fmla="*/ 596 w 641"/>
                <a:gd name="T67" fmla="*/ 11 h 138"/>
                <a:gd name="T68" fmla="*/ 641 w 641"/>
                <a:gd name="T6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1" h="138">
                  <a:moveTo>
                    <a:pt x="641" y="0"/>
                  </a:moveTo>
                  <a:lnTo>
                    <a:pt x="638" y="19"/>
                  </a:lnTo>
                  <a:lnTo>
                    <a:pt x="633" y="37"/>
                  </a:lnTo>
                  <a:lnTo>
                    <a:pt x="628" y="55"/>
                  </a:lnTo>
                  <a:lnTo>
                    <a:pt x="621" y="72"/>
                  </a:lnTo>
                  <a:lnTo>
                    <a:pt x="614" y="90"/>
                  </a:lnTo>
                  <a:lnTo>
                    <a:pt x="606" y="106"/>
                  </a:lnTo>
                  <a:lnTo>
                    <a:pt x="598" y="121"/>
                  </a:lnTo>
                  <a:lnTo>
                    <a:pt x="588" y="138"/>
                  </a:lnTo>
                  <a:lnTo>
                    <a:pt x="47" y="133"/>
                  </a:lnTo>
                  <a:lnTo>
                    <a:pt x="38" y="120"/>
                  </a:lnTo>
                  <a:lnTo>
                    <a:pt x="32" y="107"/>
                  </a:lnTo>
                  <a:lnTo>
                    <a:pt x="24" y="94"/>
                  </a:lnTo>
                  <a:lnTo>
                    <a:pt x="19" y="80"/>
                  </a:lnTo>
                  <a:lnTo>
                    <a:pt x="13" y="67"/>
                  </a:lnTo>
                  <a:lnTo>
                    <a:pt x="8" y="52"/>
                  </a:lnTo>
                  <a:lnTo>
                    <a:pt x="3" y="37"/>
                  </a:lnTo>
                  <a:lnTo>
                    <a:pt x="0" y="22"/>
                  </a:lnTo>
                  <a:lnTo>
                    <a:pt x="33" y="29"/>
                  </a:lnTo>
                  <a:lnTo>
                    <a:pt x="66" y="33"/>
                  </a:lnTo>
                  <a:lnTo>
                    <a:pt x="99" y="37"/>
                  </a:lnTo>
                  <a:lnTo>
                    <a:pt x="133" y="41"/>
                  </a:lnTo>
                  <a:lnTo>
                    <a:pt x="167" y="44"/>
                  </a:lnTo>
                  <a:lnTo>
                    <a:pt x="201" y="46"/>
                  </a:lnTo>
                  <a:lnTo>
                    <a:pt x="236" y="47"/>
                  </a:lnTo>
                  <a:lnTo>
                    <a:pt x="269" y="47"/>
                  </a:lnTo>
                  <a:lnTo>
                    <a:pt x="269" y="47"/>
                  </a:lnTo>
                  <a:lnTo>
                    <a:pt x="317" y="47"/>
                  </a:lnTo>
                  <a:lnTo>
                    <a:pt x="365" y="44"/>
                  </a:lnTo>
                  <a:lnTo>
                    <a:pt x="412" y="41"/>
                  </a:lnTo>
                  <a:lnTo>
                    <a:pt x="459" y="35"/>
                  </a:lnTo>
                  <a:lnTo>
                    <a:pt x="505" y="29"/>
                  </a:lnTo>
                  <a:lnTo>
                    <a:pt x="551" y="20"/>
                  </a:lnTo>
                  <a:lnTo>
                    <a:pt x="596" y="11"/>
                  </a:lnTo>
                  <a:lnTo>
                    <a:pt x="641" y="0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49" name="îšļïḑê"/>
            <p:cNvSpPr/>
            <p:nvPr/>
          </p:nvSpPr>
          <p:spPr bwMode="auto">
            <a:xfrm>
              <a:off x="2237581" y="2042319"/>
              <a:ext cx="161925" cy="349250"/>
            </a:xfrm>
            <a:custGeom>
              <a:avLst/>
              <a:gdLst>
                <a:gd name="T0" fmla="*/ 264 w 512"/>
                <a:gd name="T1" fmla="*/ 1 h 1101"/>
                <a:gd name="T2" fmla="*/ 317 w 512"/>
                <a:gd name="T3" fmla="*/ 11 h 1101"/>
                <a:gd name="T4" fmla="*/ 353 w 512"/>
                <a:gd name="T5" fmla="*/ 25 h 1101"/>
                <a:gd name="T6" fmla="*/ 378 w 512"/>
                <a:gd name="T7" fmla="*/ 38 h 1101"/>
                <a:gd name="T8" fmla="*/ 405 w 512"/>
                <a:gd name="T9" fmla="*/ 55 h 1101"/>
                <a:gd name="T10" fmla="*/ 430 w 512"/>
                <a:gd name="T11" fmla="*/ 78 h 1101"/>
                <a:gd name="T12" fmla="*/ 452 w 512"/>
                <a:gd name="T13" fmla="*/ 106 h 1101"/>
                <a:gd name="T14" fmla="*/ 473 w 512"/>
                <a:gd name="T15" fmla="*/ 140 h 1101"/>
                <a:gd name="T16" fmla="*/ 491 w 512"/>
                <a:gd name="T17" fmla="*/ 181 h 1101"/>
                <a:gd name="T18" fmla="*/ 504 w 512"/>
                <a:gd name="T19" fmla="*/ 229 h 1101"/>
                <a:gd name="T20" fmla="*/ 511 w 512"/>
                <a:gd name="T21" fmla="*/ 284 h 1101"/>
                <a:gd name="T22" fmla="*/ 512 w 512"/>
                <a:gd name="T23" fmla="*/ 349 h 1101"/>
                <a:gd name="T24" fmla="*/ 507 w 512"/>
                <a:gd name="T25" fmla="*/ 419 h 1101"/>
                <a:gd name="T26" fmla="*/ 491 w 512"/>
                <a:gd name="T27" fmla="*/ 490 h 1101"/>
                <a:gd name="T28" fmla="*/ 466 w 512"/>
                <a:gd name="T29" fmla="*/ 559 h 1101"/>
                <a:gd name="T30" fmla="*/ 433 w 512"/>
                <a:gd name="T31" fmla="*/ 624 h 1101"/>
                <a:gd name="T32" fmla="*/ 394 w 512"/>
                <a:gd name="T33" fmla="*/ 688 h 1101"/>
                <a:gd name="T34" fmla="*/ 349 w 512"/>
                <a:gd name="T35" fmla="*/ 747 h 1101"/>
                <a:gd name="T36" fmla="*/ 302 w 512"/>
                <a:gd name="T37" fmla="*/ 803 h 1101"/>
                <a:gd name="T38" fmla="*/ 253 w 512"/>
                <a:gd name="T39" fmla="*/ 855 h 1101"/>
                <a:gd name="T40" fmla="*/ 181 w 512"/>
                <a:gd name="T41" fmla="*/ 925 h 1101"/>
                <a:gd name="T42" fmla="*/ 94 w 512"/>
                <a:gd name="T43" fmla="*/ 1003 h 1101"/>
                <a:gd name="T44" fmla="*/ 30 w 512"/>
                <a:gd name="T45" fmla="*/ 1060 h 1101"/>
                <a:gd name="T46" fmla="*/ 3 w 512"/>
                <a:gd name="T47" fmla="*/ 1087 h 1101"/>
                <a:gd name="T48" fmla="*/ 0 w 512"/>
                <a:gd name="T49" fmla="*/ 1098 h 1101"/>
                <a:gd name="T50" fmla="*/ 7 w 512"/>
                <a:gd name="T51" fmla="*/ 1100 h 1101"/>
                <a:gd name="T52" fmla="*/ 18 w 512"/>
                <a:gd name="T53" fmla="*/ 1080 h 1101"/>
                <a:gd name="T54" fmla="*/ 30 w 512"/>
                <a:gd name="T55" fmla="*/ 1039 h 1101"/>
                <a:gd name="T56" fmla="*/ 43 w 512"/>
                <a:gd name="T57" fmla="*/ 981 h 1101"/>
                <a:gd name="T58" fmla="*/ 63 w 512"/>
                <a:gd name="T59" fmla="*/ 867 h 1101"/>
                <a:gd name="T60" fmla="*/ 93 w 512"/>
                <a:gd name="T61" fmla="*/ 682 h 1101"/>
                <a:gd name="T62" fmla="*/ 122 w 512"/>
                <a:gd name="T63" fmla="*/ 484 h 1101"/>
                <a:gd name="T64" fmla="*/ 149 w 512"/>
                <a:gd name="T65" fmla="*/ 296 h 1101"/>
                <a:gd name="T66" fmla="*/ 171 w 512"/>
                <a:gd name="T67" fmla="*/ 146 h 1101"/>
                <a:gd name="T68" fmla="*/ 183 w 512"/>
                <a:gd name="T69" fmla="*/ 72 h 1101"/>
                <a:gd name="T70" fmla="*/ 189 w 512"/>
                <a:gd name="T71" fmla="*/ 48 h 1101"/>
                <a:gd name="T72" fmla="*/ 199 w 512"/>
                <a:gd name="T73" fmla="*/ 41 h 1101"/>
                <a:gd name="T74" fmla="*/ 217 w 512"/>
                <a:gd name="T75" fmla="*/ 28 h 1101"/>
                <a:gd name="T76" fmla="*/ 244 w 512"/>
                <a:gd name="T77" fmla="*/ 6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2" h="1101">
                  <a:moveTo>
                    <a:pt x="252" y="0"/>
                  </a:moveTo>
                  <a:lnTo>
                    <a:pt x="264" y="1"/>
                  </a:lnTo>
                  <a:lnTo>
                    <a:pt x="296" y="5"/>
                  </a:lnTo>
                  <a:lnTo>
                    <a:pt x="317" y="11"/>
                  </a:lnTo>
                  <a:lnTo>
                    <a:pt x="341" y="19"/>
                  </a:lnTo>
                  <a:lnTo>
                    <a:pt x="353" y="25"/>
                  </a:lnTo>
                  <a:lnTo>
                    <a:pt x="366" y="30"/>
                  </a:lnTo>
                  <a:lnTo>
                    <a:pt x="378" y="38"/>
                  </a:lnTo>
                  <a:lnTo>
                    <a:pt x="391" y="47"/>
                  </a:lnTo>
                  <a:lnTo>
                    <a:pt x="405" y="55"/>
                  </a:lnTo>
                  <a:lnTo>
                    <a:pt x="417" y="66"/>
                  </a:lnTo>
                  <a:lnTo>
                    <a:pt x="430" y="78"/>
                  </a:lnTo>
                  <a:lnTo>
                    <a:pt x="440" y="91"/>
                  </a:lnTo>
                  <a:lnTo>
                    <a:pt x="452" y="106"/>
                  </a:lnTo>
                  <a:lnTo>
                    <a:pt x="463" y="123"/>
                  </a:lnTo>
                  <a:lnTo>
                    <a:pt x="473" y="140"/>
                  </a:lnTo>
                  <a:lnTo>
                    <a:pt x="482" y="160"/>
                  </a:lnTo>
                  <a:lnTo>
                    <a:pt x="491" y="181"/>
                  </a:lnTo>
                  <a:lnTo>
                    <a:pt x="497" y="204"/>
                  </a:lnTo>
                  <a:lnTo>
                    <a:pt x="504" y="229"/>
                  </a:lnTo>
                  <a:lnTo>
                    <a:pt x="508" y="256"/>
                  </a:lnTo>
                  <a:lnTo>
                    <a:pt x="511" y="284"/>
                  </a:lnTo>
                  <a:lnTo>
                    <a:pt x="512" y="316"/>
                  </a:lnTo>
                  <a:lnTo>
                    <a:pt x="512" y="349"/>
                  </a:lnTo>
                  <a:lnTo>
                    <a:pt x="511" y="383"/>
                  </a:lnTo>
                  <a:lnTo>
                    <a:pt x="507" y="419"/>
                  </a:lnTo>
                  <a:lnTo>
                    <a:pt x="500" y="455"/>
                  </a:lnTo>
                  <a:lnTo>
                    <a:pt x="491" y="490"/>
                  </a:lnTo>
                  <a:lnTo>
                    <a:pt x="480" y="525"/>
                  </a:lnTo>
                  <a:lnTo>
                    <a:pt x="466" y="559"/>
                  </a:lnTo>
                  <a:lnTo>
                    <a:pt x="450" y="592"/>
                  </a:lnTo>
                  <a:lnTo>
                    <a:pt x="433" y="624"/>
                  </a:lnTo>
                  <a:lnTo>
                    <a:pt x="413" y="656"/>
                  </a:lnTo>
                  <a:lnTo>
                    <a:pt x="394" y="688"/>
                  </a:lnTo>
                  <a:lnTo>
                    <a:pt x="372" y="717"/>
                  </a:lnTo>
                  <a:lnTo>
                    <a:pt x="349" y="747"/>
                  </a:lnTo>
                  <a:lnTo>
                    <a:pt x="326" y="775"/>
                  </a:lnTo>
                  <a:lnTo>
                    <a:pt x="302" y="803"/>
                  </a:lnTo>
                  <a:lnTo>
                    <a:pt x="278" y="829"/>
                  </a:lnTo>
                  <a:lnTo>
                    <a:pt x="253" y="855"/>
                  </a:lnTo>
                  <a:lnTo>
                    <a:pt x="229" y="880"/>
                  </a:lnTo>
                  <a:lnTo>
                    <a:pt x="181" y="925"/>
                  </a:lnTo>
                  <a:lnTo>
                    <a:pt x="135" y="966"/>
                  </a:lnTo>
                  <a:lnTo>
                    <a:pt x="94" y="1003"/>
                  </a:lnTo>
                  <a:lnTo>
                    <a:pt x="58" y="1033"/>
                  </a:lnTo>
                  <a:lnTo>
                    <a:pt x="30" y="1060"/>
                  </a:lnTo>
                  <a:lnTo>
                    <a:pt x="10" y="1079"/>
                  </a:lnTo>
                  <a:lnTo>
                    <a:pt x="3" y="1087"/>
                  </a:lnTo>
                  <a:lnTo>
                    <a:pt x="0" y="1093"/>
                  </a:lnTo>
                  <a:lnTo>
                    <a:pt x="0" y="1098"/>
                  </a:lnTo>
                  <a:lnTo>
                    <a:pt x="2" y="1101"/>
                  </a:lnTo>
                  <a:lnTo>
                    <a:pt x="7" y="1100"/>
                  </a:lnTo>
                  <a:lnTo>
                    <a:pt x="12" y="1092"/>
                  </a:lnTo>
                  <a:lnTo>
                    <a:pt x="18" y="1080"/>
                  </a:lnTo>
                  <a:lnTo>
                    <a:pt x="23" y="1062"/>
                  </a:lnTo>
                  <a:lnTo>
                    <a:pt x="30" y="1039"/>
                  </a:lnTo>
                  <a:lnTo>
                    <a:pt x="36" y="1013"/>
                  </a:lnTo>
                  <a:lnTo>
                    <a:pt x="43" y="981"/>
                  </a:lnTo>
                  <a:lnTo>
                    <a:pt x="49" y="946"/>
                  </a:lnTo>
                  <a:lnTo>
                    <a:pt x="63" y="867"/>
                  </a:lnTo>
                  <a:lnTo>
                    <a:pt x="79" y="778"/>
                  </a:lnTo>
                  <a:lnTo>
                    <a:pt x="93" y="682"/>
                  </a:lnTo>
                  <a:lnTo>
                    <a:pt x="108" y="583"/>
                  </a:lnTo>
                  <a:lnTo>
                    <a:pt x="122" y="484"/>
                  </a:lnTo>
                  <a:lnTo>
                    <a:pt x="136" y="387"/>
                  </a:lnTo>
                  <a:lnTo>
                    <a:pt x="149" y="296"/>
                  </a:lnTo>
                  <a:lnTo>
                    <a:pt x="161" y="214"/>
                  </a:lnTo>
                  <a:lnTo>
                    <a:pt x="171" y="146"/>
                  </a:lnTo>
                  <a:lnTo>
                    <a:pt x="180" y="92"/>
                  </a:lnTo>
                  <a:lnTo>
                    <a:pt x="183" y="72"/>
                  </a:lnTo>
                  <a:lnTo>
                    <a:pt x="187" y="57"/>
                  </a:lnTo>
                  <a:lnTo>
                    <a:pt x="189" y="48"/>
                  </a:lnTo>
                  <a:lnTo>
                    <a:pt x="191" y="44"/>
                  </a:lnTo>
                  <a:lnTo>
                    <a:pt x="199" y="41"/>
                  </a:lnTo>
                  <a:lnTo>
                    <a:pt x="207" y="36"/>
                  </a:lnTo>
                  <a:lnTo>
                    <a:pt x="217" y="28"/>
                  </a:lnTo>
                  <a:lnTo>
                    <a:pt x="228" y="20"/>
                  </a:lnTo>
                  <a:lnTo>
                    <a:pt x="244" y="6"/>
                  </a:lnTo>
                  <a:lnTo>
                    <a:pt x="252" y="0"/>
                  </a:lnTo>
                  <a:close/>
                </a:path>
              </a:pathLst>
            </a:custGeom>
            <a:solidFill>
              <a:srgbClr val="D1AD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0" name="ïṥḷîḍè"/>
            <p:cNvSpPr/>
            <p:nvPr/>
          </p:nvSpPr>
          <p:spPr bwMode="auto">
            <a:xfrm>
              <a:off x="1308893" y="2039144"/>
              <a:ext cx="161925" cy="349250"/>
            </a:xfrm>
            <a:custGeom>
              <a:avLst/>
              <a:gdLst>
                <a:gd name="T0" fmla="*/ 248 w 513"/>
                <a:gd name="T1" fmla="*/ 1 h 1101"/>
                <a:gd name="T2" fmla="*/ 195 w 513"/>
                <a:gd name="T3" fmla="*/ 11 h 1101"/>
                <a:gd name="T4" fmla="*/ 159 w 513"/>
                <a:gd name="T5" fmla="*/ 25 h 1101"/>
                <a:gd name="T6" fmla="*/ 134 w 513"/>
                <a:gd name="T7" fmla="*/ 38 h 1101"/>
                <a:gd name="T8" fmla="*/ 107 w 513"/>
                <a:gd name="T9" fmla="*/ 55 h 1101"/>
                <a:gd name="T10" fmla="*/ 83 w 513"/>
                <a:gd name="T11" fmla="*/ 78 h 1101"/>
                <a:gd name="T12" fmla="*/ 60 w 513"/>
                <a:gd name="T13" fmla="*/ 107 h 1101"/>
                <a:gd name="T14" fmla="*/ 39 w 513"/>
                <a:gd name="T15" fmla="*/ 140 h 1101"/>
                <a:gd name="T16" fmla="*/ 22 w 513"/>
                <a:gd name="T17" fmla="*/ 181 h 1101"/>
                <a:gd name="T18" fmla="*/ 9 w 513"/>
                <a:gd name="T19" fmla="*/ 229 h 1101"/>
                <a:gd name="T20" fmla="*/ 2 w 513"/>
                <a:gd name="T21" fmla="*/ 284 h 1101"/>
                <a:gd name="T22" fmla="*/ 0 w 513"/>
                <a:gd name="T23" fmla="*/ 349 h 1101"/>
                <a:gd name="T24" fmla="*/ 5 w 513"/>
                <a:gd name="T25" fmla="*/ 420 h 1101"/>
                <a:gd name="T26" fmla="*/ 21 w 513"/>
                <a:gd name="T27" fmla="*/ 490 h 1101"/>
                <a:gd name="T28" fmla="*/ 46 w 513"/>
                <a:gd name="T29" fmla="*/ 559 h 1101"/>
                <a:gd name="T30" fmla="*/ 80 w 513"/>
                <a:gd name="T31" fmla="*/ 625 h 1101"/>
                <a:gd name="T32" fmla="*/ 119 w 513"/>
                <a:gd name="T33" fmla="*/ 688 h 1101"/>
                <a:gd name="T34" fmla="*/ 163 w 513"/>
                <a:gd name="T35" fmla="*/ 747 h 1101"/>
                <a:gd name="T36" fmla="*/ 210 w 513"/>
                <a:gd name="T37" fmla="*/ 803 h 1101"/>
                <a:gd name="T38" fmla="*/ 259 w 513"/>
                <a:gd name="T39" fmla="*/ 855 h 1101"/>
                <a:gd name="T40" fmla="*/ 331 w 513"/>
                <a:gd name="T41" fmla="*/ 926 h 1101"/>
                <a:gd name="T42" fmla="*/ 418 w 513"/>
                <a:gd name="T43" fmla="*/ 1003 h 1101"/>
                <a:gd name="T44" fmla="*/ 482 w 513"/>
                <a:gd name="T45" fmla="*/ 1060 h 1101"/>
                <a:gd name="T46" fmla="*/ 509 w 513"/>
                <a:gd name="T47" fmla="*/ 1087 h 1101"/>
                <a:gd name="T48" fmla="*/ 513 w 513"/>
                <a:gd name="T49" fmla="*/ 1098 h 1101"/>
                <a:gd name="T50" fmla="*/ 505 w 513"/>
                <a:gd name="T51" fmla="*/ 1100 h 1101"/>
                <a:gd name="T52" fmla="*/ 494 w 513"/>
                <a:gd name="T53" fmla="*/ 1080 h 1101"/>
                <a:gd name="T54" fmla="*/ 482 w 513"/>
                <a:gd name="T55" fmla="*/ 1039 h 1101"/>
                <a:gd name="T56" fmla="*/ 470 w 513"/>
                <a:gd name="T57" fmla="*/ 981 h 1101"/>
                <a:gd name="T58" fmla="*/ 449 w 513"/>
                <a:gd name="T59" fmla="*/ 867 h 1101"/>
                <a:gd name="T60" fmla="*/ 419 w 513"/>
                <a:gd name="T61" fmla="*/ 682 h 1101"/>
                <a:gd name="T62" fmla="*/ 390 w 513"/>
                <a:gd name="T63" fmla="*/ 484 h 1101"/>
                <a:gd name="T64" fmla="*/ 363 w 513"/>
                <a:gd name="T65" fmla="*/ 296 h 1101"/>
                <a:gd name="T66" fmla="*/ 341 w 513"/>
                <a:gd name="T67" fmla="*/ 146 h 1101"/>
                <a:gd name="T68" fmla="*/ 329 w 513"/>
                <a:gd name="T69" fmla="*/ 72 h 1101"/>
                <a:gd name="T70" fmla="*/ 323 w 513"/>
                <a:gd name="T71" fmla="*/ 48 h 1101"/>
                <a:gd name="T72" fmla="*/ 313 w 513"/>
                <a:gd name="T73" fmla="*/ 41 h 1101"/>
                <a:gd name="T74" fmla="*/ 295 w 513"/>
                <a:gd name="T75" fmla="*/ 28 h 1101"/>
                <a:gd name="T76" fmla="*/ 268 w 513"/>
                <a:gd name="T77" fmla="*/ 6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3" h="1101">
                  <a:moveTo>
                    <a:pt x="261" y="0"/>
                  </a:moveTo>
                  <a:lnTo>
                    <a:pt x="248" y="1"/>
                  </a:lnTo>
                  <a:lnTo>
                    <a:pt x="216" y="5"/>
                  </a:lnTo>
                  <a:lnTo>
                    <a:pt x="195" y="11"/>
                  </a:lnTo>
                  <a:lnTo>
                    <a:pt x="172" y="19"/>
                  </a:lnTo>
                  <a:lnTo>
                    <a:pt x="159" y="25"/>
                  </a:lnTo>
                  <a:lnTo>
                    <a:pt x="147" y="30"/>
                  </a:lnTo>
                  <a:lnTo>
                    <a:pt x="134" y="38"/>
                  </a:lnTo>
                  <a:lnTo>
                    <a:pt x="121" y="47"/>
                  </a:lnTo>
                  <a:lnTo>
                    <a:pt x="107" y="55"/>
                  </a:lnTo>
                  <a:lnTo>
                    <a:pt x="95" y="66"/>
                  </a:lnTo>
                  <a:lnTo>
                    <a:pt x="83" y="78"/>
                  </a:lnTo>
                  <a:lnTo>
                    <a:pt x="72" y="91"/>
                  </a:lnTo>
                  <a:lnTo>
                    <a:pt x="60" y="107"/>
                  </a:lnTo>
                  <a:lnTo>
                    <a:pt x="50" y="123"/>
                  </a:lnTo>
                  <a:lnTo>
                    <a:pt x="39" y="140"/>
                  </a:lnTo>
                  <a:lnTo>
                    <a:pt x="30" y="160"/>
                  </a:lnTo>
                  <a:lnTo>
                    <a:pt x="22" y="181"/>
                  </a:lnTo>
                  <a:lnTo>
                    <a:pt x="15" y="204"/>
                  </a:lnTo>
                  <a:lnTo>
                    <a:pt x="9" y="229"/>
                  </a:lnTo>
                  <a:lnTo>
                    <a:pt x="4" y="256"/>
                  </a:lnTo>
                  <a:lnTo>
                    <a:pt x="2" y="284"/>
                  </a:lnTo>
                  <a:lnTo>
                    <a:pt x="0" y="316"/>
                  </a:lnTo>
                  <a:lnTo>
                    <a:pt x="0" y="349"/>
                  </a:lnTo>
                  <a:lnTo>
                    <a:pt x="1" y="384"/>
                  </a:lnTo>
                  <a:lnTo>
                    <a:pt x="5" y="420"/>
                  </a:lnTo>
                  <a:lnTo>
                    <a:pt x="12" y="456"/>
                  </a:lnTo>
                  <a:lnTo>
                    <a:pt x="21" y="490"/>
                  </a:lnTo>
                  <a:lnTo>
                    <a:pt x="32" y="525"/>
                  </a:lnTo>
                  <a:lnTo>
                    <a:pt x="46" y="559"/>
                  </a:lnTo>
                  <a:lnTo>
                    <a:pt x="63" y="592"/>
                  </a:lnTo>
                  <a:lnTo>
                    <a:pt x="80" y="625"/>
                  </a:lnTo>
                  <a:lnTo>
                    <a:pt x="99" y="656"/>
                  </a:lnTo>
                  <a:lnTo>
                    <a:pt x="119" y="688"/>
                  </a:lnTo>
                  <a:lnTo>
                    <a:pt x="141" y="717"/>
                  </a:lnTo>
                  <a:lnTo>
                    <a:pt x="163" y="747"/>
                  </a:lnTo>
                  <a:lnTo>
                    <a:pt x="187" y="775"/>
                  </a:lnTo>
                  <a:lnTo>
                    <a:pt x="210" y="803"/>
                  </a:lnTo>
                  <a:lnTo>
                    <a:pt x="235" y="830"/>
                  </a:lnTo>
                  <a:lnTo>
                    <a:pt x="259" y="855"/>
                  </a:lnTo>
                  <a:lnTo>
                    <a:pt x="283" y="880"/>
                  </a:lnTo>
                  <a:lnTo>
                    <a:pt x="331" y="926"/>
                  </a:lnTo>
                  <a:lnTo>
                    <a:pt x="377" y="966"/>
                  </a:lnTo>
                  <a:lnTo>
                    <a:pt x="418" y="1003"/>
                  </a:lnTo>
                  <a:lnTo>
                    <a:pt x="454" y="1033"/>
                  </a:lnTo>
                  <a:lnTo>
                    <a:pt x="482" y="1060"/>
                  </a:lnTo>
                  <a:lnTo>
                    <a:pt x="503" y="1079"/>
                  </a:lnTo>
                  <a:lnTo>
                    <a:pt x="509" y="1087"/>
                  </a:lnTo>
                  <a:lnTo>
                    <a:pt x="512" y="1093"/>
                  </a:lnTo>
                  <a:lnTo>
                    <a:pt x="513" y="1098"/>
                  </a:lnTo>
                  <a:lnTo>
                    <a:pt x="510" y="1101"/>
                  </a:lnTo>
                  <a:lnTo>
                    <a:pt x="505" y="1100"/>
                  </a:lnTo>
                  <a:lnTo>
                    <a:pt x="500" y="1092"/>
                  </a:lnTo>
                  <a:lnTo>
                    <a:pt x="494" y="1080"/>
                  </a:lnTo>
                  <a:lnTo>
                    <a:pt x="489" y="1062"/>
                  </a:lnTo>
                  <a:lnTo>
                    <a:pt x="482" y="1039"/>
                  </a:lnTo>
                  <a:lnTo>
                    <a:pt x="477" y="1013"/>
                  </a:lnTo>
                  <a:lnTo>
                    <a:pt x="470" y="981"/>
                  </a:lnTo>
                  <a:lnTo>
                    <a:pt x="463" y="946"/>
                  </a:lnTo>
                  <a:lnTo>
                    <a:pt x="449" y="867"/>
                  </a:lnTo>
                  <a:lnTo>
                    <a:pt x="434" y="778"/>
                  </a:lnTo>
                  <a:lnTo>
                    <a:pt x="419" y="682"/>
                  </a:lnTo>
                  <a:lnTo>
                    <a:pt x="404" y="583"/>
                  </a:lnTo>
                  <a:lnTo>
                    <a:pt x="390" y="484"/>
                  </a:lnTo>
                  <a:lnTo>
                    <a:pt x="376" y="387"/>
                  </a:lnTo>
                  <a:lnTo>
                    <a:pt x="363" y="296"/>
                  </a:lnTo>
                  <a:lnTo>
                    <a:pt x="352" y="215"/>
                  </a:lnTo>
                  <a:lnTo>
                    <a:pt x="341" y="146"/>
                  </a:lnTo>
                  <a:lnTo>
                    <a:pt x="332" y="92"/>
                  </a:lnTo>
                  <a:lnTo>
                    <a:pt x="329" y="72"/>
                  </a:lnTo>
                  <a:lnTo>
                    <a:pt x="325" y="58"/>
                  </a:lnTo>
                  <a:lnTo>
                    <a:pt x="323" y="48"/>
                  </a:lnTo>
                  <a:lnTo>
                    <a:pt x="321" y="44"/>
                  </a:lnTo>
                  <a:lnTo>
                    <a:pt x="313" y="41"/>
                  </a:lnTo>
                  <a:lnTo>
                    <a:pt x="305" y="36"/>
                  </a:lnTo>
                  <a:lnTo>
                    <a:pt x="295" y="28"/>
                  </a:lnTo>
                  <a:lnTo>
                    <a:pt x="285" y="20"/>
                  </a:lnTo>
                  <a:lnTo>
                    <a:pt x="268" y="6"/>
                  </a:lnTo>
                  <a:lnTo>
                    <a:pt x="261" y="0"/>
                  </a:lnTo>
                  <a:close/>
                </a:path>
              </a:pathLst>
            </a:custGeom>
            <a:solidFill>
              <a:srgbClr val="D1AD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1" name="iṣľïdè"/>
            <p:cNvSpPr/>
            <p:nvPr/>
          </p:nvSpPr>
          <p:spPr bwMode="auto">
            <a:xfrm>
              <a:off x="1405731" y="2267744"/>
              <a:ext cx="904875" cy="755650"/>
            </a:xfrm>
            <a:custGeom>
              <a:avLst/>
              <a:gdLst>
                <a:gd name="T0" fmla="*/ 1 w 2850"/>
                <a:gd name="T1" fmla="*/ 20 h 2377"/>
                <a:gd name="T2" fmla="*/ 16 w 2850"/>
                <a:gd name="T3" fmla="*/ 119 h 2377"/>
                <a:gd name="T4" fmla="*/ 42 w 2850"/>
                <a:gd name="T5" fmla="*/ 293 h 2377"/>
                <a:gd name="T6" fmla="*/ 75 w 2850"/>
                <a:gd name="T7" fmla="*/ 522 h 2377"/>
                <a:gd name="T8" fmla="*/ 113 w 2850"/>
                <a:gd name="T9" fmla="*/ 784 h 2377"/>
                <a:gd name="T10" fmla="*/ 152 w 2850"/>
                <a:gd name="T11" fmla="*/ 1056 h 2377"/>
                <a:gd name="T12" fmla="*/ 188 w 2850"/>
                <a:gd name="T13" fmla="*/ 1317 h 2377"/>
                <a:gd name="T14" fmla="*/ 218 w 2850"/>
                <a:gd name="T15" fmla="*/ 1544 h 2377"/>
                <a:gd name="T16" fmla="*/ 236 w 2850"/>
                <a:gd name="T17" fmla="*/ 1680 h 2377"/>
                <a:gd name="T18" fmla="*/ 256 w 2850"/>
                <a:gd name="T19" fmla="*/ 1759 h 2377"/>
                <a:gd name="T20" fmla="*/ 287 w 2850"/>
                <a:gd name="T21" fmla="*/ 1831 h 2377"/>
                <a:gd name="T22" fmla="*/ 325 w 2850"/>
                <a:gd name="T23" fmla="*/ 1896 h 2377"/>
                <a:gd name="T24" fmla="*/ 370 w 2850"/>
                <a:gd name="T25" fmla="*/ 1956 h 2377"/>
                <a:gd name="T26" fmla="*/ 422 w 2850"/>
                <a:gd name="T27" fmla="*/ 2009 h 2377"/>
                <a:gd name="T28" fmla="*/ 480 w 2850"/>
                <a:gd name="T29" fmla="*/ 2057 h 2377"/>
                <a:gd name="T30" fmla="*/ 541 w 2850"/>
                <a:gd name="T31" fmla="*/ 2101 h 2377"/>
                <a:gd name="T32" fmla="*/ 606 w 2850"/>
                <a:gd name="T33" fmla="*/ 2140 h 2377"/>
                <a:gd name="T34" fmla="*/ 675 w 2850"/>
                <a:gd name="T35" fmla="*/ 2175 h 2377"/>
                <a:gd name="T36" fmla="*/ 744 w 2850"/>
                <a:gd name="T37" fmla="*/ 2207 h 2377"/>
                <a:gd name="T38" fmla="*/ 814 w 2850"/>
                <a:gd name="T39" fmla="*/ 2235 h 2377"/>
                <a:gd name="T40" fmla="*/ 918 w 2850"/>
                <a:gd name="T41" fmla="*/ 2272 h 2377"/>
                <a:gd name="T42" fmla="*/ 1050 w 2850"/>
                <a:gd name="T43" fmla="*/ 2314 h 2377"/>
                <a:gd name="T44" fmla="*/ 1141 w 2850"/>
                <a:gd name="T45" fmla="*/ 2342 h 2377"/>
                <a:gd name="T46" fmla="*/ 1215 w 2850"/>
                <a:gd name="T47" fmla="*/ 2357 h 2377"/>
                <a:gd name="T48" fmla="*/ 1302 w 2850"/>
                <a:gd name="T49" fmla="*/ 2369 h 2377"/>
                <a:gd name="T50" fmla="*/ 1399 w 2850"/>
                <a:gd name="T51" fmla="*/ 2376 h 2377"/>
                <a:gd name="T52" fmla="*/ 1504 w 2850"/>
                <a:gd name="T53" fmla="*/ 2377 h 2377"/>
                <a:gd name="T54" fmla="*/ 1617 w 2850"/>
                <a:gd name="T55" fmla="*/ 2369 h 2377"/>
                <a:gd name="T56" fmla="*/ 1733 w 2850"/>
                <a:gd name="T57" fmla="*/ 2354 h 2377"/>
                <a:gd name="T58" fmla="*/ 1851 w 2850"/>
                <a:gd name="T59" fmla="*/ 2329 h 2377"/>
                <a:gd name="T60" fmla="*/ 1970 w 2850"/>
                <a:gd name="T61" fmla="*/ 2293 h 2377"/>
                <a:gd name="T62" fmla="*/ 2084 w 2850"/>
                <a:gd name="T63" fmla="*/ 2245 h 2377"/>
                <a:gd name="T64" fmla="*/ 2195 w 2850"/>
                <a:gd name="T65" fmla="*/ 2184 h 2377"/>
                <a:gd name="T66" fmla="*/ 2299 w 2850"/>
                <a:gd name="T67" fmla="*/ 2109 h 2377"/>
                <a:gd name="T68" fmla="*/ 2394 w 2850"/>
                <a:gd name="T69" fmla="*/ 2018 h 2377"/>
                <a:gd name="T70" fmla="*/ 2477 w 2850"/>
                <a:gd name="T71" fmla="*/ 1910 h 2377"/>
                <a:gd name="T72" fmla="*/ 2546 w 2850"/>
                <a:gd name="T73" fmla="*/ 1785 h 2377"/>
                <a:gd name="T74" fmla="*/ 2600 w 2850"/>
                <a:gd name="T75" fmla="*/ 1641 h 2377"/>
                <a:gd name="T76" fmla="*/ 2638 w 2850"/>
                <a:gd name="T77" fmla="*/ 1479 h 2377"/>
                <a:gd name="T78" fmla="*/ 2671 w 2850"/>
                <a:gd name="T79" fmla="*/ 1320 h 2377"/>
                <a:gd name="T80" fmla="*/ 2713 w 2850"/>
                <a:gd name="T81" fmla="*/ 1092 h 2377"/>
                <a:gd name="T82" fmla="*/ 2759 w 2850"/>
                <a:gd name="T83" fmla="*/ 811 h 2377"/>
                <a:gd name="T84" fmla="*/ 2794 w 2850"/>
                <a:gd name="T85" fmla="*/ 562 h 2377"/>
                <a:gd name="T86" fmla="*/ 2819 w 2850"/>
                <a:gd name="T87" fmla="*/ 352 h 2377"/>
                <a:gd name="T88" fmla="*/ 2835 w 2850"/>
                <a:gd name="T89" fmla="*/ 186 h 2377"/>
                <a:gd name="T90" fmla="*/ 2845 w 2850"/>
                <a:gd name="T91" fmla="*/ 69 h 2377"/>
                <a:gd name="T92" fmla="*/ 2849 w 2850"/>
                <a:gd name="T93" fmla="*/ 8 h 2377"/>
                <a:gd name="T94" fmla="*/ 0 w 2850"/>
                <a:gd name="T95" fmla="*/ 7 h 2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50" h="2377">
                  <a:moveTo>
                    <a:pt x="0" y="7"/>
                  </a:moveTo>
                  <a:lnTo>
                    <a:pt x="1" y="20"/>
                  </a:lnTo>
                  <a:lnTo>
                    <a:pt x="8" y="59"/>
                  </a:lnTo>
                  <a:lnTo>
                    <a:pt x="16" y="119"/>
                  </a:lnTo>
                  <a:lnTo>
                    <a:pt x="27" y="197"/>
                  </a:lnTo>
                  <a:lnTo>
                    <a:pt x="42" y="293"/>
                  </a:lnTo>
                  <a:lnTo>
                    <a:pt x="58" y="402"/>
                  </a:lnTo>
                  <a:lnTo>
                    <a:pt x="75" y="522"/>
                  </a:lnTo>
                  <a:lnTo>
                    <a:pt x="94" y="650"/>
                  </a:lnTo>
                  <a:lnTo>
                    <a:pt x="113" y="784"/>
                  </a:lnTo>
                  <a:lnTo>
                    <a:pt x="133" y="920"/>
                  </a:lnTo>
                  <a:lnTo>
                    <a:pt x="152" y="1056"/>
                  </a:lnTo>
                  <a:lnTo>
                    <a:pt x="170" y="1189"/>
                  </a:lnTo>
                  <a:lnTo>
                    <a:pt x="188" y="1317"/>
                  </a:lnTo>
                  <a:lnTo>
                    <a:pt x="204" y="1436"/>
                  </a:lnTo>
                  <a:lnTo>
                    <a:pt x="218" y="1544"/>
                  </a:lnTo>
                  <a:lnTo>
                    <a:pt x="229" y="1638"/>
                  </a:lnTo>
                  <a:lnTo>
                    <a:pt x="236" y="1680"/>
                  </a:lnTo>
                  <a:lnTo>
                    <a:pt x="245" y="1720"/>
                  </a:lnTo>
                  <a:lnTo>
                    <a:pt x="256" y="1759"/>
                  </a:lnTo>
                  <a:lnTo>
                    <a:pt x="270" y="1796"/>
                  </a:lnTo>
                  <a:lnTo>
                    <a:pt x="287" y="1831"/>
                  </a:lnTo>
                  <a:lnTo>
                    <a:pt x="304" y="1864"/>
                  </a:lnTo>
                  <a:lnTo>
                    <a:pt x="325" y="1896"/>
                  </a:lnTo>
                  <a:lnTo>
                    <a:pt x="347" y="1927"/>
                  </a:lnTo>
                  <a:lnTo>
                    <a:pt x="370" y="1956"/>
                  </a:lnTo>
                  <a:lnTo>
                    <a:pt x="396" y="1983"/>
                  </a:lnTo>
                  <a:lnTo>
                    <a:pt x="422" y="2009"/>
                  </a:lnTo>
                  <a:lnTo>
                    <a:pt x="450" y="2034"/>
                  </a:lnTo>
                  <a:lnTo>
                    <a:pt x="480" y="2057"/>
                  </a:lnTo>
                  <a:lnTo>
                    <a:pt x="510" y="2080"/>
                  </a:lnTo>
                  <a:lnTo>
                    <a:pt x="541" y="2101"/>
                  </a:lnTo>
                  <a:lnTo>
                    <a:pt x="573" y="2121"/>
                  </a:lnTo>
                  <a:lnTo>
                    <a:pt x="606" y="2140"/>
                  </a:lnTo>
                  <a:lnTo>
                    <a:pt x="640" y="2158"/>
                  </a:lnTo>
                  <a:lnTo>
                    <a:pt x="675" y="2175"/>
                  </a:lnTo>
                  <a:lnTo>
                    <a:pt x="709" y="2191"/>
                  </a:lnTo>
                  <a:lnTo>
                    <a:pt x="744" y="2207"/>
                  </a:lnTo>
                  <a:lnTo>
                    <a:pt x="779" y="2221"/>
                  </a:lnTo>
                  <a:lnTo>
                    <a:pt x="814" y="2235"/>
                  </a:lnTo>
                  <a:lnTo>
                    <a:pt x="849" y="2248"/>
                  </a:lnTo>
                  <a:lnTo>
                    <a:pt x="918" y="2272"/>
                  </a:lnTo>
                  <a:lnTo>
                    <a:pt x="985" y="2294"/>
                  </a:lnTo>
                  <a:lnTo>
                    <a:pt x="1050" y="2314"/>
                  </a:lnTo>
                  <a:lnTo>
                    <a:pt x="1111" y="2333"/>
                  </a:lnTo>
                  <a:lnTo>
                    <a:pt x="1141" y="2342"/>
                  </a:lnTo>
                  <a:lnTo>
                    <a:pt x="1176" y="2351"/>
                  </a:lnTo>
                  <a:lnTo>
                    <a:pt x="1215" y="2357"/>
                  </a:lnTo>
                  <a:lnTo>
                    <a:pt x="1257" y="2364"/>
                  </a:lnTo>
                  <a:lnTo>
                    <a:pt x="1302" y="2369"/>
                  </a:lnTo>
                  <a:lnTo>
                    <a:pt x="1350" y="2374"/>
                  </a:lnTo>
                  <a:lnTo>
                    <a:pt x="1399" y="2376"/>
                  </a:lnTo>
                  <a:lnTo>
                    <a:pt x="1451" y="2377"/>
                  </a:lnTo>
                  <a:lnTo>
                    <a:pt x="1504" y="2377"/>
                  </a:lnTo>
                  <a:lnTo>
                    <a:pt x="1560" y="2375"/>
                  </a:lnTo>
                  <a:lnTo>
                    <a:pt x="1617" y="2369"/>
                  </a:lnTo>
                  <a:lnTo>
                    <a:pt x="1674" y="2363"/>
                  </a:lnTo>
                  <a:lnTo>
                    <a:pt x="1733" y="2354"/>
                  </a:lnTo>
                  <a:lnTo>
                    <a:pt x="1792" y="2343"/>
                  </a:lnTo>
                  <a:lnTo>
                    <a:pt x="1851" y="2329"/>
                  </a:lnTo>
                  <a:lnTo>
                    <a:pt x="1911" y="2313"/>
                  </a:lnTo>
                  <a:lnTo>
                    <a:pt x="1970" y="2293"/>
                  </a:lnTo>
                  <a:lnTo>
                    <a:pt x="2028" y="2271"/>
                  </a:lnTo>
                  <a:lnTo>
                    <a:pt x="2084" y="2245"/>
                  </a:lnTo>
                  <a:lnTo>
                    <a:pt x="2141" y="2217"/>
                  </a:lnTo>
                  <a:lnTo>
                    <a:pt x="2195" y="2184"/>
                  </a:lnTo>
                  <a:lnTo>
                    <a:pt x="2248" y="2148"/>
                  </a:lnTo>
                  <a:lnTo>
                    <a:pt x="2299" y="2109"/>
                  </a:lnTo>
                  <a:lnTo>
                    <a:pt x="2348" y="2065"/>
                  </a:lnTo>
                  <a:lnTo>
                    <a:pt x="2394" y="2018"/>
                  </a:lnTo>
                  <a:lnTo>
                    <a:pt x="2436" y="1966"/>
                  </a:lnTo>
                  <a:lnTo>
                    <a:pt x="2477" y="1910"/>
                  </a:lnTo>
                  <a:lnTo>
                    <a:pt x="2514" y="1850"/>
                  </a:lnTo>
                  <a:lnTo>
                    <a:pt x="2546" y="1785"/>
                  </a:lnTo>
                  <a:lnTo>
                    <a:pt x="2576" y="1715"/>
                  </a:lnTo>
                  <a:lnTo>
                    <a:pt x="2600" y="1641"/>
                  </a:lnTo>
                  <a:lnTo>
                    <a:pt x="2620" y="1561"/>
                  </a:lnTo>
                  <a:lnTo>
                    <a:pt x="2638" y="1479"/>
                  </a:lnTo>
                  <a:lnTo>
                    <a:pt x="2654" y="1400"/>
                  </a:lnTo>
                  <a:lnTo>
                    <a:pt x="2671" y="1320"/>
                  </a:lnTo>
                  <a:lnTo>
                    <a:pt x="2685" y="1243"/>
                  </a:lnTo>
                  <a:lnTo>
                    <a:pt x="2713" y="1092"/>
                  </a:lnTo>
                  <a:lnTo>
                    <a:pt x="2737" y="948"/>
                  </a:lnTo>
                  <a:lnTo>
                    <a:pt x="2759" y="811"/>
                  </a:lnTo>
                  <a:lnTo>
                    <a:pt x="2777" y="682"/>
                  </a:lnTo>
                  <a:lnTo>
                    <a:pt x="2794" y="562"/>
                  </a:lnTo>
                  <a:lnTo>
                    <a:pt x="2807" y="452"/>
                  </a:lnTo>
                  <a:lnTo>
                    <a:pt x="2819" y="352"/>
                  </a:lnTo>
                  <a:lnTo>
                    <a:pt x="2828" y="264"/>
                  </a:lnTo>
                  <a:lnTo>
                    <a:pt x="2835" y="186"/>
                  </a:lnTo>
                  <a:lnTo>
                    <a:pt x="2842" y="121"/>
                  </a:lnTo>
                  <a:lnTo>
                    <a:pt x="2845" y="69"/>
                  </a:lnTo>
                  <a:lnTo>
                    <a:pt x="2848" y="31"/>
                  </a:lnTo>
                  <a:lnTo>
                    <a:pt x="2849" y="8"/>
                  </a:lnTo>
                  <a:lnTo>
                    <a:pt x="285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684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2" name="išľîḓê"/>
            <p:cNvSpPr/>
            <p:nvPr/>
          </p:nvSpPr>
          <p:spPr bwMode="auto">
            <a:xfrm>
              <a:off x="1400968" y="1658144"/>
              <a:ext cx="909638" cy="873125"/>
            </a:xfrm>
            <a:custGeom>
              <a:avLst/>
              <a:gdLst>
                <a:gd name="T0" fmla="*/ 2 w 2865"/>
                <a:gd name="T1" fmla="*/ 1462 h 2749"/>
                <a:gd name="T2" fmla="*/ 13 w 2865"/>
                <a:gd name="T3" fmla="*/ 1871 h 2749"/>
                <a:gd name="T4" fmla="*/ 21 w 2865"/>
                <a:gd name="T5" fmla="*/ 1964 h 2749"/>
                <a:gd name="T6" fmla="*/ 63 w 2865"/>
                <a:gd name="T7" fmla="*/ 2089 h 2749"/>
                <a:gd name="T8" fmla="*/ 156 w 2865"/>
                <a:gd name="T9" fmla="*/ 2294 h 2749"/>
                <a:gd name="T10" fmla="*/ 822 w 2865"/>
                <a:gd name="T11" fmla="*/ 2713 h 2749"/>
                <a:gd name="T12" fmla="*/ 830 w 2865"/>
                <a:gd name="T13" fmla="*/ 2659 h 2749"/>
                <a:gd name="T14" fmla="*/ 852 w 2865"/>
                <a:gd name="T15" fmla="*/ 2610 h 2749"/>
                <a:gd name="T16" fmla="*/ 879 w 2865"/>
                <a:gd name="T17" fmla="*/ 2578 h 2749"/>
                <a:gd name="T18" fmla="*/ 920 w 2865"/>
                <a:gd name="T19" fmla="*/ 2552 h 2749"/>
                <a:gd name="T20" fmla="*/ 974 w 2865"/>
                <a:gd name="T21" fmla="*/ 2536 h 2749"/>
                <a:gd name="T22" fmla="*/ 1102 w 2865"/>
                <a:gd name="T23" fmla="*/ 2530 h 2749"/>
                <a:gd name="T24" fmla="*/ 1378 w 2865"/>
                <a:gd name="T25" fmla="*/ 2527 h 2749"/>
                <a:gd name="T26" fmla="*/ 1675 w 2865"/>
                <a:gd name="T27" fmla="*/ 2525 h 2749"/>
                <a:gd name="T28" fmla="*/ 1879 w 2865"/>
                <a:gd name="T29" fmla="*/ 2525 h 2749"/>
                <a:gd name="T30" fmla="*/ 1950 w 2865"/>
                <a:gd name="T31" fmla="*/ 2543 h 2749"/>
                <a:gd name="T32" fmla="*/ 1985 w 2865"/>
                <a:gd name="T33" fmla="*/ 2571 h 2749"/>
                <a:gd name="T34" fmla="*/ 2014 w 2865"/>
                <a:gd name="T35" fmla="*/ 2612 h 2749"/>
                <a:gd name="T36" fmla="*/ 2046 w 2865"/>
                <a:gd name="T37" fmla="*/ 2705 h 2749"/>
                <a:gd name="T38" fmla="*/ 2137 w 2865"/>
                <a:gd name="T39" fmla="*/ 2689 h 2749"/>
                <a:gd name="T40" fmla="*/ 2534 w 2865"/>
                <a:gd name="T41" fmla="*/ 2411 h 2749"/>
                <a:gd name="T42" fmla="*/ 2675 w 2865"/>
                <a:gd name="T43" fmla="*/ 2315 h 2749"/>
                <a:gd name="T44" fmla="*/ 2723 w 2865"/>
                <a:gd name="T45" fmla="*/ 2246 h 2749"/>
                <a:gd name="T46" fmla="*/ 2790 w 2865"/>
                <a:gd name="T47" fmla="*/ 2108 h 2749"/>
                <a:gd name="T48" fmla="*/ 2865 w 2865"/>
                <a:gd name="T49" fmla="*/ 1921 h 2749"/>
                <a:gd name="T50" fmla="*/ 2844 w 2865"/>
                <a:gd name="T51" fmla="*/ 1157 h 2749"/>
                <a:gd name="T52" fmla="*/ 2791 w 2865"/>
                <a:gd name="T53" fmla="*/ 929 h 2749"/>
                <a:gd name="T54" fmla="*/ 2714 w 2865"/>
                <a:gd name="T55" fmla="*/ 642 h 2749"/>
                <a:gd name="T56" fmla="*/ 2661 w 2865"/>
                <a:gd name="T57" fmla="*/ 480 h 2749"/>
                <a:gd name="T58" fmla="*/ 2618 w 2865"/>
                <a:gd name="T59" fmla="*/ 385 h 2749"/>
                <a:gd name="T60" fmla="*/ 2549 w 2865"/>
                <a:gd name="T61" fmla="*/ 319 h 2749"/>
                <a:gd name="T62" fmla="*/ 2398 w 2865"/>
                <a:gd name="T63" fmla="*/ 250 h 2749"/>
                <a:gd name="T64" fmla="*/ 2183 w 2865"/>
                <a:gd name="T65" fmla="*/ 183 h 2749"/>
                <a:gd name="T66" fmla="*/ 1926 w 2865"/>
                <a:gd name="T67" fmla="*/ 119 h 2749"/>
                <a:gd name="T68" fmla="*/ 1649 w 2865"/>
                <a:gd name="T69" fmla="*/ 66 h 2749"/>
                <a:gd name="T70" fmla="*/ 1374 w 2865"/>
                <a:gd name="T71" fmla="*/ 27 h 2749"/>
                <a:gd name="T72" fmla="*/ 1126 w 2865"/>
                <a:gd name="T73" fmla="*/ 4 h 2749"/>
                <a:gd name="T74" fmla="*/ 925 w 2865"/>
                <a:gd name="T75" fmla="*/ 3 h 2749"/>
                <a:gd name="T76" fmla="*/ 671 w 2865"/>
                <a:gd name="T77" fmla="*/ 34 h 2749"/>
                <a:gd name="T78" fmla="*/ 463 w 2865"/>
                <a:gd name="T79" fmla="*/ 73 h 2749"/>
                <a:gd name="T80" fmla="*/ 365 w 2865"/>
                <a:gd name="T81" fmla="*/ 103 h 2749"/>
                <a:gd name="T82" fmla="*/ 285 w 2865"/>
                <a:gd name="T83" fmla="*/ 141 h 2749"/>
                <a:gd name="T84" fmla="*/ 223 w 2865"/>
                <a:gd name="T85" fmla="*/ 188 h 2749"/>
                <a:gd name="T86" fmla="*/ 181 w 2865"/>
                <a:gd name="T87" fmla="*/ 248 h 2749"/>
                <a:gd name="T88" fmla="*/ 154 w 2865"/>
                <a:gd name="T89" fmla="*/ 347 h 2749"/>
                <a:gd name="T90" fmla="*/ 106 w 2865"/>
                <a:gd name="T91" fmla="*/ 620 h 2749"/>
                <a:gd name="T92" fmla="*/ 52 w 2865"/>
                <a:gd name="T93" fmla="*/ 945 h 2749"/>
                <a:gd name="T94" fmla="*/ 12 w 2865"/>
                <a:gd name="T95" fmla="*/ 1200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65" h="2749">
                  <a:moveTo>
                    <a:pt x="1" y="1272"/>
                  </a:moveTo>
                  <a:lnTo>
                    <a:pt x="0" y="1302"/>
                  </a:lnTo>
                  <a:lnTo>
                    <a:pt x="1" y="1369"/>
                  </a:lnTo>
                  <a:lnTo>
                    <a:pt x="2" y="1462"/>
                  </a:lnTo>
                  <a:lnTo>
                    <a:pt x="4" y="1568"/>
                  </a:lnTo>
                  <a:lnTo>
                    <a:pt x="7" y="1681"/>
                  </a:lnTo>
                  <a:lnTo>
                    <a:pt x="11" y="1784"/>
                  </a:lnTo>
                  <a:lnTo>
                    <a:pt x="13" y="1871"/>
                  </a:lnTo>
                  <a:lnTo>
                    <a:pt x="15" y="1928"/>
                  </a:lnTo>
                  <a:lnTo>
                    <a:pt x="15" y="1938"/>
                  </a:lnTo>
                  <a:lnTo>
                    <a:pt x="17" y="1951"/>
                  </a:lnTo>
                  <a:lnTo>
                    <a:pt x="21" y="1964"/>
                  </a:lnTo>
                  <a:lnTo>
                    <a:pt x="24" y="1980"/>
                  </a:lnTo>
                  <a:lnTo>
                    <a:pt x="35" y="2012"/>
                  </a:lnTo>
                  <a:lnTo>
                    <a:pt x="48" y="2049"/>
                  </a:lnTo>
                  <a:lnTo>
                    <a:pt x="63" y="2089"/>
                  </a:lnTo>
                  <a:lnTo>
                    <a:pt x="81" y="2130"/>
                  </a:lnTo>
                  <a:lnTo>
                    <a:pt x="99" y="2173"/>
                  </a:lnTo>
                  <a:lnTo>
                    <a:pt x="119" y="2215"/>
                  </a:lnTo>
                  <a:lnTo>
                    <a:pt x="156" y="2294"/>
                  </a:lnTo>
                  <a:lnTo>
                    <a:pt x="188" y="2360"/>
                  </a:lnTo>
                  <a:lnTo>
                    <a:pt x="211" y="2406"/>
                  </a:lnTo>
                  <a:lnTo>
                    <a:pt x="220" y="2423"/>
                  </a:lnTo>
                  <a:lnTo>
                    <a:pt x="822" y="2713"/>
                  </a:lnTo>
                  <a:lnTo>
                    <a:pt x="822" y="2706"/>
                  </a:lnTo>
                  <a:lnTo>
                    <a:pt x="824" y="2686"/>
                  </a:lnTo>
                  <a:lnTo>
                    <a:pt x="826" y="2673"/>
                  </a:lnTo>
                  <a:lnTo>
                    <a:pt x="830" y="2659"/>
                  </a:lnTo>
                  <a:lnTo>
                    <a:pt x="836" y="2643"/>
                  </a:lnTo>
                  <a:lnTo>
                    <a:pt x="842" y="2626"/>
                  </a:lnTo>
                  <a:lnTo>
                    <a:pt x="848" y="2617"/>
                  </a:lnTo>
                  <a:lnTo>
                    <a:pt x="852" y="2610"/>
                  </a:lnTo>
                  <a:lnTo>
                    <a:pt x="859" y="2601"/>
                  </a:lnTo>
                  <a:lnTo>
                    <a:pt x="864" y="2593"/>
                  </a:lnTo>
                  <a:lnTo>
                    <a:pt x="872" y="2586"/>
                  </a:lnTo>
                  <a:lnTo>
                    <a:pt x="879" y="2578"/>
                  </a:lnTo>
                  <a:lnTo>
                    <a:pt x="888" y="2572"/>
                  </a:lnTo>
                  <a:lnTo>
                    <a:pt x="898" y="2564"/>
                  </a:lnTo>
                  <a:lnTo>
                    <a:pt x="908" y="2559"/>
                  </a:lnTo>
                  <a:lnTo>
                    <a:pt x="920" y="2552"/>
                  </a:lnTo>
                  <a:lnTo>
                    <a:pt x="932" y="2548"/>
                  </a:lnTo>
                  <a:lnTo>
                    <a:pt x="945" y="2543"/>
                  </a:lnTo>
                  <a:lnTo>
                    <a:pt x="959" y="2539"/>
                  </a:lnTo>
                  <a:lnTo>
                    <a:pt x="974" y="2536"/>
                  </a:lnTo>
                  <a:lnTo>
                    <a:pt x="991" y="2534"/>
                  </a:lnTo>
                  <a:lnTo>
                    <a:pt x="1008" y="2532"/>
                  </a:lnTo>
                  <a:lnTo>
                    <a:pt x="1050" y="2531"/>
                  </a:lnTo>
                  <a:lnTo>
                    <a:pt x="1102" y="2530"/>
                  </a:lnTo>
                  <a:lnTo>
                    <a:pt x="1162" y="2529"/>
                  </a:lnTo>
                  <a:lnTo>
                    <a:pt x="1229" y="2528"/>
                  </a:lnTo>
                  <a:lnTo>
                    <a:pt x="1302" y="2527"/>
                  </a:lnTo>
                  <a:lnTo>
                    <a:pt x="1378" y="2527"/>
                  </a:lnTo>
                  <a:lnTo>
                    <a:pt x="1454" y="2526"/>
                  </a:lnTo>
                  <a:lnTo>
                    <a:pt x="1531" y="2526"/>
                  </a:lnTo>
                  <a:lnTo>
                    <a:pt x="1605" y="2525"/>
                  </a:lnTo>
                  <a:lnTo>
                    <a:pt x="1675" y="2525"/>
                  </a:lnTo>
                  <a:lnTo>
                    <a:pt x="1740" y="2525"/>
                  </a:lnTo>
                  <a:lnTo>
                    <a:pt x="1796" y="2525"/>
                  </a:lnTo>
                  <a:lnTo>
                    <a:pt x="1843" y="2525"/>
                  </a:lnTo>
                  <a:lnTo>
                    <a:pt x="1879" y="2525"/>
                  </a:lnTo>
                  <a:lnTo>
                    <a:pt x="1902" y="2525"/>
                  </a:lnTo>
                  <a:lnTo>
                    <a:pt x="1911" y="2525"/>
                  </a:lnTo>
                  <a:lnTo>
                    <a:pt x="1922" y="2529"/>
                  </a:lnTo>
                  <a:lnTo>
                    <a:pt x="1950" y="2543"/>
                  </a:lnTo>
                  <a:lnTo>
                    <a:pt x="1959" y="2549"/>
                  </a:lnTo>
                  <a:lnTo>
                    <a:pt x="1967" y="2555"/>
                  </a:lnTo>
                  <a:lnTo>
                    <a:pt x="1976" y="2563"/>
                  </a:lnTo>
                  <a:lnTo>
                    <a:pt x="1985" y="2571"/>
                  </a:lnTo>
                  <a:lnTo>
                    <a:pt x="1992" y="2579"/>
                  </a:lnTo>
                  <a:lnTo>
                    <a:pt x="2000" y="2589"/>
                  </a:lnTo>
                  <a:lnTo>
                    <a:pt x="2008" y="2600"/>
                  </a:lnTo>
                  <a:lnTo>
                    <a:pt x="2014" y="2612"/>
                  </a:lnTo>
                  <a:lnTo>
                    <a:pt x="2025" y="2637"/>
                  </a:lnTo>
                  <a:lnTo>
                    <a:pt x="2034" y="2661"/>
                  </a:lnTo>
                  <a:lnTo>
                    <a:pt x="2041" y="2684"/>
                  </a:lnTo>
                  <a:lnTo>
                    <a:pt x="2046" y="2705"/>
                  </a:lnTo>
                  <a:lnTo>
                    <a:pt x="2051" y="2736"/>
                  </a:lnTo>
                  <a:lnTo>
                    <a:pt x="2052" y="2749"/>
                  </a:lnTo>
                  <a:lnTo>
                    <a:pt x="2075" y="2733"/>
                  </a:lnTo>
                  <a:lnTo>
                    <a:pt x="2137" y="2689"/>
                  </a:lnTo>
                  <a:lnTo>
                    <a:pt x="2226" y="2627"/>
                  </a:lnTo>
                  <a:lnTo>
                    <a:pt x="2328" y="2554"/>
                  </a:lnTo>
                  <a:lnTo>
                    <a:pt x="2435" y="2480"/>
                  </a:lnTo>
                  <a:lnTo>
                    <a:pt x="2534" y="2411"/>
                  </a:lnTo>
                  <a:lnTo>
                    <a:pt x="2613" y="2358"/>
                  </a:lnTo>
                  <a:lnTo>
                    <a:pt x="2659" y="2327"/>
                  </a:lnTo>
                  <a:lnTo>
                    <a:pt x="2667" y="2323"/>
                  </a:lnTo>
                  <a:lnTo>
                    <a:pt x="2675" y="2315"/>
                  </a:lnTo>
                  <a:lnTo>
                    <a:pt x="2682" y="2308"/>
                  </a:lnTo>
                  <a:lnTo>
                    <a:pt x="2690" y="2298"/>
                  </a:lnTo>
                  <a:lnTo>
                    <a:pt x="2706" y="2274"/>
                  </a:lnTo>
                  <a:lnTo>
                    <a:pt x="2723" y="2246"/>
                  </a:lnTo>
                  <a:lnTo>
                    <a:pt x="2740" y="2214"/>
                  </a:lnTo>
                  <a:lnTo>
                    <a:pt x="2758" y="2180"/>
                  </a:lnTo>
                  <a:lnTo>
                    <a:pt x="2774" y="2144"/>
                  </a:lnTo>
                  <a:lnTo>
                    <a:pt x="2790" y="2108"/>
                  </a:lnTo>
                  <a:lnTo>
                    <a:pt x="2820" y="2038"/>
                  </a:lnTo>
                  <a:lnTo>
                    <a:pt x="2844" y="1978"/>
                  </a:lnTo>
                  <a:lnTo>
                    <a:pt x="2859" y="1937"/>
                  </a:lnTo>
                  <a:lnTo>
                    <a:pt x="2865" y="1921"/>
                  </a:lnTo>
                  <a:lnTo>
                    <a:pt x="2857" y="1222"/>
                  </a:lnTo>
                  <a:lnTo>
                    <a:pt x="2856" y="1214"/>
                  </a:lnTo>
                  <a:lnTo>
                    <a:pt x="2850" y="1192"/>
                  </a:lnTo>
                  <a:lnTo>
                    <a:pt x="2844" y="1157"/>
                  </a:lnTo>
                  <a:lnTo>
                    <a:pt x="2834" y="1113"/>
                  </a:lnTo>
                  <a:lnTo>
                    <a:pt x="2821" y="1058"/>
                  </a:lnTo>
                  <a:lnTo>
                    <a:pt x="2807" y="996"/>
                  </a:lnTo>
                  <a:lnTo>
                    <a:pt x="2791" y="929"/>
                  </a:lnTo>
                  <a:lnTo>
                    <a:pt x="2774" y="859"/>
                  </a:lnTo>
                  <a:lnTo>
                    <a:pt x="2754" y="786"/>
                  </a:lnTo>
                  <a:lnTo>
                    <a:pt x="2735" y="712"/>
                  </a:lnTo>
                  <a:lnTo>
                    <a:pt x="2714" y="642"/>
                  </a:lnTo>
                  <a:lnTo>
                    <a:pt x="2693" y="573"/>
                  </a:lnTo>
                  <a:lnTo>
                    <a:pt x="2682" y="541"/>
                  </a:lnTo>
                  <a:lnTo>
                    <a:pt x="2671" y="510"/>
                  </a:lnTo>
                  <a:lnTo>
                    <a:pt x="2661" y="480"/>
                  </a:lnTo>
                  <a:lnTo>
                    <a:pt x="2650" y="453"/>
                  </a:lnTo>
                  <a:lnTo>
                    <a:pt x="2640" y="428"/>
                  </a:lnTo>
                  <a:lnTo>
                    <a:pt x="2629" y="406"/>
                  </a:lnTo>
                  <a:lnTo>
                    <a:pt x="2618" y="385"/>
                  </a:lnTo>
                  <a:lnTo>
                    <a:pt x="2608" y="368"/>
                  </a:lnTo>
                  <a:lnTo>
                    <a:pt x="2595" y="352"/>
                  </a:lnTo>
                  <a:lnTo>
                    <a:pt x="2576" y="335"/>
                  </a:lnTo>
                  <a:lnTo>
                    <a:pt x="2549" y="319"/>
                  </a:lnTo>
                  <a:lnTo>
                    <a:pt x="2519" y="301"/>
                  </a:lnTo>
                  <a:lnTo>
                    <a:pt x="2484" y="285"/>
                  </a:lnTo>
                  <a:lnTo>
                    <a:pt x="2443" y="268"/>
                  </a:lnTo>
                  <a:lnTo>
                    <a:pt x="2398" y="250"/>
                  </a:lnTo>
                  <a:lnTo>
                    <a:pt x="2350" y="233"/>
                  </a:lnTo>
                  <a:lnTo>
                    <a:pt x="2298" y="216"/>
                  </a:lnTo>
                  <a:lnTo>
                    <a:pt x="2241" y="199"/>
                  </a:lnTo>
                  <a:lnTo>
                    <a:pt x="2183" y="183"/>
                  </a:lnTo>
                  <a:lnTo>
                    <a:pt x="2121" y="166"/>
                  </a:lnTo>
                  <a:lnTo>
                    <a:pt x="2058" y="150"/>
                  </a:lnTo>
                  <a:lnTo>
                    <a:pt x="1992" y="135"/>
                  </a:lnTo>
                  <a:lnTo>
                    <a:pt x="1926" y="119"/>
                  </a:lnTo>
                  <a:lnTo>
                    <a:pt x="1857" y="105"/>
                  </a:lnTo>
                  <a:lnTo>
                    <a:pt x="1789" y="92"/>
                  </a:lnTo>
                  <a:lnTo>
                    <a:pt x="1719" y="79"/>
                  </a:lnTo>
                  <a:lnTo>
                    <a:pt x="1649" y="66"/>
                  </a:lnTo>
                  <a:lnTo>
                    <a:pt x="1579" y="55"/>
                  </a:lnTo>
                  <a:lnTo>
                    <a:pt x="1510" y="44"/>
                  </a:lnTo>
                  <a:lnTo>
                    <a:pt x="1442" y="34"/>
                  </a:lnTo>
                  <a:lnTo>
                    <a:pt x="1374" y="27"/>
                  </a:lnTo>
                  <a:lnTo>
                    <a:pt x="1309" y="19"/>
                  </a:lnTo>
                  <a:lnTo>
                    <a:pt x="1246" y="12"/>
                  </a:lnTo>
                  <a:lnTo>
                    <a:pt x="1185" y="7"/>
                  </a:lnTo>
                  <a:lnTo>
                    <a:pt x="1126" y="4"/>
                  </a:lnTo>
                  <a:lnTo>
                    <a:pt x="1070" y="2"/>
                  </a:lnTo>
                  <a:lnTo>
                    <a:pt x="1018" y="0"/>
                  </a:lnTo>
                  <a:lnTo>
                    <a:pt x="970" y="0"/>
                  </a:lnTo>
                  <a:lnTo>
                    <a:pt x="925" y="3"/>
                  </a:lnTo>
                  <a:lnTo>
                    <a:pt x="885" y="7"/>
                  </a:lnTo>
                  <a:lnTo>
                    <a:pt x="811" y="16"/>
                  </a:lnTo>
                  <a:lnTo>
                    <a:pt x="739" y="26"/>
                  </a:lnTo>
                  <a:lnTo>
                    <a:pt x="671" y="34"/>
                  </a:lnTo>
                  <a:lnTo>
                    <a:pt x="607" y="44"/>
                  </a:lnTo>
                  <a:lnTo>
                    <a:pt x="547" y="55"/>
                  </a:lnTo>
                  <a:lnTo>
                    <a:pt x="489" y="67"/>
                  </a:lnTo>
                  <a:lnTo>
                    <a:pt x="463" y="73"/>
                  </a:lnTo>
                  <a:lnTo>
                    <a:pt x="437" y="80"/>
                  </a:lnTo>
                  <a:lnTo>
                    <a:pt x="412" y="88"/>
                  </a:lnTo>
                  <a:lnTo>
                    <a:pt x="388" y="95"/>
                  </a:lnTo>
                  <a:lnTo>
                    <a:pt x="365" y="103"/>
                  </a:lnTo>
                  <a:lnTo>
                    <a:pt x="343" y="112"/>
                  </a:lnTo>
                  <a:lnTo>
                    <a:pt x="323" y="120"/>
                  </a:lnTo>
                  <a:lnTo>
                    <a:pt x="304" y="130"/>
                  </a:lnTo>
                  <a:lnTo>
                    <a:pt x="285" y="141"/>
                  </a:lnTo>
                  <a:lnTo>
                    <a:pt x="268" y="152"/>
                  </a:lnTo>
                  <a:lnTo>
                    <a:pt x="252" y="163"/>
                  </a:lnTo>
                  <a:lnTo>
                    <a:pt x="236" y="175"/>
                  </a:lnTo>
                  <a:lnTo>
                    <a:pt x="223" y="188"/>
                  </a:lnTo>
                  <a:lnTo>
                    <a:pt x="210" y="202"/>
                  </a:lnTo>
                  <a:lnTo>
                    <a:pt x="199" y="216"/>
                  </a:lnTo>
                  <a:lnTo>
                    <a:pt x="190" y="232"/>
                  </a:lnTo>
                  <a:lnTo>
                    <a:pt x="181" y="248"/>
                  </a:lnTo>
                  <a:lnTo>
                    <a:pt x="173" y="265"/>
                  </a:lnTo>
                  <a:lnTo>
                    <a:pt x="168" y="283"/>
                  </a:lnTo>
                  <a:lnTo>
                    <a:pt x="162" y="302"/>
                  </a:lnTo>
                  <a:lnTo>
                    <a:pt x="154" y="347"/>
                  </a:lnTo>
                  <a:lnTo>
                    <a:pt x="143" y="404"/>
                  </a:lnTo>
                  <a:lnTo>
                    <a:pt x="132" y="469"/>
                  </a:lnTo>
                  <a:lnTo>
                    <a:pt x="119" y="541"/>
                  </a:lnTo>
                  <a:lnTo>
                    <a:pt x="106" y="620"/>
                  </a:lnTo>
                  <a:lnTo>
                    <a:pt x="93" y="700"/>
                  </a:lnTo>
                  <a:lnTo>
                    <a:pt x="78" y="783"/>
                  </a:lnTo>
                  <a:lnTo>
                    <a:pt x="65" y="865"/>
                  </a:lnTo>
                  <a:lnTo>
                    <a:pt x="52" y="945"/>
                  </a:lnTo>
                  <a:lnTo>
                    <a:pt x="40" y="1020"/>
                  </a:lnTo>
                  <a:lnTo>
                    <a:pt x="29" y="1089"/>
                  </a:lnTo>
                  <a:lnTo>
                    <a:pt x="21" y="1150"/>
                  </a:lnTo>
                  <a:lnTo>
                    <a:pt x="12" y="1200"/>
                  </a:lnTo>
                  <a:lnTo>
                    <a:pt x="6" y="1239"/>
                  </a:lnTo>
                  <a:lnTo>
                    <a:pt x="2" y="1263"/>
                  </a:lnTo>
                  <a:lnTo>
                    <a:pt x="1" y="1272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3" name="işlïḍé"/>
            <p:cNvSpPr/>
            <p:nvPr/>
          </p:nvSpPr>
          <p:spPr bwMode="auto">
            <a:xfrm>
              <a:off x="1351756" y="1404144"/>
              <a:ext cx="1027113" cy="665163"/>
            </a:xfrm>
            <a:custGeom>
              <a:avLst/>
              <a:gdLst>
                <a:gd name="T0" fmla="*/ 194 w 3233"/>
                <a:gd name="T1" fmla="*/ 1942 h 2091"/>
                <a:gd name="T2" fmla="*/ 279 w 3233"/>
                <a:gd name="T3" fmla="*/ 1672 h 2091"/>
                <a:gd name="T4" fmla="*/ 369 w 3233"/>
                <a:gd name="T5" fmla="*/ 1431 h 2091"/>
                <a:gd name="T6" fmla="*/ 522 w 3233"/>
                <a:gd name="T7" fmla="*/ 1098 h 2091"/>
                <a:gd name="T8" fmla="*/ 614 w 3233"/>
                <a:gd name="T9" fmla="*/ 922 h 2091"/>
                <a:gd name="T10" fmla="*/ 662 w 3233"/>
                <a:gd name="T11" fmla="*/ 966 h 2091"/>
                <a:gd name="T12" fmla="*/ 732 w 3233"/>
                <a:gd name="T13" fmla="*/ 1020 h 2091"/>
                <a:gd name="T14" fmla="*/ 822 w 3233"/>
                <a:gd name="T15" fmla="*/ 1070 h 2091"/>
                <a:gd name="T16" fmla="*/ 945 w 3233"/>
                <a:gd name="T17" fmla="*/ 1123 h 2091"/>
                <a:gd name="T18" fmla="*/ 1110 w 3233"/>
                <a:gd name="T19" fmla="*/ 1175 h 2091"/>
                <a:gd name="T20" fmla="*/ 1318 w 3233"/>
                <a:gd name="T21" fmla="*/ 1222 h 2091"/>
                <a:gd name="T22" fmla="*/ 1559 w 3233"/>
                <a:gd name="T23" fmla="*/ 1253 h 2091"/>
                <a:gd name="T24" fmla="*/ 1782 w 3233"/>
                <a:gd name="T25" fmla="*/ 1255 h 2091"/>
                <a:gd name="T26" fmla="*/ 1985 w 3233"/>
                <a:gd name="T27" fmla="*/ 1234 h 2091"/>
                <a:gd name="T28" fmla="*/ 2161 w 3233"/>
                <a:gd name="T29" fmla="*/ 1199 h 2091"/>
                <a:gd name="T30" fmla="*/ 2309 w 3233"/>
                <a:gd name="T31" fmla="*/ 1156 h 2091"/>
                <a:gd name="T32" fmla="*/ 2482 w 3233"/>
                <a:gd name="T33" fmla="*/ 1087 h 2091"/>
                <a:gd name="T34" fmla="*/ 2542 w 3233"/>
                <a:gd name="T35" fmla="*/ 1075 h 2091"/>
                <a:gd name="T36" fmla="*/ 2679 w 3233"/>
                <a:gd name="T37" fmla="*/ 1277 h 2091"/>
                <a:gd name="T38" fmla="*/ 2780 w 3233"/>
                <a:gd name="T39" fmla="*/ 1451 h 2091"/>
                <a:gd name="T40" fmla="*/ 2879 w 3233"/>
                <a:gd name="T41" fmla="*/ 1665 h 2091"/>
                <a:gd name="T42" fmla="*/ 2984 w 3233"/>
                <a:gd name="T43" fmla="*/ 1940 h 2091"/>
                <a:gd name="T44" fmla="*/ 3017 w 3233"/>
                <a:gd name="T45" fmla="*/ 2008 h 2091"/>
                <a:gd name="T46" fmla="*/ 3074 w 3233"/>
                <a:gd name="T47" fmla="*/ 1769 h 2091"/>
                <a:gd name="T48" fmla="*/ 3161 w 3233"/>
                <a:gd name="T49" fmla="*/ 1364 h 2091"/>
                <a:gd name="T50" fmla="*/ 3221 w 3233"/>
                <a:gd name="T51" fmla="*/ 1023 h 2091"/>
                <a:gd name="T52" fmla="*/ 3233 w 3233"/>
                <a:gd name="T53" fmla="*/ 886 h 2091"/>
                <a:gd name="T54" fmla="*/ 3218 w 3233"/>
                <a:gd name="T55" fmla="*/ 804 h 2091"/>
                <a:gd name="T56" fmla="*/ 3167 w 3233"/>
                <a:gd name="T57" fmla="*/ 734 h 2091"/>
                <a:gd name="T58" fmla="*/ 3114 w 3233"/>
                <a:gd name="T59" fmla="*/ 692 h 2091"/>
                <a:gd name="T60" fmla="*/ 3068 w 3233"/>
                <a:gd name="T61" fmla="*/ 670 h 2091"/>
                <a:gd name="T62" fmla="*/ 3041 w 3233"/>
                <a:gd name="T63" fmla="*/ 624 h 2091"/>
                <a:gd name="T64" fmla="*/ 2988 w 3233"/>
                <a:gd name="T65" fmla="*/ 538 h 2091"/>
                <a:gd name="T66" fmla="*/ 2897 w 3233"/>
                <a:gd name="T67" fmla="*/ 423 h 2091"/>
                <a:gd name="T68" fmla="*/ 2764 w 3233"/>
                <a:gd name="T69" fmla="*/ 299 h 2091"/>
                <a:gd name="T70" fmla="*/ 2585 w 3233"/>
                <a:gd name="T71" fmla="*/ 178 h 2091"/>
                <a:gd name="T72" fmla="*/ 2354 w 3233"/>
                <a:gd name="T73" fmla="*/ 78 h 2091"/>
                <a:gd name="T74" fmla="*/ 2067 w 3233"/>
                <a:gd name="T75" fmla="*/ 14 h 2091"/>
                <a:gd name="T76" fmla="*/ 1721 w 3233"/>
                <a:gd name="T77" fmla="*/ 1 h 2091"/>
                <a:gd name="T78" fmla="*/ 1398 w 3233"/>
                <a:gd name="T79" fmla="*/ 13 h 2091"/>
                <a:gd name="T80" fmla="*/ 1130 w 3233"/>
                <a:gd name="T81" fmla="*/ 34 h 2091"/>
                <a:gd name="T82" fmla="*/ 916 w 3233"/>
                <a:gd name="T83" fmla="*/ 66 h 2091"/>
                <a:gd name="T84" fmla="*/ 750 w 3233"/>
                <a:gd name="T85" fmla="*/ 107 h 2091"/>
                <a:gd name="T86" fmla="*/ 631 w 3233"/>
                <a:gd name="T87" fmla="*/ 157 h 2091"/>
                <a:gd name="T88" fmla="*/ 558 w 3233"/>
                <a:gd name="T89" fmla="*/ 219 h 2091"/>
                <a:gd name="T90" fmla="*/ 527 w 3233"/>
                <a:gd name="T91" fmla="*/ 290 h 2091"/>
                <a:gd name="T92" fmla="*/ 546 w 3233"/>
                <a:gd name="T93" fmla="*/ 429 h 2091"/>
                <a:gd name="T94" fmla="*/ 577 w 3233"/>
                <a:gd name="T95" fmla="*/ 623 h 2091"/>
                <a:gd name="T96" fmla="*/ 573 w 3233"/>
                <a:gd name="T97" fmla="*/ 658 h 2091"/>
                <a:gd name="T98" fmla="*/ 475 w 3233"/>
                <a:gd name="T99" fmla="*/ 601 h 2091"/>
                <a:gd name="T100" fmla="*/ 384 w 3233"/>
                <a:gd name="T101" fmla="*/ 563 h 2091"/>
                <a:gd name="T102" fmla="*/ 280 w 3233"/>
                <a:gd name="T103" fmla="*/ 543 h 2091"/>
                <a:gd name="T104" fmla="*/ 179 w 3233"/>
                <a:gd name="T105" fmla="*/ 557 h 2091"/>
                <a:gd name="T106" fmla="*/ 90 w 3233"/>
                <a:gd name="T107" fmla="*/ 622 h 2091"/>
                <a:gd name="T108" fmla="*/ 28 w 3233"/>
                <a:gd name="T109" fmla="*/ 755 h 2091"/>
                <a:gd name="T110" fmla="*/ 2 w 3233"/>
                <a:gd name="T111" fmla="*/ 969 h 2091"/>
                <a:gd name="T112" fmla="*/ 2 w 3233"/>
                <a:gd name="T113" fmla="*/ 1200 h 2091"/>
                <a:gd name="T114" fmla="*/ 16 w 3233"/>
                <a:gd name="T115" fmla="*/ 1416 h 2091"/>
                <a:gd name="T116" fmla="*/ 49 w 3233"/>
                <a:gd name="T117" fmla="*/ 1656 h 2091"/>
                <a:gd name="T118" fmla="*/ 110 w 3233"/>
                <a:gd name="T119" fmla="*/ 1946 h 2091"/>
                <a:gd name="T120" fmla="*/ 150 w 3233"/>
                <a:gd name="T121" fmla="*/ 208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33" h="2091">
                  <a:moveTo>
                    <a:pt x="153" y="2091"/>
                  </a:moveTo>
                  <a:lnTo>
                    <a:pt x="158" y="2072"/>
                  </a:lnTo>
                  <a:lnTo>
                    <a:pt x="172" y="2021"/>
                  </a:lnTo>
                  <a:lnTo>
                    <a:pt x="194" y="1942"/>
                  </a:lnTo>
                  <a:lnTo>
                    <a:pt x="223" y="1843"/>
                  </a:lnTo>
                  <a:lnTo>
                    <a:pt x="241" y="1789"/>
                  </a:lnTo>
                  <a:lnTo>
                    <a:pt x="259" y="1731"/>
                  </a:lnTo>
                  <a:lnTo>
                    <a:pt x="279" y="1672"/>
                  </a:lnTo>
                  <a:lnTo>
                    <a:pt x="300" y="1611"/>
                  </a:lnTo>
                  <a:lnTo>
                    <a:pt x="323" y="1550"/>
                  </a:lnTo>
                  <a:lnTo>
                    <a:pt x="345" y="1490"/>
                  </a:lnTo>
                  <a:lnTo>
                    <a:pt x="369" y="1431"/>
                  </a:lnTo>
                  <a:lnTo>
                    <a:pt x="393" y="1374"/>
                  </a:lnTo>
                  <a:lnTo>
                    <a:pt x="440" y="1269"/>
                  </a:lnTo>
                  <a:lnTo>
                    <a:pt x="484" y="1178"/>
                  </a:lnTo>
                  <a:lnTo>
                    <a:pt x="522" y="1098"/>
                  </a:lnTo>
                  <a:lnTo>
                    <a:pt x="555" y="1033"/>
                  </a:lnTo>
                  <a:lnTo>
                    <a:pt x="581" y="982"/>
                  </a:lnTo>
                  <a:lnTo>
                    <a:pt x="600" y="945"/>
                  </a:lnTo>
                  <a:lnTo>
                    <a:pt x="614" y="922"/>
                  </a:lnTo>
                  <a:lnTo>
                    <a:pt x="618" y="914"/>
                  </a:lnTo>
                  <a:lnTo>
                    <a:pt x="623" y="924"/>
                  </a:lnTo>
                  <a:lnTo>
                    <a:pt x="644" y="949"/>
                  </a:lnTo>
                  <a:lnTo>
                    <a:pt x="662" y="966"/>
                  </a:lnTo>
                  <a:lnTo>
                    <a:pt x="686" y="986"/>
                  </a:lnTo>
                  <a:lnTo>
                    <a:pt x="699" y="997"/>
                  </a:lnTo>
                  <a:lnTo>
                    <a:pt x="715" y="1008"/>
                  </a:lnTo>
                  <a:lnTo>
                    <a:pt x="732" y="1020"/>
                  </a:lnTo>
                  <a:lnTo>
                    <a:pt x="752" y="1032"/>
                  </a:lnTo>
                  <a:lnTo>
                    <a:pt x="773" y="1045"/>
                  </a:lnTo>
                  <a:lnTo>
                    <a:pt x="796" y="1057"/>
                  </a:lnTo>
                  <a:lnTo>
                    <a:pt x="822" y="1070"/>
                  </a:lnTo>
                  <a:lnTo>
                    <a:pt x="849" y="1083"/>
                  </a:lnTo>
                  <a:lnTo>
                    <a:pt x="878" y="1096"/>
                  </a:lnTo>
                  <a:lnTo>
                    <a:pt x="911" y="1109"/>
                  </a:lnTo>
                  <a:lnTo>
                    <a:pt x="945" y="1123"/>
                  </a:lnTo>
                  <a:lnTo>
                    <a:pt x="982" y="1136"/>
                  </a:lnTo>
                  <a:lnTo>
                    <a:pt x="1022" y="1148"/>
                  </a:lnTo>
                  <a:lnTo>
                    <a:pt x="1064" y="1162"/>
                  </a:lnTo>
                  <a:lnTo>
                    <a:pt x="1110" y="1175"/>
                  </a:lnTo>
                  <a:lnTo>
                    <a:pt x="1156" y="1187"/>
                  </a:lnTo>
                  <a:lnTo>
                    <a:pt x="1208" y="1199"/>
                  </a:lnTo>
                  <a:lnTo>
                    <a:pt x="1261" y="1211"/>
                  </a:lnTo>
                  <a:lnTo>
                    <a:pt x="1318" y="1222"/>
                  </a:lnTo>
                  <a:lnTo>
                    <a:pt x="1378" y="1231"/>
                  </a:lnTo>
                  <a:lnTo>
                    <a:pt x="1439" y="1241"/>
                  </a:lnTo>
                  <a:lnTo>
                    <a:pt x="1500" y="1248"/>
                  </a:lnTo>
                  <a:lnTo>
                    <a:pt x="1559" y="1253"/>
                  </a:lnTo>
                  <a:lnTo>
                    <a:pt x="1616" y="1256"/>
                  </a:lnTo>
                  <a:lnTo>
                    <a:pt x="1673" y="1257"/>
                  </a:lnTo>
                  <a:lnTo>
                    <a:pt x="1729" y="1256"/>
                  </a:lnTo>
                  <a:lnTo>
                    <a:pt x="1782" y="1255"/>
                  </a:lnTo>
                  <a:lnTo>
                    <a:pt x="1835" y="1251"/>
                  </a:lnTo>
                  <a:lnTo>
                    <a:pt x="1887" y="1247"/>
                  </a:lnTo>
                  <a:lnTo>
                    <a:pt x="1937" y="1241"/>
                  </a:lnTo>
                  <a:lnTo>
                    <a:pt x="1985" y="1234"/>
                  </a:lnTo>
                  <a:lnTo>
                    <a:pt x="2032" y="1226"/>
                  </a:lnTo>
                  <a:lnTo>
                    <a:pt x="2076" y="1217"/>
                  </a:lnTo>
                  <a:lnTo>
                    <a:pt x="2120" y="1208"/>
                  </a:lnTo>
                  <a:lnTo>
                    <a:pt x="2161" y="1199"/>
                  </a:lnTo>
                  <a:lnTo>
                    <a:pt x="2202" y="1188"/>
                  </a:lnTo>
                  <a:lnTo>
                    <a:pt x="2239" y="1177"/>
                  </a:lnTo>
                  <a:lnTo>
                    <a:pt x="2275" y="1167"/>
                  </a:lnTo>
                  <a:lnTo>
                    <a:pt x="2309" y="1156"/>
                  </a:lnTo>
                  <a:lnTo>
                    <a:pt x="2340" y="1145"/>
                  </a:lnTo>
                  <a:lnTo>
                    <a:pt x="2397" y="1123"/>
                  </a:lnTo>
                  <a:lnTo>
                    <a:pt x="2445" y="1104"/>
                  </a:lnTo>
                  <a:lnTo>
                    <a:pt x="2482" y="1087"/>
                  </a:lnTo>
                  <a:lnTo>
                    <a:pt x="2510" y="1074"/>
                  </a:lnTo>
                  <a:lnTo>
                    <a:pt x="2527" y="1066"/>
                  </a:lnTo>
                  <a:lnTo>
                    <a:pt x="2532" y="1062"/>
                  </a:lnTo>
                  <a:lnTo>
                    <a:pt x="2542" y="1075"/>
                  </a:lnTo>
                  <a:lnTo>
                    <a:pt x="2568" y="1111"/>
                  </a:lnTo>
                  <a:lnTo>
                    <a:pt x="2606" y="1167"/>
                  </a:lnTo>
                  <a:lnTo>
                    <a:pt x="2653" y="1238"/>
                  </a:lnTo>
                  <a:lnTo>
                    <a:pt x="2679" y="1277"/>
                  </a:lnTo>
                  <a:lnTo>
                    <a:pt x="2705" y="1319"/>
                  </a:lnTo>
                  <a:lnTo>
                    <a:pt x="2730" y="1362"/>
                  </a:lnTo>
                  <a:lnTo>
                    <a:pt x="2757" y="1406"/>
                  </a:lnTo>
                  <a:lnTo>
                    <a:pt x="2780" y="1451"/>
                  </a:lnTo>
                  <a:lnTo>
                    <a:pt x="2804" y="1495"/>
                  </a:lnTo>
                  <a:lnTo>
                    <a:pt x="2825" y="1539"/>
                  </a:lnTo>
                  <a:lnTo>
                    <a:pt x="2845" y="1582"/>
                  </a:lnTo>
                  <a:lnTo>
                    <a:pt x="2879" y="1665"/>
                  </a:lnTo>
                  <a:lnTo>
                    <a:pt x="2910" y="1745"/>
                  </a:lnTo>
                  <a:lnTo>
                    <a:pt x="2939" y="1819"/>
                  </a:lnTo>
                  <a:lnTo>
                    <a:pt x="2964" y="1886"/>
                  </a:lnTo>
                  <a:lnTo>
                    <a:pt x="2984" y="1940"/>
                  </a:lnTo>
                  <a:lnTo>
                    <a:pt x="3001" y="1983"/>
                  </a:lnTo>
                  <a:lnTo>
                    <a:pt x="3010" y="2010"/>
                  </a:lnTo>
                  <a:lnTo>
                    <a:pt x="3014" y="2020"/>
                  </a:lnTo>
                  <a:lnTo>
                    <a:pt x="3017" y="2008"/>
                  </a:lnTo>
                  <a:lnTo>
                    <a:pt x="3025" y="1974"/>
                  </a:lnTo>
                  <a:lnTo>
                    <a:pt x="3038" y="1920"/>
                  </a:lnTo>
                  <a:lnTo>
                    <a:pt x="3054" y="1851"/>
                  </a:lnTo>
                  <a:lnTo>
                    <a:pt x="3074" y="1769"/>
                  </a:lnTo>
                  <a:lnTo>
                    <a:pt x="3094" y="1675"/>
                  </a:lnTo>
                  <a:lnTo>
                    <a:pt x="3116" y="1575"/>
                  </a:lnTo>
                  <a:lnTo>
                    <a:pt x="3139" y="1470"/>
                  </a:lnTo>
                  <a:lnTo>
                    <a:pt x="3161" y="1364"/>
                  </a:lnTo>
                  <a:lnTo>
                    <a:pt x="3182" y="1260"/>
                  </a:lnTo>
                  <a:lnTo>
                    <a:pt x="3200" y="1159"/>
                  </a:lnTo>
                  <a:lnTo>
                    <a:pt x="3214" y="1067"/>
                  </a:lnTo>
                  <a:lnTo>
                    <a:pt x="3221" y="1023"/>
                  </a:lnTo>
                  <a:lnTo>
                    <a:pt x="3226" y="984"/>
                  </a:lnTo>
                  <a:lnTo>
                    <a:pt x="3230" y="947"/>
                  </a:lnTo>
                  <a:lnTo>
                    <a:pt x="3232" y="914"/>
                  </a:lnTo>
                  <a:lnTo>
                    <a:pt x="3233" y="886"/>
                  </a:lnTo>
                  <a:lnTo>
                    <a:pt x="3233" y="861"/>
                  </a:lnTo>
                  <a:lnTo>
                    <a:pt x="3231" y="841"/>
                  </a:lnTo>
                  <a:lnTo>
                    <a:pt x="3227" y="827"/>
                  </a:lnTo>
                  <a:lnTo>
                    <a:pt x="3218" y="804"/>
                  </a:lnTo>
                  <a:lnTo>
                    <a:pt x="3206" y="784"/>
                  </a:lnTo>
                  <a:lnTo>
                    <a:pt x="3194" y="766"/>
                  </a:lnTo>
                  <a:lnTo>
                    <a:pt x="3181" y="749"/>
                  </a:lnTo>
                  <a:lnTo>
                    <a:pt x="3167" y="734"/>
                  </a:lnTo>
                  <a:lnTo>
                    <a:pt x="3153" y="721"/>
                  </a:lnTo>
                  <a:lnTo>
                    <a:pt x="3140" y="710"/>
                  </a:lnTo>
                  <a:lnTo>
                    <a:pt x="3127" y="700"/>
                  </a:lnTo>
                  <a:lnTo>
                    <a:pt x="3114" y="692"/>
                  </a:lnTo>
                  <a:lnTo>
                    <a:pt x="3102" y="685"/>
                  </a:lnTo>
                  <a:lnTo>
                    <a:pt x="3091" y="680"/>
                  </a:lnTo>
                  <a:lnTo>
                    <a:pt x="3081" y="675"/>
                  </a:lnTo>
                  <a:lnTo>
                    <a:pt x="3068" y="670"/>
                  </a:lnTo>
                  <a:lnTo>
                    <a:pt x="3063" y="668"/>
                  </a:lnTo>
                  <a:lnTo>
                    <a:pt x="3060" y="660"/>
                  </a:lnTo>
                  <a:lnTo>
                    <a:pt x="3050" y="639"/>
                  </a:lnTo>
                  <a:lnTo>
                    <a:pt x="3041" y="624"/>
                  </a:lnTo>
                  <a:lnTo>
                    <a:pt x="3031" y="605"/>
                  </a:lnTo>
                  <a:lnTo>
                    <a:pt x="3019" y="585"/>
                  </a:lnTo>
                  <a:lnTo>
                    <a:pt x="3004" y="562"/>
                  </a:lnTo>
                  <a:lnTo>
                    <a:pt x="2988" y="538"/>
                  </a:lnTo>
                  <a:lnTo>
                    <a:pt x="2969" y="511"/>
                  </a:lnTo>
                  <a:lnTo>
                    <a:pt x="2947" y="483"/>
                  </a:lnTo>
                  <a:lnTo>
                    <a:pt x="2923" y="454"/>
                  </a:lnTo>
                  <a:lnTo>
                    <a:pt x="2897" y="423"/>
                  </a:lnTo>
                  <a:lnTo>
                    <a:pt x="2868" y="393"/>
                  </a:lnTo>
                  <a:lnTo>
                    <a:pt x="2836" y="361"/>
                  </a:lnTo>
                  <a:lnTo>
                    <a:pt x="2802" y="330"/>
                  </a:lnTo>
                  <a:lnTo>
                    <a:pt x="2764" y="299"/>
                  </a:lnTo>
                  <a:lnTo>
                    <a:pt x="2724" y="267"/>
                  </a:lnTo>
                  <a:lnTo>
                    <a:pt x="2681" y="237"/>
                  </a:lnTo>
                  <a:lnTo>
                    <a:pt x="2634" y="206"/>
                  </a:lnTo>
                  <a:lnTo>
                    <a:pt x="2585" y="178"/>
                  </a:lnTo>
                  <a:lnTo>
                    <a:pt x="2532" y="151"/>
                  </a:lnTo>
                  <a:lnTo>
                    <a:pt x="2476" y="125"/>
                  </a:lnTo>
                  <a:lnTo>
                    <a:pt x="2416" y="99"/>
                  </a:lnTo>
                  <a:lnTo>
                    <a:pt x="2354" y="78"/>
                  </a:lnTo>
                  <a:lnTo>
                    <a:pt x="2288" y="58"/>
                  </a:lnTo>
                  <a:lnTo>
                    <a:pt x="2217" y="41"/>
                  </a:lnTo>
                  <a:lnTo>
                    <a:pt x="2144" y="25"/>
                  </a:lnTo>
                  <a:lnTo>
                    <a:pt x="2067" y="14"/>
                  </a:lnTo>
                  <a:lnTo>
                    <a:pt x="1985" y="6"/>
                  </a:lnTo>
                  <a:lnTo>
                    <a:pt x="1900" y="1"/>
                  </a:lnTo>
                  <a:lnTo>
                    <a:pt x="1810" y="0"/>
                  </a:lnTo>
                  <a:lnTo>
                    <a:pt x="1721" y="1"/>
                  </a:lnTo>
                  <a:lnTo>
                    <a:pt x="1635" y="3"/>
                  </a:lnTo>
                  <a:lnTo>
                    <a:pt x="1552" y="6"/>
                  </a:lnTo>
                  <a:lnTo>
                    <a:pt x="1474" y="9"/>
                  </a:lnTo>
                  <a:lnTo>
                    <a:pt x="1398" y="13"/>
                  </a:lnTo>
                  <a:lnTo>
                    <a:pt x="1326" y="18"/>
                  </a:lnTo>
                  <a:lnTo>
                    <a:pt x="1258" y="22"/>
                  </a:lnTo>
                  <a:lnTo>
                    <a:pt x="1192" y="29"/>
                  </a:lnTo>
                  <a:lnTo>
                    <a:pt x="1130" y="34"/>
                  </a:lnTo>
                  <a:lnTo>
                    <a:pt x="1071" y="42"/>
                  </a:lnTo>
                  <a:lnTo>
                    <a:pt x="1017" y="48"/>
                  </a:lnTo>
                  <a:lnTo>
                    <a:pt x="965" y="57"/>
                  </a:lnTo>
                  <a:lnTo>
                    <a:pt x="916" y="66"/>
                  </a:lnTo>
                  <a:lnTo>
                    <a:pt x="870" y="74"/>
                  </a:lnTo>
                  <a:lnTo>
                    <a:pt x="826" y="85"/>
                  </a:lnTo>
                  <a:lnTo>
                    <a:pt x="787" y="95"/>
                  </a:lnTo>
                  <a:lnTo>
                    <a:pt x="750" y="107"/>
                  </a:lnTo>
                  <a:lnTo>
                    <a:pt x="716" y="118"/>
                  </a:lnTo>
                  <a:lnTo>
                    <a:pt x="684" y="131"/>
                  </a:lnTo>
                  <a:lnTo>
                    <a:pt x="657" y="144"/>
                  </a:lnTo>
                  <a:lnTo>
                    <a:pt x="631" y="157"/>
                  </a:lnTo>
                  <a:lnTo>
                    <a:pt x="609" y="173"/>
                  </a:lnTo>
                  <a:lnTo>
                    <a:pt x="590" y="187"/>
                  </a:lnTo>
                  <a:lnTo>
                    <a:pt x="572" y="203"/>
                  </a:lnTo>
                  <a:lnTo>
                    <a:pt x="558" y="219"/>
                  </a:lnTo>
                  <a:lnTo>
                    <a:pt x="546" y="236"/>
                  </a:lnTo>
                  <a:lnTo>
                    <a:pt x="537" y="253"/>
                  </a:lnTo>
                  <a:lnTo>
                    <a:pt x="531" y="272"/>
                  </a:lnTo>
                  <a:lnTo>
                    <a:pt x="527" y="290"/>
                  </a:lnTo>
                  <a:lnTo>
                    <a:pt x="525" y="310"/>
                  </a:lnTo>
                  <a:lnTo>
                    <a:pt x="526" y="330"/>
                  </a:lnTo>
                  <a:lnTo>
                    <a:pt x="530" y="350"/>
                  </a:lnTo>
                  <a:lnTo>
                    <a:pt x="546" y="429"/>
                  </a:lnTo>
                  <a:lnTo>
                    <a:pt x="558" y="494"/>
                  </a:lnTo>
                  <a:lnTo>
                    <a:pt x="567" y="548"/>
                  </a:lnTo>
                  <a:lnTo>
                    <a:pt x="573" y="591"/>
                  </a:lnTo>
                  <a:lnTo>
                    <a:pt x="577" y="623"/>
                  </a:lnTo>
                  <a:lnTo>
                    <a:pt x="579" y="646"/>
                  </a:lnTo>
                  <a:lnTo>
                    <a:pt x="579" y="659"/>
                  </a:lnTo>
                  <a:lnTo>
                    <a:pt x="580" y="662"/>
                  </a:lnTo>
                  <a:lnTo>
                    <a:pt x="573" y="658"/>
                  </a:lnTo>
                  <a:lnTo>
                    <a:pt x="556" y="647"/>
                  </a:lnTo>
                  <a:lnTo>
                    <a:pt x="530" y="630"/>
                  </a:lnTo>
                  <a:lnTo>
                    <a:pt x="495" y="611"/>
                  </a:lnTo>
                  <a:lnTo>
                    <a:pt x="475" y="601"/>
                  </a:lnTo>
                  <a:lnTo>
                    <a:pt x="453" y="590"/>
                  </a:lnTo>
                  <a:lnTo>
                    <a:pt x="432" y="580"/>
                  </a:lnTo>
                  <a:lnTo>
                    <a:pt x="408" y="572"/>
                  </a:lnTo>
                  <a:lnTo>
                    <a:pt x="384" y="563"/>
                  </a:lnTo>
                  <a:lnTo>
                    <a:pt x="357" y="556"/>
                  </a:lnTo>
                  <a:lnTo>
                    <a:pt x="332" y="550"/>
                  </a:lnTo>
                  <a:lnTo>
                    <a:pt x="306" y="545"/>
                  </a:lnTo>
                  <a:lnTo>
                    <a:pt x="280" y="543"/>
                  </a:lnTo>
                  <a:lnTo>
                    <a:pt x="254" y="543"/>
                  </a:lnTo>
                  <a:lnTo>
                    <a:pt x="229" y="544"/>
                  </a:lnTo>
                  <a:lnTo>
                    <a:pt x="204" y="550"/>
                  </a:lnTo>
                  <a:lnTo>
                    <a:pt x="179" y="557"/>
                  </a:lnTo>
                  <a:lnTo>
                    <a:pt x="155" y="568"/>
                  </a:lnTo>
                  <a:lnTo>
                    <a:pt x="132" y="583"/>
                  </a:lnTo>
                  <a:lnTo>
                    <a:pt x="111" y="600"/>
                  </a:lnTo>
                  <a:lnTo>
                    <a:pt x="90" y="622"/>
                  </a:lnTo>
                  <a:lnTo>
                    <a:pt x="72" y="648"/>
                  </a:lnTo>
                  <a:lnTo>
                    <a:pt x="55" y="678"/>
                  </a:lnTo>
                  <a:lnTo>
                    <a:pt x="40" y="714"/>
                  </a:lnTo>
                  <a:lnTo>
                    <a:pt x="28" y="755"/>
                  </a:lnTo>
                  <a:lnTo>
                    <a:pt x="17" y="801"/>
                  </a:lnTo>
                  <a:lnTo>
                    <a:pt x="10" y="852"/>
                  </a:lnTo>
                  <a:lnTo>
                    <a:pt x="4" y="909"/>
                  </a:lnTo>
                  <a:lnTo>
                    <a:pt x="2" y="969"/>
                  </a:lnTo>
                  <a:lnTo>
                    <a:pt x="0" y="1027"/>
                  </a:lnTo>
                  <a:lnTo>
                    <a:pt x="0" y="1086"/>
                  </a:lnTo>
                  <a:lnTo>
                    <a:pt x="0" y="1143"/>
                  </a:lnTo>
                  <a:lnTo>
                    <a:pt x="2" y="1200"/>
                  </a:lnTo>
                  <a:lnTo>
                    <a:pt x="4" y="1255"/>
                  </a:lnTo>
                  <a:lnTo>
                    <a:pt x="8" y="1310"/>
                  </a:lnTo>
                  <a:lnTo>
                    <a:pt x="12" y="1363"/>
                  </a:lnTo>
                  <a:lnTo>
                    <a:pt x="16" y="1416"/>
                  </a:lnTo>
                  <a:lnTo>
                    <a:pt x="22" y="1467"/>
                  </a:lnTo>
                  <a:lnTo>
                    <a:pt x="28" y="1516"/>
                  </a:lnTo>
                  <a:lnTo>
                    <a:pt x="35" y="1564"/>
                  </a:lnTo>
                  <a:lnTo>
                    <a:pt x="49" y="1656"/>
                  </a:lnTo>
                  <a:lnTo>
                    <a:pt x="64" y="1741"/>
                  </a:lnTo>
                  <a:lnTo>
                    <a:pt x="81" y="1817"/>
                  </a:lnTo>
                  <a:lnTo>
                    <a:pt x="96" y="1886"/>
                  </a:lnTo>
                  <a:lnTo>
                    <a:pt x="110" y="1946"/>
                  </a:lnTo>
                  <a:lnTo>
                    <a:pt x="124" y="1997"/>
                  </a:lnTo>
                  <a:lnTo>
                    <a:pt x="135" y="2037"/>
                  </a:lnTo>
                  <a:lnTo>
                    <a:pt x="145" y="2067"/>
                  </a:lnTo>
                  <a:lnTo>
                    <a:pt x="150" y="2085"/>
                  </a:lnTo>
                  <a:lnTo>
                    <a:pt x="153" y="2091"/>
                  </a:lnTo>
                  <a:close/>
                </a:path>
              </a:pathLst>
            </a:custGeom>
            <a:solidFill>
              <a:srgbClr val="684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4" name="îŝ1ïḓe"/>
            <p:cNvSpPr/>
            <p:nvPr/>
          </p:nvSpPr>
          <p:spPr bwMode="auto">
            <a:xfrm>
              <a:off x="1688306" y="2529682"/>
              <a:ext cx="344488" cy="263525"/>
            </a:xfrm>
            <a:custGeom>
              <a:avLst/>
              <a:gdLst>
                <a:gd name="T0" fmla="*/ 1087 w 1087"/>
                <a:gd name="T1" fmla="*/ 0 h 829"/>
                <a:gd name="T2" fmla="*/ 1086 w 1087"/>
                <a:gd name="T3" fmla="*/ 435 h 829"/>
                <a:gd name="T4" fmla="*/ 1082 w 1087"/>
                <a:gd name="T5" fmla="*/ 478 h 829"/>
                <a:gd name="T6" fmla="*/ 1074 w 1087"/>
                <a:gd name="T7" fmla="*/ 518 h 829"/>
                <a:gd name="T8" fmla="*/ 1062 w 1087"/>
                <a:gd name="T9" fmla="*/ 556 h 829"/>
                <a:gd name="T10" fmla="*/ 1046 w 1087"/>
                <a:gd name="T11" fmla="*/ 593 h 829"/>
                <a:gd name="T12" fmla="*/ 1026 w 1087"/>
                <a:gd name="T13" fmla="*/ 629 h 829"/>
                <a:gd name="T14" fmla="*/ 1004 w 1087"/>
                <a:gd name="T15" fmla="*/ 662 h 829"/>
                <a:gd name="T16" fmla="*/ 979 w 1087"/>
                <a:gd name="T17" fmla="*/ 692 h 829"/>
                <a:gd name="T18" fmla="*/ 951 w 1087"/>
                <a:gd name="T19" fmla="*/ 721 h 829"/>
                <a:gd name="T20" fmla="*/ 920 w 1087"/>
                <a:gd name="T21" fmla="*/ 746 h 829"/>
                <a:gd name="T22" fmla="*/ 887 w 1087"/>
                <a:gd name="T23" fmla="*/ 769 h 829"/>
                <a:gd name="T24" fmla="*/ 852 w 1087"/>
                <a:gd name="T25" fmla="*/ 787 h 829"/>
                <a:gd name="T26" fmla="*/ 815 w 1087"/>
                <a:gd name="T27" fmla="*/ 804 h 829"/>
                <a:gd name="T28" fmla="*/ 775 w 1087"/>
                <a:gd name="T29" fmla="*/ 816 h 829"/>
                <a:gd name="T30" fmla="*/ 735 w 1087"/>
                <a:gd name="T31" fmla="*/ 824 h 829"/>
                <a:gd name="T32" fmla="*/ 694 w 1087"/>
                <a:gd name="T33" fmla="*/ 829 h 829"/>
                <a:gd name="T34" fmla="*/ 614 w 1087"/>
                <a:gd name="T35" fmla="*/ 829 h 829"/>
                <a:gd name="T36" fmla="*/ 663 w 1087"/>
                <a:gd name="T37" fmla="*/ 574 h 829"/>
                <a:gd name="T38" fmla="*/ 675 w 1087"/>
                <a:gd name="T39" fmla="*/ 571 h 829"/>
                <a:gd name="T40" fmla="*/ 685 w 1087"/>
                <a:gd name="T41" fmla="*/ 565 h 829"/>
                <a:gd name="T42" fmla="*/ 693 w 1087"/>
                <a:gd name="T43" fmla="*/ 554 h 829"/>
                <a:gd name="T44" fmla="*/ 695 w 1087"/>
                <a:gd name="T45" fmla="*/ 542 h 829"/>
                <a:gd name="T46" fmla="*/ 694 w 1087"/>
                <a:gd name="T47" fmla="*/ 535 h 829"/>
                <a:gd name="T48" fmla="*/ 689 w 1087"/>
                <a:gd name="T49" fmla="*/ 524 h 829"/>
                <a:gd name="T50" fmla="*/ 681 w 1087"/>
                <a:gd name="T51" fmla="*/ 516 h 829"/>
                <a:gd name="T52" fmla="*/ 669 w 1087"/>
                <a:gd name="T53" fmla="*/ 510 h 829"/>
                <a:gd name="T54" fmla="*/ 409 w 1087"/>
                <a:gd name="T55" fmla="*/ 510 h 829"/>
                <a:gd name="T56" fmla="*/ 396 w 1087"/>
                <a:gd name="T57" fmla="*/ 512 h 829"/>
                <a:gd name="T58" fmla="*/ 386 w 1087"/>
                <a:gd name="T59" fmla="*/ 519 h 829"/>
                <a:gd name="T60" fmla="*/ 380 w 1087"/>
                <a:gd name="T61" fmla="*/ 530 h 829"/>
                <a:gd name="T62" fmla="*/ 377 w 1087"/>
                <a:gd name="T63" fmla="*/ 542 h 829"/>
                <a:gd name="T64" fmla="*/ 378 w 1087"/>
                <a:gd name="T65" fmla="*/ 548 h 829"/>
                <a:gd name="T66" fmla="*/ 382 w 1087"/>
                <a:gd name="T67" fmla="*/ 559 h 829"/>
                <a:gd name="T68" fmla="*/ 391 w 1087"/>
                <a:gd name="T69" fmla="*/ 568 h 829"/>
                <a:gd name="T70" fmla="*/ 403 w 1087"/>
                <a:gd name="T71" fmla="*/ 574 h 829"/>
                <a:gd name="T72" fmla="*/ 468 w 1087"/>
                <a:gd name="T73" fmla="*/ 574 h 829"/>
                <a:gd name="T74" fmla="*/ 416 w 1087"/>
                <a:gd name="T75" fmla="*/ 829 h 829"/>
                <a:gd name="T76" fmla="*/ 373 w 1087"/>
                <a:gd name="T77" fmla="*/ 827 h 829"/>
                <a:gd name="T78" fmla="*/ 332 w 1087"/>
                <a:gd name="T79" fmla="*/ 820 h 829"/>
                <a:gd name="T80" fmla="*/ 293 w 1087"/>
                <a:gd name="T81" fmla="*/ 810 h 829"/>
                <a:gd name="T82" fmla="*/ 254 w 1087"/>
                <a:gd name="T83" fmla="*/ 796 h 829"/>
                <a:gd name="T84" fmla="*/ 218 w 1087"/>
                <a:gd name="T85" fmla="*/ 779 h 829"/>
                <a:gd name="T86" fmla="*/ 184 w 1087"/>
                <a:gd name="T87" fmla="*/ 758 h 829"/>
                <a:gd name="T88" fmla="*/ 152 w 1087"/>
                <a:gd name="T89" fmla="*/ 734 h 829"/>
                <a:gd name="T90" fmla="*/ 123 w 1087"/>
                <a:gd name="T91" fmla="*/ 707 h 829"/>
                <a:gd name="T92" fmla="*/ 95 w 1087"/>
                <a:gd name="T93" fmla="*/ 677 h 829"/>
                <a:gd name="T94" fmla="*/ 71 w 1087"/>
                <a:gd name="T95" fmla="*/ 646 h 829"/>
                <a:gd name="T96" fmla="*/ 51 w 1087"/>
                <a:gd name="T97" fmla="*/ 612 h 829"/>
                <a:gd name="T98" fmla="*/ 33 w 1087"/>
                <a:gd name="T99" fmla="*/ 575 h 829"/>
                <a:gd name="T100" fmla="*/ 20 w 1087"/>
                <a:gd name="T101" fmla="*/ 538 h 829"/>
                <a:gd name="T102" fmla="*/ 9 w 1087"/>
                <a:gd name="T103" fmla="*/ 497 h 829"/>
                <a:gd name="T104" fmla="*/ 3 w 1087"/>
                <a:gd name="T105" fmla="*/ 457 h 829"/>
                <a:gd name="T106" fmla="*/ 0 w 1087"/>
                <a:gd name="T107" fmla="*/ 414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87" h="829">
                  <a:moveTo>
                    <a:pt x="0" y="0"/>
                  </a:moveTo>
                  <a:lnTo>
                    <a:pt x="1087" y="0"/>
                  </a:lnTo>
                  <a:lnTo>
                    <a:pt x="1087" y="414"/>
                  </a:lnTo>
                  <a:lnTo>
                    <a:pt x="1086" y="435"/>
                  </a:lnTo>
                  <a:lnTo>
                    <a:pt x="1085" y="457"/>
                  </a:lnTo>
                  <a:lnTo>
                    <a:pt x="1082" y="478"/>
                  </a:lnTo>
                  <a:lnTo>
                    <a:pt x="1078" y="497"/>
                  </a:lnTo>
                  <a:lnTo>
                    <a:pt x="1074" y="518"/>
                  </a:lnTo>
                  <a:lnTo>
                    <a:pt x="1069" y="538"/>
                  </a:lnTo>
                  <a:lnTo>
                    <a:pt x="1062" y="556"/>
                  </a:lnTo>
                  <a:lnTo>
                    <a:pt x="1055" y="575"/>
                  </a:lnTo>
                  <a:lnTo>
                    <a:pt x="1046" y="593"/>
                  </a:lnTo>
                  <a:lnTo>
                    <a:pt x="1037" y="612"/>
                  </a:lnTo>
                  <a:lnTo>
                    <a:pt x="1026" y="629"/>
                  </a:lnTo>
                  <a:lnTo>
                    <a:pt x="1016" y="646"/>
                  </a:lnTo>
                  <a:lnTo>
                    <a:pt x="1004" y="662"/>
                  </a:lnTo>
                  <a:lnTo>
                    <a:pt x="992" y="677"/>
                  </a:lnTo>
                  <a:lnTo>
                    <a:pt x="979" y="692"/>
                  </a:lnTo>
                  <a:lnTo>
                    <a:pt x="965" y="707"/>
                  </a:lnTo>
                  <a:lnTo>
                    <a:pt x="951" y="721"/>
                  </a:lnTo>
                  <a:lnTo>
                    <a:pt x="936" y="734"/>
                  </a:lnTo>
                  <a:lnTo>
                    <a:pt x="920" y="746"/>
                  </a:lnTo>
                  <a:lnTo>
                    <a:pt x="904" y="758"/>
                  </a:lnTo>
                  <a:lnTo>
                    <a:pt x="887" y="769"/>
                  </a:lnTo>
                  <a:lnTo>
                    <a:pt x="869" y="779"/>
                  </a:lnTo>
                  <a:lnTo>
                    <a:pt x="852" y="787"/>
                  </a:lnTo>
                  <a:lnTo>
                    <a:pt x="833" y="796"/>
                  </a:lnTo>
                  <a:lnTo>
                    <a:pt x="815" y="804"/>
                  </a:lnTo>
                  <a:lnTo>
                    <a:pt x="795" y="810"/>
                  </a:lnTo>
                  <a:lnTo>
                    <a:pt x="775" y="816"/>
                  </a:lnTo>
                  <a:lnTo>
                    <a:pt x="756" y="820"/>
                  </a:lnTo>
                  <a:lnTo>
                    <a:pt x="735" y="824"/>
                  </a:lnTo>
                  <a:lnTo>
                    <a:pt x="714" y="827"/>
                  </a:lnTo>
                  <a:lnTo>
                    <a:pt x="694" y="829"/>
                  </a:lnTo>
                  <a:lnTo>
                    <a:pt x="672" y="829"/>
                  </a:lnTo>
                  <a:lnTo>
                    <a:pt x="614" y="829"/>
                  </a:lnTo>
                  <a:lnTo>
                    <a:pt x="614" y="574"/>
                  </a:lnTo>
                  <a:lnTo>
                    <a:pt x="663" y="574"/>
                  </a:lnTo>
                  <a:lnTo>
                    <a:pt x="669" y="574"/>
                  </a:lnTo>
                  <a:lnTo>
                    <a:pt x="675" y="571"/>
                  </a:lnTo>
                  <a:lnTo>
                    <a:pt x="681" y="568"/>
                  </a:lnTo>
                  <a:lnTo>
                    <a:pt x="685" y="565"/>
                  </a:lnTo>
                  <a:lnTo>
                    <a:pt x="689" y="559"/>
                  </a:lnTo>
                  <a:lnTo>
                    <a:pt x="693" y="554"/>
                  </a:lnTo>
                  <a:lnTo>
                    <a:pt x="694" y="548"/>
                  </a:lnTo>
                  <a:lnTo>
                    <a:pt x="695" y="542"/>
                  </a:lnTo>
                  <a:lnTo>
                    <a:pt x="695" y="542"/>
                  </a:lnTo>
                  <a:lnTo>
                    <a:pt x="694" y="535"/>
                  </a:lnTo>
                  <a:lnTo>
                    <a:pt x="693" y="530"/>
                  </a:lnTo>
                  <a:lnTo>
                    <a:pt x="689" y="524"/>
                  </a:lnTo>
                  <a:lnTo>
                    <a:pt x="685" y="519"/>
                  </a:lnTo>
                  <a:lnTo>
                    <a:pt x="681" y="516"/>
                  </a:lnTo>
                  <a:lnTo>
                    <a:pt x="675" y="512"/>
                  </a:lnTo>
                  <a:lnTo>
                    <a:pt x="669" y="510"/>
                  </a:lnTo>
                  <a:lnTo>
                    <a:pt x="663" y="510"/>
                  </a:lnTo>
                  <a:lnTo>
                    <a:pt x="409" y="510"/>
                  </a:lnTo>
                  <a:lnTo>
                    <a:pt x="403" y="510"/>
                  </a:lnTo>
                  <a:lnTo>
                    <a:pt x="396" y="512"/>
                  </a:lnTo>
                  <a:lnTo>
                    <a:pt x="391" y="516"/>
                  </a:lnTo>
                  <a:lnTo>
                    <a:pt x="386" y="519"/>
                  </a:lnTo>
                  <a:lnTo>
                    <a:pt x="382" y="524"/>
                  </a:lnTo>
                  <a:lnTo>
                    <a:pt x="380" y="530"/>
                  </a:lnTo>
                  <a:lnTo>
                    <a:pt x="378" y="535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8" y="548"/>
                  </a:lnTo>
                  <a:lnTo>
                    <a:pt x="380" y="554"/>
                  </a:lnTo>
                  <a:lnTo>
                    <a:pt x="382" y="559"/>
                  </a:lnTo>
                  <a:lnTo>
                    <a:pt x="386" y="565"/>
                  </a:lnTo>
                  <a:lnTo>
                    <a:pt x="391" y="568"/>
                  </a:lnTo>
                  <a:lnTo>
                    <a:pt x="396" y="571"/>
                  </a:lnTo>
                  <a:lnTo>
                    <a:pt x="403" y="574"/>
                  </a:lnTo>
                  <a:lnTo>
                    <a:pt x="409" y="574"/>
                  </a:lnTo>
                  <a:lnTo>
                    <a:pt x="468" y="574"/>
                  </a:lnTo>
                  <a:lnTo>
                    <a:pt x="468" y="829"/>
                  </a:lnTo>
                  <a:lnTo>
                    <a:pt x="416" y="829"/>
                  </a:lnTo>
                  <a:lnTo>
                    <a:pt x="394" y="829"/>
                  </a:lnTo>
                  <a:lnTo>
                    <a:pt x="373" y="827"/>
                  </a:lnTo>
                  <a:lnTo>
                    <a:pt x="353" y="824"/>
                  </a:lnTo>
                  <a:lnTo>
                    <a:pt x="332" y="820"/>
                  </a:lnTo>
                  <a:lnTo>
                    <a:pt x="312" y="816"/>
                  </a:lnTo>
                  <a:lnTo>
                    <a:pt x="293" y="810"/>
                  </a:lnTo>
                  <a:lnTo>
                    <a:pt x="273" y="804"/>
                  </a:lnTo>
                  <a:lnTo>
                    <a:pt x="254" y="796"/>
                  </a:lnTo>
                  <a:lnTo>
                    <a:pt x="236" y="787"/>
                  </a:lnTo>
                  <a:lnTo>
                    <a:pt x="218" y="779"/>
                  </a:lnTo>
                  <a:lnTo>
                    <a:pt x="201" y="769"/>
                  </a:lnTo>
                  <a:lnTo>
                    <a:pt x="184" y="758"/>
                  </a:lnTo>
                  <a:lnTo>
                    <a:pt x="167" y="746"/>
                  </a:lnTo>
                  <a:lnTo>
                    <a:pt x="152" y="734"/>
                  </a:lnTo>
                  <a:lnTo>
                    <a:pt x="137" y="721"/>
                  </a:lnTo>
                  <a:lnTo>
                    <a:pt x="123" y="707"/>
                  </a:lnTo>
                  <a:lnTo>
                    <a:pt x="108" y="692"/>
                  </a:lnTo>
                  <a:lnTo>
                    <a:pt x="95" y="677"/>
                  </a:lnTo>
                  <a:lnTo>
                    <a:pt x="83" y="662"/>
                  </a:lnTo>
                  <a:lnTo>
                    <a:pt x="71" y="646"/>
                  </a:lnTo>
                  <a:lnTo>
                    <a:pt x="62" y="629"/>
                  </a:lnTo>
                  <a:lnTo>
                    <a:pt x="51" y="612"/>
                  </a:lnTo>
                  <a:lnTo>
                    <a:pt x="42" y="593"/>
                  </a:lnTo>
                  <a:lnTo>
                    <a:pt x="33" y="575"/>
                  </a:lnTo>
                  <a:lnTo>
                    <a:pt x="26" y="556"/>
                  </a:lnTo>
                  <a:lnTo>
                    <a:pt x="20" y="538"/>
                  </a:lnTo>
                  <a:lnTo>
                    <a:pt x="14" y="518"/>
                  </a:lnTo>
                  <a:lnTo>
                    <a:pt x="9" y="497"/>
                  </a:lnTo>
                  <a:lnTo>
                    <a:pt x="6" y="478"/>
                  </a:lnTo>
                  <a:lnTo>
                    <a:pt x="3" y="457"/>
                  </a:lnTo>
                  <a:lnTo>
                    <a:pt x="2" y="435"/>
                  </a:lnTo>
                  <a:lnTo>
                    <a:pt x="0" y="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BD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5" name="îŝḷîďè"/>
            <p:cNvSpPr/>
            <p:nvPr/>
          </p:nvSpPr>
          <p:spPr bwMode="auto">
            <a:xfrm>
              <a:off x="1529556" y="1934369"/>
              <a:ext cx="225425" cy="101600"/>
            </a:xfrm>
            <a:custGeom>
              <a:avLst/>
              <a:gdLst>
                <a:gd name="T0" fmla="*/ 711 w 711"/>
                <a:gd name="T1" fmla="*/ 0 h 323"/>
                <a:gd name="T2" fmla="*/ 711 w 711"/>
                <a:gd name="T3" fmla="*/ 160 h 323"/>
                <a:gd name="T4" fmla="*/ 0 w 711"/>
                <a:gd name="T5" fmla="*/ 323 h 323"/>
                <a:gd name="T6" fmla="*/ 711 w 711"/>
                <a:gd name="T7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1" h="323">
                  <a:moveTo>
                    <a:pt x="711" y="0"/>
                  </a:moveTo>
                  <a:lnTo>
                    <a:pt x="711" y="160"/>
                  </a:lnTo>
                  <a:lnTo>
                    <a:pt x="0" y="323"/>
                  </a:lnTo>
                  <a:lnTo>
                    <a:pt x="71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6" name="ïsḷïḓè"/>
            <p:cNvSpPr/>
            <p:nvPr/>
          </p:nvSpPr>
          <p:spPr bwMode="auto">
            <a:xfrm>
              <a:off x="1701006" y="2539207"/>
              <a:ext cx="312738" cy="142875"/>
            </a:xfrm>
            <a:custGeom>
              <a:avLst/>
              <a:gdLst>
                <a:gd name="T0" fmla="*/ 988 w 988"/>
                <a:gd name="T1" fmla="*/ 0 h 453"/>
                <a:gd name="T2" fmla="*/ 988 w 988"/>
                <a:gd name="T3" fmla="*/ 48 h 453"/>
                <a:gd name="T4" fmla="*/ 984 w 988"/>
                <a:gd name="T5" fmla="*/ 100 h 453"/>
                <a:gd name="T6" fmla="*/ 974 w 988"/>
                <a:gd name="T7" fmla="*/ 161 h 453"/>
                <a:gd name="T8" fmla="*/ 965 w 988"/>
                <a:gd name="T9" fmla="*/ 193 h 453"/>
                <a:gd name="T10" fmla="*/ 954 w 988"/>
                <a:gd name="T11" fmla="*/ 226 h 453"/>
                <a:gd name="T12" fmla="*/ 940 w 988"/>
                <a:gd name="T13" fmla="*/ 259 h 453"/>
                <a:gd name="T14" fmla="*/ 924 w 988"/>
                <a:gd name="T15" fmla="*/ 289 h 453"/>
                <a:gd name="T16" fmla="*/ 903 w 988"/>
                <a:gd name="T17" fmla="*/ 319 h 453"/>
                <a:gd name="T18" fmla="*/ 878 w 988"/>
                <a:gd name="T19" fmla="*/ 346 h 453"/>
                <a:gd name="T20" fmla="*/ 849 w 988"/>
                <a:gd name="T21" fmla="*/ 370 h 453"/>
                <a:gd name="T22" fmla="*/ 816 w 988"/>
                <a:gd name="T23" fmla="*/ 390 h 453"/>
                <a:gd name="T24" fmla="*/ 778 w 988"/>
                <a:gd name="T25" fmla="*/ 405 h 453"/>
                <a:gd name="T26" fmla="*/ 736 w 988"/>
                <a:gd name="T27" fmla="*/ 419 h 453"/>
                <a:gd name="T28" fmla="*/ 693 w 988"/>
                <a:gd name="T29" fmla="*/ 430 h 453"/>
                <a:gd name="T30" fmla="*/ 648 w 988"/>
                <a:gd name="T31" fmla="*/ 439 h 453"/>
                <a:gd name="T32" fmla="*/ 600 w 988"/>
                <a:gd name="T33" fmla="*/ 446 h 453"/>
                <a:gd name="T34" fmla="*/ 552 w 988"/>
                <a:gd name="T35" fmla="*/ 451 h 453"/>
                <a:gd name="T36" fmla="*/ 503 w 988"/>
                <a:gd name="T37" fmla="*/ 453 h 453"/>
                <a:gd name="T38" fmla="*/ 454 w 988"/>
                <a:gd name="T39" fmla="*/ 452 h 453"/>
                <a:gd name="T40" fmla="*/ 406 w 988"/>
                <a:gd name="T41" fmla="*/ 450 h 453"/>
                <a:gd name="T42" fmla="*/ 359 w 988"/>
                <a:gd name="T43" fmla="*/ 445 h 453"/>
                <a:gd name="T44" fmla="*/ 314 w 988"/>
                <a:gd name="T45" fmla="*/ 439 h 453"/>
                <a:gd name="T46" fmla="*/ 270 w 988"/>
                <a:gd name="T47" fmla="*/ 430 h 453"/>
                <a:gd name="T48" fmla="*/ 230 w 988"/>
                <a:gd name="T49" fmla="*/ 419 h 453"/>
                <a:gd name="T50" fmla="*/ 193 w 988"/>
                <a:gd name="T51" fmla="*/ 405 h 453"/>
                <a:gd name="T52" fmla="*/ 159 w 988"/>
                <a:gd name="T53" fmla="*/ 390 h 453"/>
                <a:gd name="T54" fmla="*/ 129 w 988"/>
                <a:gd name="T55" fmla="*/ 372 h 453"/>
                <a:gd name="T56" fmla="*/ 103 w 988"/>
                <a:gd name="T57" fmla="*/ 353 h 453"/>
                <a:gd name="T58" fmla="*/ 81 w 988"/>
                <a:gd name="T59" fmla="*/ 329 h 453"/>
                <a:gd name="T60" fmla="*/ 63 w 988"/>
                <a:gd name="T61" fmla="*/ 301 h 453"/>
                <a:gd name="T62" fmla="*/ 48 w 988"/>
                <a:gd name="T63" fmla="*/ 273 h 453"/>
                <a:gd name="T64" fmla="*/ 35 w 988"/>
                <a:gd name="T65" fmla="*/ 243 h 453"/>
                <a:gd name="T66" fmla="*/ 25 w 988"/>
                <a:gd name="T67" fmla="*/ 212 h 453"/>
                <a:gd name="T68" fmla="*/ 11 w 988"/>
                <a:gd name="T69" fmla="*/ 150 h 453"/>
                <a:gd name="T70" fmla="*/ 3 w 988"/>
                <a:gd name="T71" fmla="*/ 92 h 453"/>
                <a:gd name="T72" fmla="*/ 0 w 988"/>
                <a:gd name="T73" fmla="*/ 45 h 453"/>
                <a:gd name="T74" fmla="*/ 1 w 988"/>
                <a:gd name="T75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88" h="453">
                  <a:moveTo>
                    <a:pt x="1" y="0"/>
                  </a:moveTo>
                  <a:lnTo>
                    <a:pt x="988" y="0"/>
                  </a:lnTo>
                  <a:lnTo>
                    <a:pt x="988" y="14"/>
                  </a:lnTo>
                  <a:lnTo>
                    <a:pt x="988" y="48"/>
                  </a:lnTo>
                  <a:lnTo>
                    <a:pt x="986" y="72"/>
                  </a:lnTo>
                  <a:lnTo>
                    <a:pt x="984" y="100"/>
                  </a:lnTo>
                  <a:lnTo>
                    <a:pt x="980" y="129"/>
                  </a:lnTo>
                  <a:lnTo>
                    <a:pt x="974" y="161"/>
                  </a:lnTo>
                  <a:lnTo>
                    <a:pt x="970" y="177"/>
                  </a:lnTo>
                  <a:lnTo>
                    <a:pt x="965" y="193"/>
                  </a:lnTo>
                  <a:lnTo>
                    <a:pt x="960" y="210"/>
                  </a:lnTo>
                  <a:lnTo>
                    <a:pt x="954" y="226"/>
                  </a:lnTo>
                  <a:lnTo>
                    <a:pt x="948" y="243"/>
                  </a:lnTo>
                  <a:lnTo>
                    <a:pt x="940" y="259"/>
                  </a:lnTo>
                  <a:lnTo>
                    <a:pt x="933" y="274"/>
                  </a:lnTo>
                  <a:lnTo>
                    <a:pt x="924" y="289"/>
                  </a:lnTo>
                  <a:lnTo>
                    <a:pt x="913" y="305"/>
                  </a:lnTo>
                  <a:lnTo>
                    <a:pt x="903" y="319"/>
                  </a:lnTo>
                  <a:lnTo>
                    <a:pt x="891" y="333"/>
                  </a:lnTo>
                  <a:lnTo>
                    <a:pt x="878" y="346"/>
                  </a:lnTo>
                  <a:lnTo>
                    <a:pt x="864" y="358"/>
                  </a:lnTo>
                  <a:lnTo>
                    <a:pt x="849" y="370"/>
                  </a:lnTo>
                  <a:lnTo>
                    <a:pt x="833" y="380"/>
                  </a:lnTo>
                  <a:lnTo>
                    <a:pt x="816" y="390"/>
                  </a:lnTo>
                  <a:lnTo>
                    <a:pt x="798" y="397"/>
                  </a:lnTo>
                  <a:lnTo>
                    <a:pt x="778" y="405"/>
                  </a:lnTo>
                  <a:lnTo>
                    <a:pt x="758" y="413"/>
                  </a:lnTo>
                  <a:lnTo>
                    <a:pt x="736" y="419"/>
                  </a:lnTo>
                  <a:lnTo>
                    <a:pt x="716" y="425"/>
                  </a:lnTo>
                  <a:lnTo>
                    <a:pt x="693" y="430"/>
                  </a:lnTo>
                  <a:lnTo>
                    <a:pt x="671" y="434"/>
                  </a:lnTo>
                  <a:lnTo>
                    <a:pt x="648" y="439"/>
                  </a:lnTo>
                  <a:lnTo>
                    <a:pt x="624" y="443"/>
                  </a:lnTo>
                  <a:lnTo>
                    <a:pt x="600" y="446"/>
                  </a:lnTo>
                  <a:lnTo>
                    <a:pt x="576" y="449"/>
                  </a:lnTo>
                  <a:lnTo>
                    <a:pt x="552" y="451"/>
                  </a:lnTo>
                  <a:lnTo>
                    <a:pt x="528" y="452"/>
                  </a:lnTo>
                  <a:lnTo>
                    <a:pt x="503" y="453"/>
                  </a:lnTo>
                  <a:lnTo>
                    <a:pt x="479" y="453"/>
                  </a:lnTo>
                  <a:lnTo>
                    <a:pt x="454" y="452"/>
                  </a:lnTo>
                  <a:lnTo>
                    <a:pt x="430" y="452"/>
                  </a:lnTo>
                  <a:lnTo>
                    <a:pt x="406" y="450"/>
                  </a:lnTo>
                  <a:lnTo>
                    <a:pt x="382" y="448"/>
                  </a:lnTo>
                  <a:lnTo>
                    <a:pt x="359" y="445"/>
                  </a:lnTo>
                  <a:lnTo>
                    <a:pt x="336" y="442"/>
                  </a:lnTo>
                  <a:lnTo>
                    <a:pt x="314" y="439"/>
                  </a:lnTo>
                  <a:lnTo>
                    <a:pt x="292" y="434"/>
                  </a:lnTo>
                  <a:lnTo>
                    <a:pt x="270" y="430"/>
                  </a:lnTo>
                  <a:lnTo>
                    <a:pt x="249" y="425"/>
                  </a:lnTo>
                  <a:lnTo>
                    <a:pt x="230" y="419"/>
                  </a:lnTo>
                  <a:lnTo>
                    <a:pt x="210" y="413"/>
                  </a:lnTo>
                  <a:lnTo>
                    <a:pt x="193" y="405"/>
                  </a:lnTo>
                  <a:lnTo>
                    <a:pt x="175" y="398"/>
                  </a:lnTo>
                  <a:lnTo>
                    <a:pt x="159" y="390"/>
                  </a:lnTo>
                  <a:lnTo>
                    <a:pt x="144" y="382"/>
                  </a:lnTo>
                  <a:lnTo>
                    <a:pt x="129" y="372"/>
                  </a:lnTo>
                  <a:lnTo>
                    <a:pt x="116" y="364"/>
                  </a:lnTo>
                  <a:lnTo>
                    <a:pt x="103" y="353"/>
                  </a:lnTo>
                  <a:lnTo>
                    <a:pt x="92" y="341"/>
                  </a:lnTo>
                  <a:lnTo>
                    <a:pt x="81" y="329"/>
                  </a:lnTo>
                  <a:lnTo>
                    <a:pt x="73" y="316"/>
                  </a:lnTo>
                  <a:lnTo>
                    <a:pt x="63" y="301"/>
                  </a:lnTo>
                  <a:lnTo>
                    <a:pt x="55" y="287"/>
                  </a:lnTo>
                  <a:lnTo>
                    <a:pt x="48" y="273"/>
                  </a:lnTo>
                  <a:lnTo>
                    <a:pt x="41" y="258"/>
                  </a:lnTo>
                  <a:lnTo>
                    <a:pt x="35" y="243"/>
                  </a:lnTo>
                  <a:lnTo>
                    <a:pt x="29" y="227"/>
                  </a:lnTo>
                  <a:lnTo>
                    <a:pt x="25" y="212"/>
                  </a:lnTo>
                  <a:lnTo>
                    <a:pt x="16" y="180"/>
                  </a:lnTo>
                  <a:lnTo>
                    <a:pt x="11" y="150"/>
                  </a:lnTo>
                  <a:lnTo>
                    <a:pt x="6" y="120"/>
                  </a:lnTo>
                  <a:lnTo>
                    <a:pt x="3" y="92"/>
                  </a:lnTo>
                  <a:lnTo>
                    <a:pt x="1" y="67"/>
                  </a:lnTo>
                  <a:lnTo>
                    <a:pt x="0" y="45"/>
                  </a:lnTo>
                  <a:lnTo>
                    <a:pt x="0" y="1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7" name="í$1ïdê"/>
            <p:cNvSpPr/>
            <p:nvPr/>
          </p:nvSpPr>
          <p:spPr bwMode="auto">
            <a:xfrm>
              <a:off x="1562893" y="2085182"/>
              <a:ext cx="177800" cy="176213"/>
            </a:xfrm>
            <a:custGeom>
              <a:avLst/>
              <a:gdLst>
                <a:gd name="T0" fmla="*/ 307 w 558"/>
                <a:gd name="T1" fmla="*/ 1 h 558"/>
                <a:gd name="T2" fmla="*/ 349 w 558"/>
                <a:gd name="T3" fmla="*/ 8 h 558"/>
                <a:gd name="T4" fmla="*/ 387 w 558"/>
                <a:gd name="T5" fmla="*/ 22 h 558"/>
                <a:gd name="T6" fmla="*/ 423 w 558"/>
                <a:gd name="T7" fmla="*/ 40 h 558"/>
                <a:gd name="T8" fmla="*/ 455 w 558"/>
                <a:gd name="T9" fmla="*/ 63 h 558"/>
                <a:gd name="T10" fmla="*/ 485 w 558"/>
                <a:gd name="T11" fmla="*/ 90 h 558"/>
                <a:gd name="T12" fmla="*/ 510 w 558"/>
                <a:gd name="T13" fmla="*/ 122 h 558"/>
                <a:gd name="T14" fmla="*/ 530 w 558"/>
                <a:gd name="T15" fmla="*/ 158 h 558"/>
                <a:gd name="T16" fmla="*/ 545 w 558"/>
                <a:gd name="T17" fmla="*/ 195 h 558"/>
                <a:gd name="T18" fmla="*/ 555 w 558"/>
                <a:gd name="T19" fmla="*/ 236 h 558"/>
                <a:gd name="T20" fmla="*/ 558 w 558"/>
                <a:gd name="T21" fmla="*/ 279 h 558"/>
                <a:gd name="T22" fmla="*/ 555 w 558"/>
                <a:gd name="T23" fmla="*/ 321 h 558"/>
                <a:gd name="T24" fmla="*/ 545 w 558"/>
                <a:gd name="T25" fmla="*/ 362 h 558"/>
                <a:gd name="T26" fmla="*/ 530 w 558"/>
                <a:gd name="T27" fmla="*/ 400 h 558"/>
                <a:gd name="T28" fmla="*/ 510 w 558"/>
                <a:gd name="T29" fmla="*/ 435 h 558"/>
                <a:gd name="T30" fmla="*/ 485 w 558"/>
                <a:gd name="T31" fmla="*/ 466 h 558"/>
                <a:gd name="T32" fmla="*/ 455 w 558"/>
                <a:gd name="T33" fmla="*/ 494 h 558"/>
                <a:gd name="T34" fmla="*/ 423 w 558"/>
                <a:gd name="T35" fmla="*/ 517 h 558"/>
                <a:gd name="T36" fmla="*/ 387 w 558"/>
                <a:gd name="T37" fmla="*/ 535 h 558"/>
                <a:gd name="T38" fmla="*/ 349 w 558"/>
                <a:gd name="T39" fmla="*/ 548 h 558"/>
                <a:gd name="T40" fmla="*/ 307 w 558"/>
                <a:gd name="T41" fmla="*/ 556 h 558"/>
                <a:gd name="T42" fmla="*/ 264 w 558"/>
                <a:gd name="T43" fmla="*/ 557 h 558"/>
                <a:gd name="T44" fmla="*/ 222 w 558"/>
                <a:gd name="T45" fmla="*/ 552 h 558"/>
                <a:gd name="T46" fmla="*/ 183 w 558"/>
                <a:gd name="T47" fmla="*/ 541 h 558"/>
                <a:gd name="T48" fmla="*/ 146 w 558"/>
                <a:gd name="T49" fmla="*/ 524 h 558"/>
                <a:gd name="T50" fmla="*/ 111 w 558"/>
                <a:gd name="T51" fmla="*/ 502 h 558"/>
                <a:gd name="T52" fmla="*/ 82 w 558"/>
                <a:gd name="T53" fmla="*/ 476 h 558"/>
                <a:gd name="T54" fmla="*/ 54 w 558"/>
                <a:gd name="T55" fmla="*/ 446 h 558"/>
                <a:gd name="T56" fmla="*/ 33 w 558"/>
                <a:gd name="T57" fmla="*/ 412 h 558"/>
                <a:gd name="T58" fmla="*/ 16 w 558"/>
                <a:gd name="T59" fmla="*/ 375 h 558"/>
                <a:gd name="T60" fmla="*/ 5 w 558"/>
                <a:gd name="T61" fmla="*/ 335 h 558"/>
                <a:gd name="T62" fmla="*/ 0 w 558"/>
                <a:gd name="T63" fmla="*/ 293 h 558"/>
                <a:gd name="T64" fmla="*/ 1 w 558"/>
                <a:gd name="T65" fmla="*/ 249 h 558"/>
                <a:gd name="T66" fmla="*/ 9 w 558"/>
                <a:gd name="T67" fmla="*/ 209 h 558"/>
                <a:gd name="T68" fmla="*/ 22 w 558"/>
                <a:gd name="T69" fmla="*/ 170 h 558"/>
                <a:gd name="T70" fmla="*/ 40 w 558"/>
                <a:gd name="T71" fmla="*/ 134 h 558"/>
                <a:gd name="T72" fmla="*/ 63 w 558"/>
                <a:gd name="T73" fmla="*/ 101 h 558"/>
                <a:gd name="T74" fmla="*/ 90 w 558"/>
                <a:gd name="T75" fmla="*/ 72 h 558"/>
                <a:gd name="T76" fmla="*/ 122 w 558"/>
                <a:gd name="T77" fmla="*/ 47 h 558"/>
                <a:gd name="T78" fmla="*/ 158 w 558"/>
                <a:gd name="T79" fmla="*/ 27 h 558"/>
                <a:gd name="T80" fmla="*/ 195 w 558"/>
                <a:gd name="T81" fmla="*/ 12 h 558"/>
                <a:gd name="T82" fmla="*/ 236 w 558"/>
                <a:gd name="T83" fmla="*/ 3 h 558"/>
                <a:gd name="T84" fmla="*/ 279 w 558"/>
                <a:gd name="T85" fmla="*/ 0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lnTo>
                    <a:pt x="293" y="0"/>
                  </a:lnTo>
                  <a:lnTo>
                    <a:pt x="307" y="1"/>
                  </a:lnTo>
                  <a:lnTo>
                    <a:pt x="321" y="3"/>
                  </a:lnTo>
                  <a:lnTo>
                    <a:pt x="334" y="5"/>
                  </a:lnTo>
                  <a:lnTo>
                    <a:pt x="349" y="8"/>
                  </a:lnTo>
                  <a:lnTo>
                    <a:pt x="362" y="12"/>
                  </a:lnTo>
                  <a:lnTo>
                    <a:pt x="375" y="16"/>
                  </a:lnTo>
                  <a:lnTo>
                    <a:pt x="387" y="22"/>
                  </a:lnTo>
                  <a:lnTo>
                    <a:pt x="400" y="27"/>
                  </a:lnTo>
                  <a:lnTo>
                    <a:pt x="412" y="32"/>
                  </a:lnTo>
                  <a:lnTo>
                    <a:pt x="423" y="40"/>
                  </a:lnTo>
                  <a:lnTo>
                    <a:pt x="435" y="47"/>
                  </a:lnTo>
                  <a:lnTo>
                    <a:pt x="446" y="54"/>
                  </a:lnTo>
                  <a:lnTo>
                    <a:pt x="455" y="63"/>
                  </a:lnTo>
                  <a:lnTo>
                    <a:pt x="466" y="72"/>
                  </a:lnTo>
                  <a:lnTo>
                    <a:pt x="476" y="82"/>
                  </a:lnTo>
                  <a:lnTo>
                    <a:pt x="485" y="90"/>
                  </a:lnTo>
                  <a:lnTo>
                    <a:pt x="494" y="101"/>
                  </a:lnTo>
                  <a:lnTo>
                    <a:pt x="502" y="111"/>
                  </a:lnTo>
                  <a:lnTo>
                    <a:pt x="510" y="122"/>
                  </a:lnTo>
                  <a:lnTo>
                    <a:pt x="516" y="134"/>
                  </a:lnTo>
                  <a:lnTo>
                    <a:pt x="524" y="146"/>
                  </a:lnTo>
                  <a:lnTo>
                    <a:pt x="530" y="158"/>
                  </a:lnTo>
                  <a:lnTo>
                    <a:pt x="535" y="170"/>
                  </a:lnTo>
                  <a:lnTo>
                    <a:pt x="540" y="183"/>
                  </a:lnTo>
                  <a:lnTo>
                    <a:pt x="545" y="195"/>
                  </a:lnTo>
                  <a:lnTo>
                    <a:pt x="548" y="209"/>
                  </a:lnTo>
                  <a:lnTo>
                    <a:pt x="551" y="222"/>
                  </a:lnTo>
                  <a:lnTo>
                    <a:pt x="555" y="236"/>
                  </a:lnTo>
                  <a:lnTo>
                    <a:pt x="556" y="249"/>
                  </a:lnTo>
                  <a:lnTo>
                    <a:pt x="557" y="264"/>
                  </a:lnTo>
                  <a:lnTo>
                    <a:pt x="558" y="279"/>
                  </a:lnTo>
                  <a:lnTo>
                    <a:pt x="557" y="293"/>
                  </a:lnTo>
                  <a:lnTo>
                    <a:pt x="556" y="307"/>
                  </a:lnTo>
                  <a:lnTo>
                    <a:pt x="555" y="321"/>
                  </a:lnTo>
                  <a:lnTo>
                    <a:pt x="551" y="335"/>
                  </a:lnTo>
                  <a:lnTo>
                    <a:pt x="548" y="349"/>
                  </a:lnTo>
                  <a:lnTo>
                    <a:pt x="545" y="362"/>
                  </a:lnTo>
                  <a:lnTo>
                    <a:pt x="540" y="375"/>
                  </a:lnTo>
                  <a:lnTo>
                    <a:pt x="535" y="387"/>
                  </a:lnTo>
                  <a:lnTo>
                    <a:pt x="530" y="400"/>
                  </a:lnTo>
                  <a:lnTo>
                    <a:pt x="524" y="412"/>
                  </a:lnTo>
                  <a:lnTo>
                    <a:pt x="516" y="423"/>
                  </a:lnTo>
                  <a:lnTo>
                    <a:pt x="510" y="435"/>
                  </a:lnTo>
                  <a:lnTo>
                    <a:pt x="502" y="446"/>
                  </a:lnTo>
                  <a:lnTo>
                    <a:pt x="494" y="456"/>
                  </a:lnTo>
                  <a:lnTo>
                    <a:pt x="485" y="466"/>
                  </a:lnTo>
                  <a:lnTo>
                    <a:pt x="476" y="476"/>
                  </a:lnTo>
                  <a:lnTo>
                    <a:pt x="466" y="485"/>
                  </a:lnTo>
                  <a:lnTo>
                    <a:pt x="455" y="494"/>
                  </a:lnTo>
                  <a:lnTo>
                    <a:pt x="446" y="502"/>
                  </a:lnTo>
                  <a:lnTo>
                    <a:pt x="435" y="510"/>
                  </a:lnTo>
                  <a:lnTo>
                    <a:pt x="423" y="517"/>
                  </a:lnTo>
                  <a:lnTo>
                    <a:pt x="412" y="524"/>
                  </a:lnTo>
                  <a:lnTo>
                    <a:pt x="400" y="530"/>
                  </a:lnTo>
                  <a:lnTo>
                    <a:pt x="387" y="535"/>
                  </a:lnTo>
                  <a:lnTo>
                    <a:pt x="375" y="541"/>
                  </a:lnTo>
                  <a:lnTo>
                    <a:pt x="362" y="545"/>
                  </a:lnTo>
                  <a:lnTo>
                    <a:pt x="349" y="548"/>
                  </a:lnTo>
                  <a:lnTo>
                    <a:pt x="334" y="552"/>
                  </a:lnTo>
                  <a:lnTo>
                    <a:pt x="321" y="555"/>
                  </a:lnTo>
                  <a:lnTo>
                    <a:pt x="307" y="556"/>
                  </a:lnTo>
                  <a:lnTo>
                    <a:pt x="293" y="557"/>
                  </a:lnTo>
                  <a:lnTo>
                    <a:pt x="279" y="558"/>
                  </a:lnTo>
                  <a:lnTo>
                    <a:pt x="264" y="557"/>
                  </a:lnTo>
                  <a:lnTo>
                    <a:pt x="249" y="556"/>
                  </a:lnTo>
                  <a:lnTo>
                    <a:pt x="236" y="555"/>
                  </a:lnTo>
                  <a:lnTo>
                    <a:pt x="222" y="552"/>
                  </a:lnTo>
                  <a:lnTo>
                    <a:pt x="209" y="548"/>
                  </a:lnTo>
                  <a:lnTo>
                    <a:pt x="195" y="545"/>
                  </a:lnTo>
                  <a:lnTo>
                    <a:pt x="183" y="541"/>
                  </a:lnTo>
                  <a:lnTo>
                    <a:pt x="170" y="535"/>
                  </a:lnTo>
                  <a:lnTo>
                    <a:pt x="158" y="530"/>
                  </a:lnTo>
                  <a:lnTo>
                    <a:pt x="146" y="524"/>
                  </a:lnTo>
                  <a:lnTo>
                    <a:pt x="134" y="517"/>
                  </a:lnTo>
                  <a:lnTo>
                    <a:pt x="122" y="510"/>
                  </a:lnTo>
                  <a:lnTo>
                    <a:pt x="111" y="502"/>
                  </a:lnTo>
                  <a:lnTo>
                    <a:pt x="101" y="494"/>
                  </a:lnTo>
                  <a:lnTo>
                    <a:pt x="90" y="485"/>
                  </a:lnTo>
                  <a:lnTo>
                    <a:pt x="82" y="476"/>
                  </a:lnTo>
                  <a:lnTo>
                    <a:pt x="72" y="466"/>
                  </a:lnTo>
                  <a:lnTo>
                    <a:pt x="63" y="456"/>
                  </a:lnTo>
                  <a:lnTo>
                    <a:pt x="54" y="446"/>
                  </a:lnTo>
                  <a:lnTo>
                    <a:pt x="47" y="435"/>
                  </a:lnTo>
                  <a:lnTo>
                    <a:pt x="40" y="423"/>
                  </a:lnTo>
                  <a:lnTo>
                    <a:pt x="33" y="412"/>
                  </a:lnTo>
                  <a:lnTo>
                    <a:pt x="27" y="400"/>
                  </a:lnTo>
                  <a:lnTo>
                    <a:pt x="22" y="387"/>
                  </a:lnTo>
                  <a:lnTo>
                    <a:pt x="16" y="375"/>
                  </a:lnTo>
                  <a:lnTo>
                    <a:pt x="12" y="362"/>
                  </a:lnTo>
                  <a:lnTo>
                    <a:pt x="9" y="349"/>
                  </a:lnTo>
                  <a:lnTo>
                    <a:pt x="5" y="335"/>
                  </a:lnTo>
                  <a:lnTo>
                    <a:pt x="3" y="321"/>
                  </a:lnTo>
                  <a:lnTo>
                    <a:pt x="1" y="307"/>
                  </a:lnTo>
                  <a:lnTo>
                    <a:pt x="0" y="293"/>
                  </a:lnTo>
                  <a:lnTo>
                    <a:pt x="0" y="279"/>
                  </a:lnTo>
                  <a:lnTo>
                    <a:pt x="0" y="264"/>
                  </a:lnTo>
                  <a:lnTo>
                    <a:pt x="1" y="249"/>
                  </a:lnTo>
                  <a:lnTo>
                    <a:pt x="3" y="236"/>
                  </a:lnTo>
                  <a:lnTo>
                    <a:pt x="5" y="222"/>
                  </a:lnTo>
                  <a:lnTo>
                    <a:pt x="9" y="209"/>
                  </a:lnTo>
                  <a:lnTo>
                    <a:pt x="12" y="195"/>
                  </a:lnTo>
                  <a:lnTo>
                    <a:pt x="16" y="183"/>
                  </a:lnTo>
                  <a:lnTo>
                    <a:pt x="22" y="170"/>
                  </a:lnTo>
                  <a:lnTo>
                    <a:pt x="27" y="158"/>
                  </a:lnTo>
                  <a:lnTo>
                    <a:pt x="33" y="146"/>
                  </a:lnTo>
                  <a:lnTo>
                    <a:pt x="40" y="134"/>
                  </a:lnTo>
                  <a:lnTo>
                    <a:pt x="47" y="122"/>
                  </a:lnTo>
                  <a:lnTo>
                    <a:pt x="54" y="111"/>
                  </a:lnTo>
                  <a:lnTo>
                    <a:pt x="63" y="101"/>
                  </a:lnTo>
                  <a:lnTo>
                    <a:pt x="72" y="90"/>
                  </a:lnTo>
                  <a:lnTo>
                    <a:pt x="82" y="82"/>
                  </a:lnTo>
                  <a:lnTo>
                    <a:pt x="90" y="72"/>
                  </a:lnTo>
                  <a:lnTo>
                    <a:pt x="101" y="63"/>
                  </a:lnTo>
                  <a:lnTo>
                    <a:pt x="111" y="54"/>
                  </a:lnTo>
                  <a:lnTo>
                    <a:pt x="122" y="47"/>
                  </a:lnTo>
                  <a:lnTo>
                    <a:pt x="134" y="40"/>
                  </a:lnTo>
                  <a:lnTo>
                    <a:pt x="146" y="32"/>
                  </a:lnTo>
                  <a:lnTo>
                    <a:pt x="158" y="27"/>
                  </a:lnTo>
                  <a:lnTo>
                    <a:pt x="170" y="22"/>
                  </a:lnTo>
                  <a:lnTo>
                    <a:pt x="183" y="16"/>
                  </a:lnTo>
                  <a:lnTo>
                    <a:pt x="195" y="12"/>
                  </a:lnTo>
                  <a:lnTo>
                    <a:pt x="209" y="8"/>
                  </a:lnTo>
                  <a:lnTo>
                    <a:pt x="222" y="5"/>
                  </a:lnTo>
                  <a:lnTo>
                    <a:pt x="236" y="3"/>
                  </a:lnTo>
                  <a:lnTo>
                    <a:pt x="249" y="1"/>
                  </a:lnTo>
                  <a:lnTo>
                    <a:pt x="264" y="0"/>
                  </a:lnTo>
                  <a:lnTo>
                    <a:pt x="2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8" name="iş1îḑé"/>
            <p:cNvSpPr/>
            <p:nvPr/>
          </p:nvSpPr>
          <p:spPr bwMode="auto">
            <a:xfrm>
              <a:off x="1600993" y="2123282"/>
              <a:ext cx="100013" cy="100013"/>
            </a:xfrm>
            <a:custGeom>
              <a:avLst/>
              <a:gdLst>
                <a:gd name="T0" fmla="*/ 172 w 313"/>
                <a:gd name="T1" fmla="*/ 1 h 313"/>
                <a:gd name="T2" fmla="*/ 203 w 313"/>
                <a:gd name="T3" fmla="*/ 6 h 313"/>
                <a:gd name="T4" fmla="*/ 231 w 313"/>
                <a:gd name="T5" fmla="*/ 18 h 313"/>
                <a:gd name="T6" fmla="*/ 256 w 313"/>
                <a:gd name="T7" fmla="*/ 36 h 313"/>
                <a:gd name="T8" fmla="*/ 277 w 313"/>
                <a:gd name="T9" fmla="*/ 57 h 313"/>
                <a:gd name="T10" fmla="*/ 294 w 313"/>
                <a:gd name="T11" fmla="*/ 82 h 313"/>
                <a:gd name="T12" fmla="*/ 306 w 313"/>
                <a:gd name="T13" fmla="*/ 110 h 313"/>
                <a:gd name="T14" fmla="*/ 312 w 313"/>
                <a:gd name="T15" fmla="*/ 141 h 313"/>
                <a:gd name="T16" fmla="*/ 312 w 313"/>
                <a:gd name="T17" fmla="*/ 172 h 313"/>
                <a:gd name="T18" fmla="*/ 306 w 313"/>
                <a:gd name="T19" fmla="*/ 203 h 313"/>
                <a:gd name="T20" fmla="*/ 294 w 313"/>
                <a:gd name="T21" fmla="*/ 231 h 313"/>
                <a:gd name="T22" fmla="*/ 277 w 313"/>
                <a:gd name="T23" fmla="*/ 256 h 313"/>
                <a:gd name="T24" fmla="*/ 256 w 313"/>
                <a:gd name="T25" fmla="*/ 277 h 313"/>
                <a:gd name="T26" fmla="*/ 231 w 313"/>
                <a:gd name="T27" fmla="*/ 294 h 313"/>
                <a:gd name="T28" fmla="*/ 203 w 313"/>
                <a:gd name="T29" fmla="*/ 306 h 313"/>
                <a:gd name="T30" fmla="*/ 172 w 313"/>
                <a:gd name="T31" fmla="*/ 312 h 313"/>
                <a:gd name="T32" fmla="*/ 140 w 313"/>
                <a:gd name="T33" fmla="*/ 312 h 313"/>
                <a:gd name="T34" fmla="*/ 110 w 313"/>
                <a:gd name="T35" fmla="*/ 306 h 313"/>
                <a:gd name="T36" fmla="*/ 82 w 313"/>
                <a:gd name="T37" fmla="*/ 294 h 313"/>
                <a:gd name="T38" fmla="*/ 57 w 313"/>
                <a:gd name="T39" fmla="*/ 277 h 313"/>
                <a:gd name="T40" fmla="*/ 36 w 313"/>
                <a:gd name="T41" fmla="*/ 256 h 313"/>
                <a:gd name="T42" fmla="*/ 18 w 313"/>
                <a:gd name="T43" fmla="*/ 231 h 313"/>
                <a:gd name="T44" fmla="*/ 6 w 313"/>
                <a:gd name="T45" fmla="*/ 203 h 313"/>
                <a:gd name="T46" fmla="*/ 1 w 313"/>
                <a:gd name="T47" fmla="*/ 172 h 313"/>
                <a:gd name="T48" fmla="*/ 1 w 313"/>
                <a:gd name="T49" fmla="*/ 141 h 313"/>
                <a:gd name="T50" fmla="*/ 6 w 313"/>
                <a:gd name="T51" fmla="*/ 110 h 313"/>
                <a:gd name="T52" fmla="*/ 18 w 313"/>
                <a:gd name="T53" fmla="*/ 82 h 313"/>
                <a:gd name="T54" fmla="*/ 36 w 313"/>
                <a:gd name="T55" fmla="*/ 57 h 313"/>
                <a:gd name="T56" fmla="*/ 57 w 313"/>
                <a:gd name="T57" fmla="*/ 36 h 313"/>
                <a:gd name="T58" fmla="*/ 82 w 313"/>
                <a:gd name="T59" fmla="*/ 18 h 313"/>
                <a:gd name="T60" fmla="*/ 110 w 313"/>
                <a:gd name="T61" fmla="*/ 6 h 313"/>
                <a:gd name="T62" fmla="*/ 140 w 313"/>
                <a:gd name="T63" fmla="*/ 1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3" h="313">
                  <a:moveTo>
                    <a:pt x="157" y="0"/>
                  </a:moveTo>
                  <a:lnTo>
                    <a:pt x="172" y="1"/>
                  </a:lnTo>
                  <a:lnTo>
                    <a:pt x="187" y="3"/>
                  </a:lnTo>
                  <a:lnTo>
                    <a:pt x="203" y="6"/>
                  </a:lnTo>
                  <a:lnTo>
                    <a:pt x="217" y="12"/>
                  </a:lnTo>
                  <a:lnTo>
                    <a:pt x="231" y="18"/>
                  </a:lnTo>
                  <a:lnTo>
                    <a:pt x="244" y="26"/>
                  </a:lnTo>
                  <a:lnTo>
                    <a:pt x="256" y="36"/>
                  </a:lnTo>
                  <a:lnTo>
                    <a:pt x="267" y="46"/>
                  </a:lnTo>
                  <a:lnTo>
                    <a:pt x="277" y="57"/>
                  </a:lnTo>
                  <a:lnTo>
                    <a:pt x="287" y="69"/>
                  </a:lnTo>
                  <a:lnTo>
                    <a:pt x="294" y="82"/>
                  </a:lnTo>
                  <a:lnTo>
                    <a:pt x="301" y="96"/>
                  </a:lnTo>
                  <a:lnTo>
                    <a:pt x="306" y="110"/>
                  </a:lnTo>
                  <a:lnTo>
                    <a:pt x="309" y="125"/>
                  </a:lnTo>
                  <a:lnTo>
                    <a:pt x="312" y="141"/>
                  </a:lnTo>
                  <a:lnTo>
                    <a:pt x="313" y="157"/>
                  </a:lnTo>
                  <a:lnTo>
                    <a:pt x="312" y="172"/>
                  </a:lnTo>
                  <a:lnTo>
                    <a:pt x="309" y="187"/>
                  </a:lnTo>
                  <a:lnTo>
                    <a:pt x="306" y="203"/>
                  </a:lnTo>
                  <a:lnTo>
                    <a:pt x="301" y="217"/>
                  </a:lnTo>
                  <a:lnTo>
                    <a:pt x="294" y="231"/>
                  </a:lnTo>
                  <a:lnTo>
                    <a:pt x="287" y="244"/>
                  </a:lnTo>
                  <a:lnTo>
                    <a:pt x="277" y="256"/>
                  </a:lnTo>
                  <a:lnTo>
                    <a:pt x="267" y="267"/>
                  </a:lnTo>
                  <a:lnTo>
                    <a:pt x="256" y="277"/>
                  </a:lnTo>
                  <a:lnTo>
                    <a:pt x="244" y="287"/>
                  </a:lnTo>
                  <a:lnTo>
                    <a:pt x="231" y="294"/>
                  </a:lnTo>
                  <a:lnTo>
                    <a:pt x="217" y="301"/>
                  </a:lnTo>
                  <a:lnTo>
                    <a:pt x="203" y="306"/>
                  </a:lnTo>
                  <a:lnTo>
                    <a:pt x="187" y="310"/>
                  </a:lnTo>
                  <a:lnTo>
                    <a:pt x="172" y="312"/>
                  </a:lnTo>
                  <a:lnTo>
                    <a:pt x="157" y="313"/>
                  </a:lnTo>
                  <a:lnTo>
                    <a:pt x="140" y="312"/>
                  </a:lnTo>
                  <a:lnTo>
                    <a:pt x="125" y="310"/>
                  </a:lnTo>
                  <a:lnTo>
                    <a:pt x="110" y="306"/>
                  </a:lnTo>
                  <a:lnTo>
                    <a:pt x="96" y="301"/>
                  </a:lnTo>
                  <a:lnTo>
                    <a:pt x="82" y="294"/>
                  </a:lnTo>
                  <a:lnTo>
                    <a:pt x="69" y="287"/>
                  </a:lnTo>
                  <a:lnTo>
                    <a:pt x="57" y="277"/>
                  </a:lnTo>
                  <a:lnTo>
                    <a:pt x="46" y="267"/>
                  </a:lnTo>
                  <a:lnTo>
                    <a:pt x="36" y="256"/>
                  </a:lnTo>
                  <a:lnTo>
                    <a:pt x="26" y="244"/>
                  </a:lnTo>
                  <a:lnTo>
                    <a:pt x="18" y="231"/>
                  </a:lnTo>
                  <a:lnTo>
                    <a:pt x="12" y="217"/>
                  </a:lnTo>
                  <a:lnTo>
                    <a:pt x="6" y="203"/>
                  </a:lnTo>
                  <a:lnTo>
                    <a:pt x="3" y="187"/>
                  </a:lnTo>
                  <a:lnTo>
                    <a:pt x="1" y="172"/>
                  </a:lnTo>
                  <a:lnTo>
                    <a:pt x="0" y="157"/>
                  </a:lnTo>
                  <a:lnTo>
                    <a:pt x="1" y="141"/>
                  </a:lnTo>
                  <a:lnTo>
                    <a:pt x="3" y="125"/>
                  </a:lnTo>
                  <a:lnTo>
                    <a:pt x="6" y="110"/>
                  </a:lnTo>
                  <a:lnTo>
                    <a:pt x="12" y="96"/>
                  </a:lnTo>
                  <a:lnTo>
                    <a:pt x="18" y="82"/>
                  </a:lnTo>
                  <a:lnTo>
                    <a:pt x="26" y="69"/>
                  </a:lnTo>
                  <a:lnTo>
                    <a:pt x="36" y="57"/>
                  </a:lnTo>
                  <a:lnTo>
                    <a:pt x="46" y="46"/>
                  </a:lnTo>
                  <a:lnTo>
                    <a:pt x="57" y="36"/>
                  </a:lnTo>
                  <a:lnTo>
                    <a:pt x="69" y="26"/>
                  </a:lnTo>
                  <a:lnTo>
                    <a:pt x="82" y="18"/>
                  </a:lnTo>
                  <a:lnTo>
                    <a:pt x="96" y="12"/>
                  </a:lnTo>
                  <a:lnTo>
                    <a:pt x="110" y="6"/>
                  </a:lnTo>
                  <a:lnTo>
                    <a:pt x="125" y="3"/>
                  </a:lnTo>
                  <a:lnTo>
                    <a:pt x="140" y="1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59" name="íS1idé"/>
            <p:cNvSpPr/>
            <p:nvPr/>
          </p:nvSpPr>
          <p:spPr bwMode="auto">
            <a:xfrm>
              <a:off x="1654968" y="2139157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36 w 60"/>
                <a:gd name="T3" fmla="*/ 0 h 60"/>
                <a:gd name="T4" fmla="*/ 41 w 60"/>
                <a:gd name="T5" fmla="*/ 2 h 60"/>
                <a:gd name="T6" fmla="*/ 47 w 60"/>
                <a:gd name="T7" fmla="*/ 4 h 60"/>
                <a:gd name="T8" fmla="*/ 51 w 60"/>
                <a:gd name="T9" fmla="*/ 9 h 60"/>
                <a:gd name="T10" fmla="*/ 56 w 60"/>
                <a:gd name="T11" fmla="*/ 13 h 60"/>
                <a:gd name="T12" fmla="*/ 58 w 60"/>
                <a:gd name="T13" fmla="*/ 19 h 60"/>
                <a:gd name="T14" fmla="*/ 60 w 60"/>
                <a:gd name="T15" fmla="*/ 24 h 60"/>
                <a:gd name="T16" fmla="*/ 60 w 60"/>
                <a:gd name="T17" fmla="*/ 29 h 60"/>
                <a:gd name="T18" fmla="*/ 60 w 60"/>
                <a:gd name="T19" fmla="*/ 36 h 60"/>
                <a:gd name="T20" fmla="*/ 58 w 60"/>
                <a:gd name="T21" fmla="*/ 41 h 60"/>
                <a:gd name="T22" fmla="*/ 56 w 60"/>
                <a:gd name="T23" fmla="*/ 47 h 60"/>
                <a:gd name="T24" fmla="*/ 51 w 60"/>
                <a:gd name="T25" fmla="*/ 51 h 60"/>
                <a:gd name="T26" fmla="*/ 47 w 60"/>
                <a:gd name="T27" fmla="*/ 55 h 60"/>
                <a:gd name="T28" fmla="*/ 41 w 60"/>
                <a:gd name="T29" fmla="*/ 58 h 60"/>
                <a:gd name="T30" fmla="*/ 36 w 60"/>
                <a:gd name="T31" fmla="*/ 59 h 60"/>
                <a:gd name="T32" fmla="*/ 30 w 60"/>
                <a:gd name="T33" fmla="*/ 60 h 60"/>
                <a:gd name="T34" fmla="*/ 24 w 60"/>
                <a:gd name="T35" fmla="*/ 59 h 60"/>
                <a:gd name="T36" fmla="*/ 18 w 60"/>
                <a:gd name="T37" fmla="*/ 58 h 60"/>
                <a:gd name="T38" fmla="*/ 13 w 60"/>
                <a:gd name="T39" fmla="*/ 55 h 60"/>
                <a:gd name="T40" fmla="*/ 9 w 60"/>
                <a:gd name="T41" fmla="*/ 51 h 60"/>
                <a:gd name="T42" fmla="*/ 5 w 60"/>
                <a:gd name="T43" fmla="*/ 47 h 60"/>
                <a:gd name="T44" fmla="*/ 2 w 60"/>
                <a:gd name="T45" fmla="*/ 41 h 60"/>
                <a:gd name="T46" fmla="*/ 1 w 60"/>
                <a:gd name="T47" fmla="*/ 36 h 60"/>
                <a:gd name="T48" fmla="*/ 0 w 60"/>
                <a:gd name="T49" fmla="*/ 29 h 60"/>
                <a:gd name="T50" fmla="*/ 1 w 60"/>
                <a:gd name="T51" fmla="*/ 24 h 60"/>
                <a:gd name="T52" fmla="*/ 2 w 60"/>
                <a:gd name="T53" fmla="*/ 19 h 60"/>
                <a:gd name="T54" fmla="*/ 5 w 60"/>
                <a:gd name="T55" fmla="*/ 13 h 60"/>
                <a:gd name="T56" fmla="*/ 9 w 60"/>
                <a:gd name="T57" fmla="*/ 9 h 60"/>
                <a:gd name="T58" fmla="*/ 13 w 60"/>
                <a:gd name="T59" fmla="*/ 4 h 60"/>
                <a:gd name="T60" fmla="*/ 18 w 60"/>
                <a:gd name="T61" fmla="*/ 2 h 60"/>
                <a:gd name="T62" fmla="*/ 24 w 60"/>
                <a:gd name="T63" fmla="*/ 0 h 60"/>
                <a:gd name="T64" fmla="*/ 30 w 60"/>
                <a:gd name="T6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36" y="0"/>
                  </a:lnTo>
                  <a:lnTo>
                    <a:pt x="41" y="2"/>
                  </a:lnTo>
                  <a:lnTo>
                    <a:pt x="47" y="4"/>
                  </a:lnTo>
                  <a:lnTo>
                    <a:pt x="51" y="9"/>
                  </a:lnTo>
                  <a:lnTo>
                    <a:pt x="56" y="13"/>
                  </a:lnTo>
                  <a:lnTo>
                    <a:pt x="58" y="19"/>
                  </a:lnTo>
                  <a:lnTo>
                    <a:pt x="60" y="24"/>
                  </a:lnTo>
                  <a:lnTo>
                    <a:pt x="60" y="29"/>
                  </a:lnTo>
                  <a:lnTo>
                    <a:pt x="60" y="36"/>
                  </a:lnTo>
                  <a:lnTo>
                    <a:pt x="58" y="41"/>
                  </a:lnTo>
                  <a:lnTo>
                    <a:pt x="56" y="47"/>
                  </a:lnTo>
                  <a:lnTo>
                    <a:pt x="51" y="51"/>
                  </a:lnTo>
                  <a:lnTo>
                    <a:pt x="47" y="55"/>
                  </a:lnTo>
                  <a:lnTo>
                    <a:pt x="41" y="58"/>
                  </a:lnTo>
                  <a:lnTo>
                    <a:pt x="36" y="59"/>
                  </a:lnTo>
                  <a:lnTo>
                    <a:pt x="30" y="60"/>
                  </a:lnTo>
                  <a:lnTo>
                    <a:pt x="24" y="59"/>
                  </a:lnTo>
                  <a:lnTo>
                    <a:pt x="18" y="58"/>
                  </a:lnTo>
                  <a:lnTo>
                    <a:pt x="13" y="55"/>
                  </a:lnTo>
                  <a:lnTo>
                    <a:pt x="9" y="51"/>
                  </a:lnTo>
                  <a:lnTo>
                    <a:pt x="5" y="47"/>
                  </a:lnTo>
                  <a:lnTo>
                    <a:pt x="2" y="41"/>
                  </a:lnTo>
                  <a:lnTo>
                    <a:pt x="1" y="36"/>
                  </a:lnTo>
                  <a:lnTo>
                    <a:pt x="0" y="29"/>
                  </a:lnTo>
                  <a:lnTo>
                    <a:pt x="1" y="24"/>
                  </a:lnTo>
                  <a:lnTo>
                    <a:pt x="2" y="19"/>
                  </a:lnTo>
                  <a:lnTo>
                    <a:pt x="5" y="13"/>
                  </a:lnTo>
                  <a:lnTo>
                    <a:pt x="9" y="9"/>
                  </a:lnTo>
                  <a:lnTo>
                    <a:pt x="13" y="4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0" name="í$ḷiḍè"/>
            <p:cNvSpPr/>
            <p:nvPr/>
          </p:nvSpPr>
          <p:spPr bwMode="auto">
            <a:xfrm>
              <a:off x="1972468" y="1934369"/>
              <a:ext cx="225425" cy="101600"/>
            </a:xfrm>
            <a:custGeom>
              <a:avLst/>
              <a:gdLst>
                <a:gd name="T0" fmla="*/ 0 w 711"/>
                <a:gd name="T1" fmla="*/ 0 h 323"/>
                <a:gd name="T2" fmla="*/ 0 w 711"/>
                <a:gd name="T3" fmla="*/ 160 h 323"/>
                <a:gd name="T4" fmla="*/ 711 w 711"/>
                <a:gd name="T5" fmla="*/ 323 h 323"/>
                <a:gd name="T6" fmla="*/ 0 w 711"/>
                <a:gd name="T7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1" h="323">
                  <a:moveTo>
                    <a:pt x="0" y="0"/>
                  </a:moveTo>
                  <a:lnTo>
                    <a:pt x="0" y="160"/>
                  </a:lnTo>
                  <a:lnTo>
                    <a:pt x="711" y="3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1" name="íṩḻiḑé"/>
            <p:cNvSpPr/>
            <p:nvPr/>
          </p:nvSpPr>
          <p:spPr bwMode="auto">
            <a:xfrm>
              <a:off x="1959768" y="2085182"/>
              <a:ext cx="177800" cy="176213"/>
            </a:xfrm>
            <a:custGeom>
              <a:avLst/>
              <a:gdLst>
                <a:gd name="T0" fmla="*/ 251 w 558"/>
                <a:gd name="T1" fmla="*/ 1 h 558"/>
                <a:gd name="T2" fmla="*/ 210 w 558"/>
                <a:gd name="T3" fmla="*/ 8 h 558"/>
                <a:gd name="T4" fmla="*/ 171 w 558"/>
                <a:gd name="T5" fmla="*/ 22 h 558"/>
                <a:gd name="T6" fmla="*/ 135 w 558"/>
                <a:gd name="T7" fmla="*/ 40 h 558"/>
                <a:gd name="T8" fmla="*/ 103 w 558"/>
                <a:gd name="T9" fmla="*/ 63 h 558"/>
                <a:gd name="T10" fmla="*/ 73 w 558"/>
                <a:gd name="T11" fmla="*/ 90 h 558"/>
                <a:gd name="T12" fmla="*/ 48 w 558"/>
                <a:gd name="T13" fmla="*/ 122 h 558"/>
                <a:gd name="T14" fmla="*/ 28 w 558"/>
                <a:gd name="T15" fmla="*/ 158 h 558"/>
                <a:gd name="T16" fmla="*/ 13 w 558"/>
                <a:gd name="T17" fmla="*/ 195 h 558"/>
                <a:gd name="T18" fmla="*/ 3 w 558"/>
                <a:gd name="T19" fmla="*/ 236 h 558"/>
                <a:gd name="T20" fmla="*/ 0 w 558"/>
                <a:gd name="T21" fmla="*/ 279 h 558"/>
                <a:gd name="T22" fmla="*/ 3 w 558"/>
                <a:gd name="T23" fmla="*/ 321 h 558"/>
                <a:gd name="T24" fmla="*/ 13 w 558"/>
                <a:gd name="T25" fmla="*/ 362 h 558"/>
                <a:gd name="T26" fmla="*/ 28 w 558"/>
                <a:gd name="T27" fmla="*/ 400 h 558"/>
                <a:gd name="T28" fmla="*/ 48 w 558"/>
                <a:gd name="T29" fmla="*/ 435 h 558"/>
                <a:gd name="T30" fmla="*/ 73 w 558"/>
                <a:gd name="T31" fmla="*/ 466 h 558"/>
                <a:gd name="T32" fmla="*/ 103 w 558"/>
                <a:gd name="T33" fmla="*/ 494 h 558"/>
                <a:gd name="T34" fmla="*/ 135 w 558"/>
                <a:gd name="T35" fmla="*/ 517 h 558"/>
                <a:gd name="T36" fmla="*/ 171 w 558"/>
                <a:gd name="T37" fmla="*/ 535 h 558"/>
                <a:gd name="T38" fmla="*/ 210 w 558"/>
                <a:gd name="T39" fmla="*/ 548 h 558"/>
                <a:gd name="T40" fmla="*/ 251 w 558"/>
                <a:gd name="T41" fmla="*/ 556 h 558"/>
                <a:gd name="T42" fmla="*/ 294 w 558"/>
                <a:gd name="T43" fmla="*/ 557 h 558"/>
                <a:gd name="T44" fmla="*/ 336 w 558"/>
                <a:gd name="T45" fmla="*/ 552 h 558"/>
                <a:gd name="T46" fmla="*/ 375 w 558"/>
                <a:gd name="T47" fmla="*/ 541 h 558"/>
                <a:gd name="T48" fmla="*/ 413 w 558"/>
                <a:gd name="T49" fmla="*/ 524 h 558"/>
                <a:gd name="T50" fmla="*/ 447 w 558"/>
                <a:gd name="T51" fmla="*/ 502 h 558"/>
                <a:gd name="T52" fmla="*/ 476 w 558"/>
                <a:gd name="T53" fmla="*/ 476 h 558"/>
                <a:gd name="T54" fmla="*/ 504 w 558"/>
                <a:gd name="T55" fmla="*/ 446 h 558"/>
                <a:gd name="T56" fmla="*/ 526 w 558"/>
                <a:gd name="T57" fmla="*/ 412 h 558"/>
                <a:gd name="T58" fmla="*/ 542 w 558"/>
                <a:gd name="T59" fmla="*/ 375 h 558"/>
                <a:gd name="T60" fmla="*/ 553 w 558"/>
                <a:gd name="T61" fmla="*/ 335 h 558"/>
                <a:gd name="T62" fmla="*/ 558 w 558"/>
                <a:gd name="T63" fmla="*/ 293 h 558"/>
                <a:gd name="T64" fmla="*/ 557 w 558"/>
                <a:gd name="T65" fmla="*/ 249 h 558"/>
                <a:gd name="T66" fmla="*/ 549 w 558"/>
                <a:gd name="T67" fmla="*/ 209 h 558"/>
                <a:gd name="T68" fmla="*/ 536 w 558"/>
                <a:gd name="T69" fmla="*/ 170 h 558"/>
                <a:gd name="T70" fmla="*/ 518 w 558"/>
                <a:gd name="T71" fmla="*/ 134 h 558"/>
                <a:gd name="T72" fmla="*/ 495 w 558"/>
                <a:gd name="T73" fmla="*/ 101 h 558"/>
                <a:gd name="T74" fmla="*/ 468 w 558"/>
                <a:gd name="T75" fmla="*/ 72 h 558"/>
                <a:gd name="T76" fmla="*/ 436 w 558"/>
                <a:gd name="T77" fmla="*/ 47 h 558"/>
                <a:gd name="T78" fmla="*/ 400 w 558"/>
                <a:gd name="T79" fmla="*/ 27 h 558"/>
                <a:gd name="T80" fmla="*/ 363 w 558"/>
                <a:gd name="T81" fmla="*/ 12 h 558"/>
                <a:gd name="T82" fmla="*/ 322 w 558"/>
                <a:gd name="T83" fmla="*/ 3 h 558"/>
                <a:gd name="T84" fmla="*/ 279 w 558"/>
                <a:gd name="T85" fmla="*/ 0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lnTo>
                    <a:pt x="265" y="0"/>
                  </a:lnTo>
                  <a:lnTo>
                    <a:pt x="251" y="1"/>
                  </a:lnTo>
                  <a:lnTo>
                    <a:pt x="238" y="3"/>
                  </a:lnTo>
                  <a:lnTo>
                    <a:pt x="224" y="5"/>
                  </a:lnTo>
                  <a:lnTo>
                    <a:pt x="210" y="8"/>
                  </a:lnTo>
                  <a:lnTo>
                    <a:pt x="196" y="12"/>
                  </a:lnTo>
                  <a:lnTo>
                    <a:pt x="183" y="16"/>
                  </a:lnTo>
                  <a:lnTo>
                    <a:pt x="171" y="22"/>
                  </a:lnTo>
                  <a:lnTo>
                    <a:pt x="158" y="27"/>
                  </a:lnTo>
                  <a:lnTo>
                    <a:pt x="146" y="32"/>
                  </a:lnTo>
                  <a:lnTo>
                    <a:pt x="135" y="40"/>
                  </a:lnTo>
                  <a:lnTo>
                    <a:pt x="123" y="47"/>
                  </a:lnTo>
                  <a:lnTo>
                    <a:pt x="112" y="54"/>
                  </a:lnTo>
                  <a:lnTo>
                    <a:pt x="103" y="63"/>
                  </a:lnTo>
                  <a:lnTo>
                    <a:pt x="92" y="72"/>
                  </a:lnTo>
                  <a:lnTo>
                    <a:pt x="82" y="82"/>
                  </a:lnTo>
                  <a:lnTo>
                    <a:pt x="73" y="90"/>
                  </a:lnTo>
                  <a:lnTo>
                    <a:pt x="64" y="101"/>
                  </a:lnTo>
                  <a:lnTo>
                    <a:pt x="56" y="111"/>
                  </a:lnTo>
                  <a:lnTo>
                    <a:pt x="48" y="122"/>
                  </a:lnTo>
                  <a:lnTo>
                    <a:pt x="42" y="134"/>
                  </a:lnTo>
                  <a:lnTo>
                    <a:pt x="34" y="146"/>
                  </a:lnTo>
                  <a:lnTo>
                    <a:pt x="28" y="158"/>
                  </a:lnTo>
                  <a:lnTo>
                    <a:pt x="23" y="170"/>
                  </a:lnTo>
                  <a:lnTo>
                    <a:pt x="18" y="183"/>
                  </a:lnTo>
                  <a:lnTo>
                    <a:pt x="13" y="195"/>
                  </a:lnTo>
                  <a:lnTo>
                    <a:pt x="10" y="209"/>
                  </a:lnTo>
                  <a:lnTo>
                    <a:pt x="7" y="222"/>
                  </a:lnTo>
                  <a:lnTo>
                    <a:pt x="3" y="236"/>
                  </a:lnTo>
                  <a:lnTo>
                    <a:pt x="2" y="249"/>
                  </a:lnTo>
                  <a:lnTo>
                    <a:pt x="1" y="264"/>
                  </a:lnTo>
                  <a:lnTo>
                    <a:pt x="0" y="279"/>
                  </a:lnTo>
                  <a:lnTo>
                    <a:pt x="1" y="293"/>
                  </a:lnTo>
                  <a:lnTo>
                    <a:pt x="2" y="307"/>
                  </a:lnTo>
                  <a:lnTo>
                    <a:pt x="3" y="321"/>
                  </a:lnTo>
                  <a:lnTo>
                    <a:pt x="7" y="335"/>
                  </a:lnTo>
                  <a:lnTo>
                    <a:pt x="10" y="349"/>
                  </a:lnTo>
                  <a:lnTo>
                    <a:pt x="13" y="362"/>
                  </a:lnTo>
                  <a:lnTo>
                    <a:pt x="18" y="375"/>
                  </a:lnTo>
                  <a:lnTo>
                    <a:pt x="23" y="387"/>
                  </a:lnTo>
                  <a:lnTo>
                    <a:pt x="28" y="400"/>
                  </a:lnTo>
                  <a:lnTo>
                    <a:pt x="34" y="412"/>
                  </a:lnTo>
                  <a:lnTo>
                    <a:pt x="42" y="423"/>
                  </a:lnTo>
                  <a:lnTo>
                    <a:pt x="48" y="435"/>
                  </a:lnTo>
                  <a:lnTo>
                    <a:pt x="56" y="446"/>
                  </a:lnTo>
                  <a:lnTo>
                    <a:pt x="64" y="456"/>
                  </a:lnTo>
                  <a:lnTo>
                    <a:pt x="73" y="466"/>
                  </a:lnTo>
                  <a:lnTo>
                    <a:pt x="82" y="476"/>
                  </a:lnTo>
                  <a:lnTo>
                    <a:pt x="92" y="485"/>
                  </a:lnTo>
                  <a:lnTo>
                    <a:pt x="103" y="494"/>
                  </a:lnTo>
                  <a:lnTo>
                    <a:pt x="112" y="502"/>
                  </a:lnTo>
                  <a:lnTo>
                    <a:pt x="123" y="510"/>
                  </a:lnTo>
                  <a:lnTo>
                    <a:pt x="135" y="517"/>
                  </a:lnTo>
                  <a:lnTo>
                    <a:pt x="146" y="524"/>
                  </a:lnTo>
                  <a:lnTo>
                    <a:pt x="158" y="530"/>
                  </a:lnTo>
                  <a:lnTo>
                    <a:pt x="171" y="535"/>
                  </a:lnTo>
                  <a:lnTo>
                    <a:pt x="183" y="541"/>
                  </a:lnTo>
                  <a:lnTo>
                    <a:pt x="196" y="545"/>
                  </a:lnTo>
                  <a:lnTo>
                    <a:pt x="210" y="548"/>
                  </a:lnTo>
                  <a:lnTo>
                    <a:pt x="224" y="552"/>
                  </a:lnTo>
                  <a:lnTo>
                    <a:pt x="238" y="555"/>
                  </a:lnTo>
                  <a:lnTo>
                    <a:pt x="251" y="556"/>
                  </a:lnTo>
                  <a:lnTo>
                    <a:pt x="265" y="557"/>
                  </a:lnTo>
                  <a:lnTo>
                    <a:pt x="279" y="558"/>
                  </a:lnTo>
                  <a:lnTo>
                    <a:pt x="294" y="557"/>
                  </a:lnTo>
                  <a:lnTo>
                    <a:pt x="309" y="556"/>
                  </a:lnTo>
                  <a:lnTo>
                    <a:pt x="322" y="555"/>
                  </a:lnTo>
                  <a:lnTo>
                    <a:pt x="336" y="552"/>
                  </a:lnTo>
                  <a:lnTo>
                    <a:pt x="349" y="548"/>
                  </a:lnTo>
                  <a:lnTo>
                    <a:pt x="363" y="545"/>
                  </a:lnTo>
                  <a:lnTo>
                    <a:pt x="375" y="541"/>
                  </a:lnTo>
                  <a:lnTo>
                    <a:pt x="388" y="535"/>
                  </a:lnTo>
                  <a:lnTo>
                    <a:pt x="400" y="530"/>
                  </a:lnTo>
                  <a:lnTo>
                    <a:pt x="413" y="524"/>
                  </a:lnTo>
                  <a:lnTo>
                    <a:pt x="424" y="517"/>
                  </a:lnTo>
                  <a:lnTo>
                    <a:pt x="436" y="510"/>
                  </a:lnTo>
                  <a:lnTo>
                    <a:pt x="447" y="502"/>
                  </a:lnTo>
                  <a:lnTo>
                    <a:pt x="457" y="494"/>
                  </a:lnTo>
                  <a:lnTo>
                    <a:pt x="468" y="485"/>
                  </a:lnTo>
                  <a:lnTo>
                    <a:pt x="476" y="476"/>
                  </a:lnTo>
                  <a:lnTo>
                    <a:pt x="486" y="466"/>
                  </a:lnTo>
                  <a:lnTo>
                    <a:pt x="495" y="456"/>
                  </a:lnTo>
                  <a:lnTo>
                    <a:pt x="504" y="446"/>
                  </a:lnTo>
                  <a:lnTo>
                    <a:pt x="511" y="435"/>
                  </a:lnTo>
                  <a:lnTo>
                    <a:pt x="518" y="423"/>
                  </a:lnTo>
                  <a:lnTo>
                    <a:pt x="526" y="412"/>
                  </a:lnTo>
                  <a:lnTo>
                    <a:pt x="531" y="400"/>
                  </a:lnTo>
                  <a:lnTo>
                    <a:pt x="536" y="387"/>
                  </a:lnTo>
                  <a:lnTo>
                    <a:pt x="542" y="375"/>
                  </a:lnTo>
                  <a:lnTo>
                    <a:pt x="546" y="362"/>
                  </a:lnTo>
                  <a:lnTo>
                    <a:pt x="549" y="349"/>
                  </a:lnTo>
                  <a:lnTo>
                    <a:pt x="553" y="335"/>
                  </a:lnTo>
                  <a:lnTo>
                    <a:pt x="556" y="321"/>
                  </a:lnTo>
                  <a:lnTo>
                    <a:pt x="557" y="307"/>
                  </a:lnTo>
                  <a:lnTo>
                    <a:pt x="558" y="293"/>
                  </a:lnTo>
                  <a:lnTo>
                    <a:pt x="558" y="279"/>
                  </a:lnTo>
                  <a:lnTo>
                    <a:pt x="558" y="264"/>
                  </a:lnTo>
                  <a:lnTo>
                    <a:pt x="557" y="249"/>
                  </a:lnTo>
                  <a:lnTo>
                    <a:pt x="556" y="236"/>
                  </a:lnTo>
                  <a:lnTo>
                    <a:pt x="553" y="222"/>
                  </a:lnTo>
                  <a:lnTo>
                    <a:pt x="549" y="209"/>
                  </a:lnTo>
                  <a:lnTo>
                    <a:pt x="546" y="195"/>
                  </a:lnTo>
                  <a:lnTo>
                    <a:pt x="542" y="183"/>
                  </a:lnTo>
                  <a:lnTo>
                    <a:pt x="536" y="170"/>
                  </a:lnTo>
                  <a:lnTo>
                    <a:pt x="531" y="158"/>
                  </a:lnTo>
                  <a:lnTo>
                    <a:pt x="526" y="146"/>
                  </a:lnTo>
                  <a:lnTo>
                    <a:pt x="518" y="134"/>
                  </a:lnTo>
                  <a:lnTo>
                    <a:pt x="511" y="122"/>
                  </a:lnTo>
                  <a:lnTo>
                    <a:pt x="504" y="111"/>
                  </a:lnTo>
                  <a:lnTo>
                    <a:pt x="495" y="101"/>
                  </a:lnTo>
                  <a:lnTo>
                    <a:pt x="486" y="90"/>
                  </a:lnTo>
                  <a:lnTo>
                    <a:pt x="476" y="82"/>
                  </a:lnTo>
                  <a:lnTo>
                    <a:pt x="468" y="72"/>
                  </a:lnTo>
                  <a:lnTo>
                    <a:pt x="457" y="63"/>
                  </a:lnTo>
                  <a:lnTo>
                    <a:pt x="447" y="54"/>
                  </a:lnTo>
                  <a:lnTo>
                    <a:pt x="436" y="47"/>
                  </a:lnTo>
                  <a:lnTo>
                    <a:pt x="424" y="40"/>
                  </a:lnTo>
                  <a:lnTo>
                    <a:pt x="413" y="32"/>
                  </a:lnTo>
                  <a:lnTo>
                    <a:pt x="400" y="27"/>
                  </a:lnTo>
                  <a:lnTo>
                    <a:pt x="388" y="22"/>
                  </a:lnTo>
                  <a:lnTo>
                    <a:pt x="375" y="16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6" y="5"/>
                  </a:lnTo>
                  <a:lnTo>
                    <a:pt x="322" y="3"/>
                  </a:lnTo>
                  <a:lnTo>
                    <a:pt x="309" y="1"/>
                  </a:lnTo>
                  <a:lnTo>
                    <a:pt x="294" y="0"/>
                  </a:lnTo>
                  <a:lnTo>
                    <a:pt x="2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2" name="iślïḑe"/>
            <p:cNvSpPr/>
            <p:nvPr/>
          </p:nvSpPr>
          <p:spPr bwMode="auto">
            <a:xfrm>
              <a:off x="1999456" y="2123282"/>
              <a:ext cx="98425" cy="100013"/>
            </a:xfrm>
            <a:custGeom>
              <a:avLst/>
              <a:gdLst>
                <a:gd name="T0" fmla="*/ 141 w 313"/>
                <a:gd name="T1" fmla="*/ 1 h 313"/>
                <a:gd name="T2" fmla="*/ 110 w 313"/>
                <a:gd name="T3" fmla="*/ 6 h 313"/>
                <a:gd name="T4" fmla="*/ 82 w 313"/>
                <a:gd name="T5" fmla="*/ 18 h 313"/>
                <a:gd name="T6" fmla="*/ 57 w 313"/>
                <a:gd name="T7" fmla="*/ 36 h 313"/>
                <a:gd name="T8" fmla="*/ 36 w 313"/>
                <a:gd name="T9" fmla="*/ 57 h 313"/>
                <a:gd name="T10" fmla="*/ 19 w 313"/>
                <a:gd name="T11" fmla="*/ 82 h 313"/>
                <a:gd name="T12" fmla="*/ 7 w 313"/>
                <a:gd name="T13" fmla="*/ 110 h 313"/>
                <a:gd name="T14" fmla="*/ 1 w 313"/>
                <a:gd name="T15" fmla="*/ 141 h 313"/>
                <a:gd name="T16" fmla="*/ 1 w 313"/>
                <a:gd name="T17" fmla="*/ 172 h 313"/>
                <a:gd name="T18" fmla="*/ 7 w 313"/>
                <a:gd name="T19" fmla="*/ 203 h 313"/>
                <a:gd name="T20" fmla="*/ 19 w 313"/>
                <a:gd name="T21" fmla="*/ 231 h 313"/>
                <a:gd name="T22" fmla="*/ 36 w 313"/>
                <a:gd name="T23" fmla="*/ 256 h 313"/>
                <a:gd name="T24" fmla="*/ 57 w 313"/>
                <a:gd name="T25" fmla="*/ 277 h 313"/>
                <a:gd name="T26" fmla="*/ 82 w 313"/>
                <a:gd name="T27" fmla="*/ 294 h 313"/>
                <a:gd name="T28" fmla="*/ 110 w 313"/>
                <a:gd name="T29" fmla="*/ 306 h 313"/>
                <a:gd name="T30" fmla="*/ 141 w 313"/>
                <a:gd name="T31" fmla="*/ 312 h 313"/>
                <a:gd name="T32" fmla="*/ 173 w 313"/>
                <a:gd name="T33" fmla="*/ 312 h 313"/>
                <a:gd name="T34" fmla="*/ 203 w 313"/>
                <a:gd name="T35" fmla="*/ 306 h 313"/>
                <a:gd name="T36" fmla="*/ 231 w 313"/>
                <a:gd name="T37" fmla="*/ 294 h 313"/>
                <a:gd name="T38" fmla="*/ 256 w 313"/>
                <a:gd name="T39" fmla="*/ 277 h 313"/>
                <a:gd name="T40" fmla="*/ 277 w 313"/>
                <a:gd name="T41" fmla="*/ 256 h 313"/>
                <a:gd name="T42" fmla="*/ 295 w 313"/>
                <a:gd name="T43" fmla="*/ 231 h 313"/>
                <a:gd name="T44" fmla="*/ 307 w 313"/>
                <a:gd name="T45" fmla="*/ 203 h 313"/>
                <a:gd name="T46" fmla="*/ 312 w 313"/>
                <a:gd name="T47" fmla="*/ 172 h 313"/>
                <a:gd name="T48" fmla="*/ 312 w 313"/>
                <a:gd name="T49" fmla="*/ 141 h 313"/>
                <a:gd name="T50" fmla="*/ 307 w 313"/>
                <a:gd name="T51" fmla="*/ 110 h 313"/>
                <a:gd name="T52" fmla="*/ 295 w 313"/>
                <a:gd name="T53" fmla="*/ 82 h 313"/>
                <a:gd name="T54" fmla="*/ 277 w 313"/>
                <a:gd name="T55" fmla="*/ 57 h 313"/>
                <a:gd name="T56" fmla="*/ 256 w 313"/>
                <a:gd name="T57" fmla="*/ 36 h 313"/>
                <a:gd name="T58" fmla="*/ 231 w 313"/>
                <a:gd name="T59" fmla="*/ 18 h 313"/>
                <a:gd name="T60" fmla="*/ 203 w 313"/>
                <a:gd name="T61" fmla="*/ 6 h 313"/>
                <a:gd name="T62" fmla="*/ 173 w 313"/>
                <a:gd name="T63" fmla="*/ 1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3" h="313">
                  <a:moveTo>
                    <a:pt x="156" y="0"/>
                  </a:moveTo>
                  <a:lnTo>
                    <a:pt x="141" y="1"/>
                  </a:lnTo>
                  <a:lnTo>
                    <a:pt x="126" y="3"/>
                  </a:lnTo>
                  <a:lnTo>
                    <a:pt x="110" y="6"/>
                  </a:lnTo>
                  <a:lnTo>
                    <a:pt x="96" y="12"/>
                  </a:lnTo>
                  <a:lnTo>
                    <a:pt x="82" y="18"/>
                  </a:lnTo>
                  <a:lnTo>
                    <a:pt x="69" y="26"/>
                  </a:lnTo>
                  <a:lnTo>
                    <a:pt x="57" y="36"/>
                  </a:lnTo>
                  <a:lnTo>
                    <a:pt x="46" y="46"/>
                  </a:lnTo>
                  <a:lnTo>
                    <a:pt x="36" y="57"/>
                  </a:lnTo>
                  <a:lnTo>
                    <a:pt x="26" y="69"/>
                  </a:lnTo>
                  <a:lnTo>
                    <a:pt x="19" y="82"/>
                  </a:lnTo>
                  <a:lnTo>
                    <a:pt x="12" y="96"/>
                  </a:lnTo>
                  <a:lnTo>
                    <a:pt x="7" y="110"/>
                  </a:lnTo>
                  <a:lnTo>
                    <a:pt x="4" y="125"/>
                  </a:lnTo>
                  <a:lnTo>
                    <a:pt x="1" y="141"/>
                  </a:lnTo>
                  <a:lnTo>
                    <a:pt x="0" y="157"/>
                  </a:lnTo>
                  <a:lnTo>
                    <a:pt x="1" y="172"/>
                  </a:lnTo>
                  <a:lnTo>
                    <a:pt x="4" y="187"/>
                  </a:lnTo>
                  <a:lnTo>
                    <a:pt x="7" y="203"/>
                  </a:lnTo>
                  <a:lnTo>
                    <a:pt x="12" y="217"/>
                  </a:lnTo>
                  <a:lnTo>
                    <a:pt x="19" y="231"/>
                  </a:lnTo>
                  <a:lnTo>
                    <a:pt x="26" y="244"/>
                  </a:lnTo>
                  <a:lnTo>
                    <a:pt x="36" y="256"/>
                  </a:lnTo>
                  <a:lnTo>
                    <a:pt x="46" y="267"/>
                  </a:lnTo>
                  <a:lnTo>
                    <a:pt x="57" y="277"/>
                  </a:lnTo>
                  <a:lnTo>
                    <a:pt x="69" y="287"/>
                  </a:lnTo>
                  <a:lnTo>
                    <a:pt x="82" y="294"/>
                  </a:lnTo>
                  <a:lnTo>
                    <a:pt x="96" y="301"/>
                  </a:lnTo>
                  <a:lnTo>
                    <a:pt x="110" y="306"/>
                  </a:lnTo>
                  <a:lnTo>
                    <a:pt x="126" y="310"/>
                  </a:lnTo>
                  <a:lnTo>
                    <a:pt x="141" y="312"/>
                  </a:lnTo>
                  <a:lnTo>
                    <a:pt x="156" y="313"/>
                  </a:lnTo>
                  <a:lnTo>
                    <a:pt x="173" y="312"/>
                  </a:lnTo>
                  <a:lnTo>
                    <a:pt x="188" y="310"/>
                  </a:lnTo>
                  <a:lnTo>
                    <a:pt x="203" y="306"/>
                  </a:lnTo>
                  <a:lnTo>
                    <a:pt x="217" y="301"/>
                  </a:lnTo>
                  <a:lnTo>
                    <a:pt x="231" y="294"/>
                  </a:lnTo>
                  <a:lnTo>
                    <a:pt x="244" y="287"/>
                  </a:lnTo>
                  <a:lnTo>
                    <a:pt x="256" y="277"/>
                  </a:lnTo>
                  <a:lnTo>
                    <a:pt x="267" y="267"/>
                  </a:lnTo>
                  <a:lnTo>
                    <a:pt x="277" y="256"/>
                  </a:lnTo>
                  <a:lnTo>
                    <a:pt x="287" y="244"/>
                  </a:lnTo>
                  <a:lnTo>
                    <a:pt x="295" y="231"/>
                  </a:lnTo>
                  <a:lnTo>
                    <a:pt x="301" y="217"/>
                  </a:lnTo>
                  <a:lnTo>
                    <a:pt x="307" y="203"/>
                  </a:lnTo>
                  <a:lnTo>
                    <a:pt x="310" y="187"/>
                  </a:lnTo>
                  <a:lnTo>
                    <a:pt x="312" y="172"/>
                  </a:lnTo>
                  <a:lnTo>
                    <a:pt x="313" y="157"/>
                  </a:lnTo>
                  <a:lnTo>
                    <a:pt x="312" y="141"/>
                  </a:lnTo>
                  <a:lnTo>
                    <a:pt x="310" y="125"/>
                  </a:lnTo>
                  <a:lnTo>
                    <a:pt x="307" y="110"/>
                  </a:lnTo>
                  <a:lnTo>
                    <a:pt x="301" y="96"/>
                  </a:lnTo>
                  <a:lnTo>
                    <a:pt x="295" y="82"/>
                  </a:lnTo>
                  <a:lnTo>
                    <a:pt x="287" y="69"/>
                  </a:lnTo>
                  <a:lnTo>
                    <a:pt x="277" y="57"/>
                  </a:lnTo>
                  <a:lnTo>
                    <a:pt x="267" y="46"/>
                  </a:lnTo>
                  <a:lnTo>
                    <a:pt x="256" y="36"/>
                  </a:lnTo>
                  <a:lnTo>
                    <a:pt x="244" y="26"/>
                  </a:lnTo>
                  <a:lnTo>
                    <a:pt x="231" y="18"/>
                  </a:lnTo>
                  <a:lnTo>
                    <a:pt x="217" y="12"/>
                  </a:lnTo>
                  <a:lnTo>
                    <a:pt x="203" y="6"/>
                  </a:lnTo>
                  <a:lnTo>
                    <a:pt x="188" y="3"/>
                  </a:lnTo>
                  <a:lnTo>
                    <a:pt x="173" y="1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3" name="îṣļiďê"/>
            <p:cNvSpPr/>
            <p:nvPr/>
          </p:nvSpPr>
          <p:spPr bwMode="auto">
            <a:xfrm>
              <a:off x="2024856" y="2139157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24 w 60"/>
                <a:gd name="T3" fmla="*/ 0 h 60"/>
                <a:gd name="T4" fmla="*/ 19 w 60"/>
                <a:gd name="T5" fmla="*/ 2 h 60"/>
                <a:gd name="T6" fmla="*/ 13 w 60"/>
                <a:gd name="T7" fmla="*/ 4 h 60"/>
                <a:gd name="T8" fmla="*/ 9 w 60"/>
                <a:gd name="T9" fmla="*/ 9 h 60"/>
                <a:gd name="T10" fmla="*/ 4 w 60"/>
                <a:gd name="T11" fmla="*/ 13 h 60"/>
                <a:gd name="T12" fmla="*/ 2 w 60"/>
                <a:gd name="T13" fmla="*/ 19 h 60"/>
                <a:gd name="T14" fmla="*/ 0 w 60"/>
                <a:gd name="T15" fmla="*/ 24 h 60"/>
                <a:gd name="T16" fmla="*/ 0 w 60"/>
                <a:gd name="T17" fmla="*/ 29 h 60"/>
                <a:gd name="T18" fmla="*/ 0 w 60"/>
                <a:gd name="T19" fmla="*/ 36 h 60"/>
                <a:gd name="T20" fmla="*/ 2 w 60"/>
                <a:gd name="T21" fmla="*/ 41 h 60"/>
                <a:gd name="T22" fmla="*/ 4 w 60"/>
                <a:gd name="T23" fmla="*/ 47 h 60"/>
                <a:gd name="T24" fmla="*/ 9 w 60"/>
                <a:gd name="T25" fmla="*/ 51 h 60"/>
                <a:gd name="T26" fmla="*/ 13 w 60"/>
                <a:gd name="T27" fmla="*/ 55 h 60"/>
                <a:gd name="T28" fmla="*/ 19 w 60"/>
                <a:gd name="T29" fmla="*/ 58 h 60"/>
                <a:gd name="T30" fmla="*/ 24 w 60"/>
                <a:gd name="T31" fmla="*/ 59 h 60"/>
                <a:gd name="T32" fmla="*/ 30 w 60"/>
                <a:gd name="T33" fmla="*/ 60 h 60"/>
                <a:gd name="T34" fmla="*/ 36 w 60"/>
                <a:gd name="T35" fmla="*/ 59 h 60"/>
                <a:gd name="T36" fmla="*/ 42 w 60"/>
                <a:gd name="T37" fmla="*/ 58 h 60"/>
                <a:gd name="T38" fmla="*/ 47 w 60"/>
                <a:gd name="T39" fmla="*/ 55 h 60"/>
                <a:gd name="T40" fmla="*/ 51 w 60"/>
                <a:gd name="T41" fmla="*/ 51 h 60"/>
                <a:gd name="T42" fmla="*/ 55 w 60"/>
                <a:gd name="T43" fmla="*/ 47 h 60"/>
                <a:gd name="T44" fmla="*/ 58 w 60"/>
                <a:gd name="T45" fmla="*/ 41 h 60"/>
                <a:gd name="T46" fmla="*/ 59 w 60"/>
                <a:gd name="T47" fmla="*/ 36 h 60"/>
                <a:gd name="T48" fmla="*/ 60 w 60"/>
                <a:gd name="T49" fmla="*/ 29 h 60"/>
                <a:gd name="T50" fmla="*/ 59 w 60"/>
                <a:gd name="T51" fmla="*/ 24 h 60"/>
                <a:gd name="T52" fmla="*/ 58 w 60"/>
                <a:gd name="T53" fmla="*/ 19 h 60"/>
                <a:gd name="T54" fmla="*/ 55 w 60"/>
                <a:gd name="T55" fmla="*/ 13 h 60"/>
                <a:gd name="T56" fmla="*/ 51 w 60"/>
                <a:gd name="T57" fmla="*/ 9 h 60"/>
                <a:gd name="T58" fmla="*/ 47 w 60"/>
                <a:gd name="T59" fmla="*/ 4 h 60"/>
                <a:gd name="T60" fmla="*/ 42 w 60"/>
                <a:gd name="T61" fmla="*/ 2 h 60"/>
                <a:gd name="T62" fmla="*/ 36 w 60"/>
                <a:gd name="T63" fmla="*/ 0 h 60"/>
                <a:gd name="T64" fmla="*/ 30 w 60"/>
                <a:gd name="T6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24" y="0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9"/>
                  </a:lnTo>
                  <a:lnTo>
                    <a:pt x="4" y="13"/>
                  </a:lnTo>
                  <a:lnTo>
                    <a:pt x="2" y="19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2" y="41"/>
                  </a:lnTo>
                  <a:lnTo>
                    <a:pt x="4" y="47"/>
                  </a:lnTo>
                  <a:lnTo>
                    <a:pt x="9" y="51"/>
                  </a:lnTo>
                  <a:lnTo>
                    <a:pt x="13" y="55"/>
                  </a:lnTo>
                  <a:lnTo>
                    <a:pt x="19" y="58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6" y="59"/>
                  </a:lnTo>
                  <a:lnTo>
                    <a:pt x="42" y="58"/>
                  </a:lnTo>
                  <a:lnTo>
                    <a:pt x="47" y="55"/>
                  </a:lnTo>
                  <a:lnTo>
                    <a:pt x="51" y="51"/>
                  </a:lnTo>
                  <a:lnTo>
                    <a:pt x="55" y="47"/>
                  </a:lnTo>
                  <a:lnTo>
                    <a:pt x="58" y="41"/>
                  </a:lnTo>
                  <a:lnTo>
                    <a:pt x="59" y="36"/>
                  </a:lnTo>
                  <a:lnTo>
                    <a:pt x="60" y="29"/>
                  </a:lnTo>
                  <a:lnTo>
                    <a:pt x="59" y="24"/>
                  </a:lnTo>
                  <a:lnTo>
                    <a:pt x="58" y="19"/>
                  </a:lnTo>
                  <a:lnTo>
                    <a:pt x="55" y="13"/>
                  </a:lnTo>
                  <a:lnTo>
                    <a:pt x="51" y="9"/>
                  </a:lnTo>
                  <a:lnTo>
                    <a:pt x="47" y="4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4" name="iṧ1idê"/>
            <p:cNvSpPr/>
            <p:nvPr/>
          </p:nvSpPr>
          <p:spPr bwMode="auto">
            <a:xfrm>
              <a:off x="1756568" y="2286794"/>
              <a:ext cx="61913" cy="104775"/>
            </a:xfrm>
            <a:custGeom>
              <a:avLst/>
              <a:gdLst>
                <a:gd name="T0" fmla="*/ 132 w 195"/>
                <a:gd name="T1" fmla="*/ 0 h 329"/>
                <a:gd name="T2" fmla="*/ 126 w 195"/>
                <a:gd name="T3" fmla="*/ 10 h 329"/>
                <a:gd name="T4" fmla="*/ 108 w 195"/>
                <a:gd name="T5" fmla="*/ 39 h 329"/>
                <a:gd name="T6" fmla="*/ 84 w 195"/>
                <a:gd name="T7" fmla="*/ 80 h 329"/>
                <a:gd name="T8" fmla="*/ 58 w 195"/>
                <a:gd name="T9" fmla="*/ 129 h 329"/>
                <a:gd name="T10" fmla="*/ 45 w 195"/>
                <a:gd name="T11" fmla="*/ 156 h 329"/>
                <a:gd name="T12" fmla="*/ 33 w 195"/>
                <a:gd name="T13" fmla="*/ 182 h 329"/>
                <a:gd name="T14" fmla="*/ 22 w 195"/>
                <a:gd name="T15" fmla="*/ 207 h 329"/>
                <a:gd name="T16" fmla="*/ 12 w 195"/>
                <a:gd name="T17" fmla="*/ 231 h 329"/>
                <a:gd name="T18" fmla="*/ 6 w 195"/>
                <a:gd name="T19" fmla="*/ 253 h 329"/>
                <a:gd name="T20" fmla="*/ 1 w 195"/>
                <a:gd name="T21" fmla="*/ 272 h 329"/>
                <a:gd name="T22" fmla="*/ 0 w 195"/>
                <a:gd name="T23" fmla="*/ 281 h 329"/>
                <a:gd name="T24" fmla="*/ 1 w 195"/>
                <a:gd name="T25" fmla="*/ 289 h 329"/>
                <a:gd name="T26" fmla="*/ 1 w 195"/>
                <a:gd name="T27" fmla="*/ 295 h 329"/>
                <a:gd name="T28" fmla="*/ 4 w 195"/>
                <a:gd name="T29" fmla="*/ 301 h 329"/>
                <a:gd name="T30" fmla="*/ 7 w 195"/>
                <a:gd name="T31" fmla="*/ 306 h 329"/>
                <a:gd name="T32" fmla="*/ 10 w 195"/>
                <a:gd name="T33" fmla="*/ 310 h 329"/>
                <a:gd name="T34" fmla="*/ 16 w 195"/>
                <a:gd name="T35" fmla="*/ 314 h 329"/>
                <a:gd name="T36" fmla="*/ 20 w 195"/>
                <a:gd name="T37" fmla="*/ 317 h 329"/>
                <a:gd name="T38" fmla="*/ 25 w 195"/>
                <a:gd name="T39" fmla="*/ 320 h 329"/>
                <a:gd name="T40" fmla="*/ 32 w 195"/>
                <a:gd name="T41" fmla="*/ 322 h 329"/>
                <a:gd name="T42" fmla="*/ 38 w 195"/>
                <a:gd name="T43" fmla="*/ 325 h 329"/>
                <a:gd name="T44" fmla="*/ 45 w 195"/>
                <a:gd name="T45" fmla="*/ 326 h 329"/>
                <a:gd name="T46" fmla="*/ 60 w 195"/>
                <a:gd name="T47" fmla="*/ 328 h 329"/>
                <a:gd name="T48" fmla="*/ 77 w 195"/>
                <a:gd name="T49" fmla="*/ 329 h 329"/>
                <a:gd name="T50" fmla="*/ 93 w 195"/>
                <a:gd name="T51" fmla="*/ 328 h 329"/>
                <a:gd name="T52" fmla="*/ 110 w 195"/>
                <a:gd name="T53" fmla="*/ 327 h 329"/>
                <a:gd name="T54" fmla="*/ 142 w 195"/>
                <a:gd name="T55" fmla="*/ 322 h 329"/>
                <a:gd name="T56" fmla="*/ 169 w 195"/>
                <a:gd name="T57" fmla="*/ 318 h 329"/>
                <a:gd name="T58" fmla="*/ 189 w 195"/>
                <a:gd name="T59" fmla="*/ 314 h 329"/>
                <a:gd name="T60" fmla="*/ 195 w 195"/>
                <a:gd name="T61" fmla="*/ 311 h 329"/>
                <a:gd name="T62" fmla="*/ 192 w 195"/>
                <a:gd name="T63" fmla="*/ 311 h 329"/>
                <a:gd name="T64" fmla="*/ 182 w 195"/>
                <a:gd name="T65" fmla="*/ 310 h 329"/>
                <a:gd name="T66" fmla="*/ 169 w 195"/>
                <a:gd name="T67" fmla="*/ 307 h 329"/>
                <a:gd name="T68" fmla="*/ 153 w 195"/>
                <a:gd name="T69" fmla="*/ 303 h 329"/>
                <a:gd name="T70" fmla="*/ 144 w 195"/>
                <a:gd name="T71" fmla="*/ 298 h 329"/>
                <a:gd name="T72" fmla="*/ 135 w 195"/>
                <a:gd name="T73" fmla="*/ 295 h 329"/>
                <a:gd name="T74" fmla="*/ 127 w 195"/>
                <a:gd name="T75" fmla="*/ 290 h 329"/>
                <a:gd name="T76" fmla="*/ 118 w 195"/>
                <a:gd name="T77" fmla="*/ 284 h 329"/>
                <a:gd name="T78" fmla="*/ 110 w 195"/>
                <a:gd name="T79" fmla="*/ 278 h 329"/>
                <a:gd name="T80" fmla="*/ 103 w 195"/>
                <a:gd name="T81" fmla="*/ 270 h 329"/>
                <a:gd name="T82" fmla="*/ 96 w 195"/>
                <a:gd name="T83" fmla="*/ 261 h 329"/>
                <a:gd name="T84" fmla="*/ 92 w 195"/>
                <a:gd name="T85" fmla="*/ 251 h 329"/>
                <a:gd name="T86" fmla="*/ 90 w 195"/>
                <a:gd name="T87" fmla="*/ 246 h 329"/>
                <a:gd name="T88" fmla="*/ 87 w 195"/>
                <a:gd name="T89" fmla="*/ 239 h 329"/>
                <a:gd name="T90" fmla="*/ 86 w 195"/>
                <a:gd name="T91" fmla="*/ 233 h 329"/>
                <a:gd name="T92" fmla="*/ 86 w 195"/>
                <a:gd name="T93" fmla="*/ 225 h 329"/>
                <a:gd name="T94" fmla="*/ 86 w 195"/>
                <a:gd name="T95" fmla="*/ 208 h 329"/>
                <a:gd name="T96" fmla="*/ 87 w 195"/>
                <a:gd name="T97" fmla="*/ 189 h 329"/>
                <a:gd name="T98" fmla="*/ 90 w 195"/>
                <a:gd name="T99" fmla="*/ 169 h 329"/>
                <a:gd name="T100" fmla="*/ 94 w 195"/>
                <a:gd name="T101" fmla="*/ 148 h 329"/>
                <a:gd name="T102" fmla="*/ 98 w 195"/>
                <a:gd name="T103" fmla="*/ 126 h 329"/>
                <a:gd name="T104" fmla="*/ 103 w 195"/>
                <a:gd name="T105" fmla="*/ 105 h 329"/>
                <a:gd name="T106" fmla="*/ 113 w 195"/>
                <a:gd name="T107" fmla="*/ 65 h 329"/>
                <a:gd name="T108" fmla="*/ 122 w 195"/>
                <a:gd name="T109" fmla="*/ 31 h 329"/>
                <a:gd name="T110" fmla="*/ 130 w 195"/>
                <a:gd name="T111" fmla="*/ 8 h 329"/>
                <a:gd name="T112" fmla="*/ 132 w 195"/>
                <a:gd name="T113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5" h="329">
                  <a:moveTo>
                    <a:pt x="132" y="0"/>
                  </a:moveTo>
                  <a:lnTo>
                    <a:pt x="126" y="10"/>
                  </a:lnTo>
                  <a:lnTo>
                    <a:pt x="108" y="39"/>
                  </a:lnTo>
                  <a:lnTo>
                    <a:pt x="84" y="80"/>
                  </a:lnTo>
                  <a:lnTo>
                    <a:pt x="58" y="129"/>
                  </a:lnTo>
                  <a:lnTo>
                    <a:pt x="45" y="156"/>
                  </a:lnTo>
                  <a:lnTo>
                    <a:pt x="33" y="182"/>
                  </a:lnTo>
                  <a:lnTo>
                    <a:pt x="22" y="207"/>
                  </a:lnTo>
                  <a:lnTo>
                    <a:pt x="12" y="231"/>
                  </a:lnTo>
                  <a:lnTo>
                    <a:pt x="6" y="253"/>
                  </a:lnTo>
                  <a:lnTo>
                    <a:pt x="1" y="272"/>
                  </a:lnTo>
                  <a:lnTo>
                    <a:pt x="0" y="281"/>
                  </a:lnTo>
                  <a:lnTo>
                    <a:pt x="1" y="289"/>
                  </a:lnTo>
                  <a:lnTo>
                    <a:pt x="1" y="295"/>
                  </a:lnTo>
                  <a:lnTo>
                    <a:pt x="4" y="301"/>
                  </a:lnTo>
                  <a:lnTo>
                    <a:pt x="7" y="306"/>
                  </a:lnTo>
                  <a:lnTo>
                    <a:pt x="10" y="310"/>
                  </a:lnTo>
                  <a:lnTo>
                    <a:pt x="16" y="314"/>
                  </a:lnTo>
                  <a:lnTo>
                    <a:pt x="20" y="317"/>
                  </a:lnTo>
                  <a:lnTo>
                    <a:pt x="25" y="320"/>
                  </a:lnTo>
                  <a:lnTo>
                    <a:pt x="32" y="322"/>
                  </a:lnTo>
                  <a:lnTo>
                    <a:pt x="38" y="325"/>
                  </a:lnTo>
                  <a:lnTo>
                    <a:pt x="45" y="326"/>
                  </a:lnTo>
                  <a:lnTo>
                    <a:pt x="60" y="328"/>
                  </a:lnTo>
                  <a:lnTo>
                    <a:pt x="77" y="329"/>
                  </a:lnTo>
                  <a:lnTo>
                    <a:pt x="93" y="328"/>
                  </a:lnTo>
                  <a:lnTo>
                    <a:pt x="110" y="327"/>
                  </a:lnTo>
                  <a:lnTo>
                    <a:pt x="142" y="322"/>
                  </a:lnTo>
                  <a:lnTo>
                    <a:pt x="169" y="318"/>
                  </a:lnTo>
                  <a:lnTo>
                    <a:pt x="189" y="314"/>
                  </a:lnTo>
                  <a:lnTo>
                    <a:pt x="195" y="311"/>
                  </a:lnTo>
                  <a:lnTo>
                    <a:pt x="192" y="311"/>
                  </a:lnTo>
                  <a:lnTo>
                    <a:pt x="182" y="310"/>
                  </a:lnTo>
                  <a:lnTo>
                    <a:pt x="169" y="307"/>
                  </a:lnTo>
                  <a:lnTo>
                    <a:pt x="153" y="303"/>
                  </a:lnTo>
                  <a:lnTo>
                    <a:pt x="144" y="298"/>
                  </a:lnTo>
                  <a:lnTo>
                    <a:pt x="135" y="295"/>
                  </a:lnTo>
                  <a:lnTo>
                    <a:pt x="127" y="290"/>
                  </a:lnTo>
                  <a:lnTo>
                    <a:pt x="118" y="284"/>
                  </a:lnTo>
                  <a:lnTo>
                    <a:pt x="110" y="278"/>
                  </a:lnTo>
                  <a:lnTo>
                    <a:pt x="103" y="270"/>
                  </a:lnTo>
                  <a:lnTo>
                    <a:pt x="96" y="261"/>
                  </a:lnTo>
                  <a:lnTo>
                    <a:pt x="92" y="251"/>
                  </a:lnTo>
                  <a:lnTo>
                    <a:pt x="90" y="246"/>
                  </a:lnTo>
                  <a:lnTo>
                    <a:pt x="87" y="239"/>
                  </a:lnTo>
                  <a:lnTo>
                    <a:pt x="86" y="233"/>
                  </a:lnTo>
                  <a:lnTo>
                    <a:pt x="86" y="225"/>
                  </a:lnTo>
                  <a:lnTo>
                    <a:pt x="86" y="208"/>
                  </a:lnTo>
                  <a:lnTo>
                    <a:pt x="87" y="189"/>
                  </a:lnTo>
                  <a:lnTo>
                    <a:pt x="90" y="169"/>
                  </a:lnTo>
                  <a:lnTo>
                    <a:pt x="94" y="148"/>
                  </a:lnTo>
                  <a:lnTo>
                    <a:pt x="98" y="126"/>
                  </a:lnTo>
                  <a:lnTo>
                    <a:pt x="103" y="105"/>
                  </a:lnTo>
                  <a:lnTo>
                    <a:pt x="113" y="65"/>
                  </a:lnTo>
                  <a:lnTo>
                    <a:pt x="122" y="31"/>
                  </a:lnTo>
                  <a:lnTo>
                    <a:pt x="130" y="8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9C6F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5" name="iş1iḑé"/>
            <p:cNvSpPr/>
            <p:nvPr/>
          </p:nvSpPr>
          <p:spPr bwMode="auto">
            <a:xfrm>
              <a:off x="1516856" y="2039144"/>
              <a:ext cx="269875" cy="269875"/>
            </a:xfrm>
            <a:custGeom>
              <a:avLst/>
              <a:gdLst>
                <a:gd name="T0" fmla="*/ 734 w 851"/>
                <a:gd name="T1" fmla="*/ 0 h 851"/>
                <a:gd name="T2" fmla="*/ 773 w 851"/>
                <a:gd name="T3" fmla="*/ 10 h 851"/>
                <a:gd name="T4" fmla="*/ 804 w 851"/>
                <a:gd name="T5" fmla="*/ 29 h 851"/>
                <a:gd name="T6" fmla="*/ 829 w 851"/>
                <a:gd name="T7" fmla="*/ 57 h 851"/>
                <a:gd name="T8" fmla="*/ 846 w 851"/>
                <a:gd name="T9" fmla="*/ 90 h 851"/>
                <a:gd name="T10" fmla="*/ 851 w 851"/>
                <a:gd name="T11" fmla="*/ 130 h 851"/>
                <a:gd name="T12" fmla="*/ 849 w 851"/>
                <a:gd name="T13" fmla="*/ 748 h 851"/>
                <a:gd name="T14" fmla="*/ 836 w 851"/>
                <a:gd name="T15" fmla="*/ 784 h 851"/>
                <a:gd name="T16" fmla="*/ 813 w 851"/>
                <a:gd name="T17" fmla="*/ 814 h 851"/>
                <a:gd name="T18" fmla="*/ 783 w 851"/>
                <a:gd name="T19" fmla="*/ 836 h 851"/>
                <a:gd name="T20" fmla="*/ 747 w 851"/>
                <a:gd name="T21" fmla="*/ 849 h 851"/>
                <a:gd name="T22" fmla="*/ 128 w 851"/>
                <a:gd name="T23" fmla="*/ 851 h 851"/>
                <a:gd name="T24" fmla="*/ 90 w 851"/>
                <a:gd name="T25" fmla="*/ 846 h 851"/>
                <a:gd name="T26" fmla="*/ 56 w 851"/>
                <a:gd name="T27" fmla="*/ 830 h 851"/>
                <a:gd name="T28" fmla="*/ 29 w 851"/>
                <a:gd name="T29" fmla="*/ 805 h 851"/>
                <a:gd name="T30" fmla="*/ 10 w 851"/>
                <a:gd name="T31" fmla="*/ 773 h 851"/>
                <a:gd name="T32" fmla="*/ 0 w 851"/>
                <a:gd name="T33" fmla="*/ 736 h 851"/>
                <a:gd name="T34" fmla="*/ 0 w 851"/>
                <a:gd name="T35" fmla="*/ 116 h 851"/>
                <a:gd name="T36" fmla="*/ 10 w 851"/>
                <a:gd name="T37" fmla="*/ 79 h 851"/>
                <a:gd name="T38" fmla="*/ 29 w 851"/>
                <a:gd name="T39" fmla="*/ 47 h 851"/>
                <a:gd name="T40" fmla="*/ 56 w 851"/>
                <a:gd name="T41" fmla="*/ 22 h 851"/>
                <a:gd name="T42" fmla="*/ 90 w 851"/>
                <a:gd name="T43" fmla="*/ 5 h 851"/>
                <a:gd name="T44" fmla="*/ 128 w 851"/>
                <a:gd name="T45" fmla="*/ 0 h 851"/>
                <a:gd name="T46" fmla="*/ 674 w 851"/>
                <a:gd name="T47" fmla="*/ 83 h 851"/>
                <a:gd name="T48" fmla="*/ 705 w 851"/>
                <a:gd name="T49" fmla="*/ 91 h 851"/>
                <a:gd name="T50" fmla="*/ 730 w 851"/>
                <a:gd name="T51" fmla="*/ 107 h 851"/>
                <a:gd name="T52" fmla="*/ 751 w 851"/>
                <a:gd name="T53" fmla="*/ 128 h 851"/>
                <a:gd name="T54" fmla="*/ 764 w 851"/>
                <a:gd name="T55" fmla="*/ 156 h 851"/>
                <a:gd name="T56" fmla="*/ 768 w 851"/>
                <a:gd name="T57" fmla="*/ 187 h 851"/>
                <a:gd name="T58" fmla="*/ 766 w 851"/>
                <a:gd name="T59" fmla="*/ 686 h 851"/>
                <a:gd name="T60" fmla="*/ 755 w 851"/>
                <a:gd name="T61" fmla="*/ 714 h 851"/>
                <a:gd name="T62" fmla="*/ 738 w 851"/>
                <a:gd name="T63" fmla="*/ 738 h 851"/>
                <a:gd name="T64" fmla="*/ 714 w 851"/>
                <a:gd name="T65" fmla="*/ 757 h 851"/>
                <a:gd name="T66" fmla="*/ 685 w 851"/>
                <a:gd name="T67" fmla="*/ 766 h 851"/>
                <a:gd name="T68" fmla="*/ 186 w 851"/>
                <a:gd name="T69" fmla="*/ 769 h 851"/>
                <a:gd name="T70" fmla="*/ 156 w 851"/>
                <a:gd name="T71" fmla="*/ 764 h 851"/>
                <a:gd name="T72" fmla="*/ 128 w 851"/>
                <a:gd name="T73" fmla="*/ 751 h 851"/>
                <a:gd name="T74" fmla="*/ 107 w 851"/>
                <a:gd name="T75" fmla="*/ 730 h 851"/>
                <a:gd name="T76" fmla="*/ 90 w 851"/>
                <a:gd name="T77" fmla="*/ 705 h 851"/>
                <a:gd name="T78" fmla="*/ 83 w 851"/>
                <a:gd name="T79" fmla="*/ 675 h 851"/>
                <a:gd name="T80" fmla="*/ 83 w 851"/>
                <a:gd name="T81" fmla="*/ 176 h 851"/>
                <a:gd name="T82" fmla="*/ 90 w 851"/>
                <a:gd name="T83" fmla="*/ 147 h 851"/>
                <a:gd name="T84" fmla="*/ 107 w 851"/>
                <a:gd name="T85" fmla="*/ 121 h 851"/>
                <a:gd name="T86" fmla="*/ 128 w 851"/>
                <a:gd name="T87" fmla="*/ 100 h 851"/>
                <a:gd name="T88" fmla="*/ 156 w 851"/>
                <a:gd name="T89" fmla="*/ 87 h 851"/>
                <a:gd name="T90" fmla="*/ 186 w 851"/>
                <a:gd name="T91" fmla="*/ 83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51" h="851">
                  <a:moveTo>
                    <a:pt x="128" y="0"/>
                  </a:moveTo>
                  <a:lnTo>
                    <a:pt x="721" y="0"/>
                  </a:lnTo>
                  <a:lnTo>
                    <a:pt x="734" y="0"/>
                  </a:lnTo>
                  <a:lnTo>
                    <a:pt x="747" y="2"/>
                  </a:lnTo>
                  <a:lnTo>
                    <a:pt x="761" y="5"/>
                  </a:lnTo>
                  <a:lnTo>
                    <a:pt x="773" y="10"/>
                  </a:lnTo>
                  <a:lnTo>
                    <a:pt x="783" y="15"/>
                  </a:lnTo>
                  <a:lnTo>
                    <a:pt x="794" y="22"/>
                  </a:lnTo>
                  <a:lnTo>
                    <a:pt x="804" y="29"/>
                  </a:lnTo>
                  <a:lnTo>
                    <a:pt x="813" y="38"/>
                  </a:lnTo>
                  <a:lnTo>
                    <a:pt x="822" y="47"/>
                  </a:lnTo>
                  <a:lnTo>
                    <a:pt x="829" y="57"/>
                  </a:lnTo>
                  <a:lnTo>
                    <a:pt x="836" y="67"/>
                  </a:lnTo>
                  <a:lnTo>
                    <a:pt x="841" y="79"/>
                  </a:lnTo>
                  <a:lnTo>
                    <a:pt x="846" y="90"/>
                  </a:lnTo>
                  <a:lnTo>
                    <a:pt x="849" y="103"/>
                  </a:lnTo>
                  <a:lnTo>
                    <a:pt x="851" y="116"/>
                  </a:lnTo>
                  <a:lnTo>
                    <a:pt x="851" y="130"/>
                  </a:lnTo>
                  <a:lnTo>
                    <a:pt x="851" y="723"/>
                  </a:lnTo>
                  <a:lnTo>
                    <a:pt x="851" y="736"/>
                  </a:lnTo>
                  <a:lnTo>
                    <a:pt x="849" y="748"/>
                  </a:lnTo>
                  <a:lnTo>
                    <a:pt x="846" y="761"/>
                  </a:lnTo>
                  <a:lnTo>
                    <a:pt x="841" y="773"/>
                  </a:lnTo>
                  <a:lnTo>
                    <a:pt x="836" y="784"/>
                  </a:lnTo>
                  <a:lnTo>
                    <a:pt x="829" y="795"/>
                  </a:lnTo>
                  <a:lnTo>
                    <a:pt x="822" y="805"/>
                  </a:lnTo>
                  <a:lnTo>
                    <a:pt x="813" y="814"/>
                  </a:lnTo>
                  <a:lnTo>
                    <a:pt x="804" y="822"/>
                  </a:lnTo>
                  <a:lnTo>
                    <a:pt x="794" y="830"/>
                  </a:lnTo>
                  <a:lnTo>
                    <a:pt x="783" y="836"/>
                  </a:lnTo>
                  <a:lnTo>
                    <a:pt x="773" y="842"/>
                  </a:lnTo>
                  <a:lnTo>
                    <a:pt x="761" y="846"/>
                  </a:lnTo>
                  <a:lnTo>
                    <a:pt x="747" y="849"/>
                  </a:lnTo>
                  <a:lnTo>
                    <a:pt x="734" y="851"/>
                  </a:lnTo>
                  <a:lnTo>
                    <a:pt x="721" y="851"/>
                  </a:lnTo>
                  <a:lnTo>
                    <a:pt x="128" y="851"/>
                  </a:lnTo>
                  <a:lnTo>
                    <a:pt x="115" y="851"/>
                  </a:lnTo>
                  <a:lnTo>
                    <a:pt x="103" y="849"/>
                  </a:lnTo>
                  <a:lnTo>
                    <a:pt x="90" y="846"/>
                  </a:lnTo>
                  <a:lnTo>
                    <a:pt x="78" y="842"/>
                  </a:lnTo>
                  <a:lnTo>
                    <a:pt x="67" y="836"/>
                  </a:lnTo>
                  <a:lnTo>
                    <a:pt x="56" y="830"/>
                  </a:lnTo>
                  <a:lnTo>
                    <a:pt x="47" y="822"/>
                  </a:lnTo>
                  <a:lnTo>
                    <a:pt x="37" y="814"/>
                  </a:lnTo>
                  <a:lnTo>
                    <a:pt x="29" y="805"/>
                  </a:lnTo>
                  <a:lnTo>
                    <a:pt x="22" y="795"/>
                  </a:lnTo>
                  <a:lnTo>
                    <a:pt x="15" y="784"/>
                  </a:lnTo>
                  <a:lnTo>
                    <a:pt x="10" y="773"/>
                  </a:lnTo>
                  <a:lnTo>
                    <a:pt x="5" y="761"/>
                  </a:lnTo>
                  <a:lnTo>
                    <a:pt x="2" y="748"/>
                  </a:lnTo>
                  <a:lnTo>
                    <a:pt x="0" y="736"/>
                  </a:lnTo>
                  <a:lnTo>
                    <a:pt x="0" y="723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3"/>
                  </a:lnTo>
                  <a:lnTo>
                    <a:pt x="5" y="90"/>
                  </a:lnTo>
                  <a:lnTo>
                    <a:pt x="10" y="79"/>
                  </a:lnTo>
                  <a:lnTo>
                    <a:pt x="15" y="67"/>
                  </a:lnTo>
                  <a:lnTo>
                    <a:pt x="22" y="57"/>
                  </a:lnTo>
                  <a:lnTo>
                    <a:pt x="29" y="47"/>
                  </a:lnTo>
                  <a:lnTo>
                    <a:pt x="37" y="38"/>
                  </a:lnTo>
                  <a:lnTo>
                    <a:pt x="47" y="29"/>
                  </a:lnTo>
                  <a:lnTo>
                    <a:pt x="56" y="22"/>
                  </a:lnTo>
                  <a:lnTo>
                    <a:pt x="67" y="15"/>
                  </a:lnTo>
                  <a:lnTo>
                    <a:pt x="78" y="10"/>
                  </a:lnTo>
                  <a:lnTo>
                    <a:pt x="90" y="5"/>
                  </a:lnTo>
                  <a:lnTo>
                    <a:pt x="103" y="2"/>
                  </a:lnTo>
                  <a:lnTo>
                    <a:pt x="115" y="0"/>
                  </a:lnTo>
                  <a:lnTo>
                    <a:pt x="128" y="0"/>
                  </a:lnTo>
                  <a:close/>
                  <a:moveTo>
                    <a:pt x="186" y="83"/>
                  </a:moveTo>
                  <a:lnTo>
                    <a:pt x="664" y="83"/>
                  </a:lnTo>
                  <a:lnTo>
                    <a:pt x="674" y="83"/>
                  </a:lnTo>
                  <a:lnTo>
                    <a:pt x="685" y="85"/>
                  </a:lnTo>
                  <a:lnTo>
                    <a:pt x="695" y="87"/>
                  </a:lnTo>
                  <a:lnTo>
                    <a:pt x="705" y="91"/>
                  </a:lnTo>
                  <a:lnTo>
                    <a:pt x="714" y="96"/>
                  </a:lnTo>
                  <a:lnTo>
                    <a:pt x="722" y="100"/>
                  </a:lnTo>
                  <a:lnTo>
                    <a:pt x="730" y="107"/>
                  </a:lnTo>
                  <a:lnTo>
                    <a:pt x="738" y="113"/>
                  </a:lnTo>
                  <a:lnTo>
                    <a:pt x="744" y="121"/>
                  </a:lnTo>
                  <a:lnTo>
                    <a:pt x="751" y="128"/>
                  </a:lnTo>
                  <a:lnTo>
                    <a:pt x="755" y="137"/>
                  </a:lnTo>
                  <a:lnTo>
                    <a:pt x="761" y="147"/>
                  </a:lnTo>
                  <a:lnTo>
                    <a:pt x="764" y="156"/>
                  </a:lnTo>
                  <a:lnTo>
                    <a:pt x="766" y="166"/>
                  </a:lnTo>
                  <a:lnTo>
                    <a:pt x="768" y="176"/>
                  </a:lnTo>
                  <a:lnTo>
                    <a:pt x="768" y="187"/>
                  </a:lnTo>
                  <a:lnTo>
                    <a:pt x="768" y="665"/>
                  </a:lnTo>
                  <a:lnTo>
                    <a:pt x="768" y="675"/>
                  </a:lnTo>
                  <a:lnTo>
                    <a:pt x="766" y="686"/>
                  </a:lnTo>
                  <a:lnTo>
                    <a:pt x="764" y="696"/>
                  </a:lnTo>
                  <a:lnTo>
                    <a:pt x="761" y="705"/>
                  </a:lnTo>
                  <a:lnTo>
                    <a:pt x="755" y="714"/>
                  </a:lnTo>
                  <a:lnTo>
                    <a:pt x="751" y="723"/>
                  </a:lnTo>
                  <a:lnTo>
                    <a:pt x="744" y="730"/>
                  </a:lnTo>
                  <a:lnTo>
                    <a:pt x="738" y="738"/>
                  </a:lnTo>
                  <a:lnTo>
                    <a:pt x="730" y="745"/>
                  </a:lnTo>
                  <a:lnTo>
                    <a:pt x="722" y="751"/>
                  </a:lnTo>
                  <a:lnTo>
                    <a:pt x="714" y="757"/>
                  </a:lnTo>
                  <a:lnTo>
                    <a:pt x="705" y="761"/>
                  </a:lnTo>
                  <a:lnTo>
                    <a:pt x="695" y="764"/>
                  </a:lnTo>
                  <a:lnTo>
                    <a:pt x="685" y="766"/>
                  </a:lnTo>
                  <a:lnTo>
                    <a:pt x="674" y="769"/>
                  </a:lnTo>
                  <a:lnTo>
                    <a:pt x="664" y="769"/>
                  </a:lnTo>
                  <a:lnTo>
                    <a:pt x="186" y="769"/>
                  </a:lnTo>
                  <a:lnTo>
                    <a:pt x="176" y="769"/>
                  </a:lnTo>
                  <a:lnTo>
                    <a:pt x="165" y="766"/>
                  </a:lnTo>
                  <a:lnTo>
                    <a:pt x="156" y="764"/>
                  </a:lnTo>
                  <a:lnTo>
                    <a:pt x="146" y="761"/>
                  </a:lnTo>
                  <a:lnTo>
                    <a:pt x="137" y="757"/>
                  </a:lnTo>
                  <a:lnTo>
                    <a:pt x="128" y="751"/>
                  </a:lnTo>
                  <a:lnTo>
                    <a:pt x="121" y="745"/>
                  </a:lnTo>
                  <a:lnTo>
                    <a:pt x="113" y="738"/>
                  </a:lnTo>
                  <a:lnTo>
                    <a:pt x="107" y="730"/>
                  </a:lnTo>
                  <a:lnTo>
                    <a:pt x="100" y="723"/>
                  </a:lnTo>
                  <a:lnTo>
                    <a:pt x="95" y="714"/>
                  </a:lnTo>
                  <a:lnTo>
                    <a:pt x="90" y="705"/>
                  </a:lnTo>
                  <a:lnTo>
                    <a:pt x="87" y="696"/>
                  </a:lnTo>
                  <a:lnTo>
                    <a:pt x="85" y="686"/>
                  </a:lnTo>
                  <a:lnTo>
                    <a:pt x="83" y="675"/>
                  </a:lnTo>
                  <a:lnTo>
                    <a:pt x="83" y="665"/>
                  </a:lnTo>
                  <a:lnTo>
                    <a:pt x="83" y="187"/>
                  </a:lnTo>
                  <a:lnTo>
                    <a:pt x="83" y="176"/>
                  </a:lnTo>
                  <a:lnTo>
                    <a:pt x="85" y="166"/>
                  </a:lnTo>
                  <a:lnTo>
                    <a:pt x="87" y="156"/>
                  </a:lnTo>
                  <a:lnTo>
                    <a:pt x="90" y="147"/>
                  </a:lnTo>
                  <a:lnTo>
                    <a:pt x="95" y="137"/>
                  </a:lnTo>
                  <a:lnTo>
                    <a:pt x="100" y="128"/>
                  </a:lnTo>
                  <a:lnTo>
                    <a:pt x="107" y="121"/>
                  </a:lnTo>
                  <a:lnTo>
                    <a:pt x="113" y="113"/>
                  </a:lnTo>
                  <a:lnTo>
                    <a:pt x="121" y="107"/>
                  </a:lnTo>
                  <a:lnTo>
                    <a:pt x="128" y="100"/>
                  </a:lnTo>
                  <a:lnTo>
                    <a:pt x="137" y="96"/>
                  </a:lnTo>
                  <a:lnTo>
                    <a:pt x="146" y="91"/>
                  </a:lnTo>
                  <a:lnTo>
                    <a:pt x="156" y="87"/>
                  </a:lnTo>
                  <a:lnTo>
                    <a:pt x="165" y="85"/>
                  </a:lnTo>
                  <a:lnTo>
                    <a:pt x="176" y="83"/>
                  </a:lnTo>
                  <a:lnTo>
                    <a:pt x="186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6" name="î$ḷîḍé"/>
            <p:cNvSpPr/>
            <p:nvPr/>
          </p:nvSpPr>
          <p:spPr bwMode="auto">
            <a:xfrm>
              <a:off x="1915318" y="2039144"/>
              <a:ext cx="269875" cy="269875"/>
            </a:xfrm>
            <a:custGeom>
              <a:avLst/>
              <a:gdLst>
                <a:gd name="T0" fmla="*/ 736 w 853"/>
                <a:gd name="T1" fmla="*/ 0 h 851"/>
                <a:gd name="T2" fmla="*/ 773 w 853"/>
                <a:gd name="T3" fmla="*/ 10 h 851"/>
                <a:gd name="T4" fmla="*/ 805 w 853"/>
                <a:gd name="T5" fmla="*/ 29 h 851"/>
                <a:gd name="T6" fmla="*/ 830 w 853"/>
                <a:gd name="T7" fmla="*/ 57 h 851"/>
                <a:gd name="T8" fmla="*/ 846 w 853"/>
                <a:gd name="T9" fmla="*/ 90 h 851"/>
                <a:gd name="T10" fmla="*/ 853 w 853"/>
                <a:gd name="T11" fmla="*/ 130 h 851"/>
                <a:gd name="T12" fmla="*/ 850 w 853"/>
                <a:gd name="T13" fmla="*/ 748 h 851"/>
                <a:gd name="T14" fmla="*/ 836 w 853"/>
                <a:gd name="T15" fmla="*/ 784 h 851"/>
                <a:gd name="T16" fmla="*/ 815 w 853"/>
                <a:gd name="T17" fmla="*/ 814 h 851"/>
                <a:gd name="T18" fmla="*/ 784 w 853"/>
                <a:gd name="T19" fmla="*/ 836 h 851"/>
                <a:gd name="T20" fmla="*/ 749 w 853"/>
                <a:gd name="T21" fmla="*/ 849 h 851"/>
                <a:gd name="T22" fmla="*/ 130 w 853"/>
                <a:gd name="T23" fmla="*/ 851 h 851"/>
                <a:gd name="T24" fmla="*/ 92 w 853"/>
                <a:gd name="T25" fmla="*/ 846 h 851"/>
                <a:gd name="T26" fmla="*/ 57 w 853"/>
                <a:gd name="T27" fmla="*/ 830 h 851"/>
                <a:gd name="T28" fmla="*/ 30 w 853"/>
                <a:gd name="T29" fmla="*/ 805 h 851"/>
                <a:gd name="T30" fmla="*/ 10 w 853"/>
                <a:gd name="T31" fmla="*/ 773 h 851"/>
                <a:gd name="T32" fmla="*/ 2 w 853"/>
                <a:gd name="T33" fmla="*/ 736 h 851"/>
                <a:gd name="T34" fmla="*/ 2 w 853"/>
                <a:gd name="T35" fmla="*/ 116 h 851"/>
                <a:gd name="T36" fmla="*/ 10 w 853"/>
                <a:gd name="T37" fmla="*/ 79 h 851"/>
                <a:gd name="T38" fmla="*/ 30 w 853"/>
                <a:gd name="T39" fmla="*/ 47 h 851"/>
                <a:gd name="T40" fmla="*/ 57 w 853"/>
                <a:gd name="T41" fmla="*/ 22 h 851"/>
                <a:gd name="T42" fmla="*/ 92 w 853"/>
                <a:gd name="T43" fmla="*/ 5 h 851"/>
                <a:gd name="T44" fmla="*/ 130 w 853"/>
                <a:gd name="T45" fmla="*/ 0 h 851"/>
                <a:gd name="T46" fmla="*/ 675 w 853"/>
                <a:gd name="T47" fmla="*/ 83 h 851"/>
                <a:gd name="T48" fmla="*/ 706 w 853"/>
                <a:gd name="T49" fmla="*/ 91 h 851"/>
                <a:gd name="T50" fmla="*/ 732 w 853"/>
                <a:gd name="T51" fmla="*/ 107 h 851"/>
                <a:gd name="T52" fmla="*/ 751 w 853"/>
                <a:gd name="T53" fmla="*/ 128 h 851"/>
                <a:gd name="T54" fmla="*/ 765 w 853"/>
                <a:gd name="T55" fmla="*/ 156 h 851"/>
                <a:gd name="T56" fmla="*/ 769 w 853"/>
                <a:gd name="T57" fmla="*/ 187 h 851"/>
                <a:gd name="T58" fmla="*/ 767 w 853"/>
                <a:gd name="T59" fmla="*/ 686 h 851"/>
                <a:gd name="T60" fmla="*/ 757 w 853"/>
                <a:gd name="T61" fmla="*/ 714 h 851"/>
                <a:gd name="T62" fmla="*/ 738 w 853"/>
                <a:gd name="T63" fmla="*/ 738 h 851"/>
                <a:gd name="T64" fmla="*/ 714 w 853"/>
                <a:gd name="T65" fmla="*/ 757 h 851"/>
                <a:gd name="T66" fmla="*/ 686 w 853"/>
                <a:gd name="T67" fmla="*/ 766 h 851"/>
                <a:gd name="T68" fmla="*/ 188 w 853"/>
                <a:gd name="T69" fmla="*/ 769 h 851"/>
                <a:gd name="T70" fmla="*/ 156 w 853"/>
                <a:gd name="T71" fmla="*/ 764 h 851"/>
                <a:gd name="T72" fmla="*/ 129 w 853"/>
                <a:gd name="T73" fmla="*/ 751 h 851"/>
                <a:gd name="T74" fmla="*/ 107 w 853"/>
                <a:gd name="T75" fmla="*/ 730 h 851"/>
                <a:gd name="T76" fmla="*/ 92 w 853"/>
                <a:gd name="T77" fmla="*/ 705 h 851"/>
                <a:gd name="T78" fmla="*/ 84 w 853"/>
                <a:gd name="T79" fmla="*/ 675 h 851"/>
                <a:gd name="T80" fmla="*/ 84 w 853"/>
                <a:gd name="T81" fmla="*/ 176 h 851"/>
                <a:gd name="T82" fmla="*/ 92 w 853"/>
                <a:gd name="T83" fmla="*/ 147 h 851"/>
                <a:gd name="T84" fmla="*/ 107 w 853"/>
                <a:gd name="T85" fmla="*/ 121 h 851"/>
                <a:gd name="T86" fmla="*/ 129 w 853"/>
                <a:gd name="T87" fmla="*/ 100 h 851"/>
                <a:gd name="T88" fmla="*/ 156 w 853"/>
                <a:gd name="T89" fmla="*/ 87 h 851"/>
                <a:gd name="T90" fmla="*/ 188 w 853"/>
                <a:gd name="T91" fmla="*/ 83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53" h="851">
                  <a:moveTo>
                    <a:pt x="130" y="0"/>
                  </a:moveTo>
                  <a:lnTo>
                    <a:pt x="723" y="0"/>
                  </a:lnTo>
                  <a:lnTo>
                    <a:pt x="736" y="0"/>
                  </a:lnTo>
                  <a:lnTo>
                    <a:pt x="749" y="2"/>
                  </a:lnTo>
                  <a:lnTo>
                    <a:pt x="761" y="5"/>
                  </a:lnTo>
                  <a:lnTo>
                    <a:pt x="773" y="10"/>
                  </a:lnTo>
                  <a:lnTo>
                    <a:pt x="784" y="15"/>
                  </a:lnTo>
                  <a:lnTo>
                    <a:pt x="795" y="22"/>
                  </a:lnTo>
                  <a:lnTo>
                    <a:pt x="805" y="29"/>
                  </a:lnTo>
                  <a:lnTo>
                    <a:pt x="815" y="38"/>
                  </a:lnTo>
                  <a:lnTo>
                    <a:pt x="822" y="47"/>
                  </a:lnTo>
                  <a:lnTo>
                    <a:pt x="830" y="57"/>
                  </a:lnTo>
                  <a:lnTo>
                    <a:pt x="836" y="67"/>
                  </a:lnTo>
                  <a:lnTo>
                    <a:pt x="842" y="79"/>
                  </a:lnTo>
                  <a:lnTo>
                    <a:pt x="846" y="90"/>
                  </a:lnTo>
                  <a:lnTo>
                    <a:pt x="850" y="103"/>
                  </a:lnTo>
                  <a:lnTo>
                    <a:pt x="852" y="116"/>
                  </a:lnTo>
                  <a:lnTo>
                    <a:pt x="853" y="130"/>
                  </a:lnTo>
                  <a:lnTo>
                    <a:pt x="853" y="723"/>
                  </a:lnTo>
                  <a:lnTo>
                    <a:pt x="852" y="736"/>
                  </a:lnTo>
                  <a:lnTo>
                    <a:pt x="850" y="748"/>
                  </a:lnTo>
                  <a:lnTo>
                    <a:pt x="846" y="761"/>
                  </a:lnTo>
                  <a:lnTo>
                    <a:pt x="842" y="773"/>
                  </a:lnTo>
                  <a:lnTo>
                    <a:pt x="836" y="784"/>
                  </a:lnTo>
                  <a:lnTo>
                    <a:pt x="830" y="795"/>
                  </a:lnTo>
                  <a:lnTo>
                    <a:pt x="822" y="805"/>
                  </a:lnTo>
                  <a:lnTo>
                    <a:pt x="815" y="814"/>
                  </a:lnTo>
                  <a:lnTo>
                    <a:pt x="805" y="822"/>
                  </a:lnTo>
                  <a:lnTo>
                    <a:pt x="795" y="830"/>
                  </a:lnTo>
                  <a:lnTo>
                    <a:pt x="784" y="836"/>
                  </a:lnTo>
                  <a:lnTo>
                    <a:pt x="773" y="842"/>
                  </a:lnTo>
                  <a:lnTo>
                    <a:pt x="761" y="846"/>
                  </a:lnTo>
                  <a:lnTo>
                    <a:pt x="749" y="849"/>
                  </a:lnTo>
                  <a:lnTo>
                    <a:pt x="736" y="851"/>
                  </a:lnTo>
                  <a:lnTo>
                    <a:pt x="723" y="851"/>
                  </a:lnTo>
                  <a:lnTo>
                    <a:pt x="130" y="851"/>
                  </a:lnTo>
                  <a:lnTo>
                    <a:pt x="117" y="851"/>
                  </a:lnTo>
                  <a:lnTo>
                    <a:pt x="104" y="849"/>
                  </a:lnTo>
                  <a:lnTo>
                    <a:pt x="92" y="846"/>
                  </a:lnTo>
                  <a:lnTo>
                    <a:pt x="80" y="842"/>
                  </a:lnTo>
                  <a:lnTo>
                    <a:pt x="68" y="836"/>
                  </a:lnTo>
                  <a:lnTo>
                    <a:pt x="57" y="830"/>
                  </a:lnTo>
                  <a:lnTo>
                    <a:pt x="47" y="822"/>
                  </a:lnTo>
                  <a:lnTo>
                    <a:pt x="39" y="814"/>
                  </a:lnTo>
                  <a:lnTo>
                    <a:pt x="30" y="805"/>
                  </a:lnTo>
                  <a:lnTo>
                    <a:pt x="22" y="795"/>
                  </a:lnTo>
                  <a:lnTo>
                    <a:pt x="16" y="784"/>
                  </a:lnTo>
                  <a:lnTo>
                    <a:pt x="10" y="773"/>
                  </a:lnTo>
                  <a:lnTo>
                    <a:pt x="6" y="761"/>
                  </a:lnTo>
                  <a:lnTo>
                    <a:pt x="3" y="748"/>
                  </a:lnTo>
                  <a:lnTo>
                    <a:pt x="2" y="736"/>
                  </a:lnTo>
                  <a:lnTo>
                    <a:pt x="0" y="723"/>
                  </a:lnTo>
                  <a:lnTo>
                    <a:pt x="0" y="130"/>
                  </a:lnTo>
                  <a:lnTo>
                    <a:pt x="2" y="116"/>
                  </a:lnTo>
                  <a:lnTo>
                    <a:pt x="3" y="103"/>
                  </a:lnTo>
                  <a:lnTo>
                    <a:pt x="6" y="90"/>
                  </a:lnTo>
                  <a:lnTo>
                    <a:pt x="10" y="79"/>
                  </a:lnTo>
                  <a:lnTo>
                    <a:pt x="16" y="67"/>
                  </a:lnTo>
                  <a:lnTo>
                    <a:pt x="22" y="57"/>
                  </a:lnTo>
                  <a:lnTo>
                    <a:pt x="30" y="47"/>
                  </a:lnTo>
                  <a:lnTo>
                    <a:pt x="39" y="38"/>
                  </a:lnTo>
                  <a:lnTo>
                    <a:pt x="47" y="29"/>
                  </a:lnTo>
                  <a:lnTo>
                    <a:pt x="57" y="22"/>
                  </a:lnTo>
                  <a:lnTo>
                    <a:pt x="68" y="15"/>
                  </a:lnTo>
                  <a:lnTo>
                    <a:pt x="80" y="10"/>
                  </a:lnTo>
                  <a:lnTo>
                    <a:pt x="92" y="5"/>
                  </a:lnTo>
                  <a:lnTo>
                    <a:pt x="104" y="2"/>
                  </a:lnTo>
                  <a:lnTo>
                    <a:pt x="117" y="0"/>
                  </a:lnTo>
                  <a:lnTo>
                    <a:pt x="130" y="0"/>
                  </a:lnTo>
                  <a:close/>
                  <a:moveTo>
                    <a:pt x="188" y="83"/>
                  </a:moveTo>
                  <a:lnTo>
                    <a:pt x="665" y="83"/>
                  </a:lnTo>
                  <a:lnTo>
                    <a:pt x="675" y="83"/>
                  </a:lnTo>
                  <a:lnTo>
                    <a:pt x="686" y="85"/>
                  </a:lnTo>
                  <a:lnTo>
                    <a:pt x="696" y="87"/>
                  </a:lnTo>
                  <a:lnTo>
                    <a:pt x="706" y="91"/>
                  </a:lnTo>
                  <a:lnTo>
                    <a:pt x="714" y="96"/>
                  </a:lnTo>
                  <a:lnTo>
                    <a:pt x="723" y="100"/>
                  </a:lnTo>
                  <a:lnTo>
                    <a:pt x="732" y="107"/>
                  </a:lnTo>
                  <a:lnTo>
                    <a:pt x="738" y="113"/>
                  </a:lnTo>
                  <a:lnTo>
                    <a:pt x="745" y="121"/>
                  </a:lnTo>
                  <a:lnTo>
                    <a:pt x="751" y="128"/>
                  </a:lnTo>
                  <a:lnTo>
                    <a:pt x="757" y="137"/>
                  </a:lnTo>
                  <a:lnTo>
                    <a:pt x="761" y="147"/>
                  </a:lnTo>
                  <a:lnTo>
                    <a:pt x="765" y="156"/>
                  </a:lnTo>
                  <a:lnTo>
                    <a:pt x="767" y="166"/>
                  </a:lnTo>
                  <a:lnTo>
                    <a:pt x="769" y="176"/>
                  </a:lnTo>
                  <a:lnTo>
                    <a:pt x="769" y="187"/>
                  </a:lnTo>
                  <a:lnTo>
                    <a:pt x="769" y="665"/>
                  </a:lnTo>
                  <a:lnTo>
                    <a:pt x="769" y="675"/>
                  </a:lnTo>
                  <a:lnTo>
                    <a:pt x="767" y="686"/>
                  </a:lnTo>
                  <a:lnTo>
                    <a:pt x="765" y="696"/>
                  </a:lnTo>
                  <a:lnTo>
                    <a:pt x="761" y="705"/>
                  </a:lnTo>
                  <a:lnTo>
                    <a:pt x="757" y="714"/>
                  </a:lnTo>
                  <a:lnTo>
                    <a:pt x="751" y="723"/>
                  </a:lnTo>
                  <a:lnTo>
                    <a:pt x="745" y="730"/>
                  </a:lnTo>
                  <a:lnTo>
                    <a:pt x="738" y="738"/>
                  </a:lnTo>
                  <a:lnTo>
                    <a:pt x="732" y="745"/>
                  </a:lnTo>
                  <a:lnTo>
                    <a:pt x="723" y="751"/>
                  </a:lnTo>
                  <a:lnTo>
                    <a:pt x="714" y="757"/>
                  </a:lnTo>
                  <a:lnTo>
                    <a:pt x="706" y="761"/>
                  </a:lnTo>
                  <a:lnTo>
                    <a:pt x="696" y="764"/>
                  </a:lnTo>
                  <a:lnTo>
                    <a:pt x="686" y="766"/>
                  </a:lnTo>
                  <a:lnTo>
                    <a:pt x="675" y="769"/>
                  </a:lnTo>
                  <a:lnTo>
                    <a:pt x="665" y="769"/>
                  </a:lnTo>
                  <a:lnTo>
                    <a:pt x="188" y="769"/>
                  </a:lnTo>
                  <a:lnTo>
                    <a:pt x="177" y="769"/>
                  </a:lnTo>
                  <a:lnTo>
                    <a:pt x="167" y="766"/>
                  </a:lnTo>
                  <a:lnTo>
                    <a:pt x="156" y="764"/>
                  </a:lnTo>
                  <a:lnTo>
                    <a:pt x="148" y="761"/>
                  </a:lnTo>
                  <a:lnTo>
                    <a:pt x="138" y="757"/>
                  </a:lnTo>
                  <a:lnTo>
                    <a:pt x="129" y="751"/>
                  </a:lnTo>
                  <a:lnTo>
                    <a:pt x="121" y="745"/>
                  </a:lnTo>
                  <a:lnTo>
                    <a:pt x="114" y="738"/>
                  </a:lnTo>
                  <a:lnTo>
                    <a:pt x="107" y="730"/>
                  </a:lnTo>
                  <a:lnTo>
                    <a:pt x="102" y="723"/>
                  </a:lnTo>
                  <a:lnTo>
                    <a:pt x="96" y="714"/>
                  </a:lnTo>
                  <a:lnTo>
                    <a:pt x="92" y="705"/>
                  </a:lnTo>
                  <a:lnTo>
                    <a:pt x="88" y="696"/>
                  </a:lnTo>
                  <a:lnTo>
                    <a:pt x="85" y="686"/>
                  </a:lnTo>
                  <a:lnTo>
                    <a:pt x="84" y="675"/>
                  </a:lnTo>
                  <a:lnTo>
                    <a:pt x="83" y="665"/>
                  </a:lnTo>
                  <a:lnTo>
                    <a:pt x="83" y="187"/>
                  </a:lnTo>
                  <a:lnTo>
                    <a:pt x="84" y="176"/>
                  </a:lnTo>
                  <a:lnTo>
                    <a:pt x="85" y="166"/>
                  </a:lnTo>
                  <a:lnTo>
                    <a:pt x="88" y="156"/>
                  </a:lnTo>
                  <a:lnTo>
                    <a:pt x="92" y="147"/>
                  </a:lnTo>
                  <a:lnTo>
                    <a:pt x="96" y="137"/>
                  </a:lnTo>
                  <a:lnTo>
                    <a:pt x="102" y="128"/>
                  </a:lnTo>
                  <a:lnTo>
                    <a:pt x="107" y="121"/>
                  </a:lnTo>
                  <a:lnTo>
                    <a:pt x="114" y="113"/>
                  </a:lnTo>
                  <a:lnTo>
                    <a:pt x="121" y="107"/>
                  </a:lnTo>
                  <a:lnTo>
                    <a:pt x="129" y="100"/>
                  </a:lnTo>
                  <a:lnTo>
                    <a:pt x="138" y="96"/>
                  </a:lnTo>
                  <a:lnTo>
                    <a:pt x="148" y="91"/>
                  </a:lnTo>
                  <a:lnTo>
                    <a:pt x="156" y="87"/>
                  </a:lnTo>
                  <a:lnTo>
                    <a:pt x="167" y="85"/>
                  </a:lnTo>
                  <a:lnTo>
                    <a:pt x="177" y="83"/>
                  </a:lnTo>
                  <a:lnTo>
                    <a:pt x="188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7" name="ïşlíḓè"/>
            <p:cNvSpPr/>
            <p:nvPr/>
          </p:nvSpPr>
          <p:spPr bwMode="auto">
            <a:xfrm>
              <a:off x="1781968" y="2124869"/>
              <a:ext cx="142875" cy="285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8" name="íṥļïḍè"/>
            <p:cNvSpPr/>
            <p:nvPr/>
          </p:nvSpPr>
          <p:spPr bwMode="auto">
            <a:xfrm>
              <a:off x="1467643" y="2116932"/>
              <a:ext cx="49213" cy="317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9" name="islïdé"/>
            <p:cNvSpPr/>
            <p:nvPr/>
          </p:nvSpPr>
          <p:spPr bwMode="auto">
            <a:xfrm>
              <a:off x="2185193" y="2116932"/>
              <a:ext cx="49213" cy="317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</p:grpSp>
      <p:pic>
        <p:nvPicPr>
          <p:cNvPr id="5" name="ECB019B1-382A-4266-B25C-5B523AA43C14-8" descr="C:/Users/ADMINI~1/AppData/Local/Temp/qt_temp.ar7320qt_temp"/>
          <p:cNvPicPr>
            <a:picLocks noChangeAspect="1"/>
          </p:cNvPicPr>
          <p:nvPr/>
        </p:nvPicPr>
        <p:blipFill>
          <a:blip r:embed="rId3"/>
          <a:srcRect l="11856" t="53431" r="9673" b="4617"/>
          <a:stretch>
            <a:fillRect/>
          </a:stretch>
        </p:blipFill>
        <p:spPr>
          <a:xfrm>
            <a:off x="6463665" y="1384935"/>
            <a:ext cx="5017770" cy="5185410"/>
          </a:xfrm>
          <a:prstGeom prst="rect">
            <a:avLst/>
          </a:prstGeom>
        </p:spPr>
      </p:pic>
      <p:grpSp>
        <p:nvGrpSpPr>
          <p:cNvPr id="9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>
          <a:xfrm rot="1002996">
            <a:off x="3891915" y="6141720"/>
            <a:ext cx="1336675" cy="630555"/>
            <a:chOff x="3558970" y="2488798"/>
            <a:chExt cx="5067710" cy="2391582"/>
          </a:xfrm>
        </p:grpSpPr>
        <p:sp>
          <p:nvSpPr>
            <p:cNvPr id="95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7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7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8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9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0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1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2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3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4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5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6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7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8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09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0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1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2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3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4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5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116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117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118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19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0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1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2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3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4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5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6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7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8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9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0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1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2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3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</p:grpSp>
      <p:sp>
        <p:nvSpPr>
          <p:cNvPr id="16" name="矩形标注 15"/>
          <p:cNvSpPr/>
          <p:nvPr/>
        </p:nvSpPr>
        <p:spPr>
          <a:xfrm>
            <a:off x="4740275" y="5264150"/>
            <a:ext cx="1854200" cy="869315"/>
          </a:xfrm>
          <a:prstGeom prst="wedgeRectCallout">
            <a:avLst>
              <a:gd name="adj1" fmla="val -40719"/>
              <a:gd name="adj2" fmla="val 7344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p>
            <a:pPr algn="l"/>
            <a:r>
              <a:rPr lang="en-US" altLang="zh-CN" sz="1400"/>
              <a:t>       </a:t>
            </a:r>
            <a:r>
              <a:rPr lang="zh-CN" altLang="en-US" sz="1400"/>
              <a:t>能否使用多分支结构，找出</a:t>
            </a:r>
            <a:r>
              <a:rPr lang="en-US" altLang="zh-CN" sz="1400"/>
              <a:t>n</a:t>
            </a:r>
            <a:r>
              <a:rPr lang="zh-CN" altLang="en-US" sz="1400"/>
              <a:t>（</a:t>
            </a:r>
            <a:r>
              <a:rPr lang="en-US" altLang="zh-CN" sz="1400"/>
              <a:t>n≥10</a:t>
            </a:r>
            <a:r>
              <a:rPr lang="zh-CN" altLang="en-US" sz="1400"/>
              <a:t>）个数中的最大数？</a:t>
            </a:r>
            <a:endParaRPr lang="zh-CN" altLang="en-US" sz="1400"/>
          </a:p>
        </p:txBody>
      </p:sp>
      <p:sp>
        <p:nvSpPr>
          <p:cNvPr id="4" name="ísḷîḑê"/>
          <p:cNvSpPr/>
          <p:nvPr/>
        </p:nvSpPr>
        <p:spPr>
          <a:xfrm>
            <a:off x="1890395" y="1538605"/>
            <a:ext cx="4012565" cy="1128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scene3d>
              <a:camera prst="orthographicFront"/>
              <a:lightRig rig="threePt" dir="t"/>
            </a:scene3d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2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     </a:t>
            </a:r>
            <a:r>
              <a:rPr lang="zh-CN" altLang="en-US" sz="2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比较三个数</a:t>
            </a:r>
            <a:r>
              <a:rPr lang="en-US" altLang="zh-CN" sz="2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</a:t>
            </a:r>
            <a:r>
              <a:rPr lang="zh-CN" altLang="en-US" sz="2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、</a:t>
            </a:r>
            <a:r>
              <a:rPr lang="en-US" altLang="zh-CN" sz="2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</a:t>
            </a:r>
            <a:r>
              <a:rPr lang="zh-CN" altLang="en-US" sz="2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、</a:t>
            </a:r>
            <a:r>
              <a:rPr lang="en-US" altLang="zh-CN" sz="2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</a:t>
            </a:r>
            <a:r>
              <a:rPr lang="zh-CN" altLang="en-US" sz="2000" dirty="0"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，输出其中最小的数。</a:t>
            </a:r>
            <a:endParaRPr lang="zh-CN" altLang="en-US" sz="2000" dirty="0">
              <a:solidFill>
                <a:srgbClr val="00B05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" name="ísḷîḑê"/>
          <p:cNvSpPr/>
          <p:nvPr/>
        </p:nvSpPr>
        <p:spPr>
          <a:xfrm>
            <a:off x="1891030" y="2595880"/>
            <a:ext cx="4012565" cy="1128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scene3d>
              <a:camera prst="orthographicFront"/>
              <a:lightRig rig="threePt" dir="t"/>
            </a:scene3d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2000" dirty="0">
                <a:solidFill>
                  <a:schemeClr val="accent5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     </a:t>
            </a:r>
            <a:r>
              <a:rPr lang="zh-CN" sz="2000" dirty="0">
                <a:solidFill>
                  <a:schemeClr val="accent5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先用自然语言描述一下执行过程，然后试着在纸上绘制流程图，再编写程序代码，调试运行。</a:t>
            </a:r>
            <a:endParaRPr lang="zh-CN" sz="2000" dirty="0">
              <a:solidFill>
                <a:schemeClr val="accent5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ísḷîḑê"/>
          <p:cNvSpPr/>
          <p:nvPr/>
        </p:nvSpPr>
        <p:spPr>
          <a:xfrm>
            <a:off x="1890395" y="3724275"/>
            <a:ext cx="4012565" cy="1128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scene3d>
              <a:camera prst="orthographicFront"/>
              <a:lightRig rig="threePt" dir="t"/>
            </a:scene3d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2000" dirty="0"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     </a:t>
            </a:r>
            <a:r>
              <a:rPr lang="zh-CN" sz="2000" dirty="0"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你还有其它方法找出三个数中的最大数或最小数吗？想一想并动手试试看！</a:t>
            </a:r>
            <a:endParaRPr lang="zh-CN" sz="2000" dirty="0"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/>
      <p:bldP spid="4" grpId="1" animBg="1"/>
      <p:bldP spid="7" grpId="0" bldLvl="0" animBg="1"/>
      <p:bldP spid="7" grpId="1" animBg="1"/>
      <p:bldP spid="10" grpId="0" bldLvl="0" animBg="1"/>
      <p:bldP spid="10" grpId="1" animBg="1"/>
      <p:bldP spid="16" grpId="0" bldLvl="0" animBg="1"/>
      <p:bldP spid="16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sz="2800" dirty="0">
                <a:sym typeface="+mn-ea"/>
              </a:rPr>
              <a:t>简易计算器</a:t>
            </a:r>
            <a:endParaRPr lang="zh-CN" altLang="en-US" sz="2800" dirty="0"/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4 </a:t>
            </a:r>
            <a:r>
              <a:rPr lang="zh-CN" altLang="en-US" dirty="0">
                <a:solidFill>
                  <a:schemeClr val="tx1"/>
                </a:solidFill>
                <a:sym typeface="+mn-ea"/>
              </a:rPr>
              <a:t>简易计算器</a:t>
            </a:r>
            <a:endParaRPr lang="zh-CN" altLang="en-US" dirty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8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28" name="组合 27"/>
          <p:cNvGrpSpPr/>
          <p:nvPr/>
        </p:nvGrpSpPr>
        <p:grpSpPr>
          <a:xfrm>
            <a:off x="664210" y="1370330"/>
            <a:ext cx="2338070" cy="496570"/>
            <a:chOff x="2613" y="1825"/>
            <a:chExt cx="3682" cy="782"/>
          </a:xfrm>
        </p:grpSpPr>
        <p:sp>
          <p:nvSpPr>
            <p:cNvPr id="21" name="íšļîďé"/>
            <p:cNvSpPr/>
            <p:nvPr/>
          </p:nvSpPr>
          <p:spPr>
            <a:xfrm flipH="1">
              <a:off x="2613" y="1825"/>
              <a:ext cx="3682" cy="782"/>
            </a:xfrm>
            <a:custGeom>
              <a:avLst/>
              <a:gdLst>
                <a:gd name="connsiteX0" fmla="*/ 337116 w 3338090"/>
                <a:gd name="connsiteY0" fmla="*/ 0 h 496615"/>
                <a:gd name="connsiteX1" fmla="*/ 3338090 w 3338090"/>
                <a:gd name="connsiteY1" fmla="*/ 0 h 496615"/>
                <a:gd name="connsiteX2" fmla="*/ 3338090 w 3338090"/>
                <a:gd name="connsiteY2" fmla="*/ 496615 h 496615"/>
                <a:gd name="connsiteX3" fmla="*/ 337116 w 3338090"/>
                <a:gd name="connsiteY3" fmla="*/ 496615 h 496615"/>
                <a:gd name="connsiteX4" fmla="*/ 0 w 3338090"/>
                <a:gd name="connsiteY4" fmla="*/ 248308 h 496615"/>
                <a:gd name="connsiteX5" fmla="*/ 337116 w 3338090"/>
                <a:gd name="connsiteY5" fmla="*/ 1 h 496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8090" h="496615">
                  <a:moveTo>
                    <a:pt x="337116" y="0"/>
                  </a:moveTo>
                  <a:lnTo>
                    <a:pt x="3338090" y="0"/>
                  </a:lnTo>
                  <a:lnTo>
                    <a:pt x="3338090" y="496615"/>
                  </a:lnTo>
                  <a:lnTo>
                    <a:pt x="337116" y="496615"/>
                  </a:lnTo>
                  <a:lnTo>
                    <a:pt x="0" y="248308"/>
                  </a:lnTo>
                  <a:lnTo>
                    <a:pt x="337116" y="1"/>
                  </a:lnTo>
                  <a:close/>
                </a:path>
              </a:pathLst>
            </a:custGeom>
            <a:solidFill>
              <a:srgbClr val="F4A229"/>
            </a:solidFill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tx1">
                  <a:lumMod val="85000"/>
                  <a:lumOff val="1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720000" bIns="45720" numCol="1" spcCol="0" rtlCol="0" fromWordArt="0" anchor="ctr" anchorCtr="0" forceAA="0" compatLnSpc="1">
              <a:noAutofit/>
            </a:bodyPr>
            <a:lstStyle/>
            <a:p>
              <a:endParaRPr lang="en-US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íṣ1îdé"/>
            <p:cNvSpPr txBox="1"/>
            <p:nvPr/>
          </p:nvSpPr>
          <p:spPr>
            <a:xfrm>
              <a:off x="3036" y="1925"/>
              <a:ext cx="2770" cy="5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（</a:t>
              </a:r>
              <a:r>
                <a:rPr lang="en-US" altLang="zh-CN" dirty="0"/>
                <a:t>1</a:t>
              </a:r>
              <a:r>
                <a:rPr lang="zh-CN" altLang="en-US" dirty="0"/>
                <a:t>）</a:t>
              </a:r>
              <a:r>
                <a:rPr lang="zh-CN" altLang="en-US" sz="1800" dirty="0"/>
                <a:t>问题分析</a:t>
              </a:r>
              <a:endParaRPr lang="en-US" altLang="zh-CN" sz="1800" dirty="0"/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3519805" y="1370330"/>
            <a:ext cx="2338070" cy="496570"/>
            <a:chOff x="8332" y="1825"/>
            <a:chExt cx="3682" cy="782"/>
          </a:xfrm>
          <a:solidFill>
            <a:srgbClr val="F4A229"/>
          </a:solidFill>
        </p:grpSpPr>
        <p:sp>
          <p:nvSpPr>
            <p:cNvPr id="16" name="îṧļíde"/>
            <p:cNvSpPr/>
            <p:nvPr/>
          </p:nvSpPr>
          <p:spPr>
            <a:xfrm flipH="1">
              <a:off x="8332" y="1825"/>
              <a:ext cx="3682" cy="782"/>
            </a:xfrm>
            <a:custGeom>
              <a:avLst/>
              <a:gdLst>
                <a:gd name="connsiteX0" fmla="*/ 337116 w 3338090"/>
                <a:gd name="connsiteY0" fmla="*/ 0 h 496615"/>
                <a:gd name="connsiteX1" fmla="*/ 3338090 w 3338090"/>
                <a:gd name="connsiteY1" fmla="*/ 0 h 496615"/>
                <a:gd name="connsiteX2" fmla="*/ 3338090 w 3338090"/>
                <a:gd name="connsiteY2" fmla="*/ 496615 h 496615"/>
                <a:gd name="connsiteX3" fmla="*/ 337116 w 3338090"/>
                <a:gd name="connsiteY3" fmla="*/ 496615 h 496615"/>
                <a:gd name="connsiteX4" fmla="*/ 0 w 3338090"/>
                <a:gd name="connsiteY4" fmla="*/ 248308 h 496615"/>
                <a:gd name="connsiteX5" fmla="*/ 337116 w 3338090"/>
                <a:gd name="connsiteY5" fmla="*/ 1 h 496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8090" h="496615">
                  <a:moveTo>
                    <a:pt x="337116" y="0"/>
                  </a:moveTo>
                  <a:lnTo>
                    <a:pt x="3338090" y="0"/>
                  </a:lnTo>
                  <a:lnTo>
                    <a:pt x="3338090" y="496615"/>
                  </a:lnTo>
                  <a:lnTo>
                    <a:pt x="337116" y="496615"/>
                  </a:lnTo>
                  <a:lnTo>
                    <a:pt x="0" y="248308"/>
                  </a:lnTo>
                  <a:lnTo>
                    <a:pt x="337116" y="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tx1">
                  <a:lumMod val="85000"/>
                  <a:lumOff val="1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720000" bIns="45720" numCol="1" spcCol="0" rtlCol="0" fromWordArt="0" anchor="ctr" anchorCtr="0" forceAA="0" compatLnSpc="1">
              <a:noAutofit/>
            </a:bodyPr>
            <a:lstStyle/>
            <a:p>
              <a:endParaRPr lang="en-US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i$lîďé"/>
            <p:cNvSpPr txBox="1"/>
            <p:nvPr/>
          </p:nvSpPr>
          <p:spPr>
            <a:xfrm>
              <a:off x="8755" y="1930"/>
              <a:ext cx="2770" cy="58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（</a:t>
              </a:r>
              <a:r>
                <a:rPr lang="en-US" altLang="zh-CN" dirty="0"/>
                <a:t>2</a:t>
              </a:r>
              <a:r>
                <a:rPr lang="zh-CN" altLang="en-US" dirty="0"/>
                <a:t>）算法设计</a:t>
              </a:r>
              <a:endParaRPr lang="en-US" altLang="zh-CN" dirty="0"/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6375400" y="1306195"/>
            <a:ext cx="2338070" cy="496570"/>
            <a:chOff x="12288" y="7507"/>
            <a:chExt cx="3682" cy="782"/>
          </a:xfrm>
          <a:solidFill>
            <a:srgbClr val="F4A229"/>
          </a:solidFill>
        </p:grpSpPr>
        <p:sp>
          <p:nvSpPr>
            <p:cNvPr id="17" name="iṧļîdè"/>
            <p:cNvSpPr/>
            <p:nvPr/>
          </p:nvSpPr>
          <p:spPr>
            <a:xfrm flipH="1">
              <a:off x="12288" y="7507"/>
              <a:ext cx="3682" cy="782"/>
            </a:xfrm>
            <a:custGeom>
              <a:avLst/>
              <a:gdLst>
                <a:gd name="connsiteX0" fmla="*/ 337116 w 3338090"/>
                <a:gd name="connsiteY0" fmla="*/ 0 h 496615"/>
                <a:gd name="connsiteX1" fmla="*/ 3338090 w 3338090"/>
                <a:gd name="connsiteY1" fmla="*/ 0 h 496615"/>
                <a:gd name="connsiteX2" fmla="*/ 3338090 w 3338090"/>
                <a:gd name="connsiteY2" fmla="*/ 496615 h 496615"/>
                <a:gd name="connsiteX3" fmla="*/ 337116 w 3338090"/>
                <a:gd name="connsiteY3" fmla="*/ 496615 h 496615"/>
                <a:gd name="connsiteX4" fmla="*/ 0 w 3338090"/>
                <a:gd name="connsiteY4" fmla="*/ 248308 h 496615"/>
                <a:gd name="connsiteX5" fmla="*/ 337116 w 3338090"/>
                <a:gd name="connsiteY5" fmla="*/ 1 h 496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8090" h="496615">
                  <a:moveTo>
                    <a:pt x="337116" y="0"/>
                  </a:moveTo>
                  <a:lnTo>
                    <a:pt x="3338090" y="0"/>
                  </a:lnTo>
                  <a:lnTo>
                    <a:pt x="3338090" y="496615"/>
                  </a:lnTo>
                  <a:lnTo>
                    <a:pt x="337116" y="496615"/>
                  </a:lnTo>
                  <a:lnTo>
                    <a:pt x="0" y="248308"/>
                  </a:lnTo>
                  <a:lnTo>
                    <a:pt x="337116" y="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tx1">
                  <a:lumMod val="85000"/>
                  <a:lumOff val="1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720000" bIns="45720" numCol="1" spcCol="0" rtlCol="0" fromWordArt="0" anchor="ctr" anchorCtr="0" forceAA="0" compatLnSpc="1">
              <a:noAutofit/>
            </a:bodyPr>
            <a:lstStyle/>
            <a:p>
              <a:endParaRPr lang="en-US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îṥlîḍe"/>
            <p:cNvSpPr txBox="1"/>
            <p:nvPr/>
          </p:nvSpPr>
          <p:spPr>
            <a:xfrm>
              <a:off x="12711" y="7616"/>
              <a:ext cx="2770" cy="58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（</a:t>
              </a:r>
              <a:r>
                <a:rPr lang="en-US" altLang="zh-CN" dirty="0"/>
                <a:t>3</a:t>
              </a:r>
              <a:r>
                <a:rPr lang="zh-CN" altLang="en-US" dirty="0"/>
                <a:t>）代码编写</a:t>
              </a:r>
              <a:endParaRPr lang="en-US" altLang="zh-CN" sz="1800" dirty="0"/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9230995" y="1311275"/>
            <a:ext cx="2338070" cy="496570"/>
            <a:chOff x="12288" y="8679"/>
            <a:chExt cx="3682" cy="782"/>
          </a:xfrm>
          <a:solidFill>
            <a:srgbClr val="F4A229"/>
          </a:solidFill>
        </p:grpSpPr>
        <p:sp>
          <p:nvSpPr>
            <p:cNvPr id="18" name="îṥḻîďe"/>
            <p:cNvSpPr/>
            <p:nvPr/>
          </p:nvSpPr>
          <p:spPr>
            <a:xfrm flipH="1">
              <a:off x="12288" y="8679"/>
              <a:ext cx="3682" cy="782"/>
            </a:xfrm>
            <a:custGeom>
              <a:avLst/>
              <a:gdLst>
                <a:gd name="connsiteX0" fmla="*/ 337116 w 3338090"/>
                <a:gd name="connsiteY0" fmla="*/ 0 h 496615"/>
                <a:gd name="connsiteX1" fmla="*/ 3338090 w 3338090"/>
                <a:gd name="connsiteY1" fmla="*/ 0 h 496615"/>
                <a:gd name="connsiteX2" fmla="*/ 3338090 w 3338090"/>
                <a:gd name="connsiteY2" fmla="*/ 496615 h 496615"/>
                <a:gd name="connsiteX3" fmla="*/ 337116 w 3338090"/>
                <a:gd name="connsiteY3" fmla="*/ 496615 h 496615"/>
                <a:gd name="connsiteX4" fmla="*/ 0 w 3338090"/>
                <a:gd name="connsiteY4" fmla="*/ 248308 h 496615"/>
                <a:gd name="connsiteX5" fmla="*/ 337116 w 3338090"/>
                <a:gd name="connsiteY5" fmla="*/ 1 h 496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8090" h="496615">
                  <a:moveTo>
                    <a:pt x="337116" y="0"/>
                  </a:moveTo>
                  <a:lnTo>
                    <a:pt x="3338090" y="0"/>
                  </a:lnTo>
                  <a:lnTo>
                    <a:pt x="3338090" y="496615"/>
                  </a:lnTo>
                  <a:lnTo>
                    <a:pt x="337116" y="496615"/>
                  </a:lnTo>
                  <a:lnTo>
                    <a:pt x="0" y="248308"/>
                  </a:lnTo>
                  <a:lnTo>
                    <a:pt x="337116" y="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tx1">
                  <a:lumMod val="85000"/>
                  <a:lumOff val="1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720000" bIns="45720" numCol="1" spcCol="0" rtlCol="0" fromWordArt="0" anchor="ctr" anchorCtr="0" forceAA="0" compatLnSpc="1">
              <a:noAutofit/>
            </a:bodyPr>
            <a:lstStyle/>
            <a:p>
              <a:endParaRPr lang="en-US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ïşḷíḓè"/>
            <p:cNvSpPr txBox="1"/>
            <p:nvPr/>
          </p:nvSpPr>
          <p:spPr>
            <a:xfrm>
              <a:off x="12711" y="8792"/>
              <a:ext cx="2770" cy="58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zh-CN" altLang="en-US" sz="1800" dirty="0"/>
                <a:t>（</a:t>
              </a:r>
              <a:r>
                <a:rPr lang="en-US" altLang="zh-CN" sz="1800" dirty="0"/>
                <a:t>4</a:t>
              </a:r>
              <a:r>
                <a:rPr lang="zh-CN" altLang="en-US" sz="1800" dirty="0"/>
                <a:t>）调试运行</a:t>
              </a:r>
              <a:endParaRPr lang="en-US" altLang="zh-CN" sz="1800" dirty="0"/>
            </a:p>
          </p:txBody>
        </p:sp>
      </p:grpSp>
      <p:pic>
        <p:nvPicPr>
          <p:cNvPr id="3" name="图片 2" descr="计算器 (1)"/>
          <p:cNvPicPr>
            <a:picLocks noChangeAspect="1"/>
          </p:cNvPicPr>
          <p:nvPr/>
        </p:nvPicPr>
        <p:blipFill>
          <a:blip r:embed="rId3"/>
          <a:srcRect t="18831" b="16812"/>
          <a:stretch>
            <a:fillRect/>
          </a:stretch>
        </p:blipFill>
        <p:spPr>
          <a:xfrm>
            <a:off x="260350" y="2266950"/>
            <a:ext cx="5287010" cy="340296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142990" y="2734310"/>
            <a:ext cx="542607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       </a:t>
            </a:r>
            <a:r>
              <a:rPr lang="zh-CN" sz="2800"/>
              <a:t>编写程序，实现算术四则运算的简易计算器功能。</a:t>
            </a:r>
            <a:endParaRPr lang="zh-CN" sz="28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  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8179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îŝḻïḓe"/>
          <p:cNvSpPr/>
          <p:nvPr/>
        </p:nvSpPr>
        <p:spPr bwMode="auto">
          <a:xfrm>
            <a:off x="5464175" y="2214880"/>
            <a:ext cx="1164590" cy="2813050"/>
          </a:xfrm>
          <a:custGeom>
            <a:avLst/>
            <a:gdLst>
              <a:gd name="connsiteX0" fmla="*/ 0 w 1164872"/>
              <a:gd name="connsiteY0" fmla="*/ 0 h 2813048"/>
              <a:gd name="connsiteX1" fmla="*/ 59650 w 1164872"/>
              <a:gd name="connsiteY1" fmla="*/ 34659 h 2813048"/>
              <a:gd name="connsiteX2" fmla="*/ 117505 w 1164872"/>
              <a:gd name="connsiteY2" fmla="*/ 67941 h 2813048"/>
              <a:gd name="connsiteX3" fmla="*/ 173763 w 1164872"/>
              <a:gd name="connsiteY3" fmla="*/ 100535 h 2813048"/>
              <a:gd name="connsiteX4" fmla="*/ 228227 w 1164872"/>
              <a:gd name="connsiteY4" fmla="*/ 131981 h 2813048"/>
              <a:gd name="connsiteX5" fmla="*/ 281293 w 1164872"/>
              <a:gd name="connsiteY5" fmla="*/ 162738 h 2813048"/>
              <a:gd name="connsiteX6" fmla="*/ 332365 w 1164872"/>
              <a:gd name="connsiteY6" fmla="*/ 192348 h 2813048"/>
              <a:gd name="connsiteX7" fmla="*/ 382239 w 1164872"/>
              <a:gd name="connsiteY7" fmla="*/ 221269 h 2813048"/>
              <a:gd name="connsiteX8" fmla="*/ 430319 w 1164872"/>
              <a:gd name="connsiteY8" fmla="*/ 249042 h 2813048"/>
              <a:gd name="connsiteX9" fmla="*/ 477201 w 1164872"/>
              <a:gd name="connsiteY9" fmla="*/ 276127 h 2813048"/>
              <a:gd name="connsiteX10" fmla="*/ 522487 w 1164872"/>
              <a:gd name="connsiteY10" fmla="*/ 302293 h 2813048"/>
              <a:gd name="connsiteX11" fmla="*/ 566377 w 1164872"/>
              <a:gd name="connsiteY11" fmla="*/ 327772 h 2813048"/>
              <a:gd name="connsiteX12" fmla="*/ 608870 w 1164872"/>
              <a:gd name="connsiteY12" fmla="*/ 352331 h 2813048"/>
              <a:gd name="connsiteX13" fmla="*/ 649966 w 1164872"/>
              <a:gd name="connsiteY13" fmla="*/ 375973 h 2813048"/>
              <a:gd name="connsiteX14" fmla="*/ 689667 w 1164872"/>
              <a:gd name="connsiteY14" fmla="*/ 399156 h 2813048"/>
              <a:gd name="connsiteX15" fmla="*/ 728369 w 1164872"/>
              <a:gd name="connsiteY15" fmla="*/ 421421 h 2813048"/>
              <a:gd name="connsiteX16" fmla="*/ 765676 w 1164872"/>
              <a:gd name="connsiteY16" fmla="*/ 442997 h 2813048"/>
              <a:gd name="connsiteX17" fmla="*/ 794802 w 1164872"/>
              <a:gd name="connsiteY17" fmla="*/ 459982 h 2813048"/>
              <a:gd name="connsiteX18" fmla="*/ 823730 w 1164872"/>
              <a:gd name="connsiteY18" fmla="*/ 476508 h 2813048"/>
              <a:gd name="connsiteX19" fmla="*/ 851660 w 1164872"/>
              <a:gd name="connsiteY19" fmla="*/ 492805 h 2813048"/>
              <a:gd name="connsiteX20" fmla="*/ 879190 w 1164872"/>
              <a:gd name="connsiteY20" fmla="*/ 508643 h 2813048"/>
              <a:gd name="connsiteX21" fmla="*/ 906123 w 1164872"/>
              <a:gd name="connsiteY21" fmla="*/ 524251 h 2813048"/>
              <a:gd name="connsiteX22" fmla="*/ 932456 w 1164872"/>
              <a:gd name="connsiteY22" fmla="*/ 539400 h 2813048"/>
              <a:gd name="connsiteX23" fmla="*/ 957992 w 1164872"/>
              <a:gd name="connsiteY23" fmla="*/ 554320 h 2813048"/>
              <a:gd name="connsiteX24" fmla="*/ 983129 w 1164872"/>
              <a:gd name="connsiteY24" fmla="*/ 569010 h 2813048"/>
              <a:gd name="connsiteX25" fmla="*/ 1007667 w 1164872"/>
              <a:gd name="connsiteY25" fmla="*/ 583011 h 2813048"/>
              <a:gd name="connsiteX26" fmla="*/ 1031807 w 1164872"/>
              <a:gd name="connsiteY26" fmla="*/ 597013 h 2813048"/>
              <a:gd name="connsiteX27" fmla="*/ 1055148 w 1164872"/>
              <a:gd name="connsiteY27" fmla="*/ 610555 h 2813048"/>
              <a:gd name="connsiteX28" fmla="*/ 1078290 w 1164872"/>
              <a:gd name="connsiteY28" fmla="*/ 623868 h 2813048"/>
              <a:gd name="connsiteX29" fmla="*/ 1100634 w 1164872"/>
              <a:gd name="connsiteY29" fmla="*/ 636951 h 2813048"/>
              <a:gd name="connsiteX30" fmla="*/ 1122578 w 1164872"/>
              <a:gd name="connsiteY30" fmla="*/ 649346 h 2813048"/>
              <a:gd name="connsiteX31" fmla="*/ 1143925 w 1164872"/>
              <a:gd name="connsiteY31" fmla="*/ 661741 h 2813048"/>
              <a:gd name="connsiteX32" fmla="*/ 1164872 w 1164872"/>
              <a:gd name="connsiteY32" fmla="*/ 673906 h 2813048"/>
              <a:gd name="connsiteX33" fmla="*/ 1164872 w 1164872"/>
              <a:gd name="connsiteY33" fmla="*/ 689284 h 2813048"/>
              <a:gd name="connsiteX34" fmla="*/ 1164872 w 1164872"/>
              <a:gd name="connsiteY34" fmla="*/ 704433 h 2813048"/>
              <a:gd name="connsiteX35" fmla="*/ 1164872 w 1164872"/>
              <a:gd name="connsiteY35" fmla="*/ 719812 h 2813048"/>
              <a:gd name="connsiteX36" fmla="*/ 1164872 w 1164872"/>
              <a:gd name="connsiteY36" fmla="*/ 734961 h 2813048"/>
              <a:gd name="connsiteX37" fmla="*/ 1164872 w 1164872"/>
              <a:gd name="connsiteY37" fmla="*/ 750340 h 2813048"/>
              <a:gd name="connsiteX38" fmla="*/ 1164872 w 1164872"/>
              <a:gd name="connsiteY38" fmla="*/ 765719 h 2813048"/>
              <a:gd name="connsiteX39" fmla="*/ 1164872 w 1164872"/>
              <a:gd name="connsiteY39" fmla="*/ 781097 h 2813048"/>
              <a:gd name="connsiteX40" fmla="*/ 1164872 w 1164872"/>
              <a:gd name="connsiteY40" fmla="*/ 796476 h 2813048"/>
              <a:gd name="connsiteX41" fmla="*/ 1164872 w 1164872"/>
              <a:gd name="connsiteY41" fmla="*/ 811625 h 2813048"/>
              <a:gd name="connsiteX42" fmla="*/ 1164872 w 1164872"/>
              <a:gd name="connsiteY42" fmla="*/ 827004 h 2813048"/>
              <a:gd name="connsiteX43" fmla="*/ 1164872 w 1164872"/>
              <a:gd name="connsiteY43" fmla="*/ 842382 h 2813048"/>
              <a:gd name="connsiteX44" fmla="*/ 1164872 w 1164872"/>
              <a:gd name="connsiteY44" fmla="*/ 857531 h 2813048"/>
              <a:gd name="connsiteX45" fmla="*/ 1164872 w 1164872"/>
              <a:gd name="connsiteY45" fmla="*/ 872680 h 2813048"/>
              <a:gd name="connsiteX46" fmla="*/ 1164872 w 1164872"/>
              <a:gd name="connsiteY46" fmla="*/ 888059 h 2813048"/>
              <a:gd name="connsiteX47" fmla="*/ 1164872 w 1164872"/>
              <a:gd name="connsiteY47" fmla="*/ 903438 h 2813048"/>
              <a:gd name="connsiteX48" fmla="*/ 1164872 w 1164872"/>
              <a:gd name="connsiteY48" fmla="*/ 918587 h 2813048"/>
              <a:gd name="connsiteX49" fmla="*/ 1164872 w 1164872"/>
              <a:gd name="connsiteY49" fmla="*/ 933965 h 2813048"/>
              <a:gd name="connsiteX50" fmla="*/ 1164872 w 1164872"/>
              <a:gd name="connsiteY50" fmla="*/ 949115 h 2813048"/>
              <a:gd name="connsiteX51" fmla="*/ 1164872 w 1164872"/>
              <a:gd name="connsiteY51" fmla="*/ 964493 h 2813048"/>
              <a:gd name="connsiteX52" fmla="*/ 1164872 w 1164872"/>
              <a:gd name="connsiteY52" fmla="*/ 979642 h 2813048"/>
              <a:gd name="connsiteX53" fmla="*/ 1164872 w 1164872"/>
              <a:gd name="connsiteY53" fmla="*/ 994791 h 2813048"/>
              <a:gd name="connsiteX54" fmla="*/ 1164872 w 1164872"/>
              <a:gd name="connsiteY54" fmla="*/ 1010170 h 2813048"/>
              <a:gd name="connsiteX55" fmla="*/ 1164872 w 1164872"/>
              <a:gd name="connsiteY55" fmla="*/ 1025319 h 2813048"/>
              <a:gd name="connsiteX56" fmla="*/ 1164872 w 1164872"/>
              <a:gd name="connsiteY56" fmla="*/ 1040698 h 2813048"/>
              <a:gd name="connsiteX57" fmla="*/ 1164872 w 1164872"/>
              <a:gd name="connsiteY57" fmla="*/ 1055847 h 2813048"/>
              <a:gd name="connsiteX58" fmla="*/ 1164872 w 1164872"/>
              <a:gd name="connsiteY58" fmla="*/ 1071226 h 2813048"/>
              <a:gd name="connsiteX59" fmla="*/ 1164872 w 1164872"/>
              <a:gd name="connsiteY59" fmla="*/ 1086604 h 2813048"/>
              <a:gd name="connsiteX60" fmla="*/ 1164872 w 1164872"/>
              <a:gd name="connsiteY60" fmla="*/ 1101753 h 2813048"/>
              <a:gd name="connsiteX61" fmla="*/ 1164872 w 1164872"/>
              <a:gd name="connsiteY61" fmla="*/ 1117132 h 2813048"/>
              <a:gd name="connsiteX62" fmla="*/ 1164872 w 1164872"/>
              <a:gd name="connsiteY62" fmla="*/ 1132511 h 2813048"/>
              <a:gd name="connsiteX63" fmla="*/ 1164872 w 1164872"/>
              <a:gd name="connsiteY63" fmla="*/ 1147430 h 2813048"/>
              <a:gd name="connsiteX64" fmla="*/ 1164872 w 1164872"/>
              <a:gd name="connsiteY64" fmla="*/ 1162177 h 2813048"/>
              <a:gd name="connsiteX65" fmla="*/ 1164872 w 1164872"/>
              <a:gd name="connsiteY65" fmla="*/ 1162809 h 2813048"/>
              <a:gd name="connsiteX66" fmla="*/ 1164872 w 1164872"/>
              <a:gd name="connsiteY66" fmla="*/ 1177556 h 2813048"/>
              <a:gd name="connsiteX67" fmla="*/ 1164872 w 1164872"/>
              <a:gd name="connsiteY67" fmla="*/ 1192706 h 2813048"/>
              <a:gd name="connsiteX68" fmla="*/ 1164872 w 1164872"/>
              <a:gd name="connsiteY68" fmla="*/ 1208085 h 2813048"/>
              <a:gd name="connsiteX69" fmla="*/ 1164872 w 1164872"/>
              <a:gd name="connsiteY69" fmla="*/ 1223235 h 2813048"/>
              <a:gd name="connsiteX70" fmla="*/ 1164872 w 1164872"/>
              <a:gd name="connsiteY70" fmla="*/ 1238614 h 2813048"/>
              <a:gd name="connsiteX71" fmla="*/ 1164872 w 1164872"/>
              <a:gd name="connsiteY71" fmla="*/ 1253994 h 2813048"/>
              <a:gd name="connsiteX72" fmla="*/ 1164872 w 1164872"/>
              <a:gd name="connsiteY72" fmla="*/ 1269144 h 2813048"/>
              <a:gd name="connsiteX73" fmla="*/ 1164872 w 1164872"/>
              <a:gd name="connsiteY73" fmla="*/ 1284293 h 2813048"/>
              <a:gd name="connsiteX74" fmla="*/ 1164872 w 1164872"/>
              <a:gd name="connsiteY74" fmla="*/ 1299673 h 2813048"/>
              <a:gd name="connsiteX75" fmla="*/ 1164872 w 1164872"/>
              <a:gd name="connsiteY75" fmla="*/ 1314823 h 2813048"/>
              <a:gd name="connsiteX76" fmla="*/ 1164872 w 1164872"/>
              <a:gd name="connsiteY76" fmla="*/ 1330202 h 2813048"/>
              <a:gd name="connsiteX77" fmla="*/ 1164872 w 1164872"/>
              <a:gd name="connsiteY77" fmla="*/ 1345352 h 2813048"/>
              <a:gd name="connsiteX78" fmla="*/ 1164872 w 1164872"/>
              <a:gd name="connsiteY78" fmla="*/ 1360731 h 2813048"/>
              <a:gd name="connsiteX79" fmla="*/ 1164872 w 1164872"/>
              <a:gd name="connsiteY79" fmla="*/ 1376110 h 2813048"/>
              <a:gd name="connsiteX80" fmla="*/ 1164872 w 1164872"/>
              <a:gd name="connsiteY80" fmla="*/ 1391260 h 2813048"/>
              <a:gd name="connsiteX81" fmla="*/ 1164872 w 1164872"/>
              <a:gd name="connsiteY81" fmla="*/ 1406640 h 2813048"/>
              <a:gd name="connsiteX82" fmla="*/ 1164872 w 1164872"/>
              <a:gd name="connsiteY82" fmla="*/ 1421560 h 2813048"/>
              <a:gd name="connsiteX83" fmla="*/ 1164872 w 1164872"/>
              <a:gd name="connsiteY83" fmla="*/ 1436939 h 2813048"/>
              <a:gd name="connsiteX84" fmla="*/ 1164872 w 1164872"/>
              <a:gd name="connsiteY84" fmla="*/ 1452319 h 2813048"/>
              <a:gd name="connsiteX85" fmla="*/ 1164872 w 1164872"/>
              <a:gd name="connsiteY85" fmla="*/ 1467468 h 2813048"/>
              <a:gd name="connsiteX86" fmla="*/ 1164872 w 1164872"/>
              <a:gd name="connsiteY86" fmla="*/ 1482848 h 2813048"/>
              <a:gd name="connsiteX87" fmla="*/ 1164872 w 1164872"/>
              <a:gd name="connsiteY87" fmla="*/ 1497998 h 2813048"/>
              <a:gd name="connsiteX88" fmla="*/ 1164872 w 1164872"/>
              <a:gd name="connsiteY88" fmla="*/ 1513377 h 2813048"/>
              <a:gd name="connsiteX89" fmla="*/ 1164872 w 1164872"/>
              <a:gd name="connsiteY89" fmla="*/ 1528756 h 2813048"/>
              <a:gd name="connsiteX90" fmla="*/ 1164872 w 1164872"/>
              <a:gd name="connsiteY90" fmla="*/ 1543906 h 2813048"/>
              <a:gd name="connsiteX91" fmla="*/ 1164872 w 1164872"/>
              <a:gd name="connsiteY91" fmla="*/ 1559056 h 2813048"/>
              <a:gd name="connsiteX92" fmla="*/ 1164872 w 1164872"/>
              <a:gd name="connsiteY92" fmla="*/ 1574435 h 2813048"/>
              <a:gd name="connsiteX93" fmla="*/ 1164872 w 1164872"/>
              <a:gd name="connsiteY93" fmla="*/ 1589585 h 2813048"/>
              <a:gd name="connsiteX94" fmla="*/ 1164872 w 1164872"/>
              <a:gd name="connsiteY94" fmla="*/ 1604965 h 2813048"/>
              <a:gd name="connsiteX95" fmla="*/ 1164872 w 1164872"/>
              <a:gd name="connsiteY95" fmla="*/ 1620344 h 2813048"/>
              <a:gd name="connsiteX96" fmla="*/ 1164872 w 1164872"/>
              <a:gd name="connsiteY96" fmla="*/ 1635494 h 2813048"/>
              <a:gd name="connsiteX97" fmla="*/ 1164872 w 1164872"/>
              <a:gd name="connsiteY97" fmla="*/ 1650239 h 2813048"/>
              <a:gd name="connsiteX98" fmla="*/ 1164872 w 1164872"/>
              <a:gd name="connsiteY98" fmla="*/ 1650873 h 2813048"/>
              <a:gd name="connsiteX99" fmla="*/ 1164872 w 1164872"/>
              <a:gd name="connsiteY99" fmla="*/ 1665627 h 2813048"/>
              <a:gd name="connsiteX100" fmla="*/ 1164872 w 1164872"/>
              <a:gd name="connsiteY100" fmla="*/ 1680785 h 2813048"/>
              <a:gd name="connsiteX101" fmla="*/ 1164872 w 1164872"/>
              <a:gd name="connsiteY101" fmla="*/ 1696173 h 2813048"/>
              <a:gd name="connsiteX102" fmla="*/ 1164872 w 1164872"/>
              <a:gd name="connsiteY102" fmla="*/ 1711101 h 2813048"/>
              <a:gd name="connsiteX103" fmla="*/ 1164872 w 1164872"/>
              <a:gd name="connsiteY103" fmla="*/ 1726489 h 2813048"/>
              <a:gd name="connsiteX104" fmla="*/ 1164872 w 1164872"/>
              <a:gd name="connsiteY104" fmla="*/ 1741877 h 2813048"/>
              <a:gd name="connsiteX105" fmla="*/ 1164872 w 1164872"/>
              <a:gd name="connsiteY105" fmla="*/ 1757035 h 2813048"/>
              <a:gd name="connsiteX106" fmla="*/ 1164872 w 1164872"/>
              <a:gd name="connsiteY106" fmla="*/ 1772422 h 2813048"/>
              <a:gd name="connsiteX107" fmla="*/ 1164872 w 1164872"/>
              <a:gd name="connsiteY107" fmla="*/ 1787810 h 2813048"/>
              <a:gd name="connsiteX108" fmla="*/ 1164872 w 1164872"/>
              <a:gd name="connsiteY108" fmla="*/ 1802968 h 2813048"/>
              <a:gd name="connsiteX109" fmla="*/ 1164872 w 1164872"/>
              <a:gd name="connsiteY109" fmla="*/ 1818356 h 2813048"/>
              <a:gd name="connsiteX110" fmla="*/ 1164872 w 1164872"/>
              <a:gd name="connsiteY110" fmla="*/ 1833744 h 2813048"/>
              <a:gd name="connsiteX111" fmla="*/ 1164872 w 1164872"/>
              <a:gd name="connsiteY111" fmla="*/ 1848672 h 2813048"/>
              <a:gd name="connsiteX112" fmla="*/ 1164872 w 1164872"/>
              <a:gd name="connsiteY112" fmla="*/ 1864060 h 2813048"/>
              <a:gd name="connsiteX113" fmla="*/ 1164872 w 1164872"/>
              <a:gd name="connsiteY113" fmla="*/ 1879448 h 2813048"/>
              <a:gd name="connsiteX114" fmla="*/ 1164872 w 1164872"/>
              <a:gd name="connsiteY114" fmla="*/ 1894606 h 2813048"/>
              <a:gd name="connsiteX115" fmla="*/ 1164872 w 1164872"/>
              <a:gd name="connsiteY115" fmla="*/ 1909994 h 2813048"/>
              <a:gd name="connsiteX116" fmla="*/ 1164872 w 1164872"/>
              <a:gd name="connsiteY116" fmla="*/ 1925152 h 2813048"/>
              <a:gd name="connsiteX117" fmla="*/ 1164872 w 1164872"/>
              <a:gd name="connsiteY117" fmla="*/ 1940539 h 2813048"/>
              <a:gd name="connsiteX118" fmla="*/ 1164872 w 1164872"/>
              <a:gd name="connsiteY118" fmla="*/ 1955698 h 2813048"/>
              <a:gd name="connsiteX119" fmla="*/ 1164872 w 1164872"/>
              <a:gd name="connsiteY119" fmla="*/ 1971085 h 2813048"/>
              <a:gd name="connsiteX120" fmla="*/ 1164872 w 1164872"/>
              <a:gd name="connsiteY120" fmla="*/ 1986014 h 2813048"/>
              <a:gd name="connsiteX121" fmla="*/ 1164872 w 1164872"/>
              <a:gd name="connsiteY121" fmla="*/ 2001402 h 2813048"/>
              <a:gd name="connsiteX122" fmla="*/ 1164872 w 1164872"/>
              <a:gd name="connsiteY122" fmla="*/ 2016560 h 2813048"/>
              <a:gd name="connsiteX123" fmla="*/ 1164872 w 1164872"/>
              <a:gd name="connsiteY123" fmla="*/ 2031947 h 2813048"/>
              <a:gd name="connsiteX124" fmla="*/ 1164872 w 1164872"/>
              <a:gd name="connsiteY124" fmla="*/ 2047335 h 2813048"/>
              <a:gd name="connsiteX125" fmla="*/ 1164872 w 1164872"/>
              <a:gd name="connsiteY125" fmla="*/ 2062493 h 2813048"/>
              <a:gd name="connsiteX126" fmla="*/ 1164872 w 1164872"/>
              <a:gd name="connsiteY126" fmla="*/ 2077881 h 2813048"/>
              <a:gd name="connsiteX127" fmla="*/ 1164872 w 1164872"/>
              <a:gd name="connsiteY127" fmla="*/ 2093039 h 2813048"/>
              <a:gd name="connsiteX128" fmla="*/ 1164872 w 1164872"/>
              <a:gd name="connsiteY128" fmla="*/ 2108427 h 2813048"/>
              <a:gd name="connsiteX129" fmla="*/ 1164872 w 1164872"/>
              <a:gd name="connsiteY129" fmla="*/ 2123355 h 2813048"/>
              <a:gd name="connsiteX130" fmla="*/ 1164872 w 1164872"/>
              <a:gd name="connsiteY130" fmla="*/ 2138743 h 2813048"/>
              <a:gd name="connsiteX131" fmla="*/ 1144124 w 1164872"/>
              <a:gd name="connsiteY131" fmla="*/ 2150915 h 2813048"/>
              <a:gd name="connsiteX132" fmla="*/ 1122578 w 1164872"/>
              <a:gd name="connsiteY132" fmla="*/ 2163318 h 2813048"/>
              <a:gd name="connsiteX133" fmla="*/ 1100634 w 1164872"/>
              <a:gd name="connsiteY133" fmla="*/ 2175720 h 2813048"/>
              <a:gd name="connsiteX134" fmla="*/ 1078290 w 1164872"/>
              <a:gd name="connsiteY134" fmla="*/ 2188811 h 2813048"/>
              <a:gd name="connsiteX135" fmla="*/ 1055347 w 1164872"/>
              <a:gd name="connsiteY135" fmla="*/ 2202131 h 2813048"/>
              <a:gd name="connsiteX136" fmla="*/ 1031807 w 1164872"/>
              <a:gd name="connsiteY136" fmla="*/ 2215682 h 2813048"/>
              <a:gd name="connsiteX137" fmla="*/ 1007867 w 1164872"/>
              <a:gd name="connsiteY137" fmla="*/ 2229692 h 2813048"/>
              <a:gd name="connsiteX138" fmla="*/ 983329 w 1164872"/>
              <a:gd name="connsiteY138" fmla="*/ 2243701 h 2813048"/>
              <a:gd name="connsiteX139" fmla="*/ 958192 w 1164872"/>
              <a:gd name="connsiteY139" fmla="*/ 2258400 h 2813048"/>
              <a:gd name="connsiteX140" fmla="*/ 932456 w 1164872"/>
              <a:gd name="connsiteY140" fmla="*/ 2273328 h 2813048"/>
              <a:gd name="connsiteX141" fmla="*/ 906322 w 1164872"/>
              <a:gd name="connsiteY141" fmla="*/ 2288487 h 2813048"/>
              <a:gd name="connsiteX142" fmla="*/ 879190 w 1164872"/>
              <a:gd name="connsiteY142" fmla="*/ 2304104 h 2813048"/>
              <a:gd name="connsiteX143" fmla="*/ 851859 w 1164872"/>
              <a:gd name="connsiteY143" fmla="*/ 2319951 h 2813048"/>
              <a:gd name="connsiteX144" fmla="*/ 823929 w 1164872"/>
              <a:gd name="connsiteY144" fmla="*/ 2336257 h 2813048"/>
              <a:gd name="connsiteX145" fmla="*/ 795002 w 1164872"/>
              <a:gd name="connsiteY145" fmla="*/ 2352794 h 2813048"/>
              <a:gd name="connsiteX146" fmla="*/ 765875 w 1164872"/>
              <a:gd name="connsiteY146" fmla="*/ 2369789 h 2813048"/>
              <a:gd name="connsiteX147" fmla="*/ 728569 w 1164872"/>
              <a:gd name="connsiteY147" fmla="*/ 2391378 h 2813048"/>
              <a:gd name="connsiteX148" fmla="*/ 689866 w 1164872"/>
              <a:gd name="connsiteY148" fmla="*/ 2413656 h 2813048"/>
              <a:gd name="connsiteX149" fmla="*/ 650166 w 1164872"/>
              <a:gd name="connsiteY149" fmla="*/ 2436852 h 2813048"/>
              <a:gd name="connsiteX150" fmla="*/ 609069 w 1164872"/>
              <a:gd name="connsiteY150" fmla="*/ 2460508 h 2813048"/>
              <a:gd name="connsiteX151" fmla="*/ 566377 w 1164872"/>
              <a:gd name="connsiteY151" fmla="*/ 2485082 h 2813048"/>
              <a:gd name="connsiteX152" fmla="*/ 522487 w 1164872"/>
              <a:gd name="connsiteY152" fmla="*/ 2510575 h 2813048"/>
              <a:gd name="connsiteX153" fmla="*/ 477201 w 1164872"/>
              <a:gd name="connsiteY153" fmla="*/ 2536758 h 2813048"/>
              <a:gd name="connsiteX154" fmla="*/ 430518 w 1164872"/>
              <a:gd name="connsiteY154" fmla="*/ 2563858 h 2813048"/>
              <a:gd name="connsiteX155" fmla="*/ 382239 w 1164872"/>
              <a:gd name="connsiteY155" fmla="*/ 2591648 h 2813048"/>
              <a:gd name="connsiteX156" fmla="*/ 332564 w 1164872"/>
              <a:gd name="connsiteY156" fmla="*/ 2620586 h 2813048"/>
              <a:gd name="connsiteX157" fmla="*/ 281293 w 1164872"/>
              <a:gd name="connsiteY157" fmla="*/ 2650214 h 2813048"/>
              <a:gd name="connsiteX158" fmla="*/ 228227 w 1164872"/>
              <a:gd name="connsiteY158" fmla="*/ 2680989 h 2813048"/>
              <a:gd name="connsiteX159" fmla="*/ 173763 w 1164872"/>
              <a:gd name="connsiteY159" fmla="*/ 2712454 h 2813048"/>
              <a:gd name="connsiteX160" fmla="*/ 117505 w 1164872"/>
              <a:gd name="connsiteY160" fmla="*/ 2745066 h 2813048"/>
              <a:gd name="connsiteX161" fmla="*/ 59650 w 1164872"/>
              <a:gd name="connsiteY161" fmla="*/ 2778368 h 2813048"/>
              <a:gd name="connsiteX162" fmla="*/ 0 w 1164872"/>
              <a:gd name="connsiteY162" fmla="*/ 2813048 h 2813048"/>
              <a:gd name="connsiteX163" fmla="*/ 0 w 1164872"/>
              <a:gd name="connsiteY163" fmla="*/ 2783651 h 2813048"/>
              <a:gd name="connsiteX164" fmla="*/ 0 w 1164872"/>
              <a:gd name="connsiteY164" fmla="*/ 2754483 h 2813048"/>
              <a:gd name="connsiteX165" fmla="*/ 0 w 1164872"/>
              <a:gd name="connsiteY165" fmla="*/ 2725085 h 2813048"/>
              <a:gd name="connsiteX166" fmla="*/ 0 w 1164872"/>
              <a:gd name="connsiteY166" fmla="*/ 2695918 h 2813048"/>
              <a:gd name="connsiteX167" fmla="*/ 0 w 1164872"/>
              <a:gd name="connsiteY167" fmla="*/ 2666520 h 2813048"/>
              <a:gd name="connsiteX168" fmla="*/ 0 w 1164872"/>
              <a:gd name="connsiteY168" fmla="*/ 2637352 h 2813048"/>
              <a:gd name="connsiteX169" fmla="*/ 0 w 1164872"/>
              <a:gd name="connsiteY169" fmla="*/ 2607955 h 2813048"/>
              <a:gd name="connsiteX170" fmla="*/ 0 w 1164872"/>
              <a:gd name="connsiteY170" fmla="*/ 2578787 h 2813048"/>
              <a:gd name="connsiteX171" fmla="*/ 0 w 1164872"/>
              <a:gd name="connsiteY171" fmla="*/ 2549389 h 2813048"/>
              <a:gd name="connsiteX172" fmla="*/ 0 w 1164872"/>
              <a:gd name="connsiteY172" fmla="*/ 2520222 h 2813048"/>
              <a:gd name="connsiteX173" fmla="*/ 0 w 1164872"/>
              <a:gd name="connsiteY173" fmla="*/ 2490824 h 2813048"/>
              <a:gd name="connsiteX174" fmla="*/ 0 w 1164872"/>
              <a:gd name="connsiteY174" fmla="*/ 2461427 h 2813048"/>
              <a:gd name="connsiteX175" fmla="*/ 0 w 1164872"/>
              <a:gd name="connsiteY175" fmla="*/ 2432259 h 2813048"/>
              <a:gd name="connsiteX176" fmla="*/ 0 w 1164872"/>
              <a:gd name="connsiteY176" fmla="*/ 2402861 h 2813048"/>
              <a:gd name="connsiteX177" fmla="*/ 0 w 1164872"/>
              <a:gd name="connsiteY177" fmla="*/ 2373693 h 2813048"/>
              <a:gd name="connsiteX178" fmla="*/ 0 w 1164872"/>
              <a:gd name="connsiteY178" fmla="*/ 2344296 h 2813048"/>
              <a:gd name="connsiteX179" fmla="*/ 0 w 1164872"/>
              <a:gd name="connsiteY179" fmla="*/ 2315128 h 2813048"/>
              <a:gd name="connsiteX180" fmla="*/ 0 w 1164872"/>
              <a:gd name="connsiteY180" fmla="*/ 2285731 h 2813048"/>
              <a:gd name="connsiteX181" fmla="*/ 0 w 1164872"/>
              <a:gd name="connsiteY181" fmla="*/ 2256563 h 2813048"/>
              <a:gd name="connsiteX182" fmla="*/ 0 w 1164872"/>
              <a:gd name="connsiteY182" fmla="*/ 2227165 h 2813048"/>
              <a:gd name="connsiteX183" fmla="*/ 0 w 1164872"/>
              <a:gd name="connsiteY183" fmla="*/ 2197538 h 2813048"/>
              <a:gd name="connsiteX184" fmla="*/ 0 w 1164872"/>
              <a:gd name="connsiteY184" fmla="*/ 2168370 h 2813048"/>
              <a:gd name="connsiteX185" fmla="*/ 0 w 1164872"/>
              <a:gd name="connsiteY185" fmla="*/ 2138973 h 2813048"/>
              <a:gd name="connsiteX186" fmla="*/ 0 w 1164872"/>
              <a:gd name="connsiteY186" fmla="*/ 2109805 h 2813048"/>
              <a:gd name="connsiteX187" fmla="*/ 0 w 1164872"/>
              <a:gd name="connsiteY187" fmla="*/ 2080407 h 2813048"/>
              <a:gd name="connsiteX188" fmla="*/ 0 w 1164872"/>
              <a:gd name="connsiteY188" fmla="*/ 2051240 h 2813048"/>
              <a:gd name="connsiteX189" fmla="*/ 0 w 1164872"/>
              <a:gd name="connsiteY189" fmla="*/ 2021612 h 2813048"/>
              <a:gd name="connsiteX190" fmla="*/ 0 w 1164872"/>
              <a:gd name="connsiteY190" fmla="*/ 1992445 h 2813048"/>
              <a:gd name="connsiteX191" fmla="*/ 0 w 1164872"/>
              <a:gd name="connsiteY191" fmla="*/ 1963047 h 2813048"/>
              <a:gd name="connsiteX192" fmla="*/ 0 w 1164872"/>
              <a:gd name="connsiteY192" fmla="*/ 1933879 h 2813048"/>
              <a:gd name="connsiteX193" fmla="*/ 0 w 1164872"/>
              <a:gd name="connsiteY193" fmla="*/ 1904482 h 2813048"/>
              <a:gd name="connsiteX194" fmla="*/ 0 w 1164872"/>
              <a:gd name="connsiteY194" fmla="*/ 1875366 h 2813048"/>
              <a:gd name="connsiteX195" fmla="*/ 0 w 1164872"/>
              <a:gd name="connsiteY195" fmla="*/ 1874854 h 2813048"/>
              <a:gd name="connsiteX196" fmla="*/ 0 w 1164872"/>
              <a:gd name="connsiteY196" fmla="*/ 1846214 h 2813048"/>
              <a:gd name="connsiteX197" fmla="*/ 0 w 1164872"/>
              <a:gd name="connsiteY197" fmla="*/ 1816833 h 2813048"/>
              <a:gd name="connsiteX198" fmla="*/ 0 w 1164872"/>
              <a:gd name="connsiteY198" fmla="*/ 1787681 h 2813048"/>
              <a:gd name="connsiteX199" fmla="*/ 0 w 1164872"/>
              <a:gd name="connsiteY199" fmla="*/ 1758299 h 2813048"/>
              <a:gd name="connsiteX200" fmla="*/ 0 w 1164872"/>
              <a:gd name="connsiteY200" fmla="*/ 1729147 h 2813048"/>
              <a:gd name="connsiteX201" fmla="*/ 0 w 1164872"/>
              <a:gd name="connsiteY201" fmla="*/ 1699766 h 2813048"/>
              <a:gd name="connsiteX202" fmla="*/ 0 w 1164872"/>
              <a:gd name="connsiteY202" fmla="*/ 1670614 h 2813048"/>
              <a:gd name="connsiteX203" fmla="*/ 0 w 1164872"/>
              <a:gd name="connsiteY203" fmla="*/ 1641232 h 2813048"/>
              <a:gd name="connsiteX204" fmla="*/ 0 w 1164872"/>
              <a:gd name="connsiteY204" fmla="*/ 1611621 h 2813048"/>
              <a:gd name="connsiteX205" fmla="*/ 0 w 1164872"/>
              <a:gd name="connsiteY205" fmla="*/ 1582469 h 2813048"/>
              <a:gd name="connsiteX206" fmla="*/ 0 w 1164872"/>
              <a:gd name="connsiteY206" fmla="*/ 1553088 h 2813048"/>
              <a:gd name="connsiteX207" fmla="*/ 0 w 1164872"/>
              <a:gd name="connsiteY207" fmla="*/ 1523936 h 2813048"/>
              <a:gd name="connsiteX208" fmla="*/ 0 w 1164872"/>
              <a:gd name="connsiteY208" fmla="*/ 1494554 h 2813048"/>
              <a:gd name="connsiteX209" fmla="*/ 0 w 1164872"/>
              <a:gd name="connsiteY209" fmla="*/ 1465403 h 2813048"/>
              <a:gd name="connsiteX210" fmla="*/ 0 w 1164872"/>
              <a:gd name="connsiteY210" fmla="*/ 1436021 h 2813048"/>
              <a:gd name="connsiteX211" fmla="*/ 0 w 1164872"/>
              <a:gd name="connsiteY211" fmla="*/ 1406869 h 2813048"/>
              <a:gd name="connsiteX212" fmla="*/ 0 w 1164872"/>
              <a:gd name="connsiteY212" fmla="*/ 1377488 h 2813048"/>
              <a:gd name="connsiteX213" fmla="*/ 0 w 1164872"/>
              <a:gd name="connsiteY213" fmla="*/ 1348336 h 2813048"/>
              <a:gd name="connsiteX214" fmla="*/ 0 w 1164872"/>
              <a:gd name="connsiteY214" fmla="*/ 1318954 h 2813048"/>
              <a:gd name="connsiteX215" fmla="*/ 0 w 1164872"/>
              <a:gd name="connsiteY215" fmla="*/ 1289573 h 2813048"/>
              <a:gd name="connsiteX216" fmla="*/ 0 w 1164872"/>
              <a:gd name="connsiteY216" fmla="*/ 1260421 h 2813048"/>
              <a:gd name="connsiteX217" fmla="*/ 0 w 1164872"/>
              <a:gd name="connsiteY217" fmla="*/ 1230810 h 2813048"/>
              <a:gd name="connsiteX218" fmla="*/ 0 w 1164872"/>
              <a:gd name="connsiteY218" fmla="*/ 1201658 h 2813048"/>
              <a:gd name="connsiteX219" fmla="*/ 0 w 1164872"/>
              <a:gd name="connsiteY219" fmla="*/ 1172277 h 2813048"/>
              <a:gd name="connsiteX220" fmla="*/ 0 w 1164872"/>
              <a:gd name="connsiteY220" fmla="*/ 1143125 h 2813048"/>
              <a:gd name="connsiteX221" fmla="*/ 0 w 1164872"/>
              <a:gd name="connsiteY221" fmla="*/ 1113743 h 2813048"/>
              <a:gd name="connsiteX222" fmla="*/ 0 w 1164872"/>
              <a:gd name="connsiteY222" fmla="*/ 1084362 h 2813048"/>
              <a:gd name="connsiteX223" fmla="*/ 0 w 1164872"/>
              <a:gd name="connsiteY223" fmla="*/ 1054980 h 2813048"/>
              <a:gd name="connsiteX224" fmla="*/ 0 w 1164872"/>
              <a:gd name="connsiteY224" fmla="*/ 1025599 h 2813048"/>
              <a:gd name="connsiteX225" fmla="*/ 0 w 1164872"/>
              <a:gd name="connsiteY225" fmla="*/ 996447 h 2813048"/>
              <a:gd name="connsiteX226" fmla="*/ 0 w 1164872"/>
              <a:gd name="connsiteY226" fmla="*/ 967065 h 2813048"/>
              <a:gd name="connsiteX227" fmla="*/ 0 w 1164872"/>
              <a:gd name="connsiteY227" fmla="*/ 938327 h 2813048"/>
              <a:gd name="connsiteX228" fmla="*/ 0 w 1164872"/>
              <a:gd name="connsiteY228" fmla="*/ 937684 h 2813048"/>
              <a:gd name="connsiteX229" fmla="*/ 0 w 1164872"/>
              <a:gd name="connsiteY229" fmla="*/ 908946 h 2813048"/>
              <a:gd name="connsiteX230" fmla="*/ 0 w 1164872"/>
              <a:gd name="connsiteY230" fmla="*/ 879796 h 2813048"/>
              <a:gd name="connsiteX231" fmla="*/ 0 w 1164872"/>
              <a:gd name="connsiteY231" fmla="*/ 850416 h 2813048"/>
              <a:gd name="connsiteX232" fmla="*/ 0 w 1164872"/>
              <a:gd name="connsiteY232" fmla="*/ 821265 h 2813048"/>
              <a:gd name="connsiteX233" fmla="*/ 0 w 1164872"/>
              <a:gd name="connsiteY233" fmla="*/ 791885 h 2813048"/>
              <a:gd name="connsiteX234" fmla="*/ 0 w 1164872"/>
              <a:gd name="connsiteY234" fmla="*/ 762505 h 2813048"/>
              <a:gd name="connsiteX235" fmla="*/ 0 w 1164872"/>
              <a:gd name="connsiteY235" fmla="*/ 733355 h 2813048"/>
              <a:gd name="connsiteX236" fmla="*/ 0 w 1164872"/>
              <a:gd name="connsiteY236" fmla="*/ 703974 h 2813048"/>
              <a:gd name="connsiteX237" fmla="*/ 0 w 1164872"/>
              <a:gd name="connsiteY237" fmla="*/ 674824 h 2813048"/>
              <a:gd name="connsiteX238" fmla="*/ 0 w 1164872"/>
              <a:gd name="connsiteY238" fmla="*/ 645214 h 2813048"/>
              <a:gd name="connsiteX239" fmla="*/ 0 w 1164872"/>
              <a:gd name="connsiteY239" fmla="*/ 616064 h 2813048"/>
              <a:gd name="connsiteX240" fmla="*/ 0 w 1164872"/>
              <a:gd name="connsiteY240" fmla="*/ 586684 h 2813048"/>
              <a:gd name="connsiteX241" fmla="*/ 0 w 1164872"/>
              <a:gd name="connsiteY241" fmla="*/ 557533 h 2813048"/>
              <a:gd name="connsiteX242" fmla="*/ 0 w 1164872"/>
              <a:gd name="connsiteY242" fmla="*/ 528153 h 2813048"/>
              <a:gd name="connsiteX243" fmla="*/ 0 w 1164872"/>
              <a:gd name="connsiteY243" fmla="*/ 499002 h 2813048"/>
              <a:gd name="connsiteX244" fmla="*/ 0 w 1164872"/>
              <a:gd name="connsiteY244" fmla="*/ 469622 h 2813048"/>
              <a:gd name="connsiteX245" fmla="*/ 0 w 1164872"/>
              <a:gd name="connsiteY245" fmla="*/ 440242 h 2813048"/>
              <a:gd name="connsiteX246" fmla="*/ 0 w 1164872"/>
              <a:gd name="connsiteY246" fmla="*/ 411092 h 2813048"/>
              <a:gd name="connsiteX247" fmla="*/ 0 w 1164872"/>
              <a:gd name="connsiteY247" fmla="*/ 381712 h 2813048"/>
              <a:gd name="connsiteX248" fmla="*/ 0 w 1164872"/>
              <a:gd name="connsiteY248" fmla="*/ 352331 h 2813048"/>
              <a:gd name="connsiteX249" fmla="*/ 0 w 1164872"/>
              <a:gd name="connsiteY249" fmla="*/ 322951 h 2813048"/>
              <a:gd name="connsiteX250" fmla="*/ 0 w 1164872"/>
              <a:gd name="connsiteY250" fmla="*/ 293801 h 2813048"/>
              <a:gd name="connsiteX251" fmla="*/ 0 w 1164872"/>
              <a:gd name="connsiteY251" fmla="*/ 264421 h 2813048"/>
              <a:gd name="connsiteX252" fmla="*/ 0 w 1164872"/>
              <a:gd name="connsiteY252" fmla="*/ 235041 h 2813048"/>
              <a:gd name="connsiteX253" fmla="*/ 0 w 1164872"/>
              <a:gd name="connsiteY253" fmla="*/ 205661 h 2813048"/>
              <a:gd name="connsiteX254" fmla="*/ 0 w 1164872"/>
              <a:gd name="connsiteY254" fmla="*/ 176280 h 2813048"/>
              <a:gd name="connsiteX255" fmla="*/ 0 w 1164872"/>
              <a:gd name="connsiteY255" fmla="*/ 146900 h 2813048"/>
              <a:gd name="connsiteX256" fmla="*/ 0 w 1164872"/>
              <a:gd name="connsiteY256" fmla="*/ 117520 h 2813048"/>
              <a:gd name="connsiteX257" fmla="*/ 0 w 1164872"/>
              <a:gd name="connsiteY257" fmla="*/ 88140 h 2813048"/>
              <a:gd name="connsiteX258" fmla="*/ 0 w 1164872"/>
              <a:gd name="connsiteY258" fmla="*/ 58760 h 2813048"/>
              <a:gd name="connsiteX259" fmla="*/ 0 w 1164872"/>
              <a:gd name="connsiteY259" fmla="*/ 29380 h 2813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</a:cxnLst>
            <a:rect l="l" t="t" r="r" b="b"/>
            <a:pathLst>
              <a:path w="1164872" h="2813048">
                <a:moveTo>
                  <a:pt x="0" y="0"/>
                </a:moveTo>
                <a:lnTo>
                  <a:pt x="59650" y="34659"/>
                </a:lnTo>
                <a:lnTo>
                  <a:pt x="117505" y="67941"/>
                </a:lnTo>
                <a:lnTo>
                  <a:pt x="173763" y="100535"/>
                </a:lnTo>
                <a:lnTo>
                  <a:pt x="228227" y="131981"/>
                </a:lnTo>
                <a:lnTo>
                  <a:pt x="281293" y="162738"/>
                </a:lnTo>
                <a:lnTo>
                  <a:pt x="332365" y="192348"/>
                </a:lnTo>
                <a:lnTo>
                  <a:pt x="382239" y="221269"/>
                </a:lnTo>
                <a:lnTo>
                  <a:pt x="430319" y="249042"/>
                </a:lnTo>
                <a:lnTo>
                  <a:pt x="477201" y="276127"/>
                </a:lnTo>
                <a:lnTo>
                  <a:pt x="522487" y="302293"/>
                </a:lnTo>
                <a:lnTo>
                  <a:pt x="566377" y="327772"/>
                </a:lnTo>
                <a:lnTo>
                  <a:pt x="608870" y="352331"/>
                </a:lnTo>
                <a:lnTo>
                  <a:pt x="649966" y="375973"/>
                </a:lnTo>
                <a:lnTo>
                  <a:pt x="689667" y="399156"/>
                </a:lnTo>
                <a:lnTo>
                  <a:pt x="728369" y="421421"/>
                </a:lnTo>
                <a:lnTo>
                  <a:pt x="765676" y="442997"/>
                </a:lnTo>
                <a:lnTo>
                  <a:pt x="794802" y="459982"/>
                </a:lnTo>
                <a:lnTo>
                  <a:pt x="823730" y="476508"/>
                </a:lnTo>
                <a:lnTo>
                  <a:pt x="851660" y="492805"/>
                </a:lnTo>
                <a:lnTo>
                  <a:pt x="879190" y="508643"/>
                </a:lnTo>
                <a:lnTo>
                  <a:pt x="906123" y="524251"/>
                </a:lnTo>
                <a:lnTo>
                  <a:pt x="932456" y="539400"/>
                </a:lnTo>
                <a:lnTo>
                  <a:pt x="957992" y="554320"/>
                </a:lnTo>
                <a:lnTo>
                  <a:pt x="983129" y="569010"/>
                </a:lnTo>
                <a:lnTo>
                  <a:pt x="1007667" y="583011"/>
                </a:lnTo>
                <a:lnTo>
                  <a:pt x="1031807" y="597013"/>
                </a:lnTo>
                <a:lnTo>
                  <a:pt x="1055148" y="610555"/>
                </a:lnTo>
                <a:lnTo>
                  <a:pt x="1078290" y="623868"/>
                </a:lnTo>
                <a:lnTo>
                  <a:pt x="1100634" y="636951"/>
                </a:lnTo>
                <a:lnTo>
                  <a:pt x="1122578" y="649346"/>
                </a:lnTo>
                <a:lnTo>
                  <a:pt x="1143925" y="661741"/>
                </a:lnTo>
                <a:lnTo>
                  <a:pt x="1164872" y="673906"/>
                </a:lnTo>
                <a:lnTo>
                  <a:pt x="1164872" y="689284"/>
                </a:lnTo>
                <a:lnTo>
                  <a:pt x="1164872" y="704433"/>
                </a:lnTo>
                <a:lnTo>
                  <a:pt x="1164872" y="719812"/>
                </a:lnTo>
                <a:lnTo>
                  <a:pt x="1164872" y="734961"/>
                </a:lnTo>
                <a:lnTo>
                  <a:pt x="1164872" y="750340"/>
                </a:lnTo>
                <a:lnTo>
                  <a:pt x="1164872" y="765719"/>
                </a:lnTo>
                <a:lnTo>
                  <a:pt x="1164872" y="781097"/>
                </a:lnTo>
                <a:lnTo>
                  <a:pt x="1164872" y="796476"/>
                </a:lnTo>
                <a:lnTo>
                  <a:pt x="1164872" y="811625"/>
                </a:lnTo>
                <a:lnTo>
                  <a:pt x="1164872" y="827004"/>
                </a:lnTo>
                <a:lnTo>
                  <a:pt x="1164872" y="842382"/>
                </a:lnTo>
                <a:lnTo>
                  <a:pt x="1164872" y="857531"/>
                </a:lnTo>
                <a:lnTo>
                  <a:pt x="1164872" y="872680"/>
                </a:lnTo>
                <a:lnTo>
                  <a:pt x="1164872" y="888059"/>
                </a:lnTo>
                <a:lnTo>
                  <a:pt x="1164872" y="903438"/>
                </a:lnTo>
                <a:lnTo>
                  <a:pt x="1164872" y="918587"/>
                </a:lnTo>
                <a:lnTo>
                  <a:pt x="1164872" y="933965"/>
                </a:lnTo>
                <a:lnTo>
                  <a:pt x="1164872" y="949115"/>
                </a:lnTo>
                <a:lnTo>
                  <a:pt x="1164872" y="964493"/>
                </a:lnTo>
                <a:lnTo>
                  <a:pt x="1164872" y="979642"/>
                </a:lnTo>
                <a:lnTo>
                  <a:pt x="1164872" y="994791"/>
                </a:lnTo>
                <a:lnTo>
                  <a:pt x="1164872" y="1010170"/>
                </a:lnTo>
                <a:lnTo>
                  <a:pt x="1164872" y="1025319"/>
                </a:lnTo>
                <a:lnTo>
                  <a:pt x="1164872" y="1040698"/>
                </a:lnTo>
                <a:lnTo>
                  <a:pt x="1164872" y="1055847"/>
                </a:lnTo>
                <a:lnTo>
                  <a:pt x="1164872" y="1071226"/>
                </a:lnTo>
                <a:lnTo>
                  <a:pt x="1164872" y="1086604"/>
                </a:lnTo>
                <a:lnTo>
                  <a:pt x="1164872" y="1101753"/>
                </a:lnTo>
                <a:lnTo>
                  <a:pt x="1164872" y="1117132"/>
                </a:lnTo>
                <a:lnTo>
                  <a:pt x="1164872" y="1132511"/>
                </a:lnTo>
                <a:lnTo>
                  <a:pt x="1164872" y="1147430"/>
                </a:lnTo>
                <a:lnTo>
                  <a:pt x="1164872" y="1162177"/>
                </a:lnTo>
                <a:lnTo>
                  <a:pt x="1164872" y="1162809"/>
                </a:lnTo>
                <a:lnTo>
                  <a:pt x="1164872" y="1177556"/>
                </a:lnTo>
                <a:lnTo>
                  <a:pt x="1164872" y="1192706"/>
                </a:lnTo>
                <a:lnTo>
                  <a:pt x="1164872" y="1208085"/>
                </a:lnTo>
                <a:lnTo>
                  <a:pt x="1164872" y="1223235"/>
                </a:lnTo>
                <a:lnTo>
                  <a:pt x="1164872" y="1238614"/>
                </a:lnTo>
                <a:lnTo>
                  <a:pt x="1164872" y="1253994"/>
                </a:lnTo>
                <a:lnTo>
                  <a:pt x="1164872" y="1269144"/>
                </a:lnTo>
                <a:lnTo>
                  <a:pt x="1164872" y="1284293"/>
                </a:lnTo>
                <a:lnTo>
                  <a:pt x="1164872" y="1299673"/>
                </a:lnTo>
                <a:lnTo>
                  <a:pt x="1164872" y="1314823"/>
                </a:lnTo>
                <a:lnTo>
                  <a:pt x="1164872" y="1330202"/>
                </a:lnTo>
                <a:lnTo>
                  <a:pt x="1164872" y="1345352"/>
                </a:lnTo>
                <a:lnTo>
                  <a:pt x="1164872" y="1360731"/>
                </a:lnTo>
                <a:lnTo>
                  <a:pt x="1164872" y="1376110"/>
                </a:lnTo>
                <a:lnTo>
                  <a:pt x="1164872" y="1391260"/>
                </a:lnTo>
                <a:lnTo>
                  <a:pt x="1164872" y="1406640"/>
                </a:lnTo>
                <a:lnTo>
                  <a:pt x="1164872" y="1421560"/>
                </a:lnTo>
                <a:lnTo>
                  <a:pt x="1164872" y="1436939"/>
                </a:lnTo>
                <a:lnTo>
                  <a:pt x="1164872" y="1452319"/>
                </a:lnTo>
                <a:lnTo>
                  <a:pt x="1164872" y="1467468"/>
                </a:lnTo>
                <a:lnTo>
                  <a:pt x="1164872" y="1482848"/>
                </a:lnTo>
                <a:lnTo>
                  <a:pt x="1164872" y="1497998"/>
                </a:lnTo>
                <a:lnTo>
                  <a:pt x="1164872" y="1513377"/>
                </a:lnTo>
                <a:lnTo>
                  <a:pt x="1164872" y="1528756"/>
                </a:lnTo>
                <a:lnTo>
                  <a:pt x="1164872" y="1543906"/>
                </a:lnTo>
                <a:lnTo>
                  <a:pt x="1164872" y="1559056"/>
                </a:lnTo>
                <a:lnTo>
                  <a:pt x="1164872" y="1574435"/>
                </a:lnTo>
                <a:lnTo>
                  <a:pt x="1164872" y="1589585"/>
                </a:lnTo>
                <a:lnTo>
                  <a:pt x="1164872" y="1604965"/>
                </a:lnTo>
                <a:lnTo>
                  <a:pt x="1164872" y="1620344"/>
                </a:lnTo>
                <a:lnTo>
                  <a:pt x="1164872" y="1635494"/>
                </a:lnTo>
                <a:lnTo>
                  <a:pt x="1164872" y="1650239"/>
                </a:lnTo>
                <a:lnTo>
                  <a:pt x="1164872" y="1650873"/>
                </a:lnTo>
                <a:lnTo>
                  <a:pt x="1164872" y="1665627"/>
                </a:lnTo>
                <a:lnTo>
                  <a:pt x="1164872" y="1680785"/>
                </a:lnTo>
                <a:lnTo>
                  <a:pt x="1164872" y="1696173"/>
                </a:lnTo>
                <a:lnTo>
                  <a:pt x="1164872" y="1711101"/>
                </a:lnTo>
                <a:lnTo>
                  <a:pt x="1164872" y="1726489"/>
                </a:lnTo>
                <a:lnTo>
                  <a:pt x="1164872" y="1741877"/>
                </a:lnTo>
                <a:lnTo>
                  <a:pt x="1164872" y="1757035"/>
                </a:lnTo>
                <a:lnTo>
                  <a:pt x="1164872" y="1772422"/>
                </a:lnTo>
                <a:lnTo>
                  <a:pt x="1164872" y="1787810"/>
                </a:lnTo>
                <a:lnTo>
                  <a:pt x="1164872" y="1802968"/>
                </a:lnTo>
                <a:lnTo>
                  <a:pt x="1164872" y="1818356"/>
                </a:lnTo>
                <a:lnTo>
                  <a:pt x="1164872" y="1833744"/>
                </a:lnTo>
                <a:lnTo>
                  <a:pt x="1164872" y="1848672"/>
                </a:lnTo>
                <a:lnTo>
                  <a:pt x="1164872" y="1864060"/>
                </a:lnTo>
                <a:lnTo>
                  <a:pt x="1164872" y="1879448"/>
                </a:lnTo>
                <a:lnTo>
                  <a:pt x="1164872" y="1894606"/>
                </a:lnTo>
                <a:lnTo>
                  <a:pt x="1164872" y="1909994"/>
                </a:lnTo>
                <a:lnTo>
                  <a:pt x="1164872" y="1925152"/>
                </a:lnTo>
                <a:lnTo>
                  <a:pt x="1164872" y="1940539"/>
                </a:lnTo>
                <a:lnTo>
                  <a:pt x="1164872" y="1955698"/>
                </a:lnTo>
                <a:lnTo>
                  <a:pt x="1164872" y="1971085"/>
                </a:lnTo>
                <a:lnTo>
                  <a:pt x="1164872" y="1986014"/>
                </a:lnTo>
                <a:lnTo>
                  <a:pt x="1164872" y="2001402"/>
                </a:lnTo>
                <a:lnTo>
                  <a:pt x="1164872" y="2016560"/>
                </a:lnTo>
                <a:lnTo>
                  <a:pt x="1164872" y="2031947"/>
                </a:lnTo>
                <a:lnTo>
                  <a:pt x="1164872" y="2047335"/>
                </a:lnTo>
                <a:lnTo>
                  <a:pt x="1164872" y="2062493"/>
                </a:lnTo>
                <a:lnTo>
                  <a:pt x="1164872" y="2077881"/>
                </a:lnTo>
                <a:lnTo>
                  <a:pt x="1164872" y="2093039"/>
                </a:lnTo>
                <a:lnTo>
                  <a:pt x="1164872" y="2108427"/>
                </a:lnTo>
                <a:lnTo>
                  <a:pt x="1164872" y="2123355"/>
                </a:lnTo>
                <a:lnTo>
                  <a:pt x="1164872" y="2138743"/>
                </a:lnTo>
                <a:lnTo>
                  <a:pt x="1144124" y="2150915"/>
                </a:lnTo>
                <a:lnTo>
                  <a:pt x="1122578" y="2163318"/>
                </a:lnTo>
                <a:lnTo>
                  <a:pt x="1100634" y="2175720"/>
                </a:lnTo>
                <a:lnTo>
                  <a:pt x="1078290" y="2188811"/>
                </a:lnTo>
                <a:lnTo>
                  <a:pt x="1055347" y="2202131"/>
                </a:lnTo>
                <a:lnTo>
                  <a:pt x="1031807" y="2215682"/>
                </a:lnTo>
                <a:lnTo>
                  <a:pt x="1007867" y="2229692"/>
                </a:lnTo>
                <a:lnTo>
                  <a:pt x="983329" y="2243701"/>
                </a:lnTo>
                <a:lnTo>
                  <a:pt x="958192" y="2258400"/>
                </a:lnTo>
                <a:lnTo>
                  <a:pt x="932456" y="2273328"/>
                </a:lnTo>
                <a:lnTo>
                  <a:pt x="906322" y="2288487"/>
                </a:lnTo>
                <a:lnTo>
                  <a:pt x="879190" y="2304104"/>
                </a:lnTo>
                <a:lnTo>
                  <a:pt x="851859" y="2319951"/>
                </a:lnTo>
                <a:lnTo>
                  <a:pt x="823929" y="2336257"/>
                </a:lnTo>
                <a:lnTo>
                  <a:pt x="795002" y="2352794"/>
                </a:lnTo>
                <a:lnTo>
                  <a:pt x="765875" y="2369789"/>
                </a:lnTo>
                <a:lnTo>
                  <a:pt x="728569" y="2391378"/>
                </a:lnTo>
                <a:lnTo>
                  <a:pt x="689866" y="2413656"/>
                </a:lnTo>
                <a:lnTo>
                  <a:pt x="650166" y="2436852"/>
                </a:lnTo>
                <a:lnTo>
                  <a:pt x="609069" y="2460508"/>
                </a:lnTo>
                <a:lnTo>
                  <a:pt x="566377" y="2485082"/>
                </a:lnTo>
                <a:lnTo>
                  <a:pt x="522487" y="2510575"/>
                </a:lnTo>
                <a:lnTo>
                  <a:pt x="477201" y="2536758"/>
                </a:lnTo>
                <a:lnTo>
                  <a:pt x="430518" y="2563858"/>
                </a:lnTo>
                <a:lnTo>
                  <a:pt x="382239" y="2591648"/>
                </a:lnTo>
                <a:lnTo>
                  <a:pt x="332564" y="2620586"/>
                </a:lnTo>
                <a:lnTo>
                  <a:pt x="281293" y="2650214"/>
                </a:lnTo>
                <a:lnTo>
                  <a:pt x="228227" y="2680989"/>
                </a:lnTo>
                <a:lnTo>
                  <a:pt x="173763" y="2712454"/>
                </a:lnTo>
                <a:lnTo>
                  <a:pt x="117505" y="2745066"/>
                </a:lnTo>
                <a:lnTo>
                  <a:pt x="59650" y="2778368"/>
                </a:lnTo>
                <a:lnTo>
                  <a:pt x="0" y="2813048"/>
                </a:lnTo>
                <a:lnTo>
                  <a:pt x="0" y="2783651"/>
                </a:lnTo>
                <a:lnTo>
                  <a:pt x="0" y="2754483"/>
                </a:lnTo>
                <a:lnTo>
                  <a:pt x="0" y="2725085"/>
                </a:lnTo>
                <a:lnTo>
                  <a:pt x="0" y="2695918"/>
                </a:lnTo>
                <a:lnTo>
                  <a:pt x="0" y="2666520"/>
                </a:lnTo>
                <a:lnTo>
                  <a:pt x="0" y="2637352"/>
                </a:lnTo>
                <a:lnTo>
                  <a:pt x="0" y="2607955"/>
                </a:lnTo>
                <a:lnTo>
                  <a:pt x="0" y="2578787"/>
                </a:lnTo>
                <a:lnTo>
                  <a:pt x="0" y="2549389"/>
                </a:lnTo>
                <a:lnTo>
                  <a:pt x="0" y="2520222"/>
                </a:lnTo>
                <a:lnTo>
                  <a:pt x="0" y="2490824"/>
                </a:lnTo>
                <a:lnTo>
                  <a:pt x="0" y="2461427"/>
                </a:lnTo>
                <a:lnTo>
                  <a:pt x="0" y="2432259"/>
                </a:lnTo>
                <a:lnTo>
                  <a:pt x="0" y="2402861"/>
                </a:lnTo>
                <a:lnTo>
                  <a:pt x="0" y="2373693"/>
                </a:lnTo>
                <a:lnTo>
                  <a:pt x="0" y="2344296"/>
                </a:lnTo>
                <a:lnTo>
                  <a:pt x="0" y="2315128"/>
                </a:lnTo>
                <a:lnTo>
                  <a:pt x="0" y="2285731"/>
                </a:lnTo>
                <a:lnTo>
                  <a:pt x="0" y="2256563"/>
                </a:lnTo>
                <a:lnTo>
                  <a:pt x="0" y="2227165"/>
                </a:lnTo>
                <a:lnTo>
                  <a:pt x="0" y="2197538"/>
                </a:lnTo>
                <a:lnTo>
                  <a:pt x="0" y="2168370"/>
                </a:lnTo>
                <a:lnTo>
                  <a:pt x="0" y="2138973"/>
                </a:lnTo>
                <a:lnTo>
                  <a:pt x="0" y="2109805"/>
                </a:lnTo>
                <a:lnTo>
                  <a:pt x="0" y="2080407"/>
                </a:lnTo>
                <a:lnTo>
                  <a:pt x="0" y="2051240"/>
                </a:lnTo>
                <a:lnTo>
                  <a:pt x="0" y="2021612"/>
                </a:lnTo>
                <a:lnTo>
                  <a:pt x="0" y="1992445"/>
                </a:lnTo>
                <a:lnTo>
                  <a:pt x="0" y="1963047"/>
                </a:lnTo>
                <a:lnTo>
                  <a:pt x="0" y="1933879"/>
                </a:lnTo>
                <a:lnTo>
                  <a:pt x="0" y="1904482"/>
                </a:lnTo>
                <a:lnTo>
                  <a:pt x="0" y="1875366"/>
                </a:lnTo>
                <a:lnTo>
                  <a:pt x="0" y="1874854"/>
                </a:lnTo>
                <a:lnTo>
                  <a:pt x="0" y="1846214"/>
                </a:lnTo>
                <a:lnTo>
                  <a:pt x="0" y="1816833"/>
                </a:lnTo>
                <a:lnTo>
                  <a:pt x="0" y="1787681"/>
                </a:lnTo>
                <a:lnTo>
                  <a:pt x="0" y="1758299"/>
                </a:lnTo>
                <a:lnTo>
                  <a:pt x="0" y="1729147"/>
                </a:lnTo>
                <a:lnTo>
                  <a:pt x="0" y="1699766"/>
                </a:lnTo>
                <a:lnTo>
                  <a:pt x="0" y="1670614"/>
                </a:lnTo>
                <a:lnTo>
                  <a:pt x="0" y="1641232"/>
                </a:lnTo>
                <a:lnTo>
                  <a:pt x="0" y="1611621"/>
                </a:lnTo>
                <a:lnTo>
                  <a:pt x="0" y="1582469"/>
                </a:lnTo>
                <a:lnTo>
                  <a:pt x="0" y="1553088"/>
                </a:lnTo>
                <a:lnTo>
                  <a:pt x="0" y="1523936"/>
                </a:lnTo>
                <a:lnTo>
                  <a:pt x="0" y="1494554"/>
                </a:lnTo>
                <a:lnTo>
                  <a:pt x="0" y="1465403"/>
                </a:lnTo>
                <a:lnTo>
                  <a:pt x="0" y="1436021"/>
                </a:lnTo>
                <a:lnTo>
                  <a:pt x="0" y="1406869"/>
                </a:lnTo>
                <a:lnTo>
                  <a:pt x="0" y="1377488"/>
                </a:lnTo>
                <a:lnTo>
                  <a:pt x="0" y="1348336"/>
                </a:lnTo>
                <a:lnTo>
                  <a:pt x="0" y="1318954"/>
                </a:lnTo>
                <a:lnTo>
                  <a:pt x="0" y="1289573"/>
                </a:lnTo>
                <a:lnTo>
                  <a:pt x="0" y="1260421"/>
                </a:lnTo>
                <a:lnTo>
                  <a:pt x="0" y="1230810"/>
                </a:lnTo>
                <a:lnTo>
                  <a:pt x="0" y="1201658"/>
                </a:lnTo>
                <a:lnTo>
                  <a:pt x="0" y="1172277"/>
                </a:lnTo>
                <a:lnTo>
                  <a:pt x="0" y="1143125"/>
                </a:lnTo>
                <a:lnTo>
                  <a:pt x="0" y="1113743"/>
                </a:lnTo>
                <a:lnTo>
                  <a:pt x="0" y="1084362"/>
                </a:lnTo>
                <a:lnTo>
                  <a:pt x="0" y="1054980"/>
                </a:lnTo>
                <a:lnTo>
                  <a:pt x="0" y="1025599"/>
                </a:lnTo>
                <a:lnTo>
                  <a:pt x="0" y="996447"/>
                </a:lnTo>
                <a:lnTo>
                  <a:pt x="0" y="967065"/>
                </a:lnTo>
                <a:lnTo>
                  <a:pt x="0" y="938327"/>
                </a:lnTo>
                <a:lnTo>
                  <a:pt x="0" y="937684"/>
                </a:lnTo>
                <a:lnTo>
                  <a:pt x="0" y="908946"/>
                </a:lnTo>
                <a:lnTo>
                  <a:pt x="0" y="879796"/>
                </a:lnTo>
                <a:lnTo>
                  <a:pt x="0" y="850416"/>
                </a:lnTo>
                <a:lnTo>
                  <a:pt x="0" y="821265"/>
                </a:lnTo>
                <a:lnTo>
                  <a:pt x="0" y="791885"/>
                </a:lnTo>
                <a:lnTo>
                  <a:pt x="0" y="762505"/>
                </a:lnTo>
                <a:lnTo>
                  <a:pt x="0" y="733355"/>
                </a:lnTo>
                <a:lnTo>
                  <a:pt x="0" y="703974"/>
                </a:lnTo>
                <a:lnTo>
                  <a:pt x="0" y="674824"/>
                </a:lnTo>
                <a:lnTo>
                  <a:pt x="0" y="645214"/>
                </a:lnTo>
                <a:lnTo>
                  <a:pt x="0" y="616064"/>
                </a:lnTo>
                <a:lnTo>
                  <a:pt x="0" y="586684"/>
                </a:lnTo>
                <a:lnTo>
                  <a:pt x="0" y="557533"/>
                </a:lnTo>
                <a:lnTo>
                  <a:pt x="0" y="528153"/>
                </a:lnTo>
                <a:lnTo>
                  <a:pt x="0" y="499002"/>
                </a:lnTo>
                <a:lnTo>
                  <a:pt x="0" y="469622"/>
                </a:lnTo>
                <a:lnTo>
                  <a:pt x="0" y="440242"/>
                </a:lnTo>
                <a:lnTo>
                  <a:pt x="0" y="411092"/>
                </a:lnTo>
                <a:lnTo>
                  <a:pt x="0" y="381712"/>
                </a:lnTo>
                <a:lnTo>
                  <a:pt x="0" y="352331"/>
                </a:lnTo>
                <a:lnTo>
                  <a:pt x="0" y="322951"/>
                </a:lnTo>
                <a:lnTo>
                  <a:pt x="0" y="293801"/>
                </a:lnTo>
                <a:lnTo>
                  <a:pt x="0" y="264421"/>
                </a:lnTo>
                <a:lnTo>
                  <a:pt x="0" y="235041"/>
                </a:lnTo>
                <a:lnTo>
                  <a:pt x="0" y="205661"/>
                </a:lnTo>
                <a:lnTo>
                  <a:pt x="0" y="176280"/>
                </a:lnTo>
                <a:lnTo>
                  <a:pt x="0" y="146900"/>
                </a:lnTo>
                <a:lnTo>
                  <a:pt x="0" y="117520"/>
                </a:lnTo>
                <a:lnTo>
                  <a:pt x="0" y="88140"/>
                </a:lnTo>
                <a:lnTo>
                  <a:pt x="0" y="58760"/>
                </a:lnTo>
                <a:lnTo>
                  <a:pt x="0" y="29380"/>
                </a:lnTo>
                <a:close/>
              </a:path>
            </a:pathLst>
          </a:cu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lang="en-US"/>
          </a:p>
        </p:txBody>
      </p:sp>
      <p:grpSp>
        <p:nvGrpSpPr>
          <p:cNvPr id="7" name="íṣliďê"/>
          <p:cNvGrpSpPr/>
          <p:nvPr/>
        </p:nvGrpSpPr>
        <p:grpSpPr>
          <a:xfrm>
            <a:off x="660400" y="2097405"/>
            <a:ext cx="4806315" cy="4036695"/>
            <a:chOff x="660402" y="2097342"/>
            <a:chExt cx="4806410" cy="4036758"/>
          </a:xfrm>
        </p:grpSpPr>
        <p:sp>
          <p:nvSpPr>
            <p:cNvPr id="28" name="ïṧļïḓe"/>
            <p:cNvSpPr/>
            <p:nvPr/>
          </p:nvSpPr>
          <p:spPr bwMode="auto">
            <a:xfrm>
              <a:off x="2193010" y="6108444"/>
              <a:ext cx="1765734" cy="25656"/>
            </a:xfrm>
            <a:custGeom>
              <a:avLst/>
              <a:gdLst>
                <a:gd name="T0" fmla="*/ 6776 w 6981"/>
                <a:gd name="T1" fmla="*/ 0 h 103"/>
                <a:gd name="T2" fmla="*/ 6776 w 6981"/>
                <a:gd name="T3" fmla="*/ 0 h 103"/>
                <a:gd name="T4" fmla="*/ 203 w 6981"/>
                <a:gd name="T5" fmla="*/ 0 h 103"/>
                <a:gd name="T6" fmla="*/ 0 w 6981"/>
                <a:gd name="T7" fmla="*/ 46 h 103"/>
                <a:gd name="T8" fmla="*/ 0 w 6981"/>
                <a:gd name="T9" fmla="*/ 55 h 103"/>
                <a:gd name="T10" fmla="*/ 203 w 6981"/>
                <a:gd name="T11" fmla="*/ 102 h 103"/>
                <a:gd name="T12" fmla="*/ 6776 w 6981"/>
                <a:gd name="T13" fmla="*/ 102 h 103"/>
                <a:gd name="T14" fmla="*/ 6980 w 6981"/>
                <a:gd name="T15" fmla="*/ 55 h 103"/>
                <a:gd name="T16" fmla="*/ 6980 w 6981"/>
                <a:gd name="T17" fmla="*/ 46 h 103"/>
                <a:gd name="T18" fmla="*/ 6776 w 6981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81" h="103">
                  <a:moveTo>
                    <a:pt x="6776" y="0"/>
                  </a:moveTo>
                  <a:lnTo>
                    <a:pt x="6776" y="0"/>
                  </a:lnTo>
                  <a:cubicBezTo>
                    <a:pt x="203" y="0"/>
                    <a:pt x="203" y="0"/>
                    <a:pt x="203" y="0"/>
                  </a:cubicBezTo>
                  <a:cubicBezTo>
                    <a:pt x="92" y="0"/>
                    <a:pt x="0" y="18"/>
                    <a:pt x="0" y="4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83"/>
                    <a:pt x="92" y="102"/>
                    <a:pt x="203" y="102"/>
                  </a:cubicBezTo>
                  <a:cubicBezTo>
                    <a:pt x="6776" y="102"/>
                    <a:pt x="6776" y="102"/>
                    <a:pt x="6776" y="102"/>
                  </a:cubicBezTo>
                  <a:cubicBezTo>
                    <a:pt x="6887" y="102"/>
                    <a:pt x="6980" y="83"/>
                    <a:pt x="6980" y="55"/>
                  </a:cubicBezTo>
                  <a:cubicBezTo>
                    <a:pt x="6980" y="46"/>
                    <a:pt x="6980" y="46"/>
                    <a:pt x="6980" y="46"/>
                  </a:cubicBezTo>
                  <a:cubicBezTo>
                    <a:pt x="6980" y="18"/>
                    <a:pt x="6887" y="0"/>
                    <a:pt x="6776" y="0"/>
                  </a:cubicBezTo>
                </a:path>
              </a:pathLst>
            </a:custGeom>
            <a:solidFill>
              <a:srgbClr val="BCBDC0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9" name="iṩļiďê"/>
            <p:cNvSpPr/>
            <p:nvPr/>
          </p:nvSpPr>
          <p:spPr bwMode="auto">
            <a:xfrm>
              <a:off x="660402" y="2097342"/>
              <a:ext cx="4806410" cy="2909055"/>
            </a:xfrm>
            <a:custGeom>
              <a:avLst/>
              <a:gdLst>
                <a:gd name="T0" fmla="*/ 18999 w 19000"/>
                <a:gd name="T1" fmla="*/ 11499 h 11500"/>
                <a:gd name="T2" fmla="*/ 18999 w 19000"/>
                <a:gd name="T3" fmla="*/ 11499 h 11500"/>
                <a:gd name="T4" fmla="*/ 18999 w 19000"/>
                <a:gd name="T5" fmla="*/ 630 h 11500"/>
                <a:gd name="T6" fmla="*/ 18369 w 19000"/>
                <a:gd name="T7" fmla="*/ 0 h 11500"/>
                <a:gd name="T8" fmla="*/ 630 w 19000"/>
                <a:gd name="T9" fmla="*/ 0 h 11500"/>
                <a:gd name="T10" fmla="*/ 0 w 19000"/>
                <a:gd name="T11" fmla="*/ 630 h 11500"/>
                <a:gd name="T12" fmla="*/ 0 w 19000"/>
                <a:gd name="T13" fmla="*/ 11499 h 11500"/>
                <a:gd name="T14" fmla="*/ 18999 w 19000"/>
                <a:gd name="T15" fmla="*/ 11499 h 11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00" h="11500">
                  <a:moveTo>
                    <a:pt x="18999" y="11499"/>
                  </a:moveTo>
                  <a:lnTo>
                    <a:pt x="18999" y="11499"/>
                  </a:lnTo>
                  <a:cubicBezTo>
                    <a:pt x="18999" y="630"/>
                    <a:pt x="18999" y="630"/>
                    <a:pt x="18999" y="630"/>
                  </a:cubicBezTo>
                  <a:cubicBezTo>
                    <a:pt x="18999" y="287"/>
                    <a:pt x="18712" y="0"/>
                    <a:pt x="18369" y="0"/>
                  </a:cubicBezTo>
                  <a:cubicBezTo>
                    <a:pt x="630" y="0"/>
                    <a:pt x="630" y="0"/>
                    <a:pt x="630" y="0"/>
                  </a:cubicBezTo>
                  <a:cubicBezTo>
                    <a:pt x="278" y="0"/>
                    <a:pt x="0" y="287"/>
                    <a:pt x="0" y="630"/>
                  </a:cubicBezTo>
                  <a:cubicBezTo>
                    <a:pt x="0" y="11499"/>
                    <a:pt x="0" y="11499"/>
                    <a:pt x="0" y="11499"/>
                  </a:cubicBezTo>
                  <a:lnTo>
                    <a:pt x="18999" y="11499"/>
                  </a:ln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0" name="íṧḻîde"/>
            <p:cNvSpPr/>
            <p:nvPr/>
          </p:nvSpPr>
          <p:spPr bwMode="auto">
            <a:xfrm>
              <a:off x="2193010" y="5537341"/>
              <a:ext cx="1765734" cy="585604"/>
            </a:xfrm>
            <a:custGeom>
              <a:avLst/>
              <a:gdLst>
                <a:gd name="T0" fmla="*/ 6924 w 6981"/>
                <a:gd name="T1" fmla="*/ 2138 h 2315"/>
                <a:gd name="T2" fmla="*/ 6924 w 6981"/>
                <a:gd name="T3" fmla="*/ 2138 h 2315"/>
                <a:gd name="T4" fmla="*/ 6249 w 6981"/>
                <a:gd name="T5" fmla="*/ 2000 h 2315"/>
                <a:gd name="T6" fmla="*/ 6036 w 6981"/>
                <a:gd name="T7" fmla="*/ 1712 h 2315"/>
                <a:gd name="T8" fmla="*/ 5897 w 6981"/>
                <a:gd name="T9" fmla="*/ 0 h 2315"/>
                <a:gd name="T10" fmla="*/ 1074 w 6981"/>
                <a:gd name="T11" fmla="*/ 0 h 2315"/>
                <a:gd name="T12" fmla="*/ 944 w 6981"/>
                <a:gd name="T13" fmla="*/ 1712 h 2315"/>
                <a:gd name="T14" fmla="*/ 731 w 6981"/>
                <a:gd name="T15" fmla="*/ 2000 h 2315"/>
                <a:gd name="T16" fmla="*/ 37 w 6981"/>
                <a:gd name="T17" fmla="*/ 2148 h 2315"/>
                <a:gd name="T18" fmla="*/ 0 w 6981"/>
                <a:gd name="T19" fmla="*/ 2185 h 2315"/>
                <a:gd name="T20" fmla="*/ 0 w 6981"/>
                <a:gd name="T21" fmla="*/ 2314 h 2315"/>
                <a:gd name="T22" fmla="*/ 18 w 6981"/>
                <a:gd name="T23" fmla="*/ 2314 h 2315"/>
                <a:gd name="T24" fmla="*/ 6961 w 6981"/>
                <a:gd name="T25" fmla="*/ 2314 h 2315"/>
                <a:gd name="T26" fmla="*/ 6980 w 6981"/>
                <a:gd name="T27" fmla="*/ 2314 h 2315"/>
                <a:gd name="T28" fmla="*/ 6980 w 6981"/>
                <a:gd name="T29" fmla="*/ 2185 h 2315"/>
                <a:gd name="T30" fmla="*/ 6924 w 6981"/>
                <a:gd name="T31" fmla="*/ 2138 h 2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981" h="2315">
                  <a:moveTo>
                    <a:pt x="6924" y="2138"/>
                  </a:moveTo>
                  <a:lnTo>
                    <a:pt x="6924" y="2138"/>
                  </a:lnTo>
                  <a:cubicBezTo>
                    <a:pt x="6795" y="2111"/>
                    <a:pt x="6443" y="2037"/>
                    <a:pt x="6249" y="2000"/>
                  </a:cubicBezTo>
                  <a:cubicBezTo>
                    <a:pt x="6008" y="1944"/>
                    <a:pt x="6036" y="1712"/>
                    <a:pt x="6036" y="1712"/>
                  </a:cubicBezTo>
                  <a:cubicBezTo>
                    <a:pt x="5897" y="0"/>
                    <a:pt x="5897" y="0"/>
                    <a:pt x="5897" y="0"/>
                  </a:cubicBezTo>
                  <a:cubicBezTo>
                    <a:pt x="1074" y="0"/>
                    <a:pt x="1074" y="0"/>
                    <a:pt x="1074" y="0"/>
                  </a:cubicBezTo>
                  <a:cubicBezTo>
                    <a:pt x="944" y="1712"/>
                    <a:pt x="944" y="1712"/>
                    <a:pt x="944" y="1712"/>
                  </a:cubicBezTo>
                  <a:cubicBezTo>
                    <a:pt x="944" y="1712"/>
                    <a:pt x="972" y="1944"/>
                    <a:pt x="731" y="2000"/>
                  </a:cubicBezTo>
                  <a:cubicBezTo>
                    <a:pt x="527" y="2046"/>
                    <a:pt x="148" y="2120"/>
                    <a:pt x="37" y="2148"/>
                  </a:cubicBezTo>
                  <a:cubicBezTo>
                    <a:pt x="0" y="2157"/>
                    <a:pt x="0" y="2185"/>
                    <a:pt x="0" y="2185"/>
                  </a:cubicBezTo>
                  <a:cubicBezTo>
                    <a:pt x="0" y="2314"/>
                    <a:pt x="0" y="2314"/>
                    <a:pt x="0" y="2314"/>
                  </a:cubicBezTo>
                  <a:cubicBezTo>
                    <a:pt x="18" y="2314"/>
                    <a:pt x="18" y="2314"/>
                    <a:pt x="18" y="2314"/>
                  </a:cubicBezTo>
                  <a:cubicBezTo>
                    <a:pt x="6961" y="2314"/>
                    <a:pt x="6961" y="2314"/>
                    <a:pt x="6961" y="2314"/>
                  </a:cubicBezTo>
                  <a:cubicBezTo>
                    <a:pt x="6980" y="2314"/>
                    <a:pt x="6980" y="2314"/>
                    <a:pt x="6980" y="2314"/>
                  </a:cubicBezTo>
                  <a:cubicBezTo>
                    <a:pt x="6980" y="2185"/>
                    <a:pt x="6980" y="2185"/>
                    <a:pt x="6980" y="2185"/>
                  </a:cubicBezTo>
                  <a:cubicBezTo>
                    <a:pt x="6980" y="2185"/>
                    <a:pt x="6980" y="2157"/>
                    <a:pt x="6924" y="2138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1" name="iş1ídé"/>
            <p:cNvSpPr/>
            <p:nvPr/>
          </p:nvSpPr>
          <p:spPr bwMode="auto">
            <a:xfrm>
              <a:off x="660402" y="5006397"/>
              <a:ext cx="4806410" cy="532063"/>
            </a:xfrm>
            <a:custGeom>
              <a:avLst/>
              <a:gdLst>
                <a:gd name="T0" fmla="*/ 0 w 19000"/>
                <a:gd name="T1" fmla="*/ 0 h 2103"/>
                <a:gd name="T2" fmla="*/ 0 w 19000"/>
                <a:gd name="T3" fmla="*/ 0 h 2103"/>
                <a:gd name="T4" fmla="*/ 0 w 19000"/>
                <a:gd name="T5" fmla="*/ 1472 h 2103"/>
                <a:gd name="T6" fmla="*/ 630 w 19000"/>
                <a:gd name="T7" fmla="*/ 2102 h 2103"/>
                <a:gd name="T8" fmla="*/ 18369 w 19000"/>
                <a:gd name="T9" fmla="*/ 2102 h 2103"/>
                <a:gd name="T10" fmla="*/ 18999 w 19000"/>
                <a:gd name="T11" fmla="*/ 1472 h 2103"/>
                <a:gd name="T12" fmla="*/ 18999 w 19000"/>
                <a:gd name="T13" fmla="*/ 0 h 2103"/>
                <a:gd name="T14" fmla="*/ 0 w 19000"/>
                <a:gd name="T15" fmla="*/ 0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00" h="2103">
                  <a:moveTo>
                    <a:pt x="0" y="0"/>
                  </a:moveTo>
                  <a:lnTo>
                    <a:pt x="0" y="0"/>
                  </a:lnTo>
                  <a:cubicBezTo>
                    <a:pt x="0" y="1472"/>
                    <a:pt x="0" y="1472"/>
                    <a:pt x="0" y="1472"/>
                  </a:cubicBezTo>
                  <a:cubicBezTo>
                    <a:pt x="0" y="1824"/>
                    <a:pt x="278" y="2102"/>
                    <a:pt x="630" y="2102"/>
                  </a:cubicBezTo>
                  <a:cubicBezTo>
                    <a:pt x="18369" y="2102"/>
                    <a:pt x="18369" y="2102"/>
                    <a:pt x="18369" y="2102"/>
                  </a:cubicBezTo>
                  <a:cubicBezTo>
                    <a:pt x="18712" y="2102"/>
                    <a:pt x="18999" y="1824"/>
                    <a:pt x="18999" y="1472"/>
                  </a:cubicBezTo>
                  <a:cubicBezTo>
                    <a:pt x="18999" y="0"/>
                    <a:pt x="18999" y="0"/>
                    <a:pt x="18999" y="0"/>
                  </a:cubicBez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32" name="ïšlîďe"/>
            <p:cNvSpPr/>
            <p:nvPr/>
          </p:nvSpPr>
          <p:spPr bwMode="auto">
            <a:xfrm>
              <a:off x="2193012" y="6080559"/>
              <a:ext cx="1765734" cy="42386"/>
            </a:xfrm>
            <a:custGeom>
              <a:avLst/>
              <a:gdLst>
                <a:gd name="T0" fmla="*/ 6943 w 6981"/>
                <a:gd name="T1" fmla="*/ 0 h 167"/>
                <a:gd name="T2" fmla="*/ 6943 w 6981"/>
                <a:gd name="T3" fmla="*/ 0 h 167"/>
                <a:gd name="T4" fmla="*/ 27 w 6981"/>
                <a:gd name="T5" fmla="*/ 0 h 167"/>
                <a:gd name="T6" fmla="*/ 0 w 6981"/>
                <a:gd name="T7" fmla="*/ 37 h 167"/>
                <a:gd name="T8" fmla="*/ 0 w 6981"/>
                <a:gd name="T9" fmla="*/ 166 h 167"/>
                <a:gd name="T10" fmla="*/ 18 w 6981"/>
                <a:gd name="T11" fmla="*/ 166 h 167"/>
                <a:gd name="T12" fmla="*/ 6961 w 6981"/>
                <a:gd name="T13" fmla="*/ 166 h 167"/>
                <a:gd name="T14" fmla="*/ 6980 w 6981"/>
                <a:gd name="T15" fmla="*/ 166 h 167"/>
                <a:gd name="T16" fmla="*/ 6980 w 6981"/>
                <a:gd name="T17" fmla="*/ 37 h 167"/>
                <a:gd name="T18" fmla="*/ 6943 w 6981"/>
                <a:gd name="T1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81" h="167">
                  <a:moveTo>
                    <a:pt x="6943" y="0"/>
                  </a:moveTo>
                  <a:lnTo>
                    <a:pt x="6943" y="0"/>
                  </a:lnTo>
                  <a:cubicBezTo>
                    <a:pt x="27" y="0"/>
                    <a:pt x="27" y="0"/>
                    <a:pt x="27" y="0"/>
                  </a:cubicBezTo>
                  <a:cubicBezTo>
                    <a:pt x="0" y="9"/>
                    <a:pt x="0" y="37"/>
                    <a:pt x="0" y="37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6961" y="166"/>
                    <a:pt x="6961" y="166"/>
                    <a:pt x="6961" y="166"/>
                  </a:cubicBezTo>
                  <a:cubicBezTo>
                    <a:pt x="6980" y="166"/>
                    <a:pt x="6980" y="166"/>
                    <a:pt x="6980" y="166"/>
                  </a:cubicBezTo>
                  <a:cubicBezTo>
                    <a:pt x="6980" y="37"/>
                    <a:pt x="6980" y="37"/>
                    <a:pt x="6980" y="37"/>
                  </a:cubicBezTo>
                  <a:cubicBezTo>
                    <a:pt x="6980" y="37"/>
                    <a:pt x="6980" y="18"/>
                    <a:pt x="6943" y="0"/>
                  </a:cubicBezTo>
                </a:path>
              </a:pathLst>
            </a:custGeom>
            <a:solidFill>
              <a:srgbClr val="D1D2D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3" name="îṧ1îḋê"/>
            <p:cNvSpPr/>
            <p:nvPr/>
          </p:nvSpPr>
          <p:spPr bwMode="auto">
            <a:xfrm>
              <a:off x="885719" y="2308160"/>
              <a:ext cx="4353544" cy="2466226"/>
            </a:xfrm>
            <a:custGeom>
              <a:avLst/>
              <a:gdLst>
                <a:gd name="T0" fmla="*/ 17212 w 17213"/>
                <a:gd name="T1" fmla="*/ 9749 h 9750"/>
                <a:gd name="T2" fmla="*/ 0 w 17213"/>
                <a:gd name="T3" fmla="*/ 9749 h 9750"/>
                <a:gd name="T4" fmla="*/ 0 w 17213"/>
                <a:gd name="T5" fmla="*/ 0 h 9750"/>
                <a:gd name="T6" fmla="*/ 17212 w 17213"/>
                <a:gd name="T7" fmla="*/ 0 h 9750"/>
                <a:gd name="T8" fmla="*/ 17212 w 17213"/>
                <a:gd name="T9" fmla="*/ 9749 h 9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13" h="9750">
                  <a:moveTo>
                    <a:pt x="17212" y="9749"/>
                  </a:moveTo>
                  <a:lnTo>
                    <a:pt x="0" y="9749"/>
                  </a:lnTo>
                  <a:lnTo>
                    <a:pt x="0" y="0"/>
                  </a:lnTo>
                  <a:lnTo>
                    <a:pt x="17212" y="0"/>
                  </a:lnTo>
                  <a:lnTo>
                    <a:pt x="17212" y="9749"/>
                  </a:lnTo>
                </a:path>
              </a:pathLst>
            </a:custGeom>
            <a:blipFill dpi="0" rotWithShape="1"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400"/>
              <a:endParaRPr lang="en-US" dirty="0"/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6927215" y="1388745"/>
            <a:ext cx="4644390" cy="687705"/>
            <a:chOff x="10826" y="2238"/>
            <a:chExt cx="7314" cy="1083"/>
          </a:xfrm>
        </p:grpSpPr>
        <p:grpSp>
          <p:nvGrpSpPr>
            <p:cNvPr id="8" name="íŝ1ïḋe"/>
            <p:cNvGrpSpPr/>
            <p:nvPr/>
          </p:nvGrpSpPr>
          <p:grpSpPr>
            <a:xfrm>
              <a:off x="10826" y="2238"/>
              <a:ext cx="7314" cy="1046"/>
              <a:chOff x="6874195" y="1212262"/>
              <a:chExt cx="4644704" cy="664164"/>
            </a:xfrm>
          </p:grpSpPr>
          <p:sp>
            <p:nvSpPr>
              <p:cNvPr id="26" name="ïśļiḑé"/>
              <p:cNvSpPr/>
              <p:nvPr/>
            </p:nvSpPr>
            <p:spPr bwMode="auto">
              <a:xfrm>
                <a:off x="7667624" y="1212262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dirty="0">
                    <a:sym typeface="+mn-ea"/>
                  </a:rPr>
                  <a:t>认识多分支结构</a:t>
                </a:r>
                <a:endParaRPr lang="en-US" altLang="zh-CN" sz="2000" dirty="0"/>
              </a:p>
            </p:txBody>
          </p:sp>
          <p:sp>
            <p:nvSpPr>
              <p:cNvPr id="27" name="i$1ide"/>
              <p:cNvSpPr/>
              <p:nvPr/>
            </p:nvSpPr>
            <p:spPr>
              <a:xfrm>
                <a:off x="6874195" y="1212262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1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13" name="直接连接符 12"/>
            <p:cNvCxnSpPr/>
            <p:nvPr/>
          </p:nvCxnSpPr>
          <p:spPr>
            <a:xfrm>
              <a:off x="12240" y="3321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组合 36"/>
          <p:cNvGrpSpPr/>
          <p:nvPr/>
        </p:nvGrpSpPr>
        <p:grpSpPr>
          <a:xfrm>
            <a:off x="6927215" y="2207514"/>
            <a:ext cx="4655820" cy="675640"/>
            <a:chOff x="10826" y="3483"/>
            <a:chExt cx="7332" cy="1064"/>
          </a:xfrm>
        </p:grpSpPr>
        <p:grpSp>
          <p:nvGrpSpPr>
            <p:cNvPr id="9" name="iṥľîdè"/>
            <p:cNvGrpSpPr/>
            <p:nvPr/>
          </p:nvGrpSpPr>
          <p:grpSpPr>
            <a:xfrm>
              <a:off x="10826" y="3483"/>
              <a:ext cx="7314" cy="1064"/>
              <a:chOff x="6874251" y="1063289"/>
              <a:chExt cx="4644648" cy="675404"/>
            </a:xfrm>
          </p:grpSpPr>
          <p:sp>
            <p:nvSpPr>
              <p:cNvPr id="24" name="îSḷîḓé"/>
              <p:cNvSpPr/>
              <p:nvPr/>
            </p:nvSpPr>
            <p:spPr bwMode="auto">
              <a:xfrm>
                <a:off x="7667624" y="1074529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sz="2000" dirty="0">
                    <a:sym typeface="+mn-ea"/>
                  </a:rPr>
                  <a:t>if - elif </a:t>
                </a:r>
                <a:r>
                  <a:rPr lang="zh-CN" altLang="en-US" sz="2000" dirty="0">
                    <a:sym typeface="+mn-ea"/>
                  </a:rPr>
                  <a:t>条件语句</a:t>
                </a:r>
                <a:endParaRPr lang="zh-CN" altLang="en-US" sz="2000" dirty="0">
                  <a:sym typeface="+mn-ea"/>
                </a:endParaRPr>
              </a:p>
            </p:txBody>
          </p:sp>
          <p:sp>
            <p:nvSpPr>
              <p:cNvPr id="25" name="iṡḷïḓê"/>
              <p:cNvSpPr/>
              <p:nvPr/>
            </p:nvSpPr>
            <p:spPr>
              <a:xfrm>
                <a:off x="6874251" y="1063289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2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14" name="直接连接符 13"/>
            <p:cNvCxnSpPr/>
            <p:nvPr/>
          </p:nvCxnSpPr>
          <p:spPr>
            <a:xfrm>
              <a:off x="12258" y="4512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grpSp>
        <p:nvGrpSpPr>
          <p:cNvPr id="53" name="组合 52"/>
          <p:cNvGrpSpPr/>
          <p:nvPr/>
        </p:nvGrpSpPr>
        <p:grpSpPr>
          <a:xfrm>
            <a:off x="6927215" y="3014218"/>
            <a:ext cx="4644390" cy="687705"/>
            <a:chOff x="10826" y="2238"/>
            <a:chExt cx="7314" cy="1083"/>
          </a:xfrm>
        </p:grpSpPr>
        <p:grpSp>
          <p:nvGrpSpPr>
            <p:cNvPr id="54" name="íŝ1ïḋe"/>
            <p:cNvGrpSpPr/>
            <p:nvPr/>
          </p:nvGrpSpPr>
          <p:grpSpPr>
            <a:xfrm>
              <a:off x="10826" y="2238"/>
              <a:ext cx="7314" cy="1046"/>
              <a:chOff x="6874195" y="1212262"/>
              <a:chExt cx="4644704" cy="664164"/>
            </a:xfrm>
          </p:grpSpPr>
          <p:sp>
            <p:nvSpPr>
              <p:cNvPr id="56" name="ïśļiḑé"/>
              <p:cNvSpPr/>
              <p:nvPr/>
            </p:nvSpPr>
            <p:spPr bwMode="auto">
              <a:xfrm>
                <a:off x="7667624" y="1212262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dirty="0">
                    <a:sym typeface="+mn-ea"/>
                  </a:rPr>
                  <a:t>求最大的数</a:t>
                </a:r>
                <a:endParaRPr lang="en-US" altLang="zh-CN" sz="2000" dirty="0"/>
              </a:p>
            </p:txBody>
          </p:sp>
          <p:sp>
            <p:nvSpPr>
              <p:cNvPr id="57" name="i$1ide"/>
              <p:cNvSpPr/>
              <p:nvPr/>
            </p:nvSpPr>
            <p:spPr>
              <a:xfrm>
                <a:off x="6874195" y="1212262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3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55" name="直接连接符 54"/>
            <p:cNvCxnSpPr/>
            <p:nvPr/>
          </p:nvCxnSpPr>
          <p:spPr>
            <a:xfrm>
              <a:off x="12240" y="3321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组合 57"/>
          <p:cNvGrpSpPr/>
          <p:nvPr/>
        </p:nvGrpSpPr>
        <p:grpSpPr>
          <a:xfrm>
            <a:off x="6927215" y="3832987"/>
            <a:ext cx="4655820" cy="675640"/>
            <a:chOff x="10826" y="3483"/>
            <a:chExt cx="7332" cy="1064"/>
          </a:xfrm>
        </p:grpSpPr>
        <p:grpSp>
          <p:nvGrpSpPr>
            <p:cNvPr id="59" name="iṥľîdè"/>
            <p:cNvGrpSpPr/>
            <p:nvPr/>
          </p:nvGrpSpPr>
          <p:grpSpPr>
            <a:xfrm>
              <a:off x="10826" y="3483"/>
              <a:ext cx="7314" cy="1064"/>
              <a:chOff x="6874251" y="1063289"/>
              <a:chExt cx="4644648" cy="675404"/>
            </a:xfrm>
          </p:grpSpPr>
          <p:sp>
            <p:nvSpPr>
              <p:cNvPr id="61" name="îSḷîḓé"/>
              <p:cNvSpPr/>
              <p:nvPr/>
            </p:nvSpPr>
            <p:spPr bwMode="auto">
              <a:xfrm>
                <a:off x="7667624" y="1074529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sz="2000" dirty="0">
                    <a:sym typeface="+mn-ea"/>
                  </a:rPr>
                  <a:t>简易计算器</a:t>
                </a:r>
                <a:endParaRPr lang="zh-CN" altLang="en-US" sz="2000" dirty="0">
                  <a:sym typeface="+mn-ea"/>
                </a:endParaRPr>
              </a:p>
            </p:txBody>
          </p:sp>
          <p:sp>
            <p:nvSpPr>
              <p:cNvPr id="62" name="iṡḷïḓê"/>
              <p:cNvSpPr/>
              <p:nvPr/>
            </p:nvSpPr>
            <p:spPr>
              <a:xfrm>
                <a:off x="6874251" y="1063289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4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60" name="直接连接符 59"/>
            <p:cNvCxnSpPr/>
            <p:nvPr/>
          </p:nvCxnSpPr>
          <p:spPr>
            <a:xfrm>
              <a:off x="12258" y="4512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组合 62"/>
          <p:cNvGrpSpPr/>
          <p:nvPr/>
        </p:nvGrpSpPr>
        <p:grpSpPr>
          <a:xfrm>
            <a:off x="6927215" y="4639691"/>
            <a:ext cx="4644390" cy="687705"/>
            <a:chOff x="10826" y="2238"/>
            <a:chExt cx="7314" cy="1083"/>
          </a:xfrm>
        </p:grpSpPr>
        <p:grpSp>
          <p:nvGrpSpPr>
            <p:cNvPr id="64" name="íŝ1ïḋe"/>
            <p:cNvGrpSpPr/>
            <p:nvPr/>
          </p:nvGrpSpPr>
          <p:grpSpPr>
            <a:xfrm>
              <a:off x="10826" y="2238"/>
              <a:ext cx="7314" cy="1046"/>
              <a:chOff x="6874195" y="1212262"/>
              <a:chExt cx="4644704" cy="664164"/>
            </a:xfrm>
          </p:grpSpPr>
          <p:sp>
            <p:nvSpPr>
              <p:cNvPr id="66" name="ïśļiḑé"/>
              <p:cNvSpPr/>
              <p:nvPr/>
            </p:nvSpPr>
            <p:spPr bwMode="auto">
              <a:xfrm>
                <a:off x="7667624" y="1212262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dirty="0">
                    <a:sym typeface="+mn-ea"/>
                  </a:rPr>
                  <a:t>异常处理</a:t>
                </a:r>
                <a:endParaRPr lang="en-US" altLang="zh-CN" sz="2000" dirty="0"/>
              </a:p>
            </p:txBody>
          </p:sp>
          <p:sp>
            <p:nvSpPr>
              <p:cNvPr id="67" name="i$1ide"/>
              <p:cNvSpPr/>
              <p:nvPr/>
            </p:nvSpPr>
            <p:spPr>
              <a:xfrm>
                <a:off x="6874195" y="1212262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5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65" name="直接连接符 64"/>
            <p:cNvCxnSpPr/>
            <p:nvPr/>
          </p:nvCxnSpPr>
          <p:spPr>
            <a:xfrm>
              <a:off x="12240" y="3321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组合 67"/>
          <p:cNvGrpSpPr/>
          <p:nvPr/>
        </p:nvGrpSpPr>
        <p:grpSpPr>
          <a:xfrm>
            <a:off x="6927215" y="5458460"/>
            <a:ext cx="4655820" cy="675640"/>
            <a:chOff x="10826" y="3483"/>
            <a:chExt cx="7332" cy="1064"/>
          </a:xfrm>
        </p:grpSpPr>
        <p:grpSp>
          <p:nvGrpSpPr>
            <p:cNvPr id="69" name="iṥľîdè"/>
            <p:cNvGrpSpPr/>
            <p:nvPr/>
          </p:nvGrpSpPr>
          <p:grpSpPr>
            <a:xfrm>
              <a:off x="10826" y="3483"/>
              <a:ext cx="7314" cy="1064"/>
              <a:chOff x="6874251" y="1063289"/>
              <a:chExt cx="4644648" cy="675404"/>
            </a:xfrm>
          </p:grpSpPr>
          <p:sp>
            <p:nvSpPr>
              <p:cNvPr id="71" name="îSḷîḓé"/>
              <p:cNvSpPr/>
              <p:nvPr/>
            </p:nvSpPr>
            <p:spPr bwMode="auto">
              <a:xfrm>
                <a:off x="7667624" y="1074529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dirty="0"/>
                  <a:t>随堂练习</a:t>
                </a:r>
                <a:endParaRPr lang="zh-CN" altLang="en-US" sz="2000" dirty="0"/>
              </a:p>
            </p:txBody>
          </p:sp>
          <p:sp>
            <p:nvSpPr>
              <p:cNvPr id="72" name="iṡḷïḓê"/>
              <p:cNvSpPr/>
              <p:nvPr/>
            </p:nvSpPr>
            <p:spPr>
              <a:xfrm>
                <a:off x="6874251" y="1063289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6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70" name="直接连接符 69"/>
            <p:cNvCxnSpPr/>
            <p:nvPr/>
          </p:nvCxnSpPr>
          <p:spPr>
            <a:xfrm>
              <a:off x="12258" y="4512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4.1 </a:t>
            </a:r>
            <a:r>
              <a:rPr lang="zh-CN" dirty="0">
                <a:sym typeface="+mn-ea"/>
              </a:rPr>
              <a:t>问题分析</a:t>
            </a:r>
            <a:endParaRPr lang="zh-CN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8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4" name="组合 3"/>
          <p:cNvGrpSpPr/>
          <p:nvPr/>
        </p:nvGrpSpPr>
        <p:grpSpPr>
          <a:xfrm>
            <a:off x="2789555" y="2665095"/>
            <a:ext cx="4815205" cy="1220470"/>
            <a:chOff x="4393" y="4197"/>
            <a:chExt cx="7583" cy="1922"/>
          </a:xfrm>
        </p:grpSpPr>
        <p:sp>
          <p:nvSpPr>
            <p:cNvPr id="6" name="矩形 5"/>
            <p:cNvSpPr/>
            <p:nvPr/>
          </p:nvSpPr>
          <p:spPr>
            <a:xfrm>
              <a:off x="4393" y="4197"/>
              <a:ext cx="1566" cy="1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</a:bodyPr>
            <a:p>
              <a:pPr algn="ctr"/>
              <a:r>
                <a:rPr lang="en-US" altLang="zh-CN" sz="8800" b="1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</a:rPr>
                <a:t>1</a:t>
              </a:r>
              <a:endParaRPr lang="en-US" altLang="zh-CN" sz="8800" b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5980" y="4197"/>
              <a:ext cx="1566" cy="1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</a:bodyPr>
            <a:p>
              <a:pPr algn="ctr"/>
              <a:r>
                <a:rPr lang="en-US" altLang="zh-CN" sz="8800" b="1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</a:rPr>
                <a:t>+</a:t>
              </a:r>
              <a:endParaRPr lang="en-US" altLang="zh-CN" sz="8800" b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7567" y="4197"/>
              <a:ext cx="1566" cy="1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</a:bodyPr>
            <a:p>
              <a:pPr algn="ctr"/>
              <a:r>
                <a:rPr lang="en-US" altLang="zh-CN" sz="8800" b="1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</a:rPr>
                <a:t>1</a:t>
              </a:r>
              <a:endParaRPr lang="en-US" altLang="zh-CN" sz="8800" b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9154" y="4197"/>
              <a:ext cx="2822" cy="1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</a:bodyPr>
            <a:p>
              <a:pPr algn="ctr"/>
              <a:r>
                <a:rPr lang="en-US" altLang="zh-CN" sz="8800" b="1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</a:rPr>
                <a:t>= 2</a:t>
              </a:r>
              <a:endParaRPr lang="en-US" altLang="zh-CN" sz="8800" b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2472690" y="1934845"/>
            <a:ext cx="1627505" cy="860425"/>
            <a:chOff x="3894" y="3047"/>
            <a:chExt cx="2563" cy="1355"/>
          </a:xfrm>
        </p:grpSpPr>
        <p:sp>
          <p:nvSpPr>
            <p:cNvPr id="11" name="文本框 10"/>
            <p:cNvSpPr txBox="1"/>
            <p:nvPr/>
          </p:nvSpPr>
          <p:spPr>
            <a:xfrm>
              <a:off x="3894" y="3047"/>
              <a:ext cx="2563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400" b="1">
                  <a:solidFill>
                    <a:schemeClr val="accent2">
                      <a:lumMod val="50000"/>
                    </a:schemeClr>
                  </a:solidFill>
                </a:rPr>
                <a:t>运算数：</a:t>
              </a:r>
              <a:r>
                <a:rPr lang="en-US" altLang="zh-CN" sz="2400" b="1">
                  <a:solidFill>
                    <a:schemeClr val="accent2">
                      <a:lumMod val="50000"/>
                    </a:schemeClr>
                  </a:solidFill>
                </a:rPr>
                <a:t>x</a:t>
              </a:r>
              <a:endParaRPr lang="en-US" altLang="zh-CN" sz="2400" b="1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cxnSp>
          <p:nvCxnSpPr>
            <p:cNvPr id="5" name="直接箭头连接符 4"/>
            <p:cNvCxnSpPr>
              <a:stCxn id="11" idx="2"/>
            </p:cNvCxnSpPr>
            <p:nvPr/>
          </p:nvCxnSpPr>
          <p:spPr>
            <a:xfrm>
              <a:off x="5176" y="3772"/>
              <a:ext cx="0" cy="630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组合 16"/>
          <p:cNvGrpSpPr/>
          <p:nvPr/>
        </p:nvGrpSpPr>
        <p:grpSpPr>
          <a:xfrm>
            <a:off x="4488815" y="1934845"/>
            <a:ext cx="1627505" cy="860425"/>
            <a:chOff x="7069" y="3047"/>
            <a:chExt cx="2563" cy="1355"/>
          </a:xfrm>
        </p:grpSpPr>
        <p:sp>
          <p:nvSpPr>
            <p:cNvPr id="12" name="文本框 11"/>
            <p:cNvSpPr txBox="1"/>
            <p:nvPr/>
          </p:nvSpPr>
          <p:spPr>
            <a:xfrm>
              <a:off x="7069" y="3047"/>
              <a:ext cx="2563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400" b="1">
                  <a:solidFill>
                    <a:schemeClr val="accent2">
                      <a:lumMod val="50000"/>
                    </a:schemeClr>
                  </a:solidFill>
                </a:rPr>
                <a:t>运算数：</a:t>
              </a:r>
              <a:r>
                <a:rPr lang="en-US" altLang="zh-CN" sz="2400" b="1">
                  <a:solidFill>
                    <a:schemeClr val="accent2">
                      <a:lumMod val="50000"/>
                    </a:schemeClr>
                  </a:solidFill>
                </a:rPr>
                <a:t>y</a:t>
              </a:r>
              <a:endParaRPr lang="en-US" altLang="zh-CN" sz="2400" b="1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cxnSp>
          <p:nvCxnSpPr>
            <p:cNvPr id="15" name="直接箭头连接符 14"/>
            <p:cNvCxnSpPr/>
            <p:nvPr/>
          </p:nvCxnSpPr>
          <p:spPr>
            <a:xfrm>
              <a:off x="8350" y="3772"/>
              <a:ext cx="0" cy="630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组合 18"/>
          <p:cNvGrpSpPr/>
          <p:nvPr/>
        </p:nvGrpSpPr>
        <p:grpSpPr>
          <a:xfrm>
            <a:off x="3394710" y="3699510"/>
            <a:ext cx="1821815" cy="860425"/>
            <a:chOff x="5346" y="5826"/>
            <a:chExt cx="2869" cy="1355"/>
          </a:xfrm>
        </p:grpSpPr>
        <p:sp>
          <p:nvSpPr>
            <p:cNvPr id="13" name="文本框 12"/>
            <p:cNvSpPr txBox="1"/>
            <p:nvPr/>
          </p:nvSpPr>
          <p:spPr>
            <a:xfrm>
              <a:off x="5346" y="6456"/>
              <a:ext cx="2869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400" b="1">
                  <a:solidFill>
                    <a:schemeClr val="accent2">
                      <a:lumMod val="50000"/>
                    </a:schemeClr>
                  </a:solidFill>
                </a:rPr>
                <a:t>运算符：</a:t>
              </a:r>
              <a:r>
                <a:rPr lang="en-US" altLang="zh-CN" sz="2400" b="1">
                  <a:solidFill>
                    <a:schemeClr val="accent2">
                      <a:lumMod val="50000"/>
                    </a:schemeClr>
                  </a:solidFill>
                </a:rPr>
                <a:t>op</a:t>
              </a:r>
              <a:endParaRPr lang="en-US" altLang="zh-CN" sz="2400" b="1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cxnSp>
          <p:nvCxnSpPr>
            <p:cNvPr id="18" name="直接箭头连接符 17"/>
            <p:cNvCxnSpPr/>
            <p:nvPr/>
          </p:nvCxnSpPr>
          <p:spPr>
            <a:xfrm flipV="1">
              <a:off x="6763" y="5826"/>
              <a:ext cx="0" cy="630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组合 20"/>
          <p:cNvGrpSpPr/>
          <p:nvPr/>
        </p:nvGrpSpPr>
        <p:grpSpPr>
          <a:xfrm>
            <a:off x="7864475" y="3045460"/>
            <a:ext cx="2454275" cy="460375"/>
            <a:chOff x="12385" y="4796"/>
            <a:chExt cx="3865" cy="725"/>
          </a:xfrm>
        </p:grpSpPr>
        <p:sp>
          <p:nvSpPr>
            <p:cNvPr id="14" name="文本框 13"/>
            <p:cNvSpPr txBox="1"/>
            <p:nvPr/>
          </p:nvSpPr>
          <p:spPr>
            <a:xfrm>
              <a:off x="13015" y="4796"/>
              <a:ext cx="3235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400" b="1">
                  <a:solidFill>
                    <a:schemeClr val="accent2">
                      <a:lumMod val="50000"/>
                    </a:schemeClr>
                  </a:solidFill>
                </a:rPr>
                <a:t>运算结果：</a:t>
              </a:r>
              <a:r>
                <a:rPr lang="en-US" altLang="zh-CN" sz="2400" b="1">
                  <a:solidFill>
                    <a:schemeClr val="accent2">
                      <a:lumMod val="50000"/>
                    </a:schemeClr>
                  </a:solidFill>
                </a:rPr>
                <a:t>c</a:t>
              </a:r>
              <a:endParaRPr lang="en-US" altLang="zh-CN" sz="2400" b="1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cxnSp>
          <p:nvCxnSpPr>
            <p:cNvPr id="20" name="直接箭头连接符 19"/>
            <p:cNvCxnSpPr/>
            <p:nvPr/>
          </p:nvCxnSpPr>
          <p:spPr>
            <a:xfrm rot="5400000" flipH="1">
              <a:off x="12700" y="4843"/>
              <a:ext cx="0" cy="630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ECB019B1-382A-4266-B25C-5B523AA43C14-5" descr="C:/Users/ADMINI~1/AppData/Local/Temp/qt_temp.Wj8908qt_temp"/>
          <p:cNvPicPr>
            <a:picLocks noChangeAspect="1"/>
          </p:cNvPicPr>
          <p:nvPr/>
        </p:nvPicPr>
        <p:blipFill>
          <a:blip r:embed="rId1"/>
          <a:srcRect l="3245" t="2374" r="15491" b="53958"/>
          <a:stretch>
            <a:fillRect/>
          </a:stretch>
        </p:blipFill>
        <p:spPr>
          <a:xfrm>
            <a:off x="237490" y="1229360"/>
            <a:ext cx="6964336" cy="52164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4.2 </a:t>
            </a:r>
            <a:r>
              <a:rPr lang="zh-CN" altLang="en-US" dirty="0">
                <a:sym typeface="+mn-ea"/>
              </a:rPr>
              <a:t>算法设计</a:t>
            </a:r>
            <a:endParaRPr lang="zh-CN" altLang="en-US" dirty="0">
              <a:sym typeface="+mn-ea"/>
            </a:endParaRPr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8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027805" y="2084070"/>
            <a:ext cx="175196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000" b="1">
                <a:solidFill>
                  <a:schemeClr val="accent4">
                    <a:lumMod val="75000"/>
                  </a:schemeClr>
                </a:solidFill>
              </a:rPr>
              <a:t>自然语言描述：</a:t>
            </a:r>
            <a:endParaRPr lang="zh-CN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027805" y="1462405"/>
            <a:ext cx="605599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000" b="1">
                <a:solidFill>
                  <a:schemeClr val="accent4">
                    <a:lumMod val="75000"/>
                  </a:schemeClr>
                </a:solidFill>
              </a:rPr>
              <a:t>输入数据：</a:t>
            </a:r>
            <a:r>
              <a:rPr lang="en-US" altLang="zh-CN" sz="2000" b="1">
                <a:solidFill>
                  <a:schemeClr val="accent4">
                    <a:lumMod val="75000"/>
                  </a:schemeClr>
                </a:solidFill>
              </a:rPr>
              <a:t>x</a:t>
            </a:r>
            <a:r>
              <a:rPr lang="zh-CN" altLang="en-US" sz="2000" b="1">
                <a:solidFill>
                  <a:schemeClr val="accent4">
                    <a:lumMod val="75000"/>
                  </a:schemeClr>
                </a:solidFill>
              </a:rPr>
              <a:t>、</a:t>
            </a:r>
            <a:r>
              <a:rPr lang="en-US" altLang="zh-CN" sz="2000" b="1">
                <a:solidFill>
                  <a:schemeClr val="accent4">
                    <a:lumMod val="75000"/>
                  </a:schemeClr>
                </a:solidFill>
              </a:rPr>
              <a:t> y</a:t>
            </a:r>
            <a:r>
              <a:rPr lang="zh-CN" altLang="en-US" sz="2000" b="1">
                <a:solidFill>
                  <a:schemeClr val="accent4">
                    <a:lumMod val="75000"/>
                  </a:schemeClr>
                </a:solidFill>
              </a:rPr>
              <a:t>、</a:t>
            </a:r>
            <a:r>
              <a:rPr lang="en-US" altLang="zh-CN" sz="2000" b="1">
                <a:solidFill>
                  <a:schemeClr val="accent4">
                    <a:lumMod val="75000"/>
                  </a:schemeClr>
                </a:solidFill>
              </a:rPr>
              <a:t> op        </a:t>
            </a:r>
            <a:r>
              <a:rPr lang="zh-CN" altLang="en-US" sz="2000" b="1">
                <a:solidFill>
                  <a:schemeClr val="accent4">
                    <a:lumMod val="75000"/>
                  </a:schemeClr>
                </a:solidFill>
              </a:rPr>
              <a:t>输出数据：运算结果</a:t>
            </a:r>
            <a:r>
              <a:rPr lang="en-US" altLang="zh-CN" sz="2000" b="1">
                <a:solidFill>
                  <a:schemeClr val="accent4">
                    <a:lumMod val="75000"/>
                  </a:schemeClr>
                </a:solidFill>
              </a:rPr>
              <a:t>c</a:t>
            </a:r>
            <a:endParaRPr lang="en-US" altLang="zh-CN" sz="2000" b="1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960745" y="2084070"/>
            <a:ext cx="92011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b="1">
                <a:solidFill>
                  <a:schemeClr val="accent1">
                    <a:lumMod val="60000"/>
                    <a:lumOff val="40000"/>
                  </a:schemeClr>
                </a:solidFill>
              </a:rPr>
              <a:t>输入：</a:t>
            </a:r>
            <a:endParaRPr lang="zh-CN" altLang="en-US" b="1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960745" y="2602230"/>
            <a:ext cx="92011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0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处理：</a:t>
            </a:r>
            <a:endParaRPr lang="zh-CN" sz="2000" b="1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960745" y="3115945"/>
            <a:ext cx="91948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0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输出：</a:t>
            </a:r>
            <a:endParaRPr lang="zh-CN" sz="2000" b="1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757035" y="2093595"/>
            <a:ext cx="45440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b="1">
                <a:solidFill>
                  <a:schemeClr val="accent1">
                    <a:lumMod val="60000"/>
                    <a:lumOff val="40000"/>
                  </a:schemeClr>
                </a:solidFill>
              </a:rPr>
              <a:t>数字</a:t>
            </a:r>
            <a:r>
              <a:rPr lang="en-US" altLang="zh-CN" b="1">
                <a:solidFill>
                  <a:schemeClr val="accent1">
                    <a:lumMod val="60000"/>
                    <a:lumOff val="40000"/>
                  </a:schemeClr>
                </a:solidFill>
              </a:rPr>
              <a:t>x</a:t>
            </a:r>
            <a:r>
              <a:rPr lang="zh-CN" altLang="en-US" b="1">
                <a:solidFill>
                  <a:schemeClr val="accent1">
                    <a:lumMod val="60000"/>
                    <a:lumOff val="40000"/>
                  </a:schemeClr>
                </a:solidFill>
              </a:rPr>
              <a:t>、数字</a:t>
            </a:r>
            <a:r>
              <a:rPr lang="en-US" altLang="zh-CN" b="1">
                <a:solidFill>
                  <a:schemeClr val="accent1">
                    <a:lumMod val="60000"/>
                    <a:lumOff val="40000"/>
                  </a:schemeClr>
                </a:solidFill>
              </a:rPr>
              <a:t>y</a:t>
            </a:r>
            <a:r>
              <a:rPr lang="zh-CN" altLang="en-US" b="1">
                <a:solidFill>
                  <a:schemeClr val="accent1">
                    <a:lumMod val="60000"/>
                    <a:lumOff val="40000"/>
                  </a:schemeClr>
                </a:solidFill>
              </a:rPr>
              <a:t>、 运算符号</a:t>
            </a:r>
            <a:r>
              <a:rPr lang="en-US" altLang="zh-CN" b="1">
                <a:solidFill>
                  <a:schemeClr val="accent1">
                    <a:lumMod val="60000"/>
                    <a:lumOff val="40000"/>
                  </a:schemeClr>
                </a:solidFill>
              </a:rPr>
              <a:t>op</a:t>
            </a:r>
            <a:r>
              <a:rPr lang="zh-CN" altLang="en-US" b="1">
                <a:solidFill>
                  <a:schemeClr val="accent1">
                    <a:lumMod val="60000"/>
                    <a:lumOff val="40000"/>
                  </a:schemeClr>
                </a:solidFill>
              </a:rPr>
              <a:t>（</a:t>
            </a:r>
            <a:r>
              <a:rPr lang="en-US" altLang="zh-CN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  <a:r>
              <a:rPr lang="zh-CN" altLang="en-US" b="1">
                <a:solidFill>
                  <a:schemeClr val="accent1">
                    <a:lumMod val="60000"/>
                    <a:lumOff val="40000"/>
                  </a:schemeClr>
                </a:solidFill>
              </a:rPr>
              <a:t>、</a:t>
            </a:r>
            <a:r>
              <a:rPr lang="en-US" altLang="zh-CN" b="1">
                <a:solidFill>
                  <a:schemeClr val="accent1">
                    <a:lumMod val="60000"/>
                    <a:lumOff val="40000"/>
                  </a:schemeClr>
                </a:solidFill>
              </a:rPr>
              <a:t>-</a:t>
            </a:r>
            <a:r>
              <a:rPr lang="zh-CN" altLang="en-US" b="1">
                <a:solidFill>
                  <a:schemeClr val="accent1">
                    <a:lumMod val="60000"/>
                    <a:lumOff val="40000"/>
                  </a:schemeClr>
                </a:solidFill>
              </a:rPr>
              <a:t>、</a:t>
            </a:r>
            <a:r>
              <a:rPr lang="en-US" altLang="zh-CN" b="1">
                <a:solidFill>
                  <a:schemeClr val="accent1">
                    <a:lumMod val="60000"/>
                    <a:lumOff val="40000"/>
                  </a:schemeClr>
                </a:solidFill>
              </a:rPr>
              <a:t>*</a:t>
            </a:r>
            <a:r>
              <a:rPr lang="zh-CN" altLang="en-US" b="1">
                <a:solidFill>
                  <a:schemeClr val="accent1">
                    <a:lumMod val="60000"/>
                    <a:lumOff val="40000"/>
                  </a:schemeClr>
                </a:solidFill>
              </a:rPr>
              <a:t>、</a:t>
            </a:r>
            <a:r>
              <a:rPr lang="en-US" altLang="zh-CN" b="1">
                <a:solidFill>
                  <a:schemeClr val="accent1">
                    <a:lumMod val="60000"/>
                    <a:lumOff val="40000"/>
                  </a:schemeClr>
                </a:solidFill>
              </a:rPr>
              <a:t>/</a:t>
            </a:r>
            <a:r>
              <a:rPr lang="zh-CN" altLang="en-US" b="1">
                <a:solidFill>
                  <a:schemeClr val="accent1">
                    <a:lumMod val="60000"/>
                    <a:lumOff val="40000"/>
                  </a:schemeClr>
                </a:solidFill>
              </a:rPr>
              <a:t>）</a:t>
            </a:r>
            <a:endParaRPr lang="zh-CN" altLang="en-US" b="1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757035" y="2611755"/>
            <a:ext cx="406273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0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根据输入的运算符号执行运算操作</a:t>
            </a:r>
            <a:endParaRPr lang="zh-CN" sz="2000" b="1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757035" y="3125470"/>
            <a:ext cx="187960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0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输出运算结果</a:t>
            </a:r>
            <a:endParaRPr lang="en-US" altLang="zh-CN" sz="2000" b="1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3" grpId="0"/>
      <p:bldP spid="3" grpId="1"/>
      <p:bldP spid="4" grpId="0"/>
      <p:bldP spid="6" grpId="0"/>
      <p:bldP spid="7" grpId="0"/>
      <p:bldP spid="4" grpId="1"/>
      <p:bldP spid="6" grpId="1"/>
      <p:bldP spid="7" grpId="1"/>
      <p:bldP spid="9" grpId="0"/>
      <p:bldP spid="10" grpId="0"/>
      <p:bldP spid="12" grpId="0"/>
      <p:bldP spid="9" grpId="1"/>
      <p:bldP spid="10" grpId="1"/>
      <p:bldP spid="12" grpId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p>
            <a:r>
              <a:rPr lang="en-US" altLang="zh-CN" dirty="0"/>
              <a:t>4.3 </a:t>
            </a:r>
            <a:r>
              <a:rPr lang="zh-CN" dirty="0"/>
              <a:t>代码编写</a:t>
            </a:r>
            <a:endParaRPr lang="zh-CN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760845" y="1151890"/>
            <a:ext cx="4978400" cy="53232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700">
                <a:solidFill>
                  <a:srgbClr val="E7272D"/>
                </a:solidFill>
                <a:latin typeface="PT Mono" panose="02060509020205020204" charset="0"/>
                <a:cs typeface="PT Mono" panose="02060509020205020204" charset="0"/>
              </a:rPr>
              <a:t># 简易计算器（四则运算）</a:t>
            </a:r>
            <a:endParaRPr lang="zh-CN" altLang="en-US" sz="1700">
              <a:solidFill>
                <a:srgbClr val="C00000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x =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一个运算数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y =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二个运算数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op =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inpu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运算符(+-*/)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c = 0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if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+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+ y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-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- y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*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    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* y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/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/ y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se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符输入有误！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</p:txBody>
      </p:sp>
      <p:sp>
        <p:nvSpPr>
          <p:cNvPr id="10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2" name="矩形 1"/>
          <p:cNvSpPr/>
          <p:nvPr/>
        </p:nvSpPr>
        <p:spPr>
          <a:xfrm>
            <a:off x="6800215" y="1204595"/>
            <a:ext cx="4848225" cy="1295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 flipV="1">
            <a:off x="6800215" y="2684145"/>
            <a:ext cx="4848225" cy="3790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7" name="ECB019B1-382A-4266-B25C-5B523AA43C14-41" descr="C:/Users/ADMINI~1/AppData/Local/Temp/qt_temp.vm8908qt_temp"/>
          <p:cNvPicPr/>
          <p:nvPr/>
        </p:nvPicPr>
        <p:blipFill>
          <a:blip r:embed="rId3"/>
          <a:srcRect l="2242" t="2475" r="19563" b="53157"/>
          <a:stretch>
            <a:fillRect/>
          </a:stretch>
        </p:blipFill>
        <p:spPr>
          <a:xfrm>
            <a:off x="125730" y="1260475"/>
            <a:ext cx="6675120" cy="521462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1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animBg="1"/>
      <p:bldP spid="2" grpId="1" animBg="1"/>
      <p:bldP spid="2" grpId="2" bldLvl="0" animBg="1"/>
      <p:bldP spid="4" grpId="2" bldLvl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15" name="图片 1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2765" y="1822450"/>
            <a:ext cx="2382768" cy="1008000"/>
          </a:xfrm>
          <a:prstGeom prst="rect">
            <a:avLst/>
          </a:prstGeom>
        </p:spPr>
      </p:pic>
      <p:sp>
        <p:nvSpPr>
          <p:cNvPr id="7" name="圆角矩形 6"/>
          <p:cNvSpPr/>
          <p:nvPr/>
        </p:nvSpPr>
        <p:spPr>
          <a:xfrm>
            <a:off x="2211705" y="5071110"/>
            <a:ext cx="3486150" cy="140398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48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p>
            <a:r>
              <a:rPr lang="en-US" altLang="zh-CN" dirty="0"/>
              <a:t>4.4 </a:t>
            </a:r>
            <a:r>
              <a:rPr lang="zh-CN" altLang="en-US" dirty="0"/>
              <a:t>调试运行</a:t>
            </a:r>
            <a:endParaRPr lang="zh-CN" altLang="en-US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578610" y="4669790"/>
            <a:ext cx="4203700" cy="1822645"/>
          </a:xfrm>
          <a:prstGeom prst="roundRect">
            <a:avLst/>
          </a:prstGeom>
          <a:noFill/>
          <a:ln w="38100" cmpd="sng">
            <a:solidFill>
              <a:srgbClr val="C00000">
                <a:alpha val="59000"/>
              </a:srgbClr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 anchor="t">
            <a:spAutoFit/>
          </a:bodyPr>
          <a:p>
            <a:pPr algn="l">
              <a:buClrTx/>
              <a:buSzTx/>
              <a:buNone/>
            </a:pP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 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op==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/'</a:t>
            </a: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    if 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y!=0:</a:t>
            </a:r>
            <a:endParaRPr lang="zh-CN" altLang="en-US" sz="17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        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  <a:sym typeface="+mn-ea"/>
              </a:rPr>
              <a:t>c = x / y</a:t>
            </a:r>
            <a:endParaRPr lang="zh-CN" altLang="en-US" sz="17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  <a:sym typeface="+mn-ea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运算结果为：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  <a:sym typeface="+mn-ea"/>
              </a:rPr>
              <a:t>, c)</a:t>
            </a:r>
            <a:endParaRPr lang="zh-CN" altLang="en-US" sz="17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    else:</a:t>
            </a:r>
            <a:endParaRPr lang="zh-CN" altLang="en-US" sz="17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        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除数不能为零！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</p:txBody>
      </p:sp>
      <p:sp>
        <p:nvSpPr>
          <p:cNvPr id="10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715" y="2862580"/>
            <a:ext cx="6143625" cy="160972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85775" y="1261745"/>
            <a:ext cx="448881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保存文件后，按</a:t>
            </a:r>
            <a:r>
              <a:rPr lang="en-US" altLang="zh-CN"/>
              <a:t>F5</a:t>
            </a:r>
            <a:r>
              <a:rPr lang="zh-CN" altLang="en-US"/>
              <a:t>运行程序。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6760845" y="1151890"/>
            <a:ext cx="4978400" cy="53232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700">
                <a:solidFill>
                  <a:srgbClr val="E7272D"/>
                </a:solidFill>
                <a:latin typeface="PT Mono" panose="02060509020205020204" charset="0"/>
                <a:cs typeface="PT Mono" panose="02060509020205020204" charset="0"/>
              </a:rPr>
              <a:t># 简易计算器（四则运算）</a:t>
            </a:r>
            <a:endParaRPr lang="zh-CN" altLang="en-US" sz="1700">
              <a:solidFill>
                <a:srgbClr val="C00000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x =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一个运算数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y =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二个运算数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op =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inpu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运算符(+-*/)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c = 0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if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+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+ y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-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- y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*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    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* y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 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op==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/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/ y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se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符输入有误！'</a:t>
            </a:r>
            <a:r>
              <a:rPr lang="zh-CN" altLang="en-US" sz="17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6789420" y="5106670"/>
            <a:ext cx="3500755" cy="77400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圆角矩形 8"/>
          <p:cNvSpPr/>
          <p:nvPr/>
        </p:nvSpPr>
        <p:spPr>
          <a:xfrm>
            <a:off x="858520" y="3924300"/>
            <a:ext cx="1190625" cy="180000"/>
          </a:xfrm>
          <a:prstGeom prst="roundRect">
            <a:avLst/>
          </a:prstGeom>
          <a:noFill/>
          <a:ln w="19050">
            <a:solidFill>
              <a:srgbClr val="0070C0"/>
            </a:solidFill>
            <a:prstDash val="sysDot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cxnSp>
        <p:nvCxnSpPr>
          <p:cNvPr id="11" name="直接连接符 10"/>
          <p:cNvCxnSpPr/>
          <p:nvPr/>
        </p:nvCxnSpPr>
        <p:spPr>
          <a:xfrm>
            <a:off x="525145" y="4286250"/>
            <a:ext cx="1800225" cy="0"/>
          </a:xfrm>
          <a:prstGeom prst="line">
            <a:avLst/>
          </a:prstGeom>
          <a:ln w="19050">
            <a:solidFill>
              <a:srgbClr val="117E4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2490470" y="4286250"/>
            <a:ext cx="2349500" cy="0"/>
          </a:xfrm>
          <a:prstGeom prst="line">
            <a:avLst/>
          </a:prstGeom>
          <a:ln w="19050">
            <a:solidFill>
              <a:srgbClr val="A91EB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圆角矩形 12"/>
          <p:cNvSpPr/>
          <p:nvPr/>
        </p:nvSpPr>
        <p:spPr>
          <a:xfrm>
            <a:off x="1314450" y="3694430"/>
            <a:ext cx="2905125" cy="200025"/>
          </a:xfrm>
          <a:prstGeom prst="roundRect">
            <a:avLst/>
          </a:prstGeom>
          <a:noFill/>
          <a:ln w="19050">
            <a:solidFill>
              <a:srgbClr val="0070C0"/>
            </a:solidFill>
            <a:prstDash val="sysDot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4" name="圆角矩形 13"/>
          <p:cNvSpPr/>
          <p:nvPr/>
        </p:nvSpPr>
        <p:spPr>
          <a:xfrm>
            <a:off x="4474845" y="3694430"/>
            <a:ext cx="781050" cy="200025"/>
          </a:xfrm>
          <a:prstGeom prst="roundRect">
            <a:avLst/>
          </a:prstGeom>
          <a:noFill/>
          <a:ln w="19050">
            <a:solidFill>
              <a:srgbClr val="0070C0"/>
            </a:solidFill>
            <a:prstDash val="sysDot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ldLvl="0" animBg="1"/>
      <p:bldP spid="5" grpId="0"/>
      <p:bldP spid="5" grpId="1"/>
      <p:bldP spid="6" grpId="0" bldLvl="0" animBg="1"/>
      <p:bldP spid="6" grpId="1" animBg="1"/>
      <p:bldP spid="7" grpId="0" bldLvl="0" animBg="1"/>
      <p:bldP spid="9" grpId="0" animBg="1"/>
      <p:bldP spid="9" grpId="1" animBg="1"/>
      <p:bldP spid="13" grpId="0" bldLvl="0" animBg="1"/>
      <p:bldP spid="13" grpId="1" animBg="1"/>
      <p:bldP spid="14" grpId="0" bldLvl="0" animBg="1"/>
      <p:bldP spid="14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41375" y="-57150"/>
            <a:ext cx="4671060" cy="102870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4.5 </a:t>
            </a:r>
            <a:r>
              <a:rPr lang="zh-CN" altLang="en-US" dirty="0">
                <a:sym typeface="+mn-ea"/>
              </a:rPr>
              <a:t>程序修改</a:t>
            </a:r>
            <a:endParaRPr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6401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11" name="ECB019B1-382A-4266-B25C-5B523AA43C14-6" descr="qt_temp"/>
          <p:cNvPicPr>
            <a:picLocks noChangeAspect="1"/>
          </p:cNvPicPr>
          <p:nvPr/>
        </p:nvPicPr>
        <p:blipFill>
          <a:blip r:embed="rId3"/>
          <a:srcRect l="4729" t="47614" r="5125" b="3516"/>
          <a:stretch>
            <a:fillRect/>
          </a:stretch>
        </p:blipFill>
        <p:spPr>
          <a:xfrm>
            <a:off x="277495" y="1087120"/>
            <a:ext cx="7143115" cy="564451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7322185" y="1061085"/>
            <a:ext cx="4719955" cy="57543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600">
                <a:solidFill>
                  <a:srgbClr val="E7272D"/>
                </a:solidFill>
                <a:latin typeface="PT Mono" panose="02060509020205020204" charset="0"/>
                <a:cs typeface="PT Mono" panose="02060509020205020204" charset="0"/>
              </a:rPr>
              <a:t># 简易计算器（四则运算）</a:t>
            </a:r>
            <a:endParaRPr lang="zh-CN" altLang="en-US" sz="1600">
              <a:solidFill>
                <a:srgbClr val="C00000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x =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一个运算数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y =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二个运算数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op =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inpu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运算符(+-*/)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c = 0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if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+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+ y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-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- y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*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    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* y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elif 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/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: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if 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y!=0: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c = x / y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print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运算结果为：'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, c)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else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: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print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除数不能为零！'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)</a:t>
            </a:r>
            <a:endParaRPr lang="zh-CN" altLang="en-US" sz="1600"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se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符输入有误！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6265" y="1403985"/>
            <a:ext cx="3470910" cy="1517650"/>
          </a:xfrm>
          <a:prstGeom prst="rect">
            <a:avLst/>
          </a:prstGeom>
          <a:ln w="12700" cmpd="sng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圆角矩形 29"/>
          <p:cNvSpPr/>
          <p:nvPr/>
        </p:nvSpPr>
        <p:spPr>
          <a:xfrm>
            <a:off x="3963035" y="4520565"/>
            <a:ext cx="2256790" cy="1682115"/>
          </a:xfrm>
          <a:prstGeom prst="roundRect">
            <a:avLst>
              <a:gd name="adj" fmla="val 6745"/>
            </a:avLst>
          </a:prstGeom>
          <a:noFill/>
          <a:ln w="28575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" name="圆角矩形 2"/>
          <p:cNvSpPr/>
          <p:nvPr/>
        </p:nvSpPr>
        <p:spPr>
          <a:xfrm>
            <a:off x="7885430" y="5013325"/>
            <a:ext cx="3282315" cy="1260000"/>
          </a:xfrm>
          <a:prstGeom prst="roundRect">
            <a:avLst>
              <a:gd name="adj" fmla="val 6745"/>
            </a:avLst>
          </a:prstGeom>
          <a:noFill/>
          <a:ln w="28575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2" grpId="1"/>
      <p:bldP spid="30" grpId="0" bldLvl="0" animBg="1"/>
      <p:bldP spid="3" grpId="0" bldLvl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/>
              <a:t>异常处理</a:t>
            </a:r>
            <a:endParaRPr lang="zh-CN" altLang="en-US" sz="2800" dirty="0"/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4041140" cy="808990"/>
          </a:xfrm>
        </p:spPr>
        <p:txBody>
          <a:bodyPr/>
          <a:lstStyle/>
          <a:p>
            <a:r>
              <a:rPr lang="zh-CN" altLang="en-US" dirty="0"/>
              <a:t>异常</a:t>
            </a:r>
            <a:endParaRPr lang="zh-CN" altLang="en-US" dirty="0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11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 descr="自动报警"/>
          <p:cNvPicPr>
            <a:picLocks noChangeAspect="1"/>
          </p:cNvPicPr>
          <p:nvPr/>
        </p:nvPicPr>
        <p:blipFill>
          <a:blip r:embed="rId3"/>
          <a:srcRect r="40457"/>
          <a:stretch>
            <a:fillRect/>
          </a:stretch>
        </p:blipFill>
        <p:spPr>
          <a:xfrm>
            <a:off x="8562340" y="1808480"/>
            <a:ext cx="2202815" cy="4294505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080" y="1280795"/>
            <a:ext cx="7820660" cy="2049145"/>
          </a:xfrm>
          <a:prstGeom prst="rect">
            <a:avLst/>
          </a:prstGeom>
        </p:spPr>
      </p:pic>
      <p:pic>
        <p:nvPicPr>
          <p:cNvPr id="17" name="图片 16" descr="疑问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4815" y="3329940"/>
            <a:ext cx="3121025" cy="31210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4041140" cy="808990"/>
          </a:xfrm>
        </p:spPr>
        <p:txBody>
          <a:bodyPr/>
          <a:lstStyle/>
          <a:p>
            <a:r>
              <a:rPr lang="zh-CN" altLang="en-US" dirty="0"/>
              <a:t>异常处理</a:t>
            </a:r>
            <a:endParaRPr lang="zh-CN" altLang="en-US" dirty="0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11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347470" y="1342390"/>
            <a:ext cx="3783330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>
                <a:solidFill>
                  <a:schemeClr val="accent4"/>
                </a:solidFill>
                <a:latin typeface="PT Mono" panose="02060509020205020204" charset="0"/>
                <a:cs typeface="PT Mono" panose="02060509020205020204" charset="0"/>
              </a:rPr>
              <a:t>try/except</a:t>
            </a:r>
            <a:r>
              <a:rPr lang="zh-CN" altLang="en-US" sz="2400" b="1">
                <a:solidFill>
                  <a:schemeClr val="accent4"/>
                </a:solidFill>
                <a:latin typeface="PT Mono" panose="02060509020205020204" charset="0"/>
                <a:cs typeface="PT Mono" panose="02060509020205020204" charset="0"/>
              </a:rPr>
              <a:t>语句格式：</a:t>
            </a:r>
            <a:endParaRPr lang="zh-CN" altLang="en-US" sz="2400" b="1">
              <a:solidFill>
                <a:schemeClr val="accent4"/>
              </a:solidFill>
              <a:latin typeface="PT Mono" panose="02060509020205020204" charset="0"/>
              <a:cs typeface="PT Mono" panose="02060509020205020204" charset="0"/>
            </a:endParaRPr>
          </a:p>
          <a:p>
            <a:endParaRPr lang="zh-CN" altLang="en-US" sz="24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400">
                <a:solidFill>
                  <a:srgbClr val="F2A208"/>
                </a:solidFill>
                <a:latin typeface="PT Mono" panose="02060509020205020204" charset="0"/>
                <a:cs typeface="PT Mono" panose="02060509020205020204" charset="0"/>
              </a:rPr>
              <a:t>try</a:t>
            </a: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:</a:t>
            </a:r>
            <a:endParaRPr lang="en-US" altLang="zh-CN" sz="24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    &lt;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</a:rPr>
              <a:t>正常时执行语句块</a:t>
            </a: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&gt;</a:t>
            </a:r>
            <a:endParaRPr lang="en-US" altLang="zh-CN" sz="24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400">
                <a:solidFill>
                  <a:srgbClr val="F2A208"/>
                </a:solidFill>
                <a:latin typeface="PT Mono" panose="02060509020205020204" charset="0"/>
                <a:cs typeface="PT Mono" panose="02060509020205020204" charset="0"/>
              </a:rPr>
              <a:t>except</a:t>
            </a: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:</a:t>
            </a:r>
            <a:endParaRPr lang="en-US" altLang="zh-CN" sz="24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    &lt;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</a:rPr>
              <a:t>异常时执行语句块</a:t>
            </a: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&gt;</a:t>
            </a:r>
            <a:endParaRPr lang="en-US" altLang="zh-CN" sz="2400">
              <a:latin typeface="PT Mono" panose="02060509020205020204" charset="0"/>
              <a:cs typeface="PT Mono" panose="0206050902020502020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235700" y="2366010"/>
            <a:ext cx="5407025" cy="19380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t">
            <a:spAutoFit/>
          </a:bodyPr>
          <a:p>
            <a:pPr algn="l">
              <a:buClrTx/>
              <a:buSzTx/>
              <a:buNone/>
            </a:pPr>
            <a:r>
              <a:rPr lang="en-US" altLang="zh-CN" sz="24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try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  <a:sym typeface="+mn-ea"/>
              </a:rPr>
              <a:t>:</a:t>
            </a:r>
            <a:endParaRPr lang="zh-CN" altLang="en-US" sz="24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24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  <a:sym typeface="+mn-ea"/>
              </a:rPr>
              <a:t>c = x / y</a:t>
            </a:r>
            <a:endParaRPr lang="zh-CN" altLang="en-US" sz="24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zh-CN" altLang="en-US" sz="24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print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  <a:sym typeface="+mn-ea"/>
              </a:rPr>
              <a:t>(</a:t>
            </a:r>
            <a:r>
              <a:rPr lang="zh-CN" altLang="en-US" sz="24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运算结果为：'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  <a:sym typeface="+mn-ea"/>
              </a:rPr>
              <a:t>, c)</a:t>
            </a:r>
            <a:endParaRPr lang="zh-CN" altLang="en-US" sz="24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en-US" altLang="zh-CN" sz="24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except</a:t>
            </a:r>
            <a:r>
              <a:rPr lang="zh-CN" altLang="en-US" sz="24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:</a:t>
            </a:r>
            <a:endParaRPr lang="zh-CN" altLang="en-US" sz="24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24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print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  <a:sym typeface="+mn-ea"/>
              </a:rPr>
              <a:t>(</a:t>
            </a:r>
            <a:r>
              <a:rPr lang="zh-CN" altLang="en-US" sz="24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除数不能为零！'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  <a:sym typeface="+mn-ea"/>
              </a:rPr>
              <a:t>)</a:t>
            </a:r>
            <a:endParaRPr lang="zh-CN" altLang="en-US" sz="2400">
              <a:latin typeface="PT Mono" panose="02060509020205020204" charset="0"/>
              <a:cs typeface="PT Mono" panose="02060509020205020204" charset="0"/>
              <a:sym typeface="+mn-ea"/>
            </a:endParaRPr>
          </a:p>
        </p:txBody>
      </p:sp>
      <p:grpSp>
        <p:nvGrpSpPr>
          <p:cNvPr id="5" name="组合 4"/>
          <p:cNvGrpSpPr/>
          <p:nvPr/>
        </p:nvGrpSpPr>
        <p:grpSpPr>
          <a:xfrm rot="1920000">
            <a:off x="667385" y="1263015"/>
            <a:ext cx="571500" cy="573405"/>
            <a:chOff x="17704" y="7751"/>
            <a:chExt cx="1382" cy="1386"/>
          </a:xfrm>
        </p:grpSpPr>
        <p:sp>
          <p:nvSpPr>
            <p:cNvPr id="16" name="ïsľiďê"/>
            <p:cNvSpPr/>
            <p:nvPr/>
          </p:nvSpPr>
          <p:spPr bwMode="auto">
            <a:xfrm>
              <a:off x="17704" y="7751"/>
              <a:ext cx="1383" cy="1386"/>
            </a:xfrm>
            <a:prstGeom prst="ellipse">
              <a:avLst/>
            </a:prstGeom>
            <a:solidFill>
              <a:srgbClr val="F4A229"/>
            </a:solidFill>
            <a:ln w="2857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ctr" anchorCtr="0" compatLnSpc="1">
              <a:normAutofit fontScale="6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6" name="íśľîde"/>
            <p:cNvSpPr/>
            <p:nvPr/>
          </p:nvSpPr>
          <p:spPr bwMode="auto">
            <a:xfrm>
              <a:off x="18070" y="8090"/>
              <a:ext cx="650" cy="708"/>
            </a:xfrm>
            <a:custGeom>
              <a:avLst/>
              <a:gdLst>
                <a:gd name="connsiteX0" fmla="*/ 176272 w 556267"/>
                <a:gd name="connsiteY0" fmla="*/ 555492 h 606087"/>
                <a:gd name="connsiteX1" fmla="*/ 380065 w 556267"/>
                <a:gd name="connsiteY1" fmla="*/ 555492 h 606087"/>
                <a:gd name="connsiteX2" fmla="*/ 379295 w 556267"/>
                <a:gd name="connsiteY2" fmla="*/ 574730 h 606087"/>
                <a:gd name="connsiteX3" fmla="*/ 379295 w 556267"/>
                <a:gd name="connsiteY3" fmla="*/ 606087 h 606087"/>
                <a:gd name="connsiteX4" fmla="*/ 177043 w 556267"/>
                <a:gd name="connsiteY4" fmla="*/ 606087 h 606087"/>
                <a:gd name="connsiteX5" fmla="*/ 177043 w 556267"/>
                <a:gd name="connsiteY5" fmla="*/ 580116 h 606087"/>
                <a:gd name="connsiteX6" fmla="*/ 176272 w 556267"/>
                <a:gd name="connsiteY6" fmla="*/ 555492 h 606087"/>
                <a:gd name="connsiteX7" fmla="*/ 170486 w 556267"/>
                <a:gd name="connsiteY7" fmla="*/ 504967 h 606087"/>
                <a:gd name="connsiteX8" fmla="*/ 386134 w 556267"/>
                <a:gd name="connsiteY8" fmla="*/ 504967 h 606087"/>
                <a:gd name="connsiteX9" fmla="*/ 382185 w 556267"/>
                <a:gd name="connsiteY9" fmla="*/ 530300 h 606087"/>
                <a:gd name="connsiteX10" fmla="*/ 174050 w 556267"/>
                <a:gd name="connsiteY10" fmla="*/ 530300 h 606087"/>
                <a:gd name="connsiteX11" fmla="*/ 170486 w 556267"/>
                <a:gd name="connsiteY11" fmla="*/ 504967 h 606087"/>
                <a:gd name="connsiteX12" fmla="*/ 481527 w 556267"/>
                <a:gd name="connsiteY12" fmla="*/ 380419 h 606087"/>
                <a:gd name="connsiteX13" fmla="*/ 525359 w 556267"/>
                <a:gd name="connsiteY13" fmla="*/ 405623 h 606087"/>
                <a:gd name="connsiteX14" fmla="*/ 512643 w 556267"/>
                <a:gd name="connsiteY14" fmla="*/ 427557 h 606087"/>
                <a:gd name="connsiteX15" fmla="*/ 468907 w 556267"/>
                <a:gd name="connsiteY15" fmla="*/ 402256 h 606087"/>
                <a:gd name="connsiteX16" fmla="*/ 74740 w 556267"/>
                <a:gd name="connsiteY16" fmla="*/ 380419 h 606087"/>
                <a:gd name="connsiteX17" fmla="*/ 87360 w 556267"/>
                <a:gd name="connsiteY17" fmla="*/ 402353 h 606087"/>
                <a:gd name="connsiteX18" fmla="*/ 43528 w 556267"/>
                <a:gd name="connsiteY18" fmla="*/ 427557 h 606087"/>
                <a:gd name="connsiteX19" fmla="*/ 30908 w 556267"/>
                <a:gd name="connsiteY19" fmla="*/ 405720 h 606087"/>
                <a:gd name="connsiteX20" fmla="*/ 505742 w 556267"/>
                <a:gd name="connsiteY20" fmla="*/ 265115 h 606087"/>
                <a:gd name="connsiteX21" fmla="*/ 556267 w 556267"/>
                <a:gd name="connsiteY21" fmla="*/ 265115 h 606087"/>
                <a:gd name="connsiteX22" fmla="*/ 556267 w 556267"/>
                <a:gd name="connsiteY22" fmla="*/ 290448 h 606087"/>
                <a:gd name="connsiteX23" fmla="*/ 505742 w 556267"/>
                <a:gd name="connsiteY23" fmla="*/ 290448 h 606087"/>
                <a:gd name="connsiteX24" fmla="*/ 0 w 556267"/>
                <a:gd name="connsiteY24" fmla="*/ 265115 h 606087"/>
                <a:gd name="connsiteX25" fmla="*/ 50525 w 556267"/>
                <a:gd name="connsiteY25" fmla="*/ 265115 h 606087"/>
                <a:gd name="connsiteX26" fmla="*/ 50525 w 556267"/>
                <a:gd name="connsiteY26" fmla="*/ 290448 h 606087"/>
                <a:gd name="connsiteX27" fmla="*/ 0 w 556267"/>
                <a:gd name="connsiteY27" fmla="*/ 290448 h 606087"/>
                <a:gd name="connsiteX28" fmla="*/ 512739 w 556267"/>
                <a:gd name="connsiteY28" fmla="*/ 128006 h 606087"/>
                <a:gd name="connsiteX29" fmla="*/ 525359 w 556267"/>
                <a:gd name="connsiteY29" fmla="*/ 149823 h 606087"/>
                <a:gd name="connsiteX30" fmla="*/ 481527 w 556267"/>
                <a:gd name="connsiteY30" fmla="*/ 175003 h 606087"/>
                <a:gd name="connsiteX31" fmla="*/ 468907 w 556267"/>
                <a:gd name="connsiteY31" fmla="*/ 153186 h 606087"/>
                <a:gd name="connsiteX32" fmla="*/ 43528 w 556267"/>
                <a:gd name="connsiteY32" fmla="*/ 127935 h 606087"/>
                <a:gd name="connsiteX33" fmla="*/ 87360 w 556267"/>
                <a:gd name="connsiteY33" fmla="*/ 153197 h 606087"/>
                <a:gd name="connsiteX34" fmla="*/ 74740 w 556267"/>
                <a:gd name="connsiteY34" fmla="*/ 175002 h 606087"/>
                <a:gd name="connsiteX35" fmla="*/ 30908 w 556267"/>
                <a:gd name="connsiteY35" fmla="*/ 149836 h 606087"/>
                <a:gd name="connsiteX36" fmla="*/ 297059 w 556267"/>
                <a:gd name="connsiteY36" fmla="*/ 76575 h 606087"/>
                <a:gd name="connsiteX37" fmla="*/ 404602 w 556267"/>
                <a:gd name="connsiteY37" fmla="*/ 124032 h 606087"/>
                <a:gd name="connsiteX38" fmla="*/ 467778 w 556267"/>
                <a:gd name="connsiteY38" fmla="*/ 265117 h 606087"/>
                <a:gd name="connsiteX39" fmla="*/ 441583 w 556267"/>
                <a:gd name="connsiteY39" fmla="*/ 361098 h 606087"/>
                <a:gd name="connsiteX40" fmla="*/ 391794 w 556267"/>
                <a:gd name="connsiteY40" fmla="*/ 479775 h 606087"/>
                <a:gd name="connsiteX41" fmla="*/ 165285 w 556267"/>
                <a:gd name="connsiteY41" fmla="*/ 479775 h 606087"/>
                <a:gd name="connsiteX42" fmla="*/ 118192 w 556267"/>
                <a:gd name="connsiteY42" fmla="*/ 366676 h 606087"/>
                <a:gd name="connsiteX43" fmla="*/ 89879 w 556267"/>
                <a:gd name="connsiteY43" fmla="*/ 242420 h 606087"/>
                <a:gd name="connsiteX44" fmla="*/ 256582 w 556267"/>
                <a:gd name="connsiteY44" fmla="*/ 76907 h 606087"/>
                <a:gd name="connsiteX45" fmla="*/ 297059 w 556267"/>
                <a:gd name="connsiteY45" fmla="*/ 76575 h 606087"/>
                <a:gd name="connsiteX46" fmla="*/ 150042 w 556267"/>
                <a:gd name="connsiteY46" fmla="*/ 30978 h 606087"/>
                <a:gd name="connsiteX47" fmla="*/ 175284 w 556267"/>
                <a:gd name="connsiteY47" fmla="*/ 74605 h 606087"/>
                <a:gd name="connsiteX48" fmla="*/ 153414 w 556267"/>
                <a:gd name="connsiteY48" fmla="*/ 87289 h 606087"/>
                <a:gd name="connsiteX49" fmla="*/ 128076 w 556267"/>
                <a:gd name="connsiteY49" fmla="*/ 43566 h 606087"/>
                <a:gd name="connsiteX50" fmla="*/ 406225 w 556267"/>
                <a:gd name="connsiteY50" fmla="*/ 30837 h 606087"/>
                <a:gd name="connsiteX51" fmla="*/ 428191 w 556267"/>
                <a:gd name="connsiteY51" fmla="*/ 43441 h 606087"/>
                <a:gd name="connsiteX52" fmla="*/ 402853 w 556267"/>
                <a:gd name="connsiteY52" fmla="*/ 87219 h 606087"/>
                <a:gd name="connsiteX53" fmla="*/ 380983 w 556267"/>
                <a:gd name="connsiteY53" fmla="*/ 74615 h 606087"/>
                <a:gd name="connsiteX54" fmla="*/ 265538 w 556267"/>
                <a:gd name="connsiteY54" fmla="*/ 0 h 606087"/>
                <a:gd name="connsiteX55" fmla="*/ 290730 w 556267"/>
                <a:gd name="connsiteY55" fmla="*/ 0 h 606087"/>
                <a:gd name="connsiteX56" fmla="*/ 290730 w 556267"/>
                <a:gd name="connsiteY56" fmla="*/ 50525 h 606087"/>
                <a:gd name="connsiteX57" fmla="*/ 265538 w 556267"/>
                <a:gd name="connsiteY57" fmla="*/ 50525 h 60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56267" h="606087">
                  <a:moveTo>
                    <a:pt x="176272" y="555492"/>
                  </a:moveTo>
                  <a:lnTo>
                    <a:pt x="380065" y="555492"/>
                  </a:lnTo>
                  <a:cubicBezTo>
                    <a:pt x="379680" y="561937"/>
                    <a:pt x="379295" y="568381"/>
                    <a:pt x="379295" y="574730"/>
                  </a:cubicBezTo>
                  <a:lnTo>
                    <a:pt x="379295" y="606087"/>
                  </a:lnTo>
                  <a:lnTo>
                    <a:pt x="177043" y="606087"/>
                  </a:lnTo>
                  <a:lnTo>
                    <a:pt x="177043" y="580116"/>
                  </a:lnTo>
                  <a:cubicBezTo>
                    <a:pt x="177043" y="571844"/>
                    <a:pt x="176657" y="563668"/>
                    <a:pt x="176272" y="555492"/>
                  </a:cubicBezTo>
                  <a:close/>
                  <a:moveTo>
                    <a:pt x="170486" y="504967"/>
                  </a:moveTo>
                  <a:lnTo>
                    <a:pt x="386134" y="504967"/>
                  </a:lnTo>
                  <a:cubicBezTo>
                    <a:pt x="384593" y="513443"/>
                    <a:pt x="383245" y="521824"/>
                    <a:pt x="382185" y="530300"/>
                  </a:cubicBezTo>
                  <a:lnTo>
                    <a:pt x="174050" y="530300"/>
                  </a:lnTo>
                  <a:cubicBezTo>
                    <a:pt x="173087" y="521727"/>
                    <a:pt x="171931" y="513347"/>
                    <a:pt x="170486" y="504967"/>
                  </a:cubicBezTo>
                  <a:close/>
                  <a:moveTo>
                    <a:pt x="481527" y="380419"/>
                  </a:moveTo>
                  <a:lnTo>
                    <a:pt x="525359" y="405623"/>
                  </a:lnTo>
                  <a:lnTo>
                    <a:pt x="512643" y="427557"/>
                  </a:lnTo>
                  <a:lnTo>
                    <a:pt x="468907" y="402256"/>
                  </a:lnTo>
                  <a:close/>
                  <a:moveTo>
                    <a:pt x="74740" y="380419"/>
                  </a:moveTo>
                  <a:lnTo>
                    <a:pt x="87360" y="402353"/>
                  </a:lnTo>
                  <a:lnTo>
                    <a:pt x="43528" y="427557"/>
                  </a:lnTo>
                  <a:lnTo>
                    <a:pt x="30908" y="405720"/>
                  </a:lnTo>
                  <a:close/>
                  <a:moveTo>
                    <a:pt x="505742" y="265115"/>
                  </a:moveTo>
                  <a:lnTo>
                    <a:pt x="556267" y="265115"/>
                  </a:lnTo>
                  <a:lnTo>
                    <a:pt x="556267" y="290448"/>
                  </a:lnTo>
                  <a:lnTo>
                    <a:pt x="505742" y="290448"/>
                  </a:lnTo>
                  <a:close/>
                  <a:moveTo>
                    <a:pt x="0" y="265115"/>
                  </a:moveTo>
                  <a:lnTo>
                    <a:pt x="50525" y="265115"/>
                  </a:lnTo>
                  <a:lnTo>
                    <a:pt x="50525" y="290448"/>
                  </a:lnTo>
                  <a:lnTo>
                    <a:pt x="0" y="290448"/>
                  </a:lnTo>
                  <a:close/>
                  <a:moveTo>
                    <a:pt x="512739" y="128006"/>
                  </a:moveTo>
                  <a:lnTo>
                    <a:pt x="525359" y="149823"/>
                  </a:lnTo>
                  <a:lnTo>
                    <a:pt x="481527" y="175003"/>
                  </a:lnTo>
                  <a:lnTo>
                    <a:pt x="468907" y="153186"/>
                  </a:lnTo>
                  <a:close/>
                  <a:moveTo>
                    <a:pt x="43528" y="127935"/>
                  </a:moveTo>
                  <a:lnTo>
                    <a:pt x="87360" y="153197"/>
                  </a:lnTo>
                  <a:lnTo>
                    <a:pt x="74740" y="175002"/>
                  </a:lnTo>
                  <a:lnTo>
                    <a:pt x="30908" y="149836"/>
                  </a:lnTo>
                  <a:close/>
                  <a:moveTo>
                    <a:pt x="297059" y="76575"/>
                  </a:moveTo>
                  <a:cubicBezTo>
                    <a:pt x="336834" y="80411"/>
                    <a:pt x="374049" y="96623"/>
                    <a:pt x="404602" y="124032"/>
                  </a:cubicBezTo>
                  <a:cubicBezTo>
                    <a:pt x="444761" y="159808"/>
                    <a:pt x="467778" y="211357"/>
                    <a:pt x="467778" y="265117"/>
                  </a:cubicBezTo>
                  <a:cubicBezTo>
                    <a:pt x="467778" y="298874"/>
                    <a:pt x="458726" y="332053"/>
                    <a:pt x="441583" y="361098"/>
                  </a:cubicBezTo>
                  <a:cubicBezTo>
                    <a:pt x="418567" y="400144"/>
                    <a:pt x="402002" y="439767"/>
                    <a:pt x="391794" y="479775"/>
                  </a:cubicBezTo>
                  <a:lnTo>
                    <a:pt x="165285" y="479775"/>
                  </a:lnTo>
                  <a:cubicBezTo>
                    <a:pt x="155462" y="438709"/>
                    <a:pt x="139861" y="400529"/>
                    <a:pt x="118192" y="366676"/>
                  </a:cubicBezTo>
                  <a:cubicBezTo>
                    <a:pt x="94405" y="329649"/>
                    <a:pt x="84678" y="286660"/>
                    <a:pt x="89879" y="242420"/>
                  </a:cubicBezTo>
                  <a:cubicBezTo>
                    <a:pt x="99894" y="156057"/>
                    <a:pt x="170100" y="86524"/>
                    <a:pt x="256582" y="76907"/>
                  </a:cubicBezTo>
                  <a:cubicBezTo>
                    <a:pt x="270258" y="75392"/>
                    <a:pt x="283800" y="75296"/>
                    <a:pt x="297059" y="76575"/>
                  </a:cubicBezTo>
                  <a:close/>
                  <a:moveTo>
                    <a:pt x="150042" y="30978"/>
                  </a:moveTo>
                  <a:lnTo>
                    <a:pt x="175284" y="74605"/>
                  </a:lnTo>
                  <a:lnTo>
                    <a:pt x="153414" y="87289"/>
                  </a:lnTo>
                  <a:lnTo>
                    <a:pt x="128076" y="43566"/>
                  </a:lnTo>
                  <a:close/>
                  <a:moveTo>
                    <a:pt x="406225" y="30837"/>
                  </a:moveTo>
                  <a:lnTo>
                    <a:pt x="428191" y="43441"/>
                  </a:lnTo>
                  <a:lnTo>
                    <a:pt x="402853" y="87219"/>
                  </a:lnTo>
                  <a:lnTo>
                    <a:pt x="380983" y="74615"/>
                  </a:lnTo>
                  <a:close/>
                  <a:moveTo>
                    <a:pt x="265538" y="0"/>
                  </a:moveTo>
                  <a:lnTo>
                    <a:pt x="290730" y="0"/>
                  </a:lnTo>
                  <a:lnTo>
                    <a:pt x="290730" y="50525"/>
                  </a:lnTo>
                  <a:lnTo>
                    <a:pt x="265538" y="505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7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4861560" y="4438015"/>
            <a:ext cx="3607435" cy="2536825"/>
            <a:chOff x="5932" y="6989"/>
            <a:chExt cx="5681" cy="3995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6F6F6">
                    <a:alpha val="100000"/>
                  </a:srgbClr>
                </a:clrFrom>
                <a:clrTo>
                  <a:srgbClr val="F6F6F6">
                    <a:alpha val="100000"/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932" y="6989"/>
              <a:ext cx="3888" cy="3486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6F6F6">
                    <a:alpha val="100000"/>
                  </a:srgbClr>
                </a:clrFrom>
                <a:clrTo>
                  <a:srgbClr val="F6F6F6">
                    <a:alpha val="100000"/>
                    <a:alpha val="0"/>
                  </a:srgbClr>
                </a:clrTo>
              </a:clrChange>
            </a:blip>
            <a:srcRect l="30710" r="30030"/>
            <a:stretch>
              <a:fillRect/>
            </a:stretch>
          </p:blipFill>
          <p:spPr>
            <a:xfrm flipH="1">
              <a:off x="9916" y="7604"/>
              <a:ext cx="1697" cy="3380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  <p:bldP spid="4" grpId="0" animBg="1"/>
      <p:bldP spid="4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4041140" cy="808990"/>
          </a:xfrm>
        </p:spPr>
        <p:txBody>
          <a:bodyPr/>
          <a:lstStyle/>
          <a:p>
            <a:r>
              <a:rPr lang="zh-CN" altLang="en-US" dirty="0"/>
              <a:t>异常处理演示</a:t>
            </a:r>
            <a:endParaRPr lang="zh-CN" altLang="en-US" dirty="0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11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6798310" y="1061085"/>
            <a:ext cx="4719955" cy="57543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600">
                <a:solidFill>
                  <a:srgbClr val="E7272D"/>
                </a:solidFill>
                <a:latin typeface="PT Mono" panose="02060509020205020204" charset="0"/>
                <a:cs typeface="PT Mono" panose="02060509020205020204" charset="0"/>
              </a:rPr>
              <a:t># 简易计算器（四则运算）</a:t>
            </a:r>
            <a:endParaRPr lang="zh-CN" altLang="en-US" sz="1600">
              <a:solidFill>
                <a:srgbClr val="C00000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x =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一个运算数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y =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二个运算数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op =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inpu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运算符(+-*/)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c = 0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if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+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+ y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-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- y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*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    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* y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elif 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/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: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</a:t>
            </a:r>
            <a:r>
              <a:rPr lang="en-US" altLang="zh-CN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try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: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c = x / y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print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运算结果为：'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, c)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e</a:t>
            </a:r>
            <a:r>
              <a:rPr lang="en-US" altLang="zh-CN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xcep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: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print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除数不能为零！'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)</a:t>
            </a:r>
            <a:endParaRPr lang="zh-CN" altLang="en-US" sz="1600"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se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符输入有误！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685800" y="1061085"/>
            <a:ext cx="4719955" cy="57543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600">
                <a:solidFill>
                  <a:srgbClr val="E7272D"/>
                </a:solidFill>
                <a:latin typeface="PT Mono" panose="02060509020205020204" charset="0"/>
                <a:cs typeface="PT Mono" panose="02060509020205020204" charset="0"/>
              </a:rPr>
              <a:t># 简易计算器（四则运算）</a:t>
            </a:r>
            <a:endParaRPr lang="zh-CN" altLang="en-US" sz="1600">
              <a:solidFill>
                <a:srgbClr val="C00000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x =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一个运算数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y =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floa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input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第二个运算数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op =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inpu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请输入运算符(+-*/)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c = 0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if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+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+ y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-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- y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*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    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c = x * y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结果为：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, c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elif 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op==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/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: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if 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y!=0: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c = x / y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print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运算结果为：'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, c)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else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:</a:t>
            </a:r>
            <a:endParaRPr lang="zh-CN" altLang="en-US" sz="1600">
              <a:solidFill>
                <a:srgbClr val="FF8446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    print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'除数不能为零！'</a:t>
            </a:r>
            <a:r>
              <a:rPr lang="zh-CN" altLang="en-US" sz="1600">
                <a:latin typeface="PT Mono" panose="02060509020205020204" charset="0"/>
                <a:cs typeface="PT Mono" panose="02060509020205020204" charset="0"/>
                <a:sym typeface="+mn-ea"/>
              </a:rPr>
              <a:t>)</a:t>
            </a:r>
            <a:endParaRPr lang="zh-CN" altLang="en-US" sz="1600"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zh-CN" altLang="en-US" sz="16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se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    </a:t>
            </a:r>
            <a:r>
              <a:rPr lang="zh-CN" altLang="en-US" sz="16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6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运算符输入有误！'</a:t>
            </a:r>
            <a:r>
              <a:rPr lang="zh-CN" altLang="en-US" sz="1600">
                <a:solidFill>
                  <a:schemeClr val="tx1"/>
                </a:solidFill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600">
              <a:solidFill>
                <a:schemeClr val="tx1"/>
              </a:solidFill>
              <a:latin typeface="PT Mono" panose="02060509020205020204" charset="0"/>
              <a:cs typeface="PT Mono" panose="02060509020205020204" charset="0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6044565" y="1483995"/>
            <a:ext cx="0" cy="4864735"/>
          </a:xfrm>
          <a:prstGeom prst="line">
            <a:avLst/>
          </a:prstGeom>
          <a:ln w="12700" cap="rnd">
            <a:solidFill>
              <a:schemeClr val="bg1">
                <a:lumMod val="65000"/>
                <a:alpha val="7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圆角矩形 8"/>
          <p:cNvSpPr/>
          <p:nvPr/>
        </p:nvSpPr>
        <p:spPr>
          <a:xfrm>
            <a:off x="1215390" y="5008880"/>
            <a:ext cx="3441065" cy="1246505"/>
          </a:xfrm>
          <a:prstGeom prst="roundRect">
            <a:avLst>
              <a:gd name="adj" fmla="val 11323"/>
            </a:avLst>
          </a:prstGeom>
          <a:noFill/>
          <a:ln w="19050">
            <a:solidFill>
              <a:srgbClr val="DF0A01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" name="圆角矩形 9"/>
          <p:cNvSpPr/>
          <p:nvPr/>
        </p:nvSpPr>
        <p:spPr>
          <a:xfrm>
            <a:off x="7325995" y="5008880"/>
            <a:ext cx="3441065" cy="1246505"/>
          </a:xfrm>
          <a:prstGeom prst="roundRect">
            <a:avLst>
              <a:gd name="adj" fmla="val 11323"/>
            </a:avLst>
          </a:prstGeom>
          <a:noFill/>
          <a:ln w="19050">
            <a:solidFill>
              <a:srgbClr val="DF0A01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9" grpId="1" animBg="1"/>
      <p:bldP spid="10" grpId="1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36625" y="-114300"/>
            <a:ext cx="4977130" cy="1028700"/>
          </a:xfrm>
        </p:spPr>
        <p:txBody>
          <a:bodyPr/>
          <a:lstStyle/>
          <a:p>
            <a:r>
              <a:rPr lang="zh-CN" dirty="0"/>
              <a:t>课堂总结</a:t>
            </a:r>
            <a:endParaRPr 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7544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grpSp>
        <p:nvGrpSpPr>
          <p:cNvPr id="3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 rot="20262996">
            <a:off x="10661015" y="5890895"/>
            <a:ext cx="1336675" cy="630555"/>
            <a:chOff x="3558970" y="2488798"/>
            <a:chExt cx="5067710" cy="2391582"/>
          </a:xfrm>
        </p:grpSpPr>
        <p:sp>
          <p:nvSpPr>
            <p:cNvPr id="5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6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0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1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2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3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4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5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6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67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7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8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9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30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2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3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4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5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6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77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78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79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0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1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2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3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4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5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6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7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</p:grpSp>
      <p:pic>
        <p:nvPicPr>
          <p:cNvPr id="9" name="ECB019B1-382A-4266-B25C-5B523AA43C14-7" descr="qt_temp"/>
          <p:cNvPicPr>
            <a:picLocks noChangeAspect="1"/>
          </p:cNvPicPr>
          <p:nvPr/>
        </p:nvPicPr>
        <p:blipFill>
          <a:blip r:embed="rId4"/>
          <a:srcRect l="5239" t="9841" r="8427" b="12153"/>
          <a:stretch>
            <a:fillRect/>
          </a:stretch>
        </p:blipFill>
        <p:spPr>
          <a:xfrm>
            <a:off x="243205" y="2814320"/>
            <a:ext cx="5208270" cy="34036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7348220" y="2703195"/>
            <a:ext cx="3783330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>
                <a:solidFill>
                  <a:schemeClr val="accent4"/>
                </a:solidFill>
                <a:latin typeface="PT Mono" panose="02060509020205020204" charset="0"/>
                <a:cs typeface="PT Mono" panose="02060509020205020204" charset="0"/>
              </a:rPr>
              <a:t>try/except</a:t>
            </a:r>
            <a:r>
              <a:rPr lang="zh-CN" altLang="en-US" sz="2400" b="1">
                <a:solidFill>
                  <a:schemeClr val="accent4"/>
                </a:solidFill>
                <a:latin typeface="PT Mono" panose="02060509020205020204" charset="0"/>
                <a:cs typeface="PT Mono" panose="02060509020205020204" charset="0"/>
              </a:rPr>
              <a:t>语句格式：</a:t>
            </a:r>
            <a:endParaRPr lang="zh-CN" altLang="en-US" sz="2400" b="1">
              <a:solidFill>
                <a:schemeClr val="accent4"/>
              </a:solidFill>
              <a:latin typeface="PT Mono" panose="02060509020205020204" charset="0"/>
              <a:cs typeface="PT Mono" panose="02060509020205020204" charset="0"/>
            </a:endParaRPr>
          </a:p>
          <a:p>
            <a:endParaRPr lang="zh-CN" altLang="en-US" sz="24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400">
                <a:solidFill>
                  <a:srgbClr val="F2A208"/>
                </a:solidFill>
                <a:latin typeface="PT Mono" panose="02060509020205020204" charset="0"/>
                <a:cs typeface="PT Mono" panose="02060509020205020204" charset="0"/>
              </a:rPr>
              <a:t>try</a:t>
            </a: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:</a:t>
            </a:r>
            <a:endParaRPr lang="en-US" altLang="zh-CN" sz="24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    &lt;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</a:rPr>
              <a:t>正常时执行语句块</a:t>
            </a: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&gt;</a:t>
            </a:r>
            <a:endParaRPr lang="en-US" altLang="zh-CN" sz="24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400">
                <a:solidFill>
                  <a:srgbClr val="F2A208"/>
                </a:solidFill>
                <a:latin typeface="PT Mono" panose="02060509020205020204" charset="0"/>
                <a:cs typeface="PT Mono" panose="02060509020205020204" charset="0"/>
              </a:rPr>
              <a:t>except</a:t>
            </a: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:</a:t>
            </a:r>
            <a:endParaRPr lang="en-US" altLang="zh-CN" sz="24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    &lt;</a:t>
            </a:r>
            <a:r>
              <a:rPr lang="zh-CN" altLang="en-US" sz="2400">
                <a:latin typeface="PT Mono" panose="02060509020205020204" charset="0"/>
                <a:cs typeface="PT Mono" panose="02060509020205020204" charset="0"/>
              </a:rPr>
              <a:t>异常时执行语句块</a:t>
            </a:r>
            <a:r>
              <a:rPr lang="en-US" altLang="zh-CN" sz="2400">
                <a:latin typeface="PT Mono" panose="02060509020205020204" charset="0"/>
                <a:cs typeface="PT Mono" panose="02060509020205020204" charset="0"/>
              </a:rPr>
              <a:t>&gt;</a:t>
            </a:r>
            <a:endParaRPr lang="en-US" altLang="zh-CN" sz="2400">
              <a:latin typeface="PT Mono" panose="02060509020205020204" charset="0"/>
              <a:cs typeface="PT Mono" panose="02060509020205020204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132445" y="1534160"/>
            <a:ext cx="2214880" cy="706755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p>
            <a:pPr algn="ctr"/>
            <a:r>
              <a:rPr lang="zh-CN" altLang="en-US" sz="4000" b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异常处理</a:t>
            </a:r>
            <a:endParaRPr lang="zh-CN" altLang="en-US" sz="4000" b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1383030" y="1534160"/>
            <a:ext cx="2722880" cy="706755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p>
            <a:pPr algn="ctr"/>
            <a:r>
              <a:rPr lang="zh-CN" altLang="en-US" sz="4000" b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多分支结构</a:t>
            </a:r>
            <a:endParaRPr lang="zh-CN" altLang="en-US" sz="4000" b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cxnSp>
        <p:nvCxnSpPr>
          <p:cNvPr id="18" name="直接连接符 17"/>
          <p:cNvCxnSpPr/>
          <p:nvPr/>
        </p:nvCxnSpPr>
        <p:spPr>
          <a:xfrm>
            <a:off x="6463665" y="1448435"/>
            <a:ext cx="0" cy="4864735"/>
          </a:xfrm>
          <a:prstGeom prst="line">
            <a:avLst/>
          </a:prstGeom>
          <a:ln w="12700" cap="rnd">
            <a:solidFill>
              <a:schemeClr val="bg1">
                <a:lumMod val="65000"/>
                <a:alpha val="7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4362775" y="1205203"/>
            <a:ext cx="1904171" cy="2691759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p>
            <a:pPr fontAlgn="auto">
              <a:lnSpc>
                <a:spcPct val="150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if &lt;</a:t>
            </a:r>
            <a:r>
              <a:rPr lang="zh-CN" altLang="en-US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条件</a:t>
            </a: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1&gt;: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    &lt;</a:t>
            </a:r>
            <a:r>
              <a:rPr lang="zh-CN" altLang="en-US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语句块</a:t>
            </a: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1&gt;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&lt;</a:t>
            </a:r>
            <a:r>
              <a:rPr lang="zh-CN" altLang="en-US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条件</a:t>
            </a: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2&gt;: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&lt;</a:t>
            </a:r>
            <a:r>
              <a:rPr lang="zh-CN" altLang="en-US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语句块</a:t>
            </a: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2&gt;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fontAlgn="auto">
              <a:lnSpc>
                <a:spcPts val="1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.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fontAlgn="auto">
              <a:lnSpc>
                <a:spcPts val="1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.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  <a:sym typeface="+mn-ea"/>
            </a:endParaRPr>
          </a:p>
          <a:p>
            <a:pPr fontAlgn="auto">
              <a:lnSpc>
                <a:spcPts val="1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.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elif &lt;</a:t>
            </a:r>
            <a:r>
              <a:rPr lang="zh-CN" altLang="en-US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条件</a:t>
            </a: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n&gt;: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    &lt;</a:t>
            </a:r>
            <a:r>
              <a:rPr lang="zh-CN" altLang="en-US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语句块</a:t>
            </a: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  <a:sym typeface="+mn-ea"/>
              </a:rPr>
              <a:t>n&gt;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else: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    &lt;</a:t>
            </a:r>
            <a:r>
              <a:rPr lang="zh-CN" altLang="en-US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语句块</a:t>
            </a:r>
            <a:r>
              <a:rPr lang="en-US" altLang="zh-CN" sz="1200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rPr>
              <a:t>n+1&gt;</a:t>
            </a:r>
            <a:endParaRPr lang="en-US" altLang="zh-CN" sz="1200" b="1">
              <a:solidFill>
                <a:srgbClr val="00B0F0"/>
              </a:solidFill>
              <a:latin typeface="PT Mono" panose="02060509020205020204" charset="0"/>
              <a:cs typeface="PT Mono" panose="0206050902020502020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5" grpId="0"/>
      <p:bldP spid="17" grpId="1"/>
      <p:bldP spid="15" grpId="1"/>
      <p:bldP spid="19" grpId="0" bldLvl="0" animBg="1"/>
      <p:bldP spid="19" grpId="1" animBg="1"/>
      <p:bldP spid="13" grpId="0"/>
      <p:bldP spid="13" grpId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ym typeface="+mn-ea"/>
              </a:rPr>
              <a:t>认识多分支结构</a:t>
            </a:r>
            <a:endParaRPr lang="zh-CN" altLang="en-US" sz="2800" dirty="0"/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/>
              <a:t>随堂练习</a:t>
            </a:r>
            <a:endParaRPr lang="zh-CN" altLang="en-US" sz="2800" dirty="0"/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6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5440045" y="1651635"/>
            <a:ext cx="5970270" cy="47999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t">
            <a:spAutoFit/>
          </a:bodyPr>
          <a:p>
            <a:r>
              <a:rPr lang="zh-CN" altLang="en-US" sz="1700">
                <a:solidFill>
                  <a:srgbClr val="E7272D"/>
                </a:solidFill>
                <a:latin typeface="PT Mono" panose="02060509020205020204" charset="0"/>
                <a:cs typeface="PT Mono" panose="02060509020205020204" charset="0"/>
              </a:rPr>
              <a:t># 输入名次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mc=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inpu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参加运动会项目名次（1-6）：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E7272D"/>
                </a:solidFill>
                <a:latin typeface="PT Mono" panose="02060509020205020204" charset="0"/>
                <a:cs typeface="PT Mono" panose="02060509020205020204" charset="0"/>
              </a:rPr>
              <a:t># 计算并输出得分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if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mc==1: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得分为：7分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mc==2: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得分为：5分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mc==3: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得分为：4分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mc==4: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得分为：3分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mc==5: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得分为：2分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if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mc==6: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得分为：1分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se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输入的名次不在1-6范围！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4041140" cy="808990"/>
          </a:xfrm>
        </p:spPr>
        <p:txBody>
          <a:bodyPr/>
          <a:lstStyle/>
          <a:p>
            <a:r>
              <a:rPr lang="zh-CN" altLang="en-US" dirty="0"/>
              <a:t>随堂练习</a:t>
            </a:r>
            <a:endParaRPr lang="zh-CN" altLang="en-US" dirty="0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535305" y="2184400"/>
            <a:ext cx="4105910" cy="16916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fontAlgn="auto">
              <a:lnSpc>
                <a:spcPct val="130000"/>
              </a:lnSpc>
            </a:pPr>
            <a:r>
              <a:rPr lang="en-US" altLang="zh-CN" sz="2000"/>
              <a:t>       1.</a:t>
            </a:r>
            <a:r>
              <a:rPr lang="zh-CN" sz="2000"/>
              <a:t> 学校运动会比赛取前六名成绩，其中第一名得</a:t>
            </a:r>
            <a:r>
              <a:rPr lang="en-US" altLang="zh-CN" sz="2000"/>
              <a:t>7</a:t>
            </a:r>
            <a:r>
              <a:rPr lang="zh-CN" altLang="en-US" sz="2000"/>
              <a:t>分，第二名得</a:t>
            </a:r>
            <a:r>
              <a:rPr lang="en-US" altLang="zh-CN" sz="2000"/>
              <a:t>5</a:t>
            </a:r>
            <a:r>
              <a:rPr lang="zh-CN" altLang="en-US" sz="2000"/>
              <a:t>分，第三名得</a:t>
            </a:r>
            <a:r>
              <a:rPr lang="en-US" altLang="zh-CN" sz="2000"/>
              <a:t>4</a:t>
            </a:r>
            <a:r>
              <a:rPr lang="zh-CN" altLang="en-US" sz="2000"/>
              <a:t>分，第四名得</a:t>
            </a:r>
            <a:r>
              <a:rPr lang="en-US" altLang="zh-CN" sz="2000"/>
              <a:t>3</a:t>
            </a:r>
            <a:r>
              <a:rPr lang="zh-CN" altLang="en-US" sz="2000"/>
              <a:t>分，第五名得</a:t>
            </a:r>
            <a:r>
              <a:rPr lang="en-US" altLang="zh-CN" sz="2000"/>
              <a:t>2</a:t>
            </a:r>
            <a:r>
              <a:rPr lang="zh-CN" altLang="en-US" sz="2000"/>
              <a:t>分，第六名得</a:t>
            </a:r>
            <a:r>
              <a:rPr lang="en-US" altLang="zh-CN" sz="2000"/>
              <a:t>1</a:t>
            </a:r>
            <a:r>
              <a:rPr lang="zh-CN" altLang="en-US" sz="2000"/>
              <a:t>分。</a:t>
            </a:r>
            <a:endParaRPr lang="zh-CN" altLang="en-US" sz="2000"/>
          </a:p>
        </p:txBody>
      </p:sp>
      <p:sp>
        <p:nvSpPr>
          <p:cNvPr id="11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cxnSp>
        <p:nvCxnSpPr>
          <p:cNvPr id="21" name="直接连接符 20"/>
          <p:cNvCxnSpPr/>
          <p:nvPr/>
        </p:nvCxnSpPr>
        <p:spPr>
          <a:xfrm>
            <a:off x="5531485" y="6097270"/>
            <a:ext cx="1800000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clrChange>
              <a:clrFrom>
                <a:srgbClr val="F6F6F6">
                  <a:alpha val="100000"/>
                </a:srgbClr>
              </a:clrFrom>
              <a:clrTo>
                <a:srgbClr val="F6F6F6">
                  <a:alpha val="100000"/>
                  <a:alpha val="0"/>
                </a:srgbClr>
              </a:clrTo>
            </a:clrChange>
          </a:blip>
          <a:srcRect t="52951"/>
          <a:stretch>
            <a:fillRect/>
          </a:stretch>
        </p:blipFill>
        <p:spPr>
          <a:xfrm>
            <a:off x="535305" y="1227455"/>
            <a:ext cx="1685290" cy="79311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5531485" y="5850255"/>
            <a:ext cx="930275" cy="2279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xit" presetSubtype="8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7" grpId="1" animBg="1"/>
      <p:bldP spid="10" grpId="1" animBg="1"/>
      <p:bldP spid="10" grpId="2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3110865" y="2423160"/>
            <a:ext cx="5970270" cy="296354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t">
            <a:spAutoFit/>
          </a:bodyPr>
          <a:p>
            <a:pPr fontAlgn="auto">
              <a:lnSpc>
                <a:spcPct val="110000"/>
              </a:lnSpc>
            </a:pPr>
            <a:r>
              <a:rPr lang="zh-CN" altLang="en-US" sz="1700">
                <a:solidFill>
                  <a:srgbClr val="E7272D"/>
                </a:solidFill>
                <a:latin typeface="PT Mono" panose="02060509020205020204" charset="0"/>
                <a:cs typeface="PT Mono" panose="02060509020205020204" charset="0"/>
              </a:rPr>
              <a:t># 输入名次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10000"/>
              </a:lnSpc>
            </a:pP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mc =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inpu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参加运动会项目名次（1-6）：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10000"/>
              </a:lnSpc>
            </a:pPr>
            <a:endParaRPr lang="zh-CN" altLang="en-US" sz="1700">
              <a:solidFill>
                <a:srgbClr val="E7272D"/>
              </a:solidFill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10000"/>
              </a:lnSpc>
            </a:pPr>
            <a:r>
              <a:rPr lang="zh-CN" altLang="en-US" sz="1700">
                <a:solidFill>
                  <a:srgbClr val="E7272D"/>
                </a:solidFill>
                <a:latin typeface="PT Mono" panose="02060509020205020204" charset="0"/>
                <a:cs typeface="PT Mono" panose="02060509020205020204" charset="0"/>
              </a:rPr>
              <a:t># 利用列表，计算得分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10000"/>
              </a:lnSpc>
            </a:pP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lst = [7,5,4,3,2,1]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10000"/>
              </a:lnSpc>
            </a:pP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if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mc&gt;=1 </a:t>
            </a: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and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mc&lt;=6: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10000"/>
              </a:lnSpc>
            </a:pP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df = lst[mc-1]      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10000"/>
              </a:lnSpc>
            </a:pP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项目得分为：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, df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10000"/>
              </a:lnSpc>
            </a:pPr>
            <a:r>
              <a:rPr lang="zh-CN" altLang="en-US" sz="1700">
                <a:solidFill>
                  <a:srgbClr val="FF8446"/>
                </a:solidFill>
                <a:latin typeface="PT Mono" panose="02060509020205020204" charset="0"/>
                <a:cs typeface="PT Mono" panose="02060509020205020204" charset="0"/>
              </a:rPr>
              <a:t>else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: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  <a:p>
            <a:pPr fontAlgn="auto">
              <a:lnSpc>
                <a:spcPct val="110000"/>
              </a:lnSpc>
            </a:pP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      </a:t>
            </a:r>
            <a:r>
              <a:rPr lang="zh-CN" altLang="en-US" sz="1700">
                <a:solidFill>
                  <a:srgbClr val="A91EBE"/>
                </a:solidFill>
                <a:latin typeface="PT Mono" panose="02060509020205020204" charset="0"/>
                <a:cs typeface="PT Mono" panose="02060509020205020204" charset="0"/>
              </a:rPr>
              <a:t>print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(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输入的名次不在1-6范围！</a:t>
            </a:r>
            <a:r>
              <a:rPr lang="en-US" altLang="zh-CN" sz="1700">
                <a:solidFill>
                  <a:srgbClr val="01AA54"/>
                </a:solidFill>
                <a:latin typeface="PT Mono" panose="02060509020205020204" charset="0"/>
                <a:cs typeface="PT Mono" panose="02060509020205020204" charset="0"/>
              </a:rPr>
              <a:t>'</a:t>
            </a:r>
            <a:r>
              <a:rPr lang="zh-CN" altLang="en-US" sz="1700">
                <a:latin typeface="PT Mono" panose="02060509020205020204" charset="0"/>
                <a:cs typeface="PT Mono" panose="02060509020205020204" charset="0"/>
              </a:rPr>
              <a:t>)</a:t>
            </a:r>
            <a:endParaRPr lang="zh-CN" altLang="en-US" sz="1700">
              <a:latin typeface="PT Mono" panose="02060509020205020204" charset="0"/>
              <a:cs typeface="PT Mono" panose="0206050902020502020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4041140" cy="808990"/>
          </a:xfrm>
        </p:spPr>
        <p:txBody>
          <a:bodyPr/>
          <a:lstStyle/>
          <a:p>
            <a:r>
              <a:rPr lang="zh-CN" altLang="en-US" dirty="0"/>
              <a:t>随堂练习</a:t>
            </a:r>
            <a:endParaRPr lang="zh-CN" altLang="en-US" dirty="0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2552065" y="1378585"/>
            <a:ext cx="7694930" cy="4914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fontAlgn="auto">
              <a:lnSpc>
                <a:spcPct val="130000"/>
              </a:lnSpc>
            </a:pPr>
            <a:r>
              <a:rPr lang="en-US" altLang="zh-CN" sz="2000"/>
              <a:t>       2.</a:t>
            </a:r>
            <a:r>
              <a:rPr lang="zh-CN" sz="2000"/>
              <a:t> 在程序划线处填空，利用列表实现相同的功能。</a:t>
            </a:r>
            <a:endParaRPr lang="zh-CN" altLang="en-US" sz="2000"/>
          </a:p>
        </p:txBody>
      </p:sp>
      <p:sp>
        <p:nvSpPr>
          <p:cNvPr id="11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clrChange>
              <a:clrFrom>
                <a:srgbClr val="F6F6F6">
                  <a:alpha val="100000"/>
                </a:srgbClr>
              </a:clrFrom>
              <a:clrTo>
                <a:srgbClr val="F6F6F6">
                  <a:alpha val="100000"/>
                  <a:alpha val="0"/>
                </a:srgbClr>
              </a:clrTo>
            </a:clrChange>
          </a:blip>
          <a:srcRect t="52951"/>
          <a:stretch>
            <a:fillRect/>
          </a:stretch>
        </p:blipFill>
        <p:spPr>
          <a:xfrm>
            <a:off x="535305" y="1227455"/>
            <a:ext cx="1685290" cy="793115"/>
          </a:xfrm>
          <a:prstGeom prst="rect">
            <a:avLst/>
          </a:prstGeom>
        </p:spPr>
      </p:pic>
      <p:cxnSp>
        <p:nvCxnSpPr>
          <p:cNvPr id="3" name="直接连接符 2"/>
          <p:cNvCxnSpPr/>
          <p:nvPr/>
        </p:nvCxnSpPr>
        <p:spPr>
          <a:xfrm>
            <a:off x="3973195" y="4474210"/>
            <a:ext cx="2214245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" name="矩形 4"/>
          <p:cNvSpPr/>
          <p:nvPr/>
        </p:nvSpPr>
        <p:spPr>
          <a:xfrm>
            <a:off x="3973195" y="4187190"/>
            <a:ext cx="2215515" cy="2679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6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>
          <a:xfrm rot="20262996">
            <a:off x="10113010" y="5719445"/>
            <a:ext cx="1336675" cy="630555"/>
            <a:chOff x="3558970" y="2488798"/>
            <a:chExt cx="5067710" cy="2391582"/>
          </a:xfrm>
        </p:grpSpPr>
        <p:sp>
          <p:nvSpPr>
            <p:cNvPr id="8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0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5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2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3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4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5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6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67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16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8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29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30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2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3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4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5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76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77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78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p>
              <a:pPr algn="ctr"/>
            </a:p>
          </p:txBody>
        </p:sp>
        <p:sp>
          <p:nvSpPr>
            <p:cNvPr id="79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0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1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2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3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4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5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6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7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8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</p:grpSp>
      <p:sp>
        <p:nvSpPr>
          <p:cNvPr id="17" name="矩形标注 16"/>
          <p:cNvSpPr/>
          <p:nvPr/>
        </p:nvSpPr>
        <p:spPr>
          <a:xfrm>
            <a:off x="9532620" y="4826000"/>
            <a:ext cx="2073910" cy="762635"/>
          </a:xfrm>
          <a:prstGeom prst="wedgeRectCallout">
            <a:avLst>
              <a:gd name="adj1" fmla="val -6091"/>
              <a:gd name="adj2" fmla="val 78725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/>
            <a:r>
              <a:rPr lang="en-US" altLang="zh-CN" sz="1400">
                <a:solidFill>
                  <a:schemeClr val="tx1"/>
                </a:solidFill>
              </a:rPr>
              <a:t>        </a:t>
            </a:r>
            <a:r>
              <a:rPr lang="zh-CN" sz="1400">
                <a:solidFill>
                  <a:schemeClr val="tx1"/>
                </a:solidFill>
              </a:rPr>
              <a:t>可以使用</a:t>
            </a:r>
            <a:r>
              <a:rPr lang="en-US" altLang="zh-CN" sz="1400">
                <a:solidFill>
                  <a:schemeClr val="tx1"/>
                </a:solidFill>
              </a:rPr>
              <a:t>try/expect</a:t>
            </a:r>
            <a:r>
              <a:rPr lang="zh-CN" altLang="en-US" sz="1400">
                <a:solidFill>
                  <a:schemeClr val="tx1"/>
                </a:solidFill>
              </a:rPr>
              <a:t>语句</a:t>
            </a:r>
            <a:r>
              <a:rPr lang="zh-CN" altLang="en-US" sz="1400">
                <a:solidFill>
                  <a:schemeClr val="tx1"/>
                </a:solidFill>
              </a:rPr>
              <a:t>来改写程序代码吗？怎么修改？</a:t>
            </a:r>
            <a:endParaRPr lang="zh-CN" altLang="en-US" sz="140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  <p:bldP spid="17" grpId="0" bldLvl="0" animBg="1"/>
      <p:bldP spid="17" grpId="1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7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248581" y="2191065"/>
            <a:ext cx="7014732" cy="1621509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Thanks</a:t>
            </a:r>
            <a:br>
              <a:rPr lang="en-US" altLang="zh-CN" sz="3600" dirty="0"/>
            </a:br>
            <a:r>
              <a:rPr lang="en-US" altLang="zh-CN" sz="3600" dirty="0"/>
              <a:t>51maker</a:t>
            </a:r>
            <a:r>
              <a:rPr lang="zh-CN" altLang="en-US" sz="3600" dirty="0"/>
              <a:t>团队</a:t>
            </a:r>
            <a:endParaRPr lang="zh-CN" altLang="en-US" sz="36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248581" y="4962977"/>
            <a:ext cx="7343344" cy="304348"/>
          </a:xfrm>
        </p:spPr>
        <p:txBody>
          <a:bodyPr/>
          <a:lstStyle/>
          <a:p>
            <a:r>
              <a:rPr lang="zh-CN" altLang="en-US" sz="2000" dirty="0"/>
              <a:t>浙江省初中信息技术八年级教材</a:t>
            </a:r>
            <a:r>
              <a:rPr lang="en-US" altLang="zh-CN" sz="2000" dirty="0"/>
              <a:t>Python</a:t>
            </a:r>
            <a:r>
              <a:rPr lang="zh-CN" altLang="en-US" sz="2000" dirty="0"/>
              <a:t>编程同步教学设计</a:t>
            </a:r>
            <a:endParaRPr lang="zh-CN" altLang="en-US" sz="20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3105" y="2696991"/>
            <a:ext cx="1653364" cy="1653364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8505" y="0"/>
            <a:ext cx="10850880" cy="10064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知识回顾</a:t>
            </a:r>
            <a:endParaRPr lang="zh-CN" altLang="en-US" dirty="0">
              <a:sym typeface="+mn-ea"/>
            </a:endParaRPr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3" name="灯片编号占位符 3"/>
          <p:cNvSpPr>
            <a:spLocks noGrp="1"/>
          </p:cNvSpPr>
          <p:nvPr/>
        </p:nvSpPr>
        <p:spPr>
          <a:xfrm>
            <a:off x="9288779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276994"/>
            <a:ext cx="730160" cy="730160"/>
          </a:xfrm>
          <a:prstGeom prst="rect">
            <a:avLst/>
          </a:prstGeom>
        </p:spPr>
      </p:pic>
      <p:pic>
        <p:nvPicPr>
          <p:cNvPr id="13" name="ECB019B1-382A-4266-B25C-5B523AA43C14-1" descr="qt_temp"/>
          <p:cNvPicPr>
            <a:picLocks noChangeAspect="1"/>
          </p:cNvPicPr>
          <p:nvPr/>
        </p:nvPicPr>
        <p:blipFill>
          <a:blip r:embed="rId3"/>
          <a:srcRect l="10413" t="50908" r="7120" b="5081"/>
          <a:stretch>
            <a:fillRect/>
          </a:stretch>
        </p:blipFill>
        <p:spPr>
          <a:xfrm>
            <a:off x="6130290" y="1480820"/>
            <a:ext cx="5867400" cy="49803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735" y="3375660"/>
            <a:ext cx="5518150" cy="3274695"/>
          </a:xfrm>
          <a:prstGeom prst="rect">
            <a:avLst/>
          </a:prstGeom>
          <a:effectLst>
            <a:glow rad="63500">
              <a:schemeClr val="bg1">
                <a:lumMod val="75000"/>
                <a:alpha val="22000"/>
              </a:schemeClr>
            </a:glow>
            <a:outerShdw blurRad="342900" dist="50800" dir="5400000" algn="ctr" rotWithShape="0">
              <a:srgbClr val="000000">
                <a:alpha val="22000"/>
              </a:srgbClr>
            </a:outerShdw>
            <a:softEdge rad="31750"/>
          </a:effectLst>
        </p:spPr>
      </p:pic>
      <p:sp>
        <p:nvSpPr>
          <p:cNvPr id="16" name="文本框 15"/>
          <p:cNvSpPr txBox="1"/>
          <p:nvPr/>
        </p:nvSpPr>
        <p:spPr>
          <a:xfrm>
            <a:off x="5088890" y="1187450"/>
            <a:ext cx="2014855" cy="52197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p>
            <a:pPr algn="ctr"/>
            <a:r>
              <a:rPr lang="zh-CN" altLang="en-US" sz="2800" b="1" dirty="0">
                <a:solidFill>
                  <a:schemeClr val="accent4"/>
                </a:solidFill>
                <a:effectLst/>
                <a:latin typeface="+mj-lt"/>
                <a:ea typeface="+mj-ea"/>
                <a:cs typeface="+mj-cs"/>
              </a:rPr>
              <a:t>分支结构</a:t>
            </a:r>
            <a:endParaRPr lang="zh-CN" altLang="en-US" sz="2800" b="1" dirty="0">
              <a:solidFill>
                <a:schemeClr val="accent4"/>
              </a:solidFill>
              <a:effectLst/>
              <a:latin typeface="+mj-lt"/>
              <a:ea typeface="+mj-ea"/>
              <a:cs typeface="+mj-cs"/>
            </a:endParaRPr>
          </a:p>
        </p:txBody>
      </p:sp>
      <p:sp>
        <p:nvSpPr>
          <p:cNvPr id="17" name="平行四边形 16"/>
          <p:cNvSpPr/>
          <p:nvPr/>
        </p:nvSpPr>
        <p:spPr>
          <a:xfrm>
            <a:off x="8256905" y="2124710"/>
            <a:ext cx="1684800" cy="466725"/>
          </a:xfrm>
          <a:prstGeom prst="parallelogram">
            <a:avLst>
              <a:gd name="adj" fmla="val 32629"/>
            </a:avLst>
          </a:prstGeom>
          <a:solidFill>
            <a:srgbClr val="FFC0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平行四边形 20"/>
          <p:cNvSpPr/>
          <p:nvPr/>
        </p:nvSpPr>
        <p:spPr>
          <a:xfrm>
            <a:off x="293370" y="3842385"/>
            <a:ext cx="5475605" cy="747395"/>
          </a:xfrm>
          <a:prstGeom prst="parallelogram">
            <a:avLst>
              <a:gd name="adj" fmla="val 0"/>
            </a:avLst>
          </a:prstGeom>
          <a:solidFill>
            <a:srgbClr val="FFC0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2" name="菱形 21"/>
          <p:cNvSpPr/>
          <p:nvPr/>
        </p:nvSpPr>
        <p:spPr>
          <a:xfrm>
            <a:off x="8286115" y="2899410"/>
            <a:ext cx="1627505" cy="588645"/>
          </a:xfrm>
          <a:prstGeom prst="diamond">
            <a:avLst/>
          </a:prstGeom>
          <a:solidFill>
            <a:srgbClr val="0070C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3" name="平行四边形 22"/>
          <p:cNvSpPr/>
          <p:nvPr/>
        </p:nvSpPr>
        <p:spPr>
          <a:xfrm>
            <a:off x="292735" y="5045710"/>
            <a:ext cx="3836670" cy="244475"/>
          </a:xfrm>
          <a:prstGeom prst="parallelogram">
            <a:avLst>
              <a:gd name="adj" fmla="val 0"/>
            </a:avLst>
          </a:prstGeom>
          <a:solidFill>
            <a:srgbClr val="0070C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平行四边形 23"/>
          <p:cNvSpPr/>
          <p:nvPr/>
        </p:nvSpPr>
        <p:spPr>
          <a:xfrm>
            <a:off x="6296025" y="3488055"/>
            <a:ext cx="2234565" cy="2276475"/>
          </a:xfrm>
          <a:prstGeom prst="parallelogram">
            <a:avLst>
              <a:gd name="adj" fmla="val 0"/>
            </a:avLst>
          </a:prstGeom>
          <a:solidFill>
            <a:srgbClr val="00B05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5" name="平行四边形 24"/>
          <p:cNvSpPr/>
          <p:nvPr/>
        </p:nvSpPr>
        <p:spPr>
          <a:xfrm>
            <a:off x="784860" y="5313045"/>
            <a:ext cx="3972560" cy="735330"/>
          </a:xfrm>
          <a:prstGeom prst="parallelogram">
            <a:avLst>
              <a:gd name="adj" fmla="val 0"/>
            </a:avLst>
          </a:prstGeom>
          <a:solidFill>
            <a:srgbClr val="00B05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6" name="平行四边形 25"/>
          <p:cNvSpPr/>
          <p:nvPr/>
        </p:nvSpPr>
        <p:spPr>
          <a:xfrm>
            <a:off x="9503410" y="3529965"/>
            <a:ext cx="2480310" cy="721995"/>
          </a:xfrm>
          <a:prstGeom prst="parallelogram">
            <a:avLst>
              <a:gd name="adj" fmla="val 0"/>
            </a:avLst>
          </a:prstGeom>
          <a:solidFill>
            <a:srgbClr val="FF00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7" name="平行四边形 26"/>
          <p:cNvSpPr/>
          <p:nvPr/>
        </p:nvSpPr>
        <p:spPr>
          <a:xfrm>
            <a:off x="784860" y="6229985"/>
            <a:ext cx="4984115" cy="281305"/>
          </a:xfrm>
          <a:prstGeom prst="parallelogram">
            <a:avLst>
              <a:gd name="adj" fmla="val 0"/>
            </a:avLst>
          </a:prstGeom>
          <a:solidFill>
            <a:srgbClr val="FF00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9" name="组合 8"/>
          <p:cNvGrpSpPr/>
          <p:nvPr/>
        </p:nvGrpSpPr>
        <p:grpSpPr>
          <a:xfrm>
            <a:off x="1550670" y="1333500"/>
            <a:ext cx="2645410" cy="1858010"/>
            <a:chOff x="2442" y="2100"/>
            <a:chExt cx="4166" cy="2926"/>
          </a:xfrm>
        </p:grpSpPr>
        <p:sp>
          <p:nvSpPr>
            <p:cNvPr id="5" name="矩形 4"/>
            <p:cNvSpPr/>
            <p:nvPr/>
          </p:nvSpPr>
          <p:spPr>
            <a:xfrm>
              <a:off x="2442" y="2100"/>
              <a:ext cx="4166" cy="29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2957" y="2178"/>
              <a:ext cx="3546" cy="27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if 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条件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&gt; :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    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语句块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1&gt;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else: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    &lt;</a:t>
              </a:r>
              <a:r>
                <a:rPr lang="zh-CN" altLang="en-US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语句块</a:t>
              </a:r>
              <a:r>
                <a:rPr lang="en-US" altLang="zh-CN" b="1">
                  <a:solidFill>
                    <a:srgbClr val="00B0F0"/>
                  </a:solidFill>
                  <a:latin typeface="PT Mono" panose="02060509020205020204" charset="0"/>
                  <a:cs typeface="PT Mono" panose="02060509020205020204" charset="0"/>
                </a:rPr>
                <a:t>2&gt;</a:t>
              </a:r>
              <a:endParaRPr lang="en-US" altLang="zh-CN" b="1">
                <a:solidFill>
                  <a:srgbClr val="00B0F0"/>
                </a:solidFill>
                <a:latin typeface="PT Mono" panose="02060509020205020204" charset="0"/>
                <a:cs typeface="PT Mono" panose="02060509020205020204" charset="0"/>
              </a:endParaRPr>
            </a:p>
          </p:txBody>
        </p:sp>
      </p:grpSp>
      <p:sp>
        <p:nvSpPr>
          <p:cNvPr id="6" name="平行四边形 5"/>
          <p:cNvSpPr/>
          <p:nvPr/>
        </p:nvSpPr>
        <p:spPr>
          <a:xfrm>
            <a:off x="1877695" y="1524000"/>
            <a:ext cx="1823085" cy="301625"/>
          </a:xfrm>
          <a:prstGeom prst="parallelogram">
            <a:avLst>
              <a:gd name="adj" fmla="val 0"/>
            </a:avLst>
          </a:prstGeom>
          <a:solidFill>
            <a:srgbClr val="0070C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平行四边形 6"/>
          <p:cNvSpPr/>
          <p:nvPr/>
        </p:nvSpPr>
        <p:spPr>
          <a:xfrm>
            <a:off x="2440305" y="1891665"/>
            <a:ext cx="1261110" cy="403860"/>
          </a:xfrm>
          <a:prstGeom prst="parallelogram">
            <a:avLst>
              <a:gd name="adj" fmla="val 0"/>
            </a:avLst>
          </a:prstGeom>
          <a:solidFill>
            <a:srgbClr val="00B05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8" name="平行四边形 7"/>
          <p:cNvSpPr/>
          <p:nvPr/>
        </p:nvSpPr>
        <p:spPr>
          <a:xfrm>
            <a:off x="2425065" y="2703830"/>
            <a:ext cx="1260475" cy="403225"/>
          </a:xfrm>
          <a:prstGeom prst="parallelogram">
            <a:avLst>
              <a:gd name="adj" fmla="val 0"/>
            </a:avLst>
          </a:prstGeom>
          <a:solidFill>
            <a:srgbClr val="FF00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6" grpId="1"/>
      <p:bldP spid="17" grpId="0" animBg="1"/>
      <p:bldP spid="21" grpId="0" animBg="1"/>
      <p:bldP spid="17" grpId="1" animBg="1"/>
      <p:bldP spid="21" grpId="1" animBg="1"/>
      <p:bldP spid="23" grpId="0" animBg="1"/>
      <p:bldP spid="6" grpId="0" animBg="1"/>
      <p:bldP spid="22" grpId="0" animBg="1"/>
      <p:bldP spid="23" grpId="1" animBg="1"/>
      <p:bldP spid="6" grpId="1" animBg="1"/>
      <p:bldP spid="22" grpId="1" animBg="1"/>
      <p:bldP spid="7" grpId="0" animBg="1"/>
      <p:bldP spid="25" grpId="0" animBg="1"/>
      <p:bldP spid="24" grpId="0" animBg="1"/>
      <p:bldP spid="7" grpId="1" animBg="1"/>
      <p:bldP spid="25" grpId="1" animBg="1"/>
      <p:bldP spid="24" grpId="1" animBg="1"/>
      <p:bldP spid="8" grpId="0" animBg="1"/>
      <p:bldP spid="27" grpId="0" animBg="1"/>
      <p:bldP spid="2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8505" y="0"/>
            <a:ext cx="10850880" cy="10064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认识多分支结构</a:t>
            </a:r>
            <a:endParaRPr lang="zh-CN" altLang="en-US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3" name="灯片编号占位符 3"/>
          <p:cNvSpPr>
            <a:spLocks noGrp="1"/>
          </p:cNvSpPr>
          <p:nvPr/>
        </p:nvSpPr>
        <p:spPr>
          <a:xfrm>
            <a:off x="9281794" y="666273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276994"/>
            <a:ext cx="730160" cy="73016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311275" y="1274445"/>
            <a:ext cx="89458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0" name="矩形 29"/>
          <p:cNvSpPr/>
          <p:nvPr/>
        </p:nvSpPr>
        <p:spPr>
          <a:xfrm>
            <a:off x="-29234130" y="-37007800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1" name="矩形 30"/>
          <p:cNvSpPr/>
          <p:nvPr/>
        </p:nvSpPr>
        <p:spPr>
          <a:xfrm>
            <a:off x="-29234130" y="33317815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2" name="矩形 31"/>
          <p:cNvSpPr/>
          <p:nvPr/>
        </p:nvSpPr>
        <p:spPr>
          <a:xfrm>
            <a:off x="54331235" y="34778315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3" name="矩形 32"/>
          <p:cNvSpPr/>
          <p:nvPr/>
        </p:nvSpPr>
        <p:spPr>
          <a:xfrm>
            <a:off x="57220485" y="-33674050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6" name="组合 5"/>
          <p:cNvGrpSpPr/>
          <p:nvPr/>
        </p:nvGrpSpPr>
        <p:grpSpPr>
          <a:xfrm>
            <a:off x="730250" y="1509395"/>
            <a:ext cx="5067300" cy="4302760"/>
            <a:chOff x="1150" y="2377"/>
            <a:chExt cx="7980" cy="6776"/>
          </a:xfrm>
        </p:grpSpPr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6F6F6">
                    <a:alpha val="100000"/>
                  </a:srgbClr>
                </a:clrFrom>
                <a:clrTo>
                  <a:srgbClr val="F6F6F6">
                    <a:alpha val="100000"/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50" y="2377"/>
              <a:ext cx="7980" cy="6777"/>
            </a:xfrm>
            <a:prstGeom prst="rect">
              <a:avLst/>
            </a:prstGeom>
          </p:spPr>
        </p:pic>
        <p:sp>
          <p:nvSpPr>
            <p:cNvPr id="58" name="文本框 57"/>
            <p:cNvSpPr txBox="1"/>
            <p:nvPr/>
          </p:nvSpPr>
          <p:spPr>
            <a:xfrm>
              <a:off x="2516" y="3980"/>
              <a:ext cx="1943" cy="1016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</a:bodyPr>
            <a:p>
              <a:r>
                <a:rPr lang="en-US" altLang="zh-CN" sz="3600" b="1">
                  <a:ln w="6600">
                    <a:noFill/>
                    <a:prstDash val="solid"/>
                  </a:ln>
                  <a:solidFill>
                    <a:srgbClr val="FFFFFF"/>
                  </a:solidFill>
                  <a:effectLst>
                    <a:outerShdw dist="38100" dir="2700000" algn="tl" rotWithShape="0">
                      <a:schemeClr val="accent2"/>
                    </a:outerShdw>
                  </a:effectLst>
                </a:rPr>
                <a:t>True</a:t>
              </a:r>
              <a:endParaRPr lang="en-US" altLang="zh-CN" sz="3600" b="1">
                <a:ln w="6600">
                  <a:noFill/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endParaRPr>
            </a:p>
          </p:txBody>
        </p:sp>
        <p:sp>
          <p:nvSpPr>
            <p:cNvPr id="59" name="文本框 58"/>
            <p:cNvSpPr txBox="1"/>
            <p:nvPr/>
          </p:nvSpPr>
          <p:spPr>
            <a:xfrm>
              <a:off x="5630" y="3980"/>
              <a:ext cx="2141" cy="1016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</a:bodyPr>
            <a:p>
              <a:r>
                <a:rPr lang="en-US" altLang="zh-CN" sz="3600" b="1">
                  <a:ln w="6600">
                    <a:noFill/>
                    <a:prstDash val="solid"/>
                  </a:ln>
                  <a:solidFill>
                    <a:srgbClr val="FFFFFF"/>
                  </a:solidFill>
                  <a:effectLst>
                    <a:outerShdw dist="38100" dir="2700000" algn="tl" rotWithShape="0">
                      <a:schemeClr val="accent2"/>
                    </a:outerShdw>
                  </a:effectLst>
                </a:rPr>
                <a:t>False</a:t>
              </a:r>
              <a:endParaRPr lang="en-US" altLang="zh-CN" sz="3600" b="1">
                <a:ln w="6600">
                  <a:noFill/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endParaRPr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6409055" y="1483995"/>
            <a:ext cx="5288915" cy="4544060"/>
            <a:chOff x="10093" y="2337"/>
            <a:chExt cx="8329" cy="7156"/>
          </a:xfrm>
        </p:grpSpPr>
        <p:pic>
          <p:nvPicPr>
            <p:cNvPr id="60" name="图片 59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6F6F6">
                    <a:alpha val="100000"/>
                  </a:srgbClr>
                </a:clrFrom>
                <a:clrTo>
                  <a:srgbClr val="F6F6F6">
                    <a:alpha val="100000"/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233" y="2377"/>
              <a:ext cx="7736" cy="6811"/>
            </a:xfrm>
            <a:prstGeom prst="rect">
              <a:avLst/>
            </a:prstGeom>
          </p:spPr>
        </p:pic>
        <p:sp>
          <p:nvSpPr>
            <p:cNvPr id="7" name="文本框 6"/>
            <p:cNvSpPr txBox="1"/>
            <p:nvPr/>
          </p:nvSpPr>
          <p:spPr>
            <a:xfrm rot="19080000">
              <a:off x="10093" y="2688"/>
              <a:ext cx="1975" cy="7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harsh" dir="t"/>
              </a:scene3d>
              <a:sp3d extrusionH="57150" prstMaterial="matte">
                <a:bevelT w="63500" h="12700" prst="angle"/>
                <a:contourClr>
                  <a:schemeClr val="bg1">
                    <a:lumMod val="65000"/>
                  </a:schemeClr>
                </a:contourClr>
              </a:sp3d>
            </a:bodyPr>
            <a:p>
              <a:r>
                <a:rPr lang="zh-CN" altLang="en-US" sz="2400" b="1">
                  <a:solidFill>
                    <a:schemeClr val="accent3"/>
                  </a:solidFill>
                  <a:effectLst/>
                </a:rPr>
                <a:t>图书馆</a:t>
              </a:r>
              <a:endParaRPr lang="zh-CN" altLang="en-US" sz="2400" b="1">
                <a:solidFill>
                  <a:schemeClr val="accent3"/>
                </a:solidFill>
                <a:effectLst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 rot="2580000">
              <a:off x="16448" y="2337"/>
              <a:ext cx="1975" cy="7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harsh" dir="t"/>
              </a:scene3d>
              <a:sp3d extrusionH="57150" prstMaterial="matte">
                <a:bevelT w="63500" h="12700" prst="angle"/>
                <a:contourClr>
                  <a:schemeClr val="bg1">
                    <a:lumMod val="65000"/>
                  </a:schemeClr>
                </a:contourClr>
              </a:sp3d>
            </a:bodyPr>
            <a:p>
              <a:pPr algn="ctr"/>
              <a:r>
                <a:rPr lang="zh-CN" altLang="en-US" sz="2400" b="1">
                  <a:solidFill>
                    <a:schemeClr val="accent3"/>
                  </a:solidFill>
                  <a:effectLst/>
                </a:rPr>
                <a:t>学校</a:t>
              </a:r>
              <a:endParaRPr lang="zh-CN" altLang="en-US" sz="2400" b="1">
                <a:solidFill>
                  <a:schemeClr val="accent3"/>
                </a:solidFill>
                <a:effectLst/>
              </a:endParaRP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13681" y="8769"/>
              <a:ext cx="1975" cy="7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harsh" dir="t"/>
              </a:scene3d>
              <a:sp3d extrusionH="57150" prstMaterial="matte">
                <a:bevelT w="63500" h="12700" prst="angle"/>
                <a:contourClr>
                  <a:schemeClr val="bg1">
                    <a:lumMod val="65000"/>
                  </a:schemeClr>
                </a:contourClr>
              </a:sp3d>
            </a:bodyPr>
            <a:p>
              <a:pPr algn="ctr"/>
              <a:r>
                <a:rPr lang="zh-CN" altLang="en-US" sz="2400" b="1">
                  <a:solidFill>
                    <a:schemeClr val="accent3"/>
                  </a:solidFill>
                  <a:effectLst/>
                </a:rPr>
                <a:t>商场</a:t>
              </a:r>
              <a:endParaRPr lang="zh-CN" altLang="en-US" sz="2400" b="1">
                <a:solidFill>
                  <a:schemeClr val="accent3"/>
                </a:solidFill>
                <a:effectLst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8505" y="0"/>
            <a:ext cx="10850880" cy="10064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认识多分支结构</a:t>
            </a:r>
            <a:endParaRPr lang="zh-CN" altLang="en-US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3" name="灯片编号占位符 3"/>
          <p:cNvSpPr>
            <a:spLocks noGrp="1"/>
          </p:cNvSpPr>
          <p:nvPr/>
        </p:nvSpPr>
        <p:spPr>
          <a:xfrm>
            <a:off x="9281794" y="666273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276994"/>
            <a:ext cx="730160" cy="73016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311275" y="1274445"/>
            <a:ext cx="89458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0" name="矩形 29"/>
          <p:cNvSpPr/>
          <p:nvPr/>
        </p:nvSpPr>
        <p:spPr>
          <a:xfrm>
            <a:off x="-29234130" y="-37007800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1" name="矩形 30"/>
          <p:cNvSpPr/>
          <p:nvPr/>
        </p:nvSpPr>
        <p:spPr>
          <a:xfrm>
            <a:off x="-29234130" y="33317815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2" name="矩形 31"/>
          <p:cNvSpPr/>
          <p:nvPr/>
        </p:nvSpPr>
        <p:spPr>
          <a:xfrm>
            <a:off x="54331235" y="34778315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3" name="矩形 32"/>
          <p:cNvSpPr/>
          <p:nvPr/>
        </p:nvSpPr>
        <p:spPr>
          <a:xfrm>
            <a:off x="57220485" y="-33674050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60" name="图片 59"/>
          <p:cNvPicPr>
            <a:picLocks noChangeAspect="1"/>
          </p:cNvPicPr>
          <p:nvPr/>
        </p:nvPicPr>
        <p:blipFill>
          <a:blip r:embed="rId3">
            <a:clrChange>
              <a:clrFrom>
                <a:srgbClr val="F6F6F6">
                  <a:alpha val="100000"/>
                </a:srgbClr>
              </a:clrFrom>
              <a:clrTo>
                <a:srgbClr val="F6F6F6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97955" y="1509395"/>
            <a:ext cx="4912360" cy="432498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 rot="19080000">
            <a:off x="6409055" y="1706880"/>
            <a:ext cx="1254125" cy="46037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p>
            <a:r>
              <a:rPr lang="zh-CN" altLang="en-US" sz="2400" b="1">
                <a:solidFill>
                  <a:schemeClr val="accent3"/>
                </a:solidFill>
                <a:effectLst/>
              </a:rPr>
              <a:t>图书馆</a:t>
            </a:r>
            <a:endParaRPr lang="zh-CN" altLang="en-US" sz="2400" b="1">
              <a:solidFill>
                <a:schemeClr val="accent3"/>
              </a:solidFill>
              <a:effectLst/>
            </a:endParaRPr>
          </a:p>
        </p:txBody>
      </p:sp>
      <p:sp>
        <p:nvSpPr>
          <p:cNvPr id="11" name="文本框 10"/>
          <p:cNvSpPr txBox="1"/>
          <p:nvPr/>
        </p:nvSpPr>
        <p:spPr>
          <a:xfrm rot="2580000">
            <a:off x="10444480" y="1483995"/>
            <a:ext cx="1254125" cy="46037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p>
            <a:pPr algn="ctr"/>
            <a:r>
              <a:rPr lang="zh-CN" altLang="en-US" sz="2400" b="1">
                <a:solidFill>
                  <a:schemeClr val="accent3"/>
                </a:solidFill>
                <a:effectLst/>
              </a:rPr>
              <a:t>学校</a:t>
            </a:r>
            <a:endParaRPr lang="zh-CN" altLang="en-US" sz="2400" b="1">
              <a:solidFill>
                <a:schemeClr val="accent3"/>
              </a:solidFill>
              <a:effectLst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8687435" y="5568315"/>
            <a:ext cx="1254125" cy="46037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p>
            <a:pPr algn="ctr"/>
            <a:r>
              <a:rPr lang="zh-CN" altLang="en-US" sz="2400" b="1">
                <a:solidFill>
                  <a:schemeClr val="accent3"/>
                </a:solidFill>
                <a:effectLst/>
              </a:rPr>
              <a:t>商场</a:t>
            </a:r>
            <a:endParaRPr lang="zh-CN" altLang="en-US" sz="2400" b="1">
              <a:solidFill>
                <a:schemeClr val="accent3"/>
              </a:solidFill>
              <a:effectLst/>
            </a:endParaRPr>
          </a:p>
        </p:txBody>
      </p:sp>
      <p:pic>
        <p:nvPicPr>
          <p:cNvPr id="8" name="ECB019B1-382A-4266-B25C-5B523AA43C14-43" descr="C:/Users/ADMINI~1/AppData/Local/Temp/qt_temp.fR2132qt_temp"/>
          <p:cNvPicPr>
            <a:picLocks noChangeAspect="1"/>
          </p:cNvPicPr>
          <p:nvPr/>
        </p:nvPicPr>
        <p:blipFill>
          <a:blip r:embed="rId4"/>
          <a:srcRect l="7615" t="9507" r="9172" b="9695"/>
          <a:stretch>
            <a:fillRect/>
          </a:stretch>
        </p:blipFill>
        <p:spPr>
          <a:xfrm>
            <a:off x="484505" y="1480820"/>
            <a:ext cx="5294630" cy="43713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8505" y="0"/>
            <a:ext cx="10850880" cy="10064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认识多分支结构</a:t>
            </a:r>
            <a:endParaRPr lang="zh-CN" altLang="en-US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1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3" name="灯片编号占位符 3"/>
          <p:cNvSpPr>
            <a:spLocks noGrp="1"/>
          </p:cNvSpPr>
          <p:nvPr/>
        </p:nvSpPr>
        <p:spPr>
          <a:xfrm>
            <a:off x="9281794" y="666273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276994"/>
            <a:ext cx="730160" cy="73016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311275" y="1274445"/>
            <a:ext cx="89458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0" name="矩形 29"/>
          <p:cNvSpPr/>
          <p:nvPr/>
        </p:nvSpPr>
        <p:spPr>
          <a:xfrm>
            <a:off x="-29234130" y="-37007800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1" name="矩形 30"/>
          <p:cNvSpPr/>
          <p:nvPr/>
        </p:nvSpPr>
        <p:spPr>
          <a:xfrm>
            <a:off x="-29234130" y="33317815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2" name="矩形 31"/>
          <p:cNvSpPr/>
          <p:nvPr/>
        </p:nvSpPr>
        <p:spPr>
          <a:xfrm>
            <a:off x="54331235" y="34778315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3" name="矩形 32"/>
          <p:cNvSpPr/>
          <p:nvPr/>
        </p:nvSpPr>
        <p:spPr>
          <a:xfrm>
            <a:off x="57220485" y="-33674050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4" name="ECB019B1-382A-4266-B25C-5B523AA43C14-42" descr="qt_temp"/>
          <p:cNvPicPr>
            <a:picLocks noChangeAspect="1"/>
          </p:cNvPicPr>
          <p:nvPr/>
        </p:nvPicPr>
        <p:blipFill>
          <a:blip r:embed="rId3"/>
          <a:srcRect l="5239" t="9841" r="8427" b="12153"/>
          <a:stretch>
            <a:fillRect/>
          </a:stretch>
        </p:blipFill>
        <p:spPr>
          <a:xfrm>
            <a:off x="1802765" y="1274445"/>
            <a:ext cx="7963535" cy="52044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ECB019B1-382A-4266-B25C-5B523AA43C14-34" descr="qt_temp"/>
          <p:cNvPicPr>
            <a:picLocks noChangeAspect="1"/>
          </p:cNvPicPr>
          <p:nvPr/>
        </p:nvPicPr>
        <p:blipFill>
          <a:blip r:embed="rId1"/>
          <a:srcRect l="65914" t="62258" r="4968" b="30692"/>
          <a:stretch>
            <a:fillRect/>
          </a:stretch>
        </p:blipFill>
        <p:spPr>
          <a:xfrm>
            <a:off x="9051925" y="5795645"/>
            <a:ext cx="2601595" cy="45593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8505" y="0"/>
            <a:ext cx="10850880" cy="10064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多分支结构</a:t>
            </a:r>
            <a:endParaRPr lang="zh-CN" altLang="en-US" dirty="0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3" name="灯片编号占位符 3"/>
          <p:cNvSpPr>
            <a:spLocks noGrp="1"/>
          </p:cNvSpPr>
          <p:nvPr/>
        </p:nvSpPr>
        <p:spPr>
          <a:xfrm>
            <a:off x="9281794" y="666273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276994"/>
            <a:ext cx="730160" cy="73016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311275" y="1274445"/>
            <a:ext cx="89458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683260" y="1168400"/>
            <a:ext cx="1085913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/>
              <a:t>       </a:t>
            </a:r>
            <a:r>
              <a:rPr lang="zh-CN" altLang="en-US" sz="2400"/>
              <a:t>给出一个百分制成绩，要求输出成绩等级A、B、C、D和E。90分以上为A，8</a:t>
            </a:r>
            <a:r>
              <a:rPr lang="en-US" altLang="zh-CN" sz="2400"/>
              <a:t>0</a:t>
            </a:r>
            <a:r>
              <a:rPr lang="zh-CN" altLang="en-US" sz="2400"/>
              <a:t>～8</a:t>
            </a:r>
            <a:r>
              <a:rPr lang="en-US" altLang="zh-CN" sz="2400"/>
              <a:t>9</a:t>
            </a:r>
            <a:r>
              <a:rPr lang="zh-CN" altLang="en-US" sz="2400"/>
              <a:t>为B，7</a:t>
            </a:r>
            <a:r>
              <a:rPr lang="en-US" altLang="zh-CN" sz="2400"/>
              <a:t>0</a:t>
            </a:r>
            <a:r>
              <a:rPr lang="zh-CN" altLang="en-US" sz="2400"/>
              <a:t>～7</a:t>
            </a:r>
            <a:r>
              <a:rPr lang="en-US" altLang="zh-CN" sz="2400"/>
              <a:t>9</a:t>
            </a:r>
            <a:r>
              <a:rPr lang="zh-CN" altLang="en-US" sz="2400"/>
              <a:t>为C，6</a:t>
            </a:r>
            <a:r>
              <a:rPr lang="en-US" altLang="zh-CN" sz="2400"/>
              <a:t>0</a:t>
            </a:r>
            <a:r>
              <a:rPr lang="zh-CN" altLang="en-US" sz="2400"/>
              <a:t>～6</a:t>
            </a:r>
            <a:r>
              <a:rPr lang="en-US" altLang="zh-CN" sz="2400"/>
              <a:t>9</a:t>
            </a:r>
            <a:r>
              <a:rPr lang="zh-CN" altLang="en-US" sz="2400"/>
              <a:t>为D，</a:t>
            </a:r>
            <a:r>
              <a:rPr lang="en-US" altLang="zh-CN" sz="2400"/>
              <a:t>60</a:t>
            </a:r>
            <a:r>
              <a:rPr lang="zh-CN" altLang="en-US" sz="2400"/>
              <a:t>分以下为</a:t>
            </a:r>
            <a:r>
              <a:rPr lang="en-US" altLang="zh-CN" sz="2400"/>
              <a:t>E</a:t>
            </a:r>
            <a:r>
              <a:rPr lang="zh-CN" altLang="en-US" sz="2400"/>
              <a:t>。</a:t>
            </a:r>
            <a:endParaRPr lang="zh-CN" altLang="en-US" sz="2400"/>
          </a:p>
        </p:txBody>
      </p:sp>
      <p:sp>
        <p:nvSpPr>
          <p:cNvPr id="30" name="矩形 29"/>
          <p:cNvSpPr/>
          <p:nvPr/>
        </p:nvSpPr>
        <p:spPr>
          <a:xfrm>
            <a:off x="-29234130" y="-37007800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1" name="矩形 30"/>
          <p:cNvSpPr/>
          <p:nvPr/>
        </p:nvSpPr>
        <p:spPr>
          <a:xfrm>
            <a:off x="-29234130" y="33317815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2" name="矩形 31"/>
          <p:cNvSpPr/>
          <p:nvPr/>
        </p:nvSpPr>
        <p:spPr>
          <a:xfrm>
            <a:off x="54331235" y="34778315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3" name="矩形 32"/>
          <p:cNvSpPr/>
          <p:nvPr/>
        </p:nvSpPr>
        <p:spPr>
          <a:xfrm>
            <a:off x="57220485" y="-33674050"/>
            <a:ext cx="572135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51" name="ECB019B1-382A-4266-B25C-5B523AA43C14-35" descr="qt_temp"/>
          <p:cNvPicPr>
            <a:picLocks noChangeAspect="1"/>
          </p:cNvPicPr>
          <p:nvPr/>
        </p:nvPicPr>
        <p:blipFill>
          <a:blip r:embed="rId1"/>
          <a:srcRect l="49794" t="32441" r="34833" b="60777"/>
          <a:stretch>
            <a:fillRect/>
          </a:stretch>
        </p:blipFill>
        <p:spPr>
          <a:xfrm>
            <a:off x="9055100" y="5793105"/>
            <a:ext cx="1416685" cy="443230"/>
          </a:xfrm>
          <a:prstGeom prst="rect">
            <a:avLst/>
          </a:prstGeom>
        </p:spPr>
      </p:pic>
      <p:grpSp>
        <p:nvGrpSpPr>
          <p:cNvPr id="10" name="组合 9"/>
          <p:cNvGrpSpPr/>
          <p:nvPr/>
        </p:nvGrpSpPr>
        <p:grpSpPr>
          <a:xfrm>
            <a:off x="6074410" y="2205355"/>
            <a:ext cx="882650" cy="556260"/>
            <a:chOff x="9566" y="3473"/>
            <a:chExt cx="1390" cy="876"/>
          </a:xfrm>
        </p:grpSpPr>
        <p:pic>
          <p:nvPicPr>
            <p:cNvPr id="4" name="ECB019B1-382A-4266-B25C-5B523AA43C14-36" descr="qt_temp"/>
            <p:cNvPicPr>
              <a:picLocks noChangeAspect="1"/>
            </p:cNvPicPr>
            <p:nvPr/>
          </p:nvPicPr>
          <p:blipFill>
            <a:blip r:embed="rId4"/>
            <a:srcRect l="5518" t="5782" r="85013" b="88342"/>
            <a:stretch>
              <a:fillRect/>
            </a:stretch>
          </p:blipFill>
          <p:spPr>
            <a:xfrm>
              <a:off x="9566" y="3473"/>
              <a:ext cx="1390" cy="550"/>
            </a:xfrm>
            <a:prstGeom prst="rect">
              <a:avLst/>
            </a:prstGeom>
          </p:spPr>
        </p:pic>
        <p:pic>
          <p:nvPicPr>
            <p:cNvPr id="7" name="ECB019B1-382A-4266-B25C-5B523AA43C14-37" descr="qt_temp"/>
            <p:cNvPicPr>
              <a:picLocks noChangeAspect="1"/>
            </p:cNvPicPr>
            <p:nvPr/>
          </p:nvPicPr>
          <p:blipFill>
            <a:blip r:embed="rId4"/>
            <a:srcRect l="9104" t="18334" r="88870" b="77278"/>
            <a:stretch>
              <a:fillRect/>
            </a:stretch>
          </p:blipFill>
          <p:spPr>
            <a:xfrm>
              <a:off x="10111" y="3939"/>
              <a:ext cx="297" cy="411"/>
            </a:xfrm>
            <a:prstGeom prst="rect">
              <a:avLst/>
            </a:prstGeom>
          </p:spPr>
        </p:pic>
      </p:grpSp>
      <p:grpSp>
        <p:nvGrpSpPr>
          <p:cNvPr id="12" name="组合 11"/>
          <p:cNvGrpSpPr/>
          <p:nvPr/>
        </p:nvGrpSpPr>
        <p:grpSpPr>
          <a:xfrm>
            <a:off x="5870575" y="2725420"/>
            <a:ext cx="1287780" cy="594995"/>
            <a:chOff x="9245" y="4292"/>
            <a:chExt cx="2028" cy="937"/>
          </a:xfrm>
        </p:grpSpPr>
        <p:pic>
          <p:nvPicPr>
            <p:cNvPr id="8" name="ECB019B1-382A-4266-B25C-5B523AA43C14-38" descr="qt_temp"/>
            <p:cNvPicPr>
              <a:picLocks noChangeAspect="1"/>
            </p:cNvPicPr>
            <p:nvPr/>
          </p:nvPicPr>
          <p:blipFill>
            <a:blip r:embed="rId4"/>
            <a:srcRect l="4098" t="27984" r="82078" b="66009"/>
            <a:stretch>
              <a:fillRect/>
            </a:stretch>
          </p:blipFill>
          <p:spPr>
            <a:xfrm>
              <a:off x="9245" y="4292"/>
              <a:ext cx="2029" cy="562"/>
            </a:xfrm>
            <a:prstGeom prst="rect">
              <a:avLst/>
            </a:prstGeom>
          </p:spPr>
        </p:pic>
        <p:pic>
          <p:nvPicPr>
            <p:cNvPr id="9" name="ECB019B1-382A-4266-B25C-5B523AA43C14-39" descr="qt_temp"/>
            <p:cNvPicPr>
              <a:picLocks noChangeAspect="1"/>
            </p:cNvPicPr>
            <p:nvPr/>
          </p:nvPicPr>
          <p:blipFill>
            <a:blip r:embed="rId4"/>
            <a:srcRect l="9104" t="18334" r="88870" b="77278"/>
            <a:stretch>
              <a:fillRect/>
            </a:stretch>
          </p:blipFill>
          <p:spPr>
            <a:xfrm>
              <a:off x="10112" y="4819"/>
              <a:ext cx="297" cy="411"/>
            </a:xfrm>
            <a:prstGeom prst="rect">
              <a:avLst/>
            </a:prstGeom>
          </p:spPr>
        </p:pic>
      </p:grpSp>
      <p:pic>
        <p:nvPicPr>
          <p:cNvPr id="11" name="ECB019B1-382A-4266-B25C-5B523AA43C14-33" descr="qt_temp"/>
          <p:cNvPicPr>
            <a:picLocks noChangeAspect="1"/>
          </p:cNvPicPr>
          <p:nvPr/>
        </p:nvPicPr>
        <p:blipFill>
          <a:blip r:embed="rId1"/>
          <a:srcRect l="82380" t="8749" r="5246" b="84370"/>
          <a:stretch>
            <a:fillRect/>
          </a:stretch>
        </p:blipFill>
        <p:spPr>
          <a:xfrm>
            <a:off x="5945505" y="3293110"/>
            <a:ext cx="1153160" cy="449580"/>
          </a:xfrm>
          <a:prstGeom prst="rect">
            <a:avLst/>
          </a:prstGeom>
        </p:spPr>
      </p:pic>
      <p:pic>
        <p:nvPicPr>
          <p:cNvPr id="21" name="ECB019B1-382A-4266-B25C-5B523AA43C14-32" descr="qt_temp"/>
          <p:cNvPicPr>
            <a:picLocks noChangeAspect="1"/>
          </p:cNvPicPr>
          <p:nvPr/>
        </p:nvPicPr>
        <p:blipFill>
          <a:blip r:embed="rId1"/>
          <a:srcRect l="7020" t="88986" r="86351" b="7844"/>
          <a:stretch>
            <a:fillRect/>
          </a:stretch>
        </p:blipFill>
        <p:spPr>
          <a:xfrm>
            <a:off x="6243320" y="3406140"/>
            <a:ext cx="617855" cy="207010"/>
          </a:xfrm>
          <a:prstGeom prst="rect">
            <a:avLst/>
          </a:prstGeom>
        </p:spPr>
      </p:pic>
      <p:pic>
        <p:nvPicPr>
          <p:cNvPr id="23" name="ECB019B1-382A-4266-B25C-5B523AA43C14-31" descr="qt_temp"/>
          <p:cNvPicPr>
            <a:picLocks noChangeAspect="1"/>
          </p:cNvPicPr>
          <p:nvPr/>
        </p:nvPicPr>
        <p:blipFill>
          <a:blip r:embed="rId1"/>
          <a:srcRect l="34010" t="27944" r="63402" b="45072"/>
          <a:stretch>
            <a:fillRect/>
          </a:stretch>
        </p:blipFill>
        <p:spPr>
          <a:xfrm>
            <a:off x="6344920" y="3715385"/>
            <a:ext cx="241300" cy="1762760"/>
          </a:xfrm>
          <a:prstGeom prst="roundRect">
            <a:avLst/>
          </a:prstGeom>
        </p:spPr>
      </p:pic>
      <p:pic>
        <p:nvPicPr>
          <p:cNvPr id="25" name="ECB019B1-382A-4266-B25C-5B523AA43C14-30" descr="C:/Users/ADMINI~1/AppData/Local/Temp/qt_temp.jC7320qt_temp"/>
          <p:cNvPicPr>
            <a:picLocks noChangeAspect="1"/>
          </p:cNvPicPr>
          <p:nvPr/>
        </p:nvPicPr>
        <p:blipFill>
          <a:blip r:embed="rId5"/>
          <a:srcRect l="6479" t="39876" r="82698" b="54604"/>
          <a:stretch>
            <a:fillRect/>
          </a:stretch>
        </p:blipFill>
        <p:spPr>
          <a:xfrm>
            <a:off x="6049010" y="5422900"/>
            <a:ext cx="918210" cy="397510"/>
          </a:xfrm>
          <a:prstGeom prst="rect">
            <a:avLst/>
          </a:prstGeom>
        </p:spPr>
      </p:pic>
      <p:pic>
        <p:nvPicPr>
          <p:cNvPr id="26" name="ECB019B1-382A-4266-B25C-5B523AA43C14-29" descr="qt_temp"/>
          <p:cNvPicPr>
            <a:picLocks noChangeAspect="1"/>
          </p:cNvPicPr>
          <p:nvPr/>
        </p:nvPicPr>
        <p:blipFill>
          <a:blip r:embed="rId1"/>
          <a:srcRect l="35664" t="62409" r="35616" b="30212"/>
          <a:stretch>
            <a:fillRect/>
          </a:stretch>
        </p:blipFill>
        <p:spPr>
          <a:xfrm>
            <a:off x="6499225" y="5773420"/>
            <a:ext cx="2675890" cy="481965"/>
          </a:xfrm>
          <a:prstGeom prst="rect">
            <a:avLst/>
          </a:prstGeom>
        </p:spPr>
      </p:pic>
      <p:pic>
        <p:nvPicPr>
          <p:cNvPr id="27" name="ECB019B1-382A-4266-B25C-5B523AA43C14-28" descr="qt_temp"/>
          <p:cNvPicPr>
            <a:picLocks noChangeAspect="1"/>
          </p:cNvPicPr>
          <p:nvPr/>
        </p:nvPicPr>
        <p:blipFill>
          <a:blip r:embed="rId1"/>
          <a:srcRect l="6396" t="78905" r="84520" b="16024"/>
          <a:stretch>
            <a:fillRect/>
          </a:stretch>
        </p:blipFill>
        <p:spPr>
          <a:xfrm>
            <a:off x="8681720" y="6186805"/>
            <a:ext cx="846455" cy="331470"/>
          </a:xfrm>
          <a:prstGeom prst="rect">
            <a:avLst/>
          </a:prstGeom>
        </p:spPr>
      </p:pic>
      <p:pic>
        <p:nvPicPr>
          <p:cNvPr id="28" name="ECB019B1-382A-4266-B25C-5B523AA43C14-27" descr="qt_temp"/>
          <p:cNvPicPr>
            <a:picLocks noChangeAspect="1"/>
          </p:cNvPicPr>
          <p:nvPr/>
        </p:nvPicPr>
        <p:blipFill>
          <a:blip r:embed="rId1"/>
          <a:srcRect l="28088" t="18849" r="63004" b="74820"/>
          <a:stretch>
            <a:fillRect/>
          </a:stretch>
        </p:blipFill>
        <p:spPr>
          <a:xfrm>
            <a:off x="7040245" y="3336290"/>
            <a:ext cx="829945" cy="413385"/>
          </a:xfrm>
          <a:prstGeom prst="rect">
            <a:avLst/>
          </a:prstGeom>
        </p:spPr>
      </p:pic>
      <p:pic>
        <p:nvPicPr>
          <p:cNvPr id="34" name="ECB019B1-382A-4266-B25C-5B523AA43C14-26" descr="qt_temp"/>
          <p:cNvPicPr>
            <a:picLocks noChangeAspect="1"/>
          </p:cNvPicPr>
          <p:nvPr/>
        </p:nvPicPr>
        <p:blipFill>
          <a:blip r:embed="rId1"/>
          <a:srcRect l="82380" t="8749" r="5246" b="84370"/>
          <a:stretch>
            <a:fillRect/>
          </a:stretch>
        </p:blipFill>
        <p:spPr>
          <a:xfrm>
            <a:off x="7224395" y="3736975"/>
            <a:ext cx="1153160" cy="449580"/>
          </a:xfrm>
          <a:prstGeom prst="rect">
            <a:avLst/>
          </a:prstGeom>
        </p:spPr>
      </p:pic>
      <p:pic>
        <p:nvPicPr>
          <p:cNvPr id="36" name="ECB019B1-382A-4266-B25C-5B523AA43C14-25" descr="qt_temp"/>
          <p:cNvPicPr>
            <a:picLocks noChangeAspect="1"/>
          </p:cNvPicPr>
          <p:nvPr/>
        </p:nvPicPr>
        <p:blipFill>
          <a:blip r:embed="rId1"/>
          <a:srcRect l="16061" t="88868" r="77310" b="7962"/>
          <a:stretch>
            <a:fillRect/>
          </a:stretch>
        </p:blipFill>
        <p:spPr>
          <a:xfrm>
            <a:off x="7522845" y="3849370"/>
            <a:ext cx="617855" cy="207010"/>
          </a:xfrm>
          <a:prstGeom prst="rect">
            <a:avLst/>
          </a:prstGeom>
        </p:spPr>
      </p:pic>
      <p:pic>
        <p:nvPicPr>
          <p:cNvPr id="37" name="ECB019B1-382A-4266-B25C-5B523AA43C14-24" descr="qt_temp"/>
          <p:cNvPicPr>
            <a:picLocks noChangeAspect="1"/>
          </p:cNvPicPr>
          <p:nvPr/>
        </p:nvPicPr>
        <p:blipFill>
          <a:blip r:embed="rId1"/>
          <a:srcRect l="43680" t="34419" r="53997" b="45537"/>
          <a:stretch>
            <a:fillRect/>
          </a:stretch>
        </p:blipFill>
        <p:spPr>
          <a:xfrm>
            <a:off x="7654925" y="4157980"/>
            <a:ext cx="216535" cy="1309370"/>
          </a:xfrm>
          <a:prstGeom prst="roundRect">
            <a:avLst/>
          </a:prstGeom>
        </p:spPr>
      </p:pic>
      <p:pic>
        <p:nvPicPr>
          <p:cNvPr id="38" name="ECB019B1-382A-4266-B25C-5B523AA43C14-23" descr="C:/Users/ADMINI~1/AppData/Local/Temp/qt_temp.aX7320qt_temp"/>
          <p:cNvPicPr>
            <a:picLocks noChangeAspect="1"/>
          </p:cNvPicPr>
          <p:nvPr/>
        </p:nvPicPr>
        <p:blipFill>
          <a:blip r:embed="rId5"/>
          <a:srcRect l="6372" t="48661" r="83131" b="45799"/>
          <a:stretch>
            <a:fillRect/>
          </a:stretch>
        </p:blipFill>
        <p:spPr>
          <a:xfrm>
            <a:off x="7355205" y="5432425"/>
            <a:ext cx="890905" cy="398780"/>
          </a:xfrm>
          <a:prstGeom prst="rect">
            <a:avLst/>
          </a:prstGeom>
        </p:spPr>
      </p:pic>
      <p:pic>
        <p:nvPicPr>
          <p:cNvPr id="39" name="ECB019B1-382A-4266-B25C-5B523AA43C14-22" descr="qt_temp"/>
          <p:cNvPicPr>
            <a:picLocks noChangeAspect="1"/>
          </p:cNvPicPr>
          <p:nvPr/>
        </p:nvPicPr>
        <p:blipFill>
          <a:blip r:embed="rId1"/>
          <a:srcRect l="49794" t="49265" r="34833" b="44277"/>
          <a:stretch>
            <a:fillRect/>
          </a:stretch>
        </p:blipFill>
        <p:spPr>
          <a:xfrm>
            <a:off x="7769225" y="5797550"/>
            <a:ext cx="1416685" cy="422275"/>
          </a:xfrm>
          <a:prstGeom prst="rect">
            <a:avLst/>
          </a:prstGeom>
        </p:spPr>
      </p:pic>
      <p:pic>
        <p:nvPicPr>
          <p:cNvPr id="40" name="ECB019B1-382A-4266-B25C-5B523AA43C14-21" descr="qt_temp"/>
          <p:cNvPicPr>
            <a:picLocks noChangeAspect="1"/>
          </p:cNvPicPr>
          <p:nvPr/>
        </p:nvPicPr>
        <p:blipFill>
          <a:blip r:embed="rId1"/>
          <a:srcRect l="28088" t="18849" r="63004" b="74820"/>
          <a:stretch>
            <a:fillRect/>
          </a:stretch>
        </p:blipFill>
        <p:spPr>
          <a:xfrm>
            <a:off x="8321675" y="3778885"/>
            <a:ext cx="829945" cy="413385"/>
          </a:xfrm>
          <a:prstGeom prst="rect">
            <a:avLst/>
          </a:prstGeom>
        </p:spPr>
      </p:pic>
      <p:pic>
        <p:nvPicPr>
          <p:cNvPr id="41" name="ECB019B1-382A-4266-B25C-5B523AA43C14-20" descr="qt_temp"/>
          <p:cNvPicPr>
            <a:picLocks noChangeAspect="1"/>
          </p:cNvPicPr>
          <p:nvPr/>
        </p:nvPicPr>
        <p:blipFill>
          <a:blip r:embed="rId1"/>
          <a:srcRect l="82380" t="8749" r="5246" b="84370"/>
          <a:stretch>
            <a:fillRect/>
          </a:stretch>
        </p:blipFill>
        <p:spPr>
          <a:xfrm>
            <a:off x="8505825" y="4179570"/>
            <a:ext cx="1153160" cy="449580"/>
          </a:xfrm>
          <a:prstGeom prst="rect">
            <a:avLst/>
          </a:prstGeom>
        </p:spPr>
      </p:pic>
      <p:pic>
        <p:nvPicPr>
          <p:cNvPr id="42" name="ECB019B1-382A-4266-B25C-5B523AA43C14-19" descr="qt_temp"/>
          <p:cNvPicPr>
            <a:picLocks noChangeAspect="1"/>
          </p:cNvPicPr>
          <p:nvPr/>
        </p:nvPicPr>
        <p:blipFill>
          <a:blip r:embed="rId1"/>
          <a:srcRect l="24748" t="88876" r="68623" b="7954"/>
          <a:stretch>
            <a:fillRect/>
          </a:stretch>
        </p:blipFill>
        <p:spPr>
          <a:xfrm>
            <a:off x="8804275" y="4291965"/>
            <a:ext cx="617855" cy="207010"/>
          </a:xfrm>
          <a:prstGeom prst="rect">
            <a:avLst/>
          </a:prstGeom>
        </p:spPr>
      </p:pic>
      <p:pic>
        <p:nvPicPr>
          <p:cNvPr id="43" name="ECB019B1-382A-4266-B25C-5B523AA43C14-18" descr="qt_temp"/>
          <p:cNvPicPr>
            <a:picLocks noChangeAspect="1"/>
          </p:cNvPicPr>
          <p:nvPr/>
        </p:nvPicPr>
        <p:blipFill>
          <a:blip r:embed="rId1"/>
          <a:srcRect l="80179" t="43574" r="17479" b="42959"/>
          <a:stretch>
            <a:fillRect/>
          </a:stretch>
        </p:blipFill>
        <p:spPr>
          <a:xfrm>
            <a:off x="8921750" y="4609465"/>
            <a:ext cx="218440" cy="880110"/>
          </a:xfrm>
          <a:prstGeom prst="roundRect">
            <a:avLst/>
          </a:prstGeom>
        </p:spPr>
      </p:pic>
      <p:pic>
        <p:nvPicPr>
          <p:cNvPr id="44" name="ECB019B1-382A-4266-B25C-5B523AA43C14-17" descr="C:/Users/ADMINI~1/AppData/Local/Temp/qt_temp.mx7320qt_temp"/>
          <p:cNvPicPr>
            <a:picLocks noChangeAspect="1"/>
          </p:cNvPicPr>
          <p:nvPr/>
        </p:nvPicPr>
        <p:blipFill>
          <a:blip r:embed="rId5"/>
          <a:srcRect l="6818" t="56588" r="83047" b="37581"/>
          <a:stretch>
            <a:fillRect/>
          </a:stretch>
        </p:blipFill>
        <p:spPr>
          <a:xfrm>
            <a:off x="8655050" y="5422900"/>
            <a:ext cx="860425" cy="419735"/>
          </a:xfrm>
          <a:prstGeom prst="rect">
            <a:avLst/>
          </a:prstGeom>
        </p:spPr>
      </p:pic>
      <p:pic>
        <p:nvPicPr>
          <p:cNvPr id="45" name="ECB019B1-382A-4266-B25C-5B523AA43C14-16" descr="qt_temp"/>
          <p:cNvPicPr>
            <a:picLocks noChangeAspect="1"/>
          </p:cNvPicPr>
          <p:nvPr/>
        </p:nvPicPr>
        <p:blipFill>
          <a:blip r:embed="rId1"/>
          <a:srcRect l="73351" t="49282" r="24874" b="44243"/>
          <a:stretch>
            <a:fillRect/>
          </a:stretch>
        </p:blipFill>
        <p:spPr>
          <a:xfrm>
            <a:off x="9025890" y="5801995"/>
            <a:ext cx="163830" cy="422910"/>
          </a:xfrm>
          <a:prstGeom prst="rect">
            <a:avLst/>
          </a:prstGeom>
        </p:spPr>
      </p:pic>
      <p:pic>
        <p:nvPicPr>
          <p:cNvPr id="46" name="ECB019B1-382A-4266-B25C-5B523AA43C14-15" descr="qt_temp"/>
          <p:cNvPicPr>
            <a:picLocks noChangeAspect="1"/>
          </p:cNvPicPr>
          <p:nvPr/>
        </p:nvPicPr>
        <p:blipFill>
          <a:blip r:embed="rId1"/>
          <a:srcRect l="28088" t="18849" r="63004" b="74820"/>
          <a:stretch>
            <a:fillRect/>
          </a:stretch>
        </p:blipFill>
        <p:spPr>
          <a:xfrm>
            <a:off x="9603105" y="4222115"/>
            <a:ext cx="829945" cy="413385"/>
          </a:xfrm>
          <a:prstGeom prst="rect">
            <a:avLst/>
          </a:prstGeom>
        </p:spPr>
      </p:pic>
      <p:pic>
        <p:nvPicPr>
          <p:cNvPr id="47" name="ECB019B1-382A-4266-B25C-5B523AA43C14-14" descr="qt_temp"/>
          <p:cNvPicPr>
            <a:picLocks noChangeAspect="1"/>
          </p:cNvPicPr>
          <p:nvPr/>
        </p:nvPicPr>
        <p:blipFill>
          <a:blip r:embed="rId1"/>
          <a:srcRect l="82380" t="8749" r="5246" b="84370"/>
          <a:stretch>
            <a:fillRect/>
          </a:stretch>
        </p:blipFill>
        <p:spPr>
          <a:xfrm>
            <a:off x="9787255" y="4622800"/>
            <a:ext cx="1153160" cy="449580"/>
          </a:xfrm>
          <a:prstGeom prst="rect">
            <a:avLst/>
          </a:prstGeom>
        </p:spPr>
      </p:pic>
      <p:pic>
        <p:nvPicPr>
          <p:cNvPr id="48" name="ECB019B1-382A-4266-B25C-5B523AA43C14-13" descr="qt_temp"/>
          <p:cNvPicPr>
            <a:picLocks noChangeAspect="1"/>
          </p:cNvPicPr>
          <p:nvPr/>
        </p:nvPicPr>
        <p:blipFill>
          <a:blip r:embed="rId1"/>
          <a:srcRect l="33536" t="88860" r="59835" b="7970"/>
          <a:stretch>
            <a:fillRect/>
          </a:stretch>
        </p:blipFill>
        <p:spPr>
          <a:xfrm>
            <a:off x="10085070" y="4735195"/>
            <a:ext cx="617855" cy="207010"/>
          </a:xfrm>
          <a:prstGeom prst="rect">
            <a:avLst/>
          </a:prstGeom>
        </p:spPr>
      </p:pic>
      <p:pic>
        <p:nvPicPr>
          <p:cNvPr id="49" name="ECB019B1-382A-4266-B25C-5B523AA43C14-12" descr="qt_temp"/>
          <p:cNvPicPr>
            <a:picLocks noChangeAspect="1"/>
          </p:cNvPicPr>
          <p:nvPr/>
        </p:nvPicPr>
        <p:blipFill>
          <a:blip r:embed="rId1"/>
          <a:srcRect l="88101" t="48156" r="9033" b="45157"/>
          <a:stretch>
            <a:fillRect/>
          </a:stretch>
        </p:blipFill>
        <p:spPr>
          <a:xfrm>
            <a:off x="10201910" y="5061585"/>
            <a:ext cx="267335" cy="436880"/>
          </a:xfrm>
          <a:prstGeom prst="roundRect">
            <a:avLst/>
          </a:prstGeom>
        </p:spPr>
      </p:pic>
      <p:pic>
        <p:nvPicPr>
          <p:cNvPr id="50" name="ECB019B1-382A-4266-B25C-5B523AA43C14-11" descr="C:/Users/ADMINI~1/AppData/Local/Temp/qt_temp.ZY7320qt_temp"/>
          <p:cNvPicPr>
            <a:picLocks noChangeAspect="1"/>
          </p:cNvPicPr>
          <p:nvPr/>
        </p:nvPicPr>
        <p:blipFill>
          <a:blip r:embed="rId5"/>
          <a:srcRect l="6749" t="63930" r="82503" b="29290"/>
          <a:stretch>
            <a:fillRect/>
          </a:stretch>
        </p:blipFill>
        <p:spPr>
          <a:xfrm>
            <a:off x="9819005" y="5413375"/>
            <a:ext cx="1073150" cy="487680"/>
          </a:xfrm>
          <a:prstGeom prst="rect">
            <a:avLst/>
          </a:prstGeom>
        </p:spPr>
      </p:pic>
      <p:pic>
        <p:nvPicPr>
          <p:cNvPr id="52" name="ECB019B1-382A-4266-B25C-5B523AA43C14-10" descr="qt_temp"/>
          <p:cNvPicPr>
            <a:picLocks noChangeAspect="1"/>
          </p:cNvPicPr>
          <p:nvPr/>
        </p:nvPicPr>
        <p:blipFill>
          <a:blip r:embed="rId1"/>
          <a:srcRect l="82621" t="25842" r="8677" b="61098"/>
          <a:stretch>
            <a:fillRect/>
          </a:stretch>
        </p:blipFill>
        <p:spPr>
          <a:xfrm>
            <a:off x="10863580" y="4683125"/>
            <a:ext cx="802005" cy="803275"/>
          </a:xfrm>
          <a:prstGeom prst="rect">
            <a:avLst/>
          </a:prstGeom>
        </p:spPr>
      </p:pic>
      <p:pic>
        <p:nvPicPr>
          <p:cNvPr id="53" name="ECB019B1-382A-4266-B25C-5B523AA43C14-9" descr="C:/Users/ADMINI~1/AppData/Local/Temp/qt_temp.eC7320qt_temp"/>
          <p:cNvPicPr>
            <a:picLocks noChangeAspect="1"/>
          </p:cNvPicPr>
          <p:nvPr/>
        </p:nvPicPr>
        <p:blipFill>
          <a:blip r:embed="rId5"/>
          <a:srcRect l="6476" t="71449" r="83482" b="22584"/>
          <a:stretch>
            <a:fillRect/>
          </a:stretch>
        </p:blipFill>
        <p:spPr>
          <a:xfrm>
            <a:off x="11137900" y="5422900"/>
            <a:ext cx="852805" cy="42926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3685" y="2205355"/>
            <a:ext cx="5671820" cy="3853180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240665" y="2167255"/>
            <a:ext cx="5646420" cy="57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299085" y="2874010"/>
            <a:ext cx="2721610" cy="273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292735" y="3147695"/>
            <a:ext cx="2721610" cy="273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292735" y="3401060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419735" y="3634740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2" name="矩形 21"/>
          <p:cNvSpPr/>
          <p:nvPr/>
        </p:nvSpPr>
        <p:spPr>
          <a:xfrm>
            <a:off x="546735" y="3868420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673735" y="4115435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9" name="矩形 28"/>
          <p:cNvSpPr/>
          <p:nvPr/>
        </p:nvSpPr>
        <p:spPr>
          <a:xfrm>
            <a:off x="800735" y="4335780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5" name="矩形 54"/>
          <p:cNvSpPr/>
          <p:nvPr/>
        </p:nvSpPr>
        <p:spPr>
          <a:xfrm>
            <a:off x="927735" y="4582795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6" name="矩形 55"/>
          <p:cNvSpPr/>
          <p:nvPr/>
        </p:nvSpPr>
        <p:spPr>
          <a:xfrm>
            <a:off x="1054735" y="4816475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7" name="矩形 56"/>
          <p:cNvSpPr/>
          <p:nvPr/>
        </p:nvSpPr>
        <p:spPr>
          <a:xfrm>
            <a:off x="1181735" y="5050155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1" name="矩形 70"/>
          <p:cNvSpPr/>
          <p:nvPr/>
        </p:nvSpPr>
        <p:spPr>
          <a:xfrm>
            <a:off x="1308735" y="5283835"/>
            <a:ext cx="2721610" cy="24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2" name="矩形 71"/>
          <p:cNvSpPr/>
          <p:nvPr/>
        </p:nvSpPr>
        <p:spPr>
          <a:xfrm>
            <a:off x="1435735" y="5530850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3" name="矩形 72"/>
          <p:cNvSpPr/>
          <p:nvPr/>
        </p:nvSpPr>
        <p:spPr>
          <a:xfrm>
            <a:off x="1562735" y="5764530"/>
            <a:ext cx="2721610" cy="2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3" name="圆角矩形 12"/>
          <p:cNvSpPr/>
          <p:nvPr/>
        </p:nvSpPr>
        <p:spPr>
          <a:xfrm>
            <a:off x="1774825" y="5050155"/>
            <a:ext cx="1747520" cy="1008380"/>
          </a:xfrm>
          <a:prstGeom prst="roundRect">
            <a:avLst>
              <a:gd name="adj" fmla="val 11020"/>
            </a:avLst>
          </a:prstGeom>
          <a:noFill/>
          <a:ln w="12700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4" name="圆角矩形 73"/>
          <p:cNvSpPr/>
          <p:nvPr/>
        </p:nvSpPr>
        <p:spPr>
          <a:xfrm>
            <a:off x="1281430" y="4327525"/>
            <a:ext cx="2291715" cy="1776730"/>
          </a:xfrm>
          <a:prstGeom prst="roundRect">
            <a:avLst>
              <a:gd name="adj" fmla="val 5396"/>
            </a:avLst>
          </a:prstGeom>
          <a:noFill/>
          <a:ln w="12700">
            <a:solidFill>
              <a:srgbClr val="00B0F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5" name="圆角矩形 74"/>
          <p:cNvSpPr/>
          <p:nvPr/>
        </p:nvSpPr>
        <p:spPr>
          <a:xfrm>
            <a:off x="794385" y="3635375"/>
            <a:ext cx="2808000" cy="2510790"/>
          </a:xfrm>
          <a:prstGeom prst="roundRect">
            <a:avLst>
              <a:gd name="adj" fmla="val 4147"/>
            </a:avLst>
          </a:prstGeom>
          <a:noFill/>
          <a:ln w="12700">
            <a:solidFill>
              <a:srgbClr val="7030A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59" name="图片 58" descr="套娃"/>
          <p:cNvPicPr>
            <a:picLocks noChangeAspect="1"/>
          </p:cNvPicPr>
          <p:nvPr/>
        </p:nvPicPr>
        <p:blipFill>
          <a:blip r:embed="rId7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  <a:alpha val="0"/>
                </a:srgbClr>
              </a:clrTo>
            </a:clrChange>
          </a:blip>
          <a:srcRect l="65437" t="25037" r="6134" b="9214"/>
          <a:stretch>
            <a:fillRect/>
          </a:stretch>
        </p:blipFill>
        <p:spPr>
          <a:xfrm>
            <a:off x="4157345" y="3911600"/>
            <a:ext cx="1500505" cy="2313305"/>
          </a:xfrm>
          <a:prstGeom prst="rect">
            <a:avLst/>
          </a:prstGeom>
        </p:spPr>
      </p:pic>
      <p:pic>
        <p:nvPicPr>
          <p:cNvPr id="58" name="图片 57" descr="套娃"/>
          <p:cNvPicPr/>
          <p:nvPr/>
        </p:nvPicPr>
        <p:blipFill>
          <a:blip r:embed="rId7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  <a:alpha val="0"/>
                </a:srgbClr>
              </a:clrTo>
            </a:clrChange>
          </a:blip>
          <a:srcRect l="37043" t="9510" r="34527" b="47199"/>
          <a:stretch>
            <a:fillRect/>
          </a:stretch>
        </p:blipFill>
        <p:spPr>
          <a:xfrm>
            <a:off x="4164965" y="3570605"/>
            <a:ext cx="1508125" cy="1522730"/>
          </a:xfrm>
          <a:prstGeom prst="rect">
            <a:avLst/>
          </a:prstGeom>
        </p:spPr>
      </p:pic>
      <p:pic>
        <p:nvPicPr>
          <p:cNvPr id="61" name="图片 60" descr="套娃"/>
          <p:cNvPicPr/>
          <p:nvPr/>
        </p:nvPicPr>
        <p:blipFill>
          <a:blip r:embed="rId7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  <a:alpha val="0"/>
                </a:srgbClr>
              </a:clrTo>
            </a:clrChange>
          </a:blip>
          <a:srcRect l="37043" t="9510" r="34527" b="47199"/>
          <a:stretch>
            <a:fillRect/>
          </a:stretch>
        </p:blipFill>
        <p:spPr>
          <a:xfrm rot="20460000">
            <a:off x="3602355" y="2797175"/>
            <a:ext cx="1508125" cy="1522730"/>
          </a:xfrm>
          <a:prstGeom prst="rect">
            <a:avLst/>
          </a:prstGeom>
        </p:spPr>
      </p:pic>
      <p:sp>
        <p:nvSpPr>
          <p:cNvPr id="62" name="文本框 61"/>
          <p:cNvSpPr txBox="1"/>
          <p:nvPr/>
        </p:nvSpPr>
        <p:spPr>
          <a:xfrm>
            <a:off x="4263390" y="6205220"/>
            <a:ext cx="1233170" cy="70675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</a:bodyPr>
          <a:p>
            <a:r>
              <a:rPr lang="zh-CN" altLang="en-US" sz="4000" b="1">
                <a:pattFill prst="dkUpDiag">
                  <a:fgClr>
                    <a:schemeClr val="bg1">
                      <a:lumMod val="50000"/>
                    </a:schemeClr>
                  </a:fgClr>
                  <a:bgClr>
                    <a:schemeClr val="tx1">
                      <a:lumMod val="75000"/>
                      <a:lumOff val="25000"/>
                    </a:schemeClr>
                  </a:bgClr>
                </a:patt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方正小标宋简体" panose="02010601030101010101" charset="-122"/>
                <a:ea typeface="方正小标宋简体" panose="02010601030101010101" charset="-122"/>
              </a:rPr>
              <a:t>嵌套</a:t>
            </a:r>
            <a:endParaRPr lang="zh-CN" altLang="en-US" sz="4000" b="1">
              <a:pattFill prst="dkUpDiag">
                <a:fgClr>
                  <a:schemeClr val="bg1">
                    <a:lumMod val="50000"/>
                  </a:schemeClr>
                </a:fgClr>
                <a:bgClr>
                  <a:schemeClr val="tx1">
                    <a:lumMod val="75000"/>
                    <a:lumOff val="25000"/>
                  </a:schemeClr>
                </a:bgClr>
              </a:patt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  <a:latin typeface="方正小标宋简体" panose="02010601030101010101" charset="-122"/>
              <a:ea typeface="方正小标宋简体" panose="02010601030101010101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9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500"/>
                            </p:stCondLst>
                            <p:childTnLst>
                              <p:par>
                                <p:cTn id="10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0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500"/>
                            </p:stCondLst>
                            <p:childTnLst>
                              <p:par>
                                <p:cTn id="11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1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3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500"/>
                            </p:stCondLst>
                            <p:childTnLst>
                              <p:par>
                                <p:cTn id="1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4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500"/>
                            </p:stCondLst>
                            <p:childTnLst>
                              <p:par>
                                <p:cTn id="151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5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6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5" presetID="22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7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500"/>
                            </p:stCondLst>
                            <p:childTnLst>
                              <p:par>
                                <p:cTn id="17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2" fill="hold">
                      <p:stCondLst>
                        <p:cond delay="indefinite"/>
                      </p:stCondLst>
                      <p:childTnLst>
                        <p:par>
                          <p:cTn id="183" fill="hold">
                            <p:stCondLst>
                              <p:cond delay="0"/>
                            </p:stCondLst>
                            <p:childTnLst>
                              <p:par>
                                <p:cTn id="184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6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8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0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1" fill="hold">
                            <p:stCondLst>
                              <p:cond delay="4000"/>
                            </p:stCondLst>
                            <p:childTnLst>
                              <p:par>
                                <p:cTn id="192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4" dur="2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5" fill="hold">
                      <p:stCondLst>
                        <p:cond delay="indefinite"/>
                      </p:stCondLst>
                      <p:childTnLst>
                        <p:par>
                          <p:cTn id="196" fill="hold">
                            <p:stCondLst>
                              <p:cond delay="0"/>
                            </p:stCondLst>
                            <p:childTnLst>
                              <p:par>
                                <p:cTn id="19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1" fill="hold">
                      <p:stCondLst>
                        <p:cond delay="indefinite"/>
                      </p:stCondLst>
                      <p:childTnLst>
                        <p:par>
                          <p:cTn id="202" fill="hold">
                            <p:stCondLst>
                              <p:cond delay="0"/>
                            </p:stCondLst>
                            <p:childTnLst>
                              <p:par>
                                <p:cTn id="203" presetID="4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137 -0.042299 L -0.004897 -0.073149 C -0.006489 -0.079790 -0.010022 -0.087158 -0.014424 -0.093272 C -0.019428 -0.100221 -0.024100 -0.104251 -0.028113 -0.105394 L -0.046894 -0.111791 " pathEditMode="relative" rAng="1570766820" ptsTypes="">
                                      <p:cBhvr>
                                        <p:cTn id="204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5"/>
                                    </p:animMotion>
                                  </p:childTnLst>
                                </p:cTn>
                              </p:par>
                              <p:par>
                                <p:cTn id="20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1200000">
                                      <p:cBhvr>
                                        <p:cTn id="206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7" fill="hold">
                            <p:stCondLst>
                              <p:cond delay="2000"/>
                            </p:stCondLst>
                            <p:childTnLst>
                              <p:par>
                                <p:cTn id="20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2" fill="hold">
                      <p:stCondLst>
                        <p:cond delay="indefinite"/>
                      </p:stCondLst>
                      <p:childTnLst>
                        <p:par>
                          <p:cTn id="213" fill="hold">
                            <p:stCondLst>
                              <p:cond delay="0"/>
                            </p:stCondLst>
                            <p:childTnLst>
                              <p:par>
                                <p:cTn id="214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6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1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1" animBg="1"/>
      <p:bldP spid="16" grpId="2" bldLvl="0" animBg="1"/>
      <p:bldP spid="17" grpId="1" animBg="1"/>
      <p:bldP spid="17" grpId="2" bldLvl="0" animBg="1"/>
      <p:bldP spid="18" grpId="1" animBg="1"/>
      <p:bldP spid="18" grpId="2" bldLvl="0" animBg="1"/>
      <p:bldP spid="19" grpId="1" animBg="1"/>
      <p:bldP spid="19" grpId="2" bldLvl="0" animBg="1"/>
      <p:bldP spid="20" grpId="1" animBg="1"/>
      <p:bldP spid="20" grpId="2" bldLvl="0" animBg="1"/>
      <p:bldP spid="22" grpId="1" animBg="1"/>
      <p:bldP spid="22" grpId="2" bldLvl="0" animBg="1"/>
      <p:bldP spid="24" grpId="1" animBg="1"/>
      <p:bldP spid="24" grpId="2" bldLvl="0" animBg="1"/>
      <p:bldP spid="29" grpId="1" animBg="1"/>
      <p:bldP spid="29" grpId="2" bldLvl="0" animBg="1"/>
      <p:bldP spid="55" grpId="1" animBg="1"/>
      <p:bldP spid="55" grpId="2" bldLvl="0" animBg="1"/>
      <p:bldP spid="56" grpId="1" animBg="1"/>
      <p:bldP spid="56" grpId="2" bldLvl="0" animBg="1"/>
      <p:bldP spid="57" grpId="1" animBg="1"/>
      <p:bldP spid="57" grpId="2" bldLvl="0" animBg="1"/>
      <p:bldP spid="71" grpId="1" animBg="1"/>
      <p:bldP spid="71" grpId="2" bldLvl="0" animBg="1"/>
      <p:bldP spid="72" grpId="1" animBg="1"/>
      <p:bldP spid="72" grpId="2" bldLvl="0" animBg="1"/>
      <p:bldP spid="73" grpId="1" animBg="1"/>
      <p:bldP spid="73" grpId="2" bldLvl="0" animBg="1"/>
      <p:bldP spid="13" grpId="0" bldLvl="0" animBg="1"/>
      <p:bldP spid="74" grpId="0" bldLvl="0" animBg="1"/>
      <p:bldP spid="75" grpId="0" bldLvl="0" animBg="1"/>
      <p:bldP spid="13" grpId="1" animBg="1"/>
      <p:bldP spid="74" grpId="1" animBg="1"/>
      <p:bldP spid="75" grpId="1" animBg="1"/>
      <p:bldP spid="62" grpId="0"/>
      <p:bldP spid="62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sym typeface="+mn-ea"/>
              </a:rPr>
              <a:t>if - elif </a:t>
            </a:r>
            <a:r>
              <a:rPr lang="zh-CN" altLang="en-US" sz="2800" dirty="0">
                <a:sym typeface="+mn-ea"/>
              </a:rPr>
              <a:t>条件语句</a:t>
            </a:r>
            <a:endParaRPr lang="zh-CN" sz="2800" dirty="0"/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ISLIDE.VECTOR" val="cc47b233-5d22-45c3-93b3-14c33b993852"/>
</p:tagLst>
</file>

<file path=ppt/tags/tag10.xml><?xml version="1.0" encoding="utf-8"?>
<p:tagLst xmlns:p="http://schemas.openxmlformats.org/presentationml/2006/main">
  <p:tag name="THINKCELLSHAPEDONOTDELETE" val="tA6S0wzOvQ8a50SA42PUNRg"/>
</p:tagLst>
</file>

<file path=ppt/tags/tag11.xml><?xml version="1.0" encoding="utf-8"?>
<p:tagLst xmlns:p="http://schemas.openxmlformats.org/presentationml/2006/main">
  <p:tag name="ISLIDE.VECTOR" val="88c1d644-dd23-40cc-af81-3e65592df81c"/>
</p:tagLst>
</file>

<file path=ppt/tags/tag12.xml><?xml version="1.0" encoding="utf-8"?>
<p:tagLst xmlns:p="http://schemas.openxmlformats.org/presentationml/2006/main">
  <p:tag name="ISLIDE.VECTOR" val="88c1d644-dd23-40cc-af81-3e65592df81c"/>
</p:tagLst>
</file>

<file path=ppt/tags/tag13.xml><?xml version="1.0" encoding="utf-8"?>
<p:tagLst xmlns:p="http://schemas.openxmlformats.org/presentationml/2006/main">
  <p:tag name="ISLIDE.VECTOR" val="88c1d644-dd23-40cc-af81-3e65592df81c"/>
</p:tagLst>
</file>

<file path=ppt/tags/tag14.xml><?xml version="1.0" encoding="utf-8"?>
<p:tagLst xmlns:p="http://schemas.openxmlformats.org/presentationml/2006/main">
  <p:tag name="ISLIDE.VECTOR" val="88c1d644-dd23-40cc-af81-3e65592df81c"/>
</p:tagLst>
</file>

<file path=ppt/tags/tag15.xml><?xml version="1.0" encoding="utf-8"?>
<p:tagLst xmlns:p="http://schemas.openxmlformats.org/presentationml/2006/main">
  <p:tag name="ISLIDE.VECTOR" val="88c1d644-dd23-40cc-af81-3e65592df81c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1Smkff3fSzGMOuItfjj3Fw"/>
</p:tagLst>
</file>

<file path=ppt/tags/tag19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78622c3f-6737-464f-9965-1647c62d920d"/>
</p:tagLst>
</file>

<file path=ppt/tags/tag2.xml><?xml version="1.0" encoding="utf-8"?>
<p:tagLst xmlns:p="http://schemas.openxmlformats.org/presentationml/2006/main">
  <p:tag name="ISLIDE.VECTOR" val="88c1d644-dd23-40cc-af81-3e65592df81c"/>
</p:tagLst>
</file>

<file path=ppt/tags/tag3.xml><?xml version="1.0" encoding="utf-8"?>
<p:tagLst xmlns:p="http://schemas.openxmlformats.org/presentationml/2006/main">
  <p:tag name="ISLIDE.VECTOR" val="88c1d644-dd23-40cc-af81-3e65592df81c"/>
</p:tagLst>
</file>

<file path=ppt/tags/tag4.xml><?xml version="1.0" encoding="utf-8"?>
<p:tagLst xmlns:p="http://schemas.openxmlformats.org/presentationml/2006/main">
  <p:tag name="ISLIDE.VECTOR" val="683ae7dc-b5ab-4ff3-a861-ec68902b1d71"/>
</p:tagLst>
</file>

<file path=ppt/tags/tag5.xml><?xml version="1.0" encoding="utf-8"?>
<p:tagLst xmlns:p="http://schemas.openxmlformats.org/presentationml/2006/main">
  <p:tag name="ISLIDE.VECTOR" val="bca53829-35c6-4459-b981-6f35f8ea8637"/>
</p:tagLst>
</file>

<file path=ppt/tags/tag6.xml><?xml version="1.0" encoding="utf-8"?>
<p:tagLst xmlns:p="http://schemas.openxmlformats.org/presentationml/2006/main">
  <p:tag name="ISLIDE.VECTOR" val="88c1d644-dd23-40cc-af81-3e65592df81c"/>
</p:tagLst>
</file>

<file path=ppt/tags/tag7.xml><?xml version="1.0" encoding="utf-8"?>
<p:tagLst xmlns:p="http://schemas.openxmlformats.org/presentationml/2006/main">
  <p:tag name="ISLIDE.VECTOR" val="683ae7dc-b5ab-4ff3-a861-ec68902b1d71"/>
</p:tagLst>
</file>

<file path=ppt/tags/tag8.xml><?xml version="1.0" encoding="utf-8"?>
<p:tagLst xmlns:p="http://schemas.openxmlformats.org/presentationml/2006/main">
  <p:tag name="ISLIDE.VECTOR" val="cc47b233-5d22-45c3-93b3-14c33b993852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03812"/>
      </a:accent1>
      <a:accent2>
        <a:srgbClr val="F7B220"/>
      </a:accent2>
      <a:accent3>
        <a:srgbClr val="878787"/>
      </a:accent3>
      <a:accent4>
        <a:srgbClr val="9D5C33"/>
      </a:accent4>
      <a:accent5>
        <a:srgbClr val="EB792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03812"/>
    </a:accent1>
    <a:accent2>
      <a:srgbClr val="F7B220"/>
    </a:accent2>
    <a:accent3>
      <a:srgbClr val="878787"/>
    </a:accent3>
    <a:accent4>
      <a:srgbClr val="9D5C33"/>
    </a:accent4>
    <a:accent5>
      <a:srgbClr val="EB792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03812"/>
    </a:accent1>
    <a:accent2>
      <a:srgbClr val="F7B220"/>
    </a:accent2>
    <a:accent3>
      <a:srgbClr val="878787"/>
    </a:accent3>
    <a:accent4>
      <a:srgbClr val="9D5C33"/>
    </a:accent4>
    <a:accent5>
      <a:srgbClr val="EB792C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item1.xml><?xml version="1.0" encoding="utf-8"?>
<s:customData xmlns="http://www.wps.cn/officeDocument/2013/wpsCustomData" xmlns:s="http://www.wps.cn/officeDocument/2013/wpsCustomData">
  <extobjs>
    <extobj name="ECB019B1-382A-4266-B25C-5B523AA43C14-1">
      <extobjdata type="ECB019B1-382A-4266-B25C-5B523AA43C14" data="ewogICAiRmlsZUlkIiA6ICI4MzgwNDk3NzQ1MyIsCiAgICJHcm91cElkIiA6ICI0OTg2Mjc1MzQiLAogICAiSW1hZ2UiIDogImlWQk9SdzBLR2dvQUFBQU5TVWhFVWdBQUFza0FBQVJ1Q0FZQUFBQWgvS3FCQUFBQUNYQklXWE1BQUFzVEFBQUxFd0VBbXB3WUFBQWdBRWxFUVZSNG5PemRlMXhVZGY0LzhOZm5EQmNGZy9DU0tSb3FyUFh6Q2t4bVZwcm1MVmxiTDNuSnpETHZ1R3V0Mm1xV21XVmFtdHArczAzQUcrU05GRkRUekx0b1c2WXlnQmEwRm1xc3Q4QUFRVVFZbVBQNS9hRXpDOE5WQlE0ejgzbytIajZjK1p6UG5QT2UwVE84T1BPZWN3Q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XNtRkM2d0tJN0ZHM2J0M3E1K2ZudnlLRUdBRGdUd0RhQUhEVnVLeTZvQURBT1FDL1NpbS84ZlQwREkrTmpjM1h1aWdpSWlKckRNbEUxVXZvOWZvcFVzcjVBQjdRdWhnYmtDNkVtRzh3R0VJQVNLMkxJU0lpTW1OSUpxb21QWHYyZExwKy9mb0tLZVVVQU5EcjlSZzJiQmg4ZlgzUm9rVUx1THJ5UUhKQlFRRXVYcnlJczJmUElpb3FDZ2FEQVFBZ3BWenA2ZW41V214c2JKSEdKUklSRVFGZ1NDYXFMaUl3TUhBOWdOR2VucDV5OGVMRm9rdVhMbHJYVk9lZFBIa1NzMmJOa2prNU9RTEFodmo0K0pmQkk4cEVSRlFINkxRdWdNZ2VCQVlHVGdUd2R2UG16YkZtelJyeC8vN2YvOU82Skp2ZzdlMk4zcjE3aTZOSGorTDY5ZXVkbWpkdmZ2SEtsU3Z4V3RkRlJFVEVJOGxFOTBpdjEvdEtLWk4wT3AxcmVIZzQyclZycDNWSk5pY3BLUW12dnZvcVRDWlRnVTZuYTNmeTVNbHpXdGRFUkVTT1RkRzZBQ0piSjZWOEM0RHJwRW1UR0pEdlV2djI3VEZwMGlRQWNGVlY5UzJ0NnlFaUl1S1JaS0o3MEtsVHA5Wk9UazYvM0hmZmZicmR1M2NMTnpjM3JVdXlXWGw1ZVJnd1lJRE16YzAxcWFyNnA4VEV4Tiswcm9tSWlCd1hqeVFUM1FNbko2ZnhBSnhHakJqQmdIeVAzTnpjTUhMa1NBSEFTYWZUamRlNkhpSWljbXdNeVVUM1pnZ0FEQmd3UU9zNjdNS3p6ejVydmpsRXl6cUlpSWdZa29udVV1Zk9uZHNDYU9mdDdZMVdyVnBwWFU2VlNGbjIyZFZVVmEzbFNzcld1blZyTkcvZUhGTEs5cmRmWHlJaUlrMHdKQlBkSloxTzl5UUFkTzNhRlVMWVJudC9lSGc0bm43NmFmenl5eStXTVZWVk1XellNSXdiTnc0WEwxN1VzRHBBQ0lHdVhic0NBSFE2M1JPYUZrTkVSQTdOU2VzQ2lHeFlad0R3OC9QVFpPTjZ2YjdLY3hjdFdvVCsvZnZqMHFWTHlNM05SZlBtelMzTDl1L2ZqOVRVVkxScTFRcloyZG40K2VlZjBiZHYzNW9vdVVxS3ZaNmROU3VDaUlnY0hrTXkwZDNyQkFCdDJyVFJaT00rUGo0QWdNdVhMNk93c0JBdFdyU0FUdmUvNndPbHBxYkMyZGtaelpzM1I0TUdEYkIwNlZLY09IRUN6czdPQ0FrSkFRQ01IajBhb2FHaGVPQ0JCekIzN2x3c1dMQUEzMy8vUGRxMGFRTmZYMTlObmxleDE1TWhtWWlJTk1PUVRIVDNXZ0JBczJiTk5ObDRURXdNQUdEbzBLRklUVTFGV0ZnWW1qWnRhbG11MSt2UnZIbHp5N3pYWG52TnNteno1czBBZ0l5TURGeStmQm1ob2FGd2RuYkdvRUdEY1BUb1VTeGV2QmhoWVdHMStHeit4L3g2Q2lHOE5TbUFpSWdJRE1sRTk4SVRBQm8wYUtCMUhWV3lmLzkrOU8zYkYrUEdqWU96c3pOQ1EwTVJHeHNMazhtRUNSTW1sUGp5bnNGZ3dKRWpSL0QwMDAvWGVwM20xMU5WVmM5YTN6Z1JFZEZ0RE1sRWQrOSs0TmI1Zld2YjZ0V3JzWHYzYmdDMzJpMEFZTktrU1NYYUxjekxoZzRkQ2dDWU1XTUdnRnRYdC92MjIyL2g0dUtDV2JObW9YNzkrbWpjdURHOHZMemc2ZW1Kb3FJaXpKZ3hBemR1M0tqRlovUS83dTd1QUFBaHhQMmFGRUJFUkFTR1pDS2JsSkdSZ2RUVTFCSmpaWjJab3JDdzBESXZQajRlQU5DcFV5ZUVoWVdoVmF0V1NFOVBSMFpHUnFuSGRlalFBVUZCUVRWUU9SRVJrVzFnU0NhNmU5Y0FQSkNYbHdjWEY1ZGEzZkRzMmJNeGUvWnNBRUMzYnQxZ05CcHgvUGh4T0RuOWI1Zlc2L1h3OGZHeDlDUXZXclFJQUJBU0VvSmZmdmtGUTRjT3hkNjllMHVGYmJPMzNucXJocDlGMmN4SHNLV1UxelFwZ0lpSUNEeFBNdEc5eUFhQTNOeGN6UXE0Y09FQ2pFWWpHalpzV0NJZ2wyWDI3Tm5vMDZjUG9xT2pJYVVzMFc5c01CZ3NmOHhuemRDSytmVlVGQ1ZiMDBLSWlNaWhNU1FUM2IyTEFIRGx5aFhOQ2pEM0piZHIxNjdTdVRxZERpTkdqTERjUDNUb1VJM1ZkUy9NcjZlVThwTEdwUkFSa1FOanV3WFIzVHNOb05lNWMrZlFwVXVYV3Q5NFhGd2MxcTFiQndBWU1HQkFwZlBQbkRtRE45OThFMElJdEdyVkN2djM3N2Q4U2M3Y2lnRUFtWm1aTlZOd0ZaMDdkODU4ODVTV2RSQVJrV05qU0NhNmU2Y0FJQ1VscGRZM2JEQVlNRzNhTkJRV0Z1TEpKNTlFLy83OUs1d3ZwY1NpUll1UWw1ZUhCUXNXb0ZldlhqQVlERmkyYkJrQUlEbzZ1amJLcnBKaXJ5ZERNaEVSYVlZaG1lZ3VtVXltNzNRNkhZNGZQdzRwSllRUXRiWnRmMzkvOU96WkU0cWk0SjEzM2lsejIyM2J0clZjZmxvSWdSVXJWdURhdFd0NDZLR0hBQUJQUHZra3NyS3lrSk9UZ3hkZmZOSHl1QU1IRG1qV1p5Mmx4UEhqeHdFQUpwUHBlMDJLSUNJaUFsQjdQOVdKN0ZCZ1lHQVNnSFpSVVZGbzNicDFyVzY3dG9ONWJUaDM3aHlHRHg4T0lVU1N3V0Rvb0hVOVJFVGt1UGpGUGFKN3N3MEF2dm5tbTFyZnNMMEZaQURZczJlUCtlWTJMZXNnSWlKaVNDYTZCMFZGUldzQUZHM1pza1htNWVWcFhZNU55OHZMdzVkZmZpa0JGSmxNcGpWYTEwTkVSSTZOSVpub0hwdytmZm84Z0MrdVg3OHVObTNhcEhVNU5tM1RwazNJemMwVlFvaUl4TVRFMzdTdWg0aUlIQnRETXRFOUVrSXNBbEFRRmhhRzVPUmtyY3V4U1VsSlNRZ0xDd09BQWtWUkZsVTJuNGlJcUticHRDNkF5TlpkdVhJbHExbXpabWxTeXVlT0h6K083dDI3dzlQVFUrdXliTWFGQ3hjd2ZmcDA1T1RrUUFnUkhCY1hkMURybW9pSWlCaVNpYXJCbFN0WEVwbzFhK1o3L2ZyMVR0OTg4NDFzMTY2ZDhQYjIxcnFzT3UvRWlSUDQ2MS8vS3YvNDR3OEJZRU44ZlB3OHJXc2lJaUlDR0pLSnFzM0REeis4MDJnMFBwQ2ZuOTlsMTY1ZE1CZ01jSFYxQlFDNHU3dkR5WW1uSlM4b0tFQnFhaXJpNHVMdzBVY2ZZZlhxMVNnb0tCQlN5cFdlbnA1VGZ2dnROMVhyR29tSWlBQ2VKNW1vdWdtOVhqOUZWZFYzaFJCTnRTNm1ycE5TcGltSzhwN0JZQWdCSUxXdWg0aUl5SXdobWFnRzlPelpzMTUyZHZaWVJWR2VsVkwrQ1lBdkFGZXQ2Nm9EQ2dDY0ZVTDhxcXJxSGs5UHovRFkyTmg4cllzaUlpSWlJZ2NVR0Jnb0F3TURlYVNXaUlpb2luZ0tPQ0lpSWlJaUt3ekpSRVJFUkVSV0dKS0ppSWlJaUt3d0pCTVJFUkVSV1dGSUppSWlJaUt5d3BCTVJFUkVSR1NGSVptSWlJaUl5QXBETWhFUkVSR1JGWVprSWlJaUlpSXJETWxFUkVSRVJGWVlrb21JaUlpSXJEQWtFeEVSRVJGWllVZ21JaUlpSXJMQ2tFeEVSRVJFWklVaG1ZaUlpSWpJQ2tNeUVSRVJFWkVWb1hVQlJGUzlPblhxMU1MSnlXbXUxZkRrMjMrSEZoOHNLaXI2NFBUcDB4ZHJweklpSWlMYndaQk1aR2VHRHgrdVMwbEp1U1NFYUZyUlBDbGxtcCtmbi9mV3JWdE50VlViRVJHUnJkQnBYUUFSVmEvazVHVHA3ZTN0QytEUlNxYXVQM2p3NEs3YXFJbUlpTWpXc0NlWnlBNnBxaHBkaFdsVm1VTkVST1NRR0pLSjdKQ2lLRWVrbEprVlRNbnc5UFE4VW1zRkVSRVIyUmlHWkNJN1pEQVlDb1VRT3lxWXNpTTJOcmFvMWdvaUlpS3lNUXpKUkhaS0NGRnVPNFdpS0d5MUlDSWlxZ0JETXBHZHlzN09QZ0FncDR4Rk9kZXVYVHRZMi9VUUVSSFpFb1prSWp1VmtwSlNJS1VzNit3Vk8xTlNVZ3BxdlNBaUlpSWJ3cEJNWk1mS2FibGdxd1VSRVZFbEdKS0o3SmdRWWcrQXZHSkRlVUtJdlZyVlEwUkVaQ3NZa29uc21NRmd5QVB3amZtK0VHTDM3VEVpSWlLcUFFTXlrWjJUVWxyYUs2cDRrUkVpSWlLSHg1Qk1aT2RjWEZ5K050OTJjM1A3dXFLNVJFUkVSRVFPSXpBd2NHZGdZT0JYV3RkQlJFUmtLNXkwTG9DSWFrVzBFRUpxWFFRUkVaR3RFRm9YUUZTZEFnTURPd0g0RGtBRHJXc2h1NmNDR0JRZkgxL1d1YWlKaU1qR3NTZVo3TTFZTUNCVDdWQ0VFRTlwWFFRUkVkVU10bHVRUFZHRUVNT2xsSWlJaUVDSERoMjByb2ZzMExWcjE5QzNiMStvcW1yUzZYUWZhMTBQRVJIVkRCNUpKcnNSRUJEUVZVclo0c0VISDBUNzl1MjFMb2ZzMU9IRGg2R3FLZ0FjUEhIaVJJYlc5UkFSVWMxZ1NDYTdJWVFZRGdCOSt2U0JFR3kzcDVxeGYvOStBSUFRWXF2R3BSQVJVUTFpU0NaN29aaERjdCsrZmJXdWhlelV0V3ZYY1BMa1NRQXc2WFM2YlZyWFEwUkVOWWNobWV3Q1d5Mm9OckRWZ29qSWNUQWtrMTFncXdYVkJyWmFFQkU1RG9aa3NnZHN0YUFheDFZTElpTEh3cEJNTm8rdEZsUWJZbU5qMldwQlJPUkFHSkxKNXJIVmdtckR2bjM3QUxEVmdvaklVVEFrazYxanF3WFZPTFphRUJFNUhvWmtzbWxzdGFEYXdGWUxJaUxIdzVCTU5rMElNUUpncXdYVkxQTlpMYVNVV3pRdWhZaUlhZ2xETXRreVJRZ3hER0NyQmRXY2E5ZXU0Y1NKRXdCZ2NuWjIzcTUxUFVSRVZEc1lrc2xtc2RXQ2FnTmJMWWlJSEJORE10a3N0bHBRYldDckJSR1JZMkpJSmx2RlZndXFjV3kxSUNKeVhBekpaSlBZYWxIM1NDbVJrNU9qZFJuVmlxMFdSRVNPeTBuckFvanVodGF0RnBHUmtZaU1qTVQyN1NVUExpWW5KMlAyN05rSUNncENjSEJ3bVkvTno4OUhlSGc0QWdJQzBMVnIxM0sza1orZmoxT25UcFVhNzlxMUsrYk1tUU85WG85aHc0WUJBQzVkdW9UbXpadGJYb3ZRME5CS244UDk5OStQa1NOSElpOHZEMy84OFFjeU1qSnc5ZXBWcEtlbnc5M2RIVU9HREtsMEhXYVhMMS9HODg4L0R5Y25KeHc1Y2dTS1loKy9mN1BWZ29qSWNURWtreTFTaEJERHBKVG8wNmVQSmdYODk3Ly9oWnViVzRteHJLd3N6Smt6QjVjdlg4YkdqUnZSdlh0M2RPalFvZFJqRHh3NGdGV3JWc0hOelEwYk4yN0VRdzg5Vk9ZMmZ2LzlkMHlkT3JYVXVNRmd3TDU5KytEaTRvSmh3NGJoNTU5L3h1VEprOUc5ZTNjc1hMZ1FBQkFXRmxicGMvRHg4Y0hJa1NQeDBVY2Y0ZXV2dnk2eHpOdmJHNGNQSDhiRml4ZExQUzRtSmdaRGh3NUZhbXBxcVdWR294RmR1blFwcytiUm8wZmo1czJiSmNiOS9QeHc4T0RCVXZQWHJsMkx6cDA3Vi9vY2FsSjJkalpiTFlpSUhCaERNdG1jNHEwV1pZWFFtclo0OFdKczJYTHJ3S0plcndkd0t6ak9tREVEVjY5ZXhkdHZ2NDBOR3pZZ09EZ1lDeGN1Ukk4ZVBVbzhmdURBZ2JoeTVRcENRa0x3L3Z2dlkvWHExUlZ1THl3c0RBa0pDV2pkdWpWbXpacFZZbGxpWWlLbVQ1OE9uVTZIVjE1NXBjUXlIeDhmeE1URWxMbE9jOTBBMEt0WEx6UnAwZ1JIang3RnVYUG5FQjRlanViTm0yUGl4SWxsQnVIaXBrMmJCZ0M0Y2VNR3Z2amlDOHN2QmhrWkdXalVxQkUyYk5pQXJLd3NBRUREaGcxeDl1eFpwS1dsb1VPSERuQjFkWVdmbng4T0h6Nk14eDU3RE43ZTNvaU5qVVZHUmdhYU5tMWE0WFpydytIRGg5bHFRVVRrd0JpU3llWm8zV3J4MUZOUElUbzZHdDI3ZDBmYnRtMXg3Tml4RWtkSnpVZHpBV0Q2OU9rWU5HZ1Ezbm5ublJLMVRwZ3dBU2RPbkVCOGZEejI3dDJML3YzN2w3dTlSbzBhWWVYS2xZaU9qaTR4bnBXVmhXblRwc0hOelEyZmZ2b3Ayclp0VzJMNXRXdlg4UG5ubjFmNmZIcjE2b1ZldlhyaHQ5OSt3N2x6NTlDeFk4Y1N5dzBHQXdDVU9Icjh3QU1QSUNNakEwRkJRYmh3NFFKeWNuTFF0bTFibkQ5L0hvOC8vamdpSWlLd2F0VXEvUERERDVhajBTdFdyTURFaVJPUmw1ZUh0V3ZYUXFmVFdZTG9tREZqOFBqamp5TXVMZzZabVpsbzNMaHhwWFhYTkxaYUVCRTVOb1prc2pXYXQxcTBidDBhSnBNSldWbFoyTHQzTDFhdFdvVVZLMWFnUjQ4ZXVISGpobVdlaTRzTDB0UFQ0ZUhoVVNyTUN5SGc0dUlDQUZpNWNpWDY5T2tEblU1M1IzVjRlWGxod1lJRmVQamhoOUdzV2JOU3k3T3pzN0ZtelpwSzEyTStzbTFtUHNyczQrTlQ3bVBlZnZ0dGpCOC9IcSs5OWhxTVJpTlNVMU1SRXhPRGZmdjJZY21TSldqUm9nWFdyMStQcGsyYklpUWtCTUN0dnVtRWhBUU1HalRJOGx3ek1tNGRvRzNjdURHa2xMaHk1UXE4dkx6ZzVLVHRXeE5iTFlpSWlDR1piSXE1MWFKcDA2YWF0Rm9BdDQ2c3VydTc0NUZISHNFUFAveUFSbzBhWWVmT25kaTVjNmRsem9nUkl6QjI3Rmk4OU5KTG1EbHpacWwxL1BiYmJ6aCsvRGdBNE1LRkM5aTJiWnZsUzNpVk1ZZllYYnQyWWRldVhTV1d2Zm5tbTBoTlRjV29VYU9xdEs2bFM1ZWlWNjlleU16TXhONjlleUdseElBQkF3RGMraEppV2FTVW1EMTdObkp5Y3JCOCtYTE1temNQQUxCcDB5WkVSVVdoVFpzMitQampqekZyMWl5Y1BYc1dMVnUyeElRSkU3QisvWHBJS2JGOSszWnMzNzRkdnI2K2xsOTBJaUlpNE96c0RLUFJpS0tpSWl4YnRxek0xNjIyRkd1MU9NQldDeUlpeDhTUVREYkYzR3JSdDI5ZnpTNGdrcGFXaHFLaUl1emR1eGQ1ZVhuNDZxdXZBTURTRXh3UkVZRXRXN1pnMkxCaHlNek1SSDUrZnFsMWZQYlpaNUJTb20vZnZ0aS9mejlDUTBNeFlNQUF1THU3VjdyOVdiTm1ZY21TSmVqUW9RT3lzN054MzMzM1llREFnUUNBbjM3NnFWUndyb3pCWU1DT0hUdXdaODhlQU1EdzRjUFJ1WE5uREIwNnRNejVRZ2dzWHJ3WXNiR3hPSFBtaktYbk9Db3FDcjE2OWNLTUdUTXdmdng0akI4L0hzdVhMMGRvYUNnQ0F3T3hiZHMyQUxmT3p2SHJyNzhDQVBMeThnQUF1M2Z2dHF3L0p5Y0hlL2JzMFRRa0YydTEyS3BaRVVSRXBDbUdaTElsbXJkYUFMZk95UERNTTgvZzU1OS9SbUZoSWJ5OHZBRGNDc2RWY2ZEZ1FSdytmQmlOR3pmRysrKy9qOXpjWEJ3N2Rnd2ZmZlFSRml4WVVHcCtRVUZCaWZhRGtTTkhZc21TSldqVnFoWGMzZDJ4Zi85K3krblhBT0M5OTk3RE8rKzhnOTI3ZDJQTm1qWHc5L2V2c0o2MHREVDgzLy85bitYK3VISGpNSHo0Y0VncHk1eWZuWjJOaVJNbjR1clZxeVhHaHd3WmdyNTkrMkxmdm4xSVQwL0hRdzg5aExsejU2SkpreWJ3OS9kSG8wYU5rSmFXaG1lZWVRWTVPVGt3R28zNCs5Ly9qci8vL2U4bDF0T3RXemZVcTFldjRoZXhCckhWZ29pSUFJWmtzaUgrL3Y2UGE5MXFBUUNkTzNkR3MyYk5zSGJ0V3R5NGNRT05HalVDQUl3ZE94WUFFQjRlWHU1ano1MDdoL2ZlZXc4QThQcnJyOFBGeFFWdnZQRUdSbzBhaGQyN2Q2Tno1ODZXdGd0M2QzZjA3dDBidi83Nks1eWNuSkNibTJzNVlteldvMGNQZlBubGw0aUppY0dJRVNNczQrWXYySTBmUDc3Y1dueDlmYkZseXhiTW1ERUQrZm41YU5ldUhaS1RrekZseWhRa0p5ZVhlNlRlMDlNVGVyMGVhV2xwZVBMSko1R2JtNHZObXpkajI3WnQyTFp0R3hSRmdWNnZSMkJnWUlsd1AzSGlSSHp3d1FjbDFyVm8wYUlTOXlkTm1nU2owYWhwU0dhckJSRVJBUXpKWkVNVVJSa09hTnRxQVFDclY2OUdaR1NrNWY2QkF3Y0FWQnlPZ1Z0OXlGT25Uc1dOR3pmUXMyZFBCQVVGQVFCYXRXcUZ5Wk1uWThXS0ZWaThlREhjM2QweFlNQUFOR25TQkI5OTlCSEdqaDJML1B4OHZQMzIyNlZPRitmcjY0dVdMVnRpeFlvVkNBd01oSitmSHdDZ2QrL2VlUHp4eDh1czQ4YU5HNGlNakxTY1FlS0JCeDVBang0OThNc3Z2eUE1T1JrVEowNUVZV0VoUm80Y0NRQ1d0b3ZMbHk5YjFyRnc0VUowNjlZTnVibTVpSXlNeExScDB6Qm8wQ0JjdkhnUkowK2V0RHd1TlRYVmNuWU1jMjNGV1oreFk5Q2dRUUNnYVVobXF3VVJFUUVNeVdRNzZrU3JCWEFycEhmczJCSDc5Ky9IcjcvK2lsZGZmUlVSRVJGWXRHZ1Jpb3FLTUcvZVBIejk5ZGVXTXpjQXdBOC8vSUE1YytZZ0p5Y0h2cjYrZVAvOTkwdXM4K1dYWDBaY1hCeU9IVHVHZDk1NUIxbFpXUmcxYWhTV0wxK09uMy8rR1V1V0xNR2lSWXNRSEJ5TVR6LzlGQUFRRnhlSGtTTkhZdDY4ZVpnNWN5WW1UcHlJclZ1M29uSGp4cGIrYUZWVmtabVppUVlOR3NEVjFSVlNTdXpidHcrUmtaRm8wcVFKZ0Z0SHdEdDA2RkRpSE16T3pzNlcyK1dkSzlsb05DSTNOOWZ5QmIvQ3drSUEvL3ZDbjlGb0xQTnhIMzc0SVlCYkFkOGNvSE55Y3VEdTdvNHpaODRBMEM0a3M5V0NpSWpNR0pMSkp0U1ZWb3ZidFFDNDlTVzU4K2ZQNDc3NzdnTUFiTnUyRFNkUG5rUzlldlh3OXR0dkl6RXhFUURRc21WTFhMcDBDVGs1T1dqVnFoVldyRmhSNmd0NmlxSmcwYUpGR0Q5K1BQNzQ0dzkwN2RvVlc3WnN3ZWJObS9INjY2K2pkKy9lOFBMeXd0eTVjM0hvMENFQVFIcDZPdnIwNllPbm4zNGFyN3p5Q2k1ZHVsVHEvTUpDQ0l3ZVBScC8vUEZIcWVkaFBrdEdaVmUySytzOHlXWlhybHpCbURGalNveFozN2RXL0l0N1prRkJRU1d1eHRleVpjc0sxMUZUMkdwQlJFUm1ETWxrRTh5dEZscGRRS1Fzanp6eWlPVjh2d01HRE1BVFR6eUJEaDA2SUNBZ0FQWHExY052di8wR2IyOXY2UFY2NlBWNktJcUNIajE2d01QRG84ejFlWGg0NFBQUFA4ZkZpeGZoNitzTGIyOXZ1TG01NGJubm5nTUFCQVlHSWpvNkdpNHVMcmh3NFFKZWVPRUZ0RzdkR2dEdzJtdXZsWGtXRFNFRXhvd1pnNlNrSkFnaElJU0FtNXNidW5idFd1cUl2UFV2SDh1WEwwZEJRWUhsL3VyVnF5MUhpd0ZnL3Z6NUZiNCtFUkVSeU16TXROejM4dkxDd0lFRDhkeHp6eUUrUGg1RlJVV1daWUdCZ2JoNDhTSVVSWUdQanc4bVQ1NWM0YnByaXJsMWhxMFdSRVJVTjlJR1VjVVV2VjZmS3FWc0VSNGVYdXFLY0VUVklUczdHMzM2OUlHcXFpWW5KNmVtUEpKTVJPVFlGSzBMSUtwTVhXcTFJUHZGVmdzaUlpcU9JWm5xdkxyWWFrSDJoNjBXUkVSVUhFTXkxWFdLRUdJWWNPdXNFa1ExSVRzNzIzeVpjSjdWZ29pSUFEQWtVeDNIVmd1cURXeTFJQ0lpYXd6SlZLZXgxWUpxQTFzdGlJaklHa015MVdVS0FFdElKcW9KeFM0Z1VzUldDeUlpTW1OSXBqckwzOS8vY1FEZWJMV2dtblQ0OEdHWVRDWUFPTWhXQ3lJaU1tTklwanFyZUt1Rm92Qy9LdFVNdGxvUUVWRlptRHlvcm1LckJkVzRuSndjdGxvUUVWR1pHSktwVG1LckJkVUd0bG9RRVZGNUdKS3BUbUtyQmRXRy9mdjNBMkNyQlJFUmxjYjBRWFVSV3kyb3hySFZnb2lJS3NLUVRIVU9XeTJvTnJEVmdvaUlLc0tRVEhVT1d5Mm9OckRWZ29pSUtzSkxtRkdkbzlmckwwZ3BXMmhkQnptRUlpY25wd2Q1SkptSWlLenhNQjNWT2FxcXBtaGRBemtHS2VWR0JtUWlJaUlpQnhVWUdDZ0RBd09sMW5VUUVSSFpDaDVKSmlJaUlpS3l3cEJNUkVSRVJHU0ZJWm1JaUlpSXlBcERNaEVSRVJHUkZZWmtJaUlpSWlJckRNbEVSRVJFUkZZWWtvbUlpSWlJckRBa0V4RVJFUkZaWVVnbUlpSWlJckxDa0V4RVJFUkVaSVVobVlpSWlJaklDa015RVJFUkVaRVZobVFpSWlJaUlpc015VVJFUkVSRVZoaVNpWWlJaUlpc01DUVRFUkVSRVZsaFNDWWlJaUlpc3NLUVRFUkVSRVJraFNHWmlJaUlpTWdLUXpJUkVSRVJrUldoZFFGRVZMMDZkZXJVd3NuSmFhN1Y4T1RiZjRjV0h5d3FLdnJnOU9uVEYydW5NaUlpSXR2QmtFeGtaNFlQSDY1TFNVbTVKSVJvV3RFOEtXV2FuNStmOTlhdFcwMjFWUnNSRVpHdDBHbGRBQkZWcitUa1pPbnQ3ZTBMNE5GS3BxNC9lUERncnRxb2lZaUl5TmF3SjVuSURxbXFHbDJGYVZXWlEwUkU1SkFZa29uc2tLSW9SNlNVbVJWTXlmRDA5RHhTYXdVUkVSSFpHSVprSWp0a01CZ0toUkE3S3BpeUl6WTJ0cWpXQ2lJaUlySXhETWxFZGtvSVVXNDdoYUlvYkxVZ0lpS3FBRU15a1ozS3pzNCtBQ0NuakVVNTE2NWRPMWpiOVJBUkVka1NobVFpTzVXU2tsSWdwU3pyN0JVN1UxSlNDbXE5SUNJaUlodkNrRXhreDhwcHVXQ3JCUkVSVVNVWWtvbnNtQkJpRDRDOFlrTjVRb2k5V3RWRFJFUmtLeGlTaWV5WXdXRElBL0NOK2I0UVl2ZnRNU0lpSXFvQVF6S1JuWk5TV3RvcnFuaVJFU0lpSW9mSGtFeGs1MXhjWEw0MjMzWnpjL3U2b3JsRVJFUkVSQTRqTURCd1oyQmc0RmRhMTBGRVJHUXJuTFF1Z0locVJiUVFRbXBkQkJFUmthM1FhVjBBRWRXYzRjT0g2K3JWcXpjYVFBU0F3YzJhTlR2NzFGTlBKU1VuSnpNd0V4RVJWVUJvWFFBUlZiL2h3NGZyVWxKU2hnc2g1Z040MkdyeGY2U1U3eVVrSkd3Qm9OWitkVVJFUkhVZlF6S1JmVkVDQWdLR0tvb3lYMHJaSGdDOHZiMHhidHc0QU1EYXRXdHg2ZElsQUlBUUlrbFYxZmtKQ1FreFlGZ21JaUlxZ1NHWnlENEl2VjQvU0VyNUhvQk9BUERnZ3c5aTRzU0pHRGh3SUp5Y2JuMzlvS2lvQ0x0MjdjS3FWYXZ3KysrL214OTdTbFhWZHhNVEU3OEN3RFlNSWlJaU1DUVQyVHFoMSt1RHBKVHZBd2dFZ0FjZWVBRGp4NC9Ib0VHRDRPenNYT2FEQ2dzTHNXUEhEcXhac3dicDZlbm00WGdoeER5RHdiQWJETXRFUk9UZ0dKS0piSk1JREF6c0o2VjhYd2p4R0FBMGJ0d1k0OGFOdzVBaFErRGk0bEtsbFJpTlJzVEV4R0R0MnJYSXlNZ0FBRWdwVHdnaDVzWEh4KzhEd3pJUkVUa29obVFpMnlJQ0FnS2VFVUs4RCtBSkFHallzQ0ZlZmZWVlBQLzg4M0IxZGIycmxSWVVGQ0FxS2dyaDRlSEl6TXcwRDM4dnBaeVhrSkJ3Q0F6TFJFVGtZQmlTaVd4RVFFREEwN2ZEY1E4QThQVDB4Tml4WXpGOCtIRFVyMSsvV3JaeDgrWk5iTjI2RmVIaDRjak96allQSDVWU3ZwT1FrSEMwV2paQ1JFUmtBeGlTaWVxNFJ4OTk5RWxWVmQ4RDBCc0FQRHc4OFBMTEwyUGt5SkZ3YzNPcmtXM201ZVhoeXkrL3hCZGZmSUdjbkJ6ejhFRlZWZWNsSmlaK1h5TWJKU0lpcWtNWWtvbnFLTDFlMy9YMjJTcjZBMENEQmcwd1pzd1lqQm8xQ3U3dTdyVlNRMjV1TGpadjNvd05HellnTnpmWFBMeFhVWlI1Y1hGeEoycWxDQ0lpSWcwd0pGTzFrVkxlZGQrcUVJTC9GMjhMREF6VUEzZ1B3SjhCd00zTkRTKysrQ0pHang0TkR3OFBUV3JLeWNuQnhvMGJzV25USnVUbDVabUhkd2toM2pVWURQR2FGRldIY1Y4Z0lySjlmRE9tYXNOZ2NHLzgvZjM5ZFRyZGZDbmxJQUNvWDc4K1huamhCWXdaTXdhZW5wNWFsd2NBeU03T3h2cjE2eEVaR1ltYk4yK2FoN2RMS2VjbkpDU2MwcksydW9UN0FoR1I3ZU9iTVZVYkJvTzc4K2lqajNaUVZYVStnT2NCd05YVkZTTkhqc1RMTDc4TUx5OHZiWXNyUjFaV0ZpSWlJckJseXhZVUZCUUFBSVFRVVVWRlJmTlBuVHFWcEhGNW11TytRRVJrKy9obVROV21lRENJaW9xcWRMNkhod2Y2OWVzSHdER0RnVjZ2ZjBSSytTNkFrUUNFaTRzTGhnOGZqbGRlZVFXTkdqWFN1cndxeWNqSVFIaDRPS0tpb21BMEdvRmJwNHI3VWdqeG5zRmcrSS9HNVduR3ZDK3NXTEdpeW8veDl2YkcwS0ZESFhKZklDS3FpL2htVE5XbWVFalc2L1dWenZmeDhVRk1UQXdBeHdySi92NytmMUlVWlI2QUZ3RW96czdPR0RwMEtGNTk5VlUwYWRKRTYvTHV5dFdyVjdGdTNUckV4TVNnc0xBUUFGUUFtMVJWZlQ4eE1mRlhqY3VyZGVaOW9TcjdnWmxlcjBkWVdKaEQ3UXRFUkhVWjM0eXAybGlINUJZdFdpQXNMS3pNdVVGQlFjeGtxcWtBQUNBQVNVUkJWQTRYa3J0MDZkTEdaREs5QTJBTUFKMlRreE1HRHg2TWNlUEdvV25UcGxxWFZ5M1MwdEt3ZHUxYWJOKytIVVZGUlFCZ0F2Q0ZUcWY3NE9USmsrYzBMcS9XbE5WdUlhVkVhR2dvVnExYUJVOVBUMFJIUjVmWlR1TUkrd0lSa1MzZ216RlZHeDVKTGx0QVFJQ1BFT0p0QUs4Q2NGSVVCWC81eTE4d2Z2eDRORy9lWE92eWFzVGx5NWV4WnMwYWZQWFZWMUJWRlFDS0FLeVRVaTVNU0VoSTFiaThHbWNka3E5ZXZZb0ZDeGJndSsrK0F3RE1tVE1ISFR0MnhQbno1OUd2WHo4b2ltS1phOC83QWhHUkxlR2JNVlViNjVEY3NHRkRUSjQ4dWN5NUgzNzRvZDJINUU2ZE9yWFE2WFJ2Q1NFbUFIQldGQVYvL3ZPZk1XSENCTFJvMFVMcjhtckZ4WXNYc1dyVkt1emV2ZHNjbGd1bGxLdE5KdE9pMDZkUFg5UzZ2cHBpM2hkeWMzTVJHUm1KaUlnSTVPWGxvV0hEaHNqTXpJU1BqdzlhdG15SmYvLzczL0R4OGNHa1NaUFF2MzkvQ0NIc2NsOGdJckpGZkRPbWFzTWp5YmZvOWZwbUFPWklLU2NEY0JGQzRObG5uOFhFaVJQaDQrT2pkWG1hU0UxTnhhcFZxN0Jueng3Yy9tOVNJS1VNVlJUbEk0UEJjRVhyK3FxYmxGSWFEQWE4L3ZycnVIbnpKdXJWcTRjUkkwWmczTGh4Nk5tekozeDhmTEJ5NVVwczJyUUpNVEV4eU12TFE5dTJiYkY1ODJhNzJoZUlpR3daMzR5cDJrZ3BaVnhjSEg3NjZhYzdldHpZc1dQdEloaDA3ZHExYVdGaDRXd0F3UURxQVVDL2Z2MHdhZElrdEc3ZFd0dmk2b2h6NTg1aDFhcFYyTGR2bjNrb1h3anh1Wk9UMDVMang0K25hVmxiZFpKU3l1enNiRXlZTUFGQlFVRVlPblNvNVZ6WGVyMit4QytJV1ZsWkNBOFBSM1oyTnViUG4yOFgrd0lSa1QzZ216RlZHeW1sL09TVFQ3Qmh3NFk3ZXB6QllMRHBZS0RYNnh0TEtXY0IrQnVBK2dEUXUzZHZUSm8wQ1g1K2Z0b1dWMGVscEtRZ05EUVVodzRkTWcvbEFmaE1DUEd4d1dENFE4UFNxZ1UvVlNFaXNuMThNNlpxVXp3WWhJZUg0OWl4WTNqcnJiZmc0K01EdlY2UHBrMmJZdTdjdVNVZTQrL3ZEemMzTjVzTUJ0MjZkV3RZVUZBd0U4QnJBQm9BUU0rZVBURnAwaVE4L1BERDJoWm5JODZjT1lQUTBGQWNPWExFUEpRTDRGTlhWOWRseDQ0ZHk5U3d0SHRpSFpJOVBEd3dkT2pRTXVlR2g0Y3pKQk1SMVVGOE02WnFZdzRHUnFNUmd3Y1BSbHBhR25iczJJRVdMVnFVZXpSdHk1WXQ4UFgxdGFsZzRPL3ZmNzhRWXJvUVlqcUErd0RneVNlZnhKUXBVOUN1WFR1TnE3Tk55Y25KQ0FrSnNaejlBVUFPZ0U5VVZmMW5ZbUxpTlExTHV5dldJYmw0Q0xabXZkeVc5Z1VpSW52bXBIVUJaSDlXcjE2TnRMUmI3YVZUcDA3RmhBa1RBQURObXpmSHNtWExvTlBwQUFDcXFzTER3ME96T3U5VTE2NWRQWXhHNDJ0Q2lKa0E3Z2VBeHg5L0hGT21URUhIamgwMXJzNjJ0V3ZYRHA5KytpbCsvUEZIaElTRTRJY2ZmdkFBOEs2aUtLOEhCQVFzYzNGeCtmVDQ4ZU01V3RkNXQ2NWR1NGJQUC85YzZ6S0lpT2dPOElnRlZSc3BwVHh4NGdUKyt0ZS80djc3NzhlaVJZdncyV2VmVmZoRnZvY2VlZ2pidG0ycjAwZlAycmR2MzZCZXZYcC9VMVgxSDBLSWhnRFFwVXNYVEpreUJmNysvbHFYWjVjU0V4TVJFaEtDa3lkUEFnQ2tsSm1Lb255Y241Ly9XVkpTVXE3RzVWV0tQY2xFUkxhUGI4WlViZVF0Mkx4NU05cTNiNC9PblRzREFLNWN1WUt6Wjg4aU56Y1hoWVdGTUpsTTVxdXhvV1hMbHVqYXRXdWREQVo2dmQ0TndGUXA1V3dBalFFZ0lDQUF3Y0hCZDNTNVlicDdCb01CbjMvK09SSVRFODFEZndnaEZnUDQzR0F3NUdsWVdvV0toK1JaczJhaFNaTW0rTWMvL2xIbVhPdmxkWEZmSUNKeVJId3pwbXBUMXFWNHE2b3VCWU51M2JyVkx5Z29tQ3lsZkZNSTBSUUFPblhxaENsVHB1Q3h4eDdEdlpRYUZSVlY2UndQRHcvMDY5Y1BBTEJpeFlvcXI5dmIyN3ZjTDRkVlJFcHB2dENIaFU2blEzcDZPb0tEZ3pGejVrdzg4Y1FUZDd6ZTZpS2x4SWtUSjdCeTVVcjgrT09QNXJFMFJWRStkSEZ4Q1R0MjdOaE56WW9yaDczc0MwUkVqb3h2eGxSdGJEMFkrUG41dVhwNGVFd0U4QmFBWmdEUXZuMTdUSmt5QmQyNmRidW5jR3gycHgrOTM4a1JhNzFlRDM5L2Y2eFpzNmJLanpFWUROaStmVHNXTEZoUVlqd3VMZzdUcGszRHNXUEhTb3lQSHo4ZVU2ZE9MVEdXbEpTRWYvN3puMGhLU29KT3A0TmVyOGViYjc2SkJ4OThzTXAxVklXVUVzZU9IY1BLbFN1Um5KeHNIcjRNWUZGT1RzN3FsSlNVZ21yZDREMnc5WDJCaUlqNHhUMnFScmI2dzcxOSsvWXVycTZ1cndvaDVrb3BXd0RBd3c4L2pPRGdZRHoxMUZQVkVvNkxhOUdpQmNMQ3dzcGNGaFFVVk9LK3dXQ3czSlpTSWpRMEZLdFdyWUtucHllaW82UGg1ZVZWWXY3bXpadkx2S3BmYW1vcUZFVkJ5NVl0U3kzcjBhTUhacytlamNXTEYyUENoQW5vMXEwYmxpNWRham1GbjE2dnh5ZWZmSUovLy92ZlpaN2E3dGl4WTBoSVNNQ0REejZJek14TWZQdnR0OGpKeWNIYXRXdXI5SHBVbFJBQ1R6enhCTHAxNjRadnYvMFdJU0VoT0hQbVRITUFuM2w0ZU13T0RBeGNXRkJRc0M0cEtjbFlyUnUrdTFwdGNsOGdJcUwvWVVnbWg2WFg2NTFWVlgxWkNQRU9BQjhwSmY3MHB6OWh5cFFwZVBycHA2czlISnRkdkhpeFZCaXV6TldyVjdGZ3dRTExLZEttVHAySzlQUjBIRDkrSFAzNjlZT2lLQUNBVWFOR1lkU29VYmh3NFFLY25KelFyRmt6QUxlT010OTMzMzFsbm9hc1ljT0d5TTdPQm5BcnBPL1lzUU9Sa1pGd2MzT0R1N3M3RWhNVDhmMzMzNk5SbzBZb0tpcENhbXBxaVNEZXNXTkg3Tml4QTk3ZTNyaHc0UUlHRHg1Yy9FaHZ0Uk5Db0VlUEh1amV2VHRpWTJNUkVoS0NsSlNVbGdCQ1hGMWQ1d1FFQkN4UUZPVUxnOEZRV0dORkVCR1IzV05JSm9jVUVCQXdURXE1MVJ5RTI3UnBnOG1USitPWlo1NnhCTTZhMHJCaFEweWVQTG5NWlI5KytHR0orN201dVlpTWpFUkVSQVR5OHZMUXNHRkRaR1ptWXRPbVRXalpzaVgrL2U5L0l5d3NESk1tVFVMLy92MHR3WDd3NE1GbzFxd1pkdTNhVldrOVVrcDg4ODAzcUYrL1BrNmZQZzJkVGdjM056Zms1ZVhoN2JmZnRzekx5TWpBVzIrOWhaa3paNVlJeVYyN2RyWGNOdmMydDJqUm91b3Z5RjBTUXFCWHIxNTQrdW1uY2VqUUlZU0VoT0Q4K2ZNK1FvalZVc3JWQVFFQnd4SVNFcUpydkJBaUlySkwvRWpRUWZqNyt3OFNRZ1FxaXFKSUtSVXBwU0tFVUFBb1FnanJNVkhKY3ZPWUtMNGNnT1ZQZWVzcVk3bjVUN25yS2o0bWhCQVZiS3ZFdWlyNVV3akFHUUM2ZCsrT3BVdVh3c21wNW45bnZKT2VaSVBCZ05kZmZ4MDNiOTVFdlhyMU1HTEVDSXdiTnc0OWUvYUVqNDhQVnE1Y2lVMmJOaUVtSmdaNWVYbG8yN1l0MXE1ZGkvcjE2ME92MTVjSXlYcTl2bFM3UmZmdTNURjkrblFjUEhnUXMyYk5zb3dQSERnUWJkdTJ4ZkxseTJFd0dLRFg2ekZyMWl5TUhEa1NlcjBlTTJmT3hJc3Z2bGlxYnFQUmlBa1RKaUE1T1JrZmZmUVIrdlRwVXcydldOVVZGUlhoalRmZXdMZmZmbXNldWdIQUhZQUVvRmJsajVSU0ZVSklBS29RUXBWU2xsaGV3VmlwYmR4ZVY3bGpVa3BwdmJ6NCtzMXp5eGlUbFN4WGhSQ3FxcXFXWlVLSUFpbGxXRUpDd3RXYSt4Y2dJckl2UEpMc0lCUkZpUUxnWlA0K1VmRldnckxHS2x0ZS9IdEpaWDFIcWJ4MVZUUlczcnJ1WkZ0M1lCdUFFUUR3N2JmZjRvVVhYc0RreVpQUnUzZnZHam1TSEJjWGg1OSsrZ25UcGsycjB2enc4SEFNR1RJRXpabzFRMUJRRUlZT0hRcFBUODhTYzVvMmJZcnAwNmRqN05peENBOFBSM1oyTnVyWHIxL3VPbFZWUldwcXF1Vyt1Yjk0MjdadEFJQisvZnJoOHVYTEFQNzNtcHBEL1pJbFM3Qmt5WklLYTE2L2ZqMlNrcEl3ZmZyMFdnM0lxcXJpNE1HRENBME54Zm56NXkzalVzcFhoQkJSdVBWTGsrNzJud3FWOTMvOFRzZXMxMVhXV0ZuTGk2L0x2THlzc2NxV1N5a3R0NjMrWGxobXNVUkVWQXBEc3VOd0FnQWh4RHp6MFNiemthWmlSNXRVM1BwaWZxbmxWa2VsU3N3cnZseFZWVlZSRlBPNExENHVoRkFWUlZGTkpsT0p2NFVRMG55NytIaFJVWkdxMCtrc3R4VkZrVHFkVGkwc0xGU0wvKzNrNUtRV0ZCU296czdPcWs2bmt6ZHYzbFJkWEZ6VWV2WHFxZGV2WDFmZDNkM1ZxMWV2cXA2ZW5tcWJObTNVclZ1M3FnQ2tYcTkvU1ZYVk1VS0lkODZmUDkvcXpUZmZoSitmSDZaTW1ZS2VQWHRXYTAveXQ5OStpdzBiTnR6Ulk4YU9IWXV0VzdkQ3I5ZmpzODgrSzdFc05UVzF4RkhwaWk1N2JPYnA2WWxEaHc2VkduL3NzY2RLbmNYQzNEYXhmZnQyREI0OEdKTW1UVUpRVUJBR0R4NWM3dnFUazVQeHdBTVA0S1dYWHFyMHVWVUhWVlV0UGNsbno1NDFELzhtcFZ5Z0tNcjYrUGo0UXR6K1pLRm56NTdLMWF0WGxTWk5taWpYcjE5WDh2UHpsUVlOR2lnRkJRVksvZnIxRmFQUnFCUVdGaXF1cnE1S1VWR1JvcXFxY0hGeFVZcUtpaFNUeWFRNE96c3JKcE5KY1hKeVVsUlZMWEZicDlNcHFxb3FVa3BodmwxOHZOaHl4ZnhKanFJb2lxcXFDZ0J4YTVkUlNpdzNmenBTMWhodWZYb2l6T1BGUCtrcGEwd0k4VDV1L2FMZ1hDdi9NRVJFZG9JaDJjRVlESVlGbGMreVg4WFBGbkg3aTExcjI3ZHZ2OEhWMVhVc2dMa3BLU2t0MzNqakRUejg4TU9ZTW1VS3VuZnZYaTFoZWZyMDZaZytmVHJDdzhNdFo0M3c4ZkdCWHE5SDA2Wk5NWGZ1M0JMenJhL2s1K0hoVWU0NWtNUER3KytwdHU3ZHUyUHYzcjBseG03ZXZQTlREd2NIQjZPZ29PYlB3aWFseE5HalJ4RWFHb296Wjg2WWh5OEErS0Nnb0NEYzZ1d1dFb0NNalkxVlM2M0lRUVFHQmpvQmVGZnJPb2lJYkExRE1qbTgyNkVxek0vUEw4TER3Mk1DZ0xmT25EblRmUHIwNldqWHJoMm1USm1DSjU1NDRwN0RzdEZveEpZdFc1Q1dsZ2FkN24rZi9LZWxwWlZxdzlpeVpRdDhmWDB0OTcyOHZNcHQxYmpYa055NmRXdTR1N3ZqeG8wYk1CcHY1Y3NMRnk0QWdPWEljVmhZV0xtbnJUTmJ0bXdaMHRQVHNYSGpSdFNyVisrZWFpcUxsQkxmZi84OVFrSkNTcHduV1FpeE1EczdlMDFkT2s4eUVSSFpQb1prb3R0dWg2eC9kZXZXYmEzUmFKeWtxdXFjNU9Ua3BxKzk5aG82ZHV5STRPRGdlN3JpM3VyVnE1R1dsZ2JnMWluY0preVlBQUJvM3J3NWxpMWJaZ25PcXFyQ3c4T2p4R092WGJ1R3p6Ly92Tkp0RkQvYW5KNmVYdUwrOWV2WFN4Mk5IamR1SEFZT0hBZ0FsdFBMdFduVEJpZE9uRUNyVnEwUUhSME52VjZQR1RObVlNaVFJUlVlV2Yvamp6OXc3ZG8xeXlYSHEwc0ZWOXhiZE45OTk0WEZ4c2JtVitzR2lZaUl3SkJNVk1ydHl4ei9uMTZ2WHdVZ1dFcjU1bzgvL3RoNDZ0U3BDQWdJUUhCdzhCMWRDUThBVHB3NGdYWHIxcUZodzRaWXRHZ1JQdnZzTTd6MzNuc0FnTXVYTDJQVXFGRWw1ai8wMEVPV0w5UUJRSFoyZHBXdXBGZjhpM2ttazZuRWZlc3Y3Z0ZBVGs0T2dGdEhrMXUzYm8wQkF3YmdQLy81RC9iczJZUHUzYnRiNWlVbkoyUDU4dVVBYm4xaHNDd2JOMjZFeVdTcThNdURkeW91TGc0clY2NUVZbUtpZWVpcUVHS3hFR0tsd1dESXE3WU5FUkVSV1dGSUppckg3UkMyckgzNzlxRXVMaTUvQlRBcklTR2g0YVJKay9Eb280OGlPRGk0Vk85d2VicDA2WUxwMDZlamZmdjI2Tnk1TXlJaUluRGx5aFdjUFhzV3VibTVLQ3dzaE1sa3NoeUZMWDZxdHQ2OWU2TkpreWI0eHovK1VlYTZaODJhaFNaTm1waHJ2cXZuT21mT0hNdHRmMzkvTkdyVUNNMmJON2VzdjFPblRyai8vdnZSc21WTDlPelpzOHgxdUxpNDNOVzJ5NUtRa0lDUWtCREV4Y1VCQUtTVW1RQ1dHSTNHZnlVbEplVlcyNGFJaUlqS3dmTWtPNGpBd0VBSkFQSHg4ZnczdjB0ZHUzYjFLQ3dzbkFiZ0RRRDMzeDdEbENsVDBLbFRKMjJMc3hPblQ1OUdTRWdJamg4L2JoNjZCbUNwczdQeml1UEhqK2RvV0pyTkNnd01uSTliWDl4N0x6NCtmcjYyMVJBUjJRNGVTU2Fxb3RzaGJhRy92LysvRkVYNU80RHB4NDhmOXpoKy9EaWVmUEpKVEo0OEdlM2J0OWU2VEp1VWxKU0UwTkJRUzE4MGdCd0F5NFVRL3pRWUROa2Fsa1pFUkE2S0labm9EaVVtSmw0RE1MOWJ0MjZmRmhRVXpBRHcrbmZmZmRmZ3UrKyt3OU5QUDQzSmt5ZGJMdFJCRlR0ejVneENRa0p3OU9oUjgxQXVnUDl6ZFhWZGZ1ellzVXdOU3lNaUlnZkhrRXgwbDI2SHVMbDZ2ZjZmVXNwL0FQamJrU05IM0k0Y09ZSm5ubmtHa3lkUGhwK2ZuOVpsMWtrcEtTa0lDUW5CNGNPSHpVTjVRb2dWQUpZYURJWS9OQ3lOaUlnSUFFTXkwVDI3SGVwbWQrM2FkWGxSVWRFc0tlWFVRNGNPMVR0MDZCRDY5dTJMU1pNbW9VMmJObHFYV1NlY08zY09ZV0ZoMkw5L3Yza29YMHI1TDVQSnRPVDA2ZFBwV3RaR1JFUlVIRU15VVRVNWZ2eDRHb0NaZXIxK3FhcXFid29oSnUvZnY5LzF3SUVENk4rL1B5Wk5tZ1FmSHgrdHk5UkVhbW9xd3NMQ3NIZnZYa2dwQWFBQVFJZ1FZbkY4ZlB3Vmpjc2pJaUlxaFNHWnFKb1pESVlyQUY3djFLblR4MDVPVG5Pa2xCUDM3Tm5qdkcvZlBnUUZCV0hpeElsbzBhS0YxbVhXaWdzWExtRDE2dFhZdlhzM1ZGVUZnRUlBcTB3bTA2SlRwMDVkMHJnOElpS2ljakVrRTlXUTA2ZFBYd1R3MTRDQWdDVkNpTGRVVlIyM2E5Y3VwOTI3ZCtNdmYva0x4bzhmYnprWHNiMjVmUGt5MXF4Wmc2Kysrc29jam9zQXJCVkNMRFFZRFAvVnVEd2lJcUpLTVNRVDFiQ0VoSVJVQUpPN2RPbXkyR1F5elZWVjllWHQyN2ZyZHU3Y2ljR0RCMlA4K1BIbFhzWE8xdnorKys5WXUzWXR0bS9mRHBQSkJBQW1BQkZGUlVVZm5ENTkrcnpHNVJFUkVWVVpRekpSTFRsNTh1UTVBT1A4L2YwL1ZCVGxIWlBKTkRvNk9scjU2cXV2TUdUSUVJd2JOODV5NVR4Yms1NmVqblhyMW1IYnRtMG9MQ3dFQUJYQVJsVlZGeVFtSnY2cWNYbEVSRVIzakNHWnFKYmREbzB2Ni9YNlJRRG1GUllXdnJCbHl4YXhmZnQyREJzMkRHUEhqa1dqUm8yMExyTktNakl5c0c3ZE9rUkhSOE5vTkFLQUZFSkVBbmpmWUREOFIrUHlpSWlJN2hwRE1wRkdib2ZJRnp0MzdyelF5Y2xwdnRGb0hMWnAweVpFUjBkanhJZ1JlT1dWVitEbDVhVjFtV1hLeXNwQ2VIZzR0bTdkaW9LQ0F2UHdWcFBKOU42cFU2ZVN0S3lOaUlpb09qQWtFMm5zZHFnY0hoQVEwRmtJTWIrZ29HRHcrdlhyRVJVVmhaRWpSK0xsbDErR3A2ZW4xbVVDQUxLenMvSEZGMS9neXkrL3hNMmJOODNEMndETWo0K1BQNjFoYVVSRVJOV0tJWm1vamtoSVNEZ0ZZRWhnWUtBZXdQeWJOMjhPREE4UHg1WXRXL0RpaXk5aTlPalI4UER3MEtTMm5Kd2NiTnk0RVpzMmJVSmVYcDU1ZUtjUVlyN0JZSWpYcENnaUlxSWF4SkJNVk1mRXg4Y2JBRHozNktPUFBxYXE2bnQ1ZVhuUHJsNjlHcEdSa1hqcHBaY3dhdFFvTkdqUW9GWnF5YzNOeGFaTm03Qmh3d2JjdUhIRFBMeEhVWlIzNCtMaVR0UktFVVJFUkJwZ1NDYXFvMjZIMEFIKy92NVBLSXJ5WG01dWJwK1FrQkJzMnJRSlk4YU13UXN2dkFBM043Y2EyWFplWGg0aUl5T3hmdjE2NU9Ua21JY1BxS3I2Ym1KaTR2YzFzbEVpSXFJNmhDR1pxSTY3SFVyN0JnUUVQQzJFZUQ4bko2Zkh2LzcxTDJ6WXNBR3Z2UElLUm93WWdmcjE2MWZMdG03ZXZJa3RXN1lnSWlJQzJkblo1dUVqVXNwNUNRa0pSNnRsSTBSRVJEYUFJWm5JUmlRa0pCd0IwRE13TUxBWGdBWFoyZGxQZlBycHA5aXdZUVBHamgyTFljT0d3ZFhWOWE3V25aK2ZqNmlvS0VSRVJDQXpNeE1BSUtYOFRnZ3hMejQrL2pBQVdXMVBoSWlJeUFZb1doZEFSSGRFeHNmSEg0cVBqMzlLQ05FZndQSE16RXdzWDc0Y3p6MzNIQ0lqSTgzbks2NFNvOUdJeU1oSS9PVXZmOEVubjN4aURzakhoUkQ5RXhJU3VzZkh4eDhDQXpJUkVUa2dobVFpMnlRTkJzTysrUGo0Ym9xaS9CbUFJU01qQXg5Ly9ERUdEUnFFcUtpb0NzT3kwV2hFVkZRVUJnMGFoSTgvL2hnWkdSa0FZRkFVNWMveDhmSGREQWJEUGpBY0V4R1JBMk5JSnJKdE1pNHVibmQ4Zkh3WFZWVUhBemlWbnA2T0R6LzhFRU9HRE1HMmJkdFFWRlJrbVZ4VVZJUnQyN1poeUpBaCtQRERENUdlbmc0QXA2U1VnK0xqNDd2RXhjWHRCc014RVJFUmU1S0o3SVJNVEV6Y0FXQm5RRURBRUVWUjN2djk5OS9iZi9EQkIxaTNiaDNHalJzSEtTWFdyVnVIUzVjdUFRQ0VFRW1xcXI2YmtKQ3dEWUNxYWZWRVJFUjFERU15a1gxUkV4SVNvZ0ZzQ3d3TUhBNWcvcVZMbHg1WnNHQkI4VG4vQVREZllEQnNCY014RVJGUm1kaHVRV1NmMVBqNCtDOTlmWDA3QUhoSkNQR0xFT0lYQUMvNSt2cDJpSStQL3hJTXlFUkVST1hpa1dRaU83WjE2MVlUZ0kyMy93QUE0dU41RldraUlxTEs4RWd5RVJFUkVaRVZobVFpSWlJaUlpc015VVJFUkVSRVZoaVNpWWlJaUlpczhJdDdkc2pQejgvVnk4dkxxL2lZeVdRQ0FIVHAwdVhCNHVOWldWbFpLU2twQmJWWUhoSFZvTWNlZTZ5UmxOTFpmRjlWMVFaU1NnZ2hHaFRmLzRVUWhTZE9uTWpRcGtvaW9ycVBJZGtPZVhsNWVabE1wc3NBaFBVeWs4bDBwZGhkMWN2THl4dkE3N1ZXSEJIVnFLS2lvdmNCVExVZWwxTE9OSmxNTTRzTi9RdkEzMnF0TUNJaUc4TjJDenQwOHVUSjN3RWNyY0xVYjIvUEpTSTdvU2pLMWlyT2k2cnBXb2lJYkJsRHNwMlNVa1pYWVJwL1NCTFptZGF0VzM4TDRHb2wwOUp2enlNaW9uSXdKTnNwVlZWaktwdGpNcG0yMVVZdFJGUjdibDlBWm5zbDA3YmZua2RFUk9WZ1NMWlRwMDZkdWdUZ2h3cW1ITHM5aDRqc1Q0V2ZKQWtocXZKSkV4R1JRMk5JdG1NVi9TRGtEMGtpKzFWUVVIQVl3TFZ5Rm1jQk9GeUw1UkFSMlNTR1pEdFdXRmhZYmhBdUxDeXN0QjJEaUd4VFVsS1NVUWp4VlZuTHBKUmZHUXlHd3RxdWlZakkxakFrMjdIVHAwK2ZCNUJReHFMNDI4dUl5RTZwcWxybUw4bjhGSW1JcUdvWWt1MWZXVDhRK1VPU3lNNTVlbnJ1QTVCck5aenI0ZUd4WDR0NmlJaHNEVU95blN2cnFKR2lLQXpKUkhZdU5qWTJIOERYVnNPN2JvOFRFVkVsR0pMdG5NRmcrQStBWlBOOUlVUlNYRnpjR1ExTElxSmFZdjFMY2hYUG4wNUVSR0JJZGdqRmZ6Q1cxNmRJUlBZblB6Ly9tK0wzVFNiVE4rWE5KU0tpa2hpU0hZTWxHUE5MTzBTT0l5a3BLVmNJY2YzMjNldW5UNSsrb1dsQlJFUTJoQ0haQVNRa0pKd0djQlpBU254OC9JOWExME5FdFVkS09mWDJ6V0JOQ3lFaXNqRk9XaGRBdFVJQ2lCWkN5TnUzaWNoQnFLcTZTMUdVWENIRUxxMXJJU0t5SlVMckFyUVNHQmpZQ2NCM0FCcG9YUXZWTFZMSzJJU0VoRjVhMTBFMWgvcy9sWWY3UHhHWk9YSzd4Vmp3QnlTVlFRalJVK3NhcU1hTkJmZC9LZ1AzZnlJeWM5UjJDMFVJTVZ4S2lZaUlDSFRvMEVIcmVxZ09XTFpzR1RadDJnUUFuMmhkQzlVbzd2OVVDdmQvSXJMbWtFZVNBd0lDdWtvcFd6ejQ0SU5vMzc2OTF1VlFIYUNxS2c0Y09BQUFrRkp1MWJnY3FrSGMvOGthOTM4aUtvdERobVFoeEhBQTZOT25ENFJ3Mkxac0t1YkhIMzlFZW5vNmhCQVhFeElTam10ZEQ5VWM3djlramZzL0VaWEZFVU95WXY0aDJiZHZYNjFyb1RyQzZpaVNxbTAxVklPNC8xTXAzUCtKcUN3T0Y1TDVVU3RaNDBldGpvUDdQMW5qL2s5RTVYRzRrTXlQV3NrYVAycDFITnoveVJyM2Z5SXFqNk9GWkg3VVNxWHdvMWFId2YyZlN1SCtUMFRsY2FpUXpJOWF5WnFxcWpoNDhDQUFmdFJxNzdqL2t6WHUvMFJVRVljS3lmeW9sYXo5K09PUFNFdEw0MGV0RGtDci9mL0NoUXU0ZlBseXJXMnZycEZTSWljblIrc3l5c1Q5bjRncTRrZ1hFN0ZjUUlBZnRaSVpQMnAxR0hlOC8wZEdSaUl5TWhMYnQyOHZNWjZjbkl6WnMyY2pLQ2dJd2NIQkpaWVZGaFpDU2drWEZ4ZkwyT0RCZzlHd1lVUHMzNzhmQUdBMEdpR0VnTE96ODEwOWtmejhmSnc2ZGFyVWVOZXVYVEZuemh6bzlYb01HellNQUhEcDBpVTBiOTdjOGt0QmFHaG9wZXUvLy83N01YTGt5SEtYRnhVVjRjVVhYMFRMbGkzeC92dnY0NHN2dmtDL2Z2M2c2K3RiYXU3bHk1ZngvUFBQdzhuSkNVZU9ISUdpMUszak10ei9pYWdpRGhPUytWRXJXZU5Iclk3amJ2Yi8vLzczdjNCemN5c3hscFdWaFRsejV1RHk1Y3ZZdUhFanVuZnZYdUtLZlNOSGprUnFhaW9NQmtPNTYrM1dyUnQ4Zkh3UUV4TlQ0ZmF6czdQeDdMUFA0b01QUG9DN3V6dis5cmUvWWQrK2Zjakp5Y0hVcVZOTHpUY1lETmkzYng5Y1hGd3diTmd3L1B6eno1ZzhlVEs2ZCsrT2hRc1hBZ0RDd3NJcWZkNCtQajRWaG1Rbkp5ZWtwcWJDYURUaXhvMGIyTEZqQjg2ZVBZdWxTNWRpNk5DaFNFMU5MZlVZbzlHSUxsMjZsRm56Nk5HamNmUG16UkxqZm41K2xuMnp1TFZyMTZKejU4NlZQb2VxNFA1UFJKVnhtSkFzaEJnQnNOV0MvdWVubjM1Q1dsb2FBRnpnUjYzMjdVNzMvOFdMRjJQTGxpMEFBTDFlRHdDSWlZbkJqQmt6Y1BYcVZiejk5dHZZc0dFRGdvT0RzWERoUXZUbzBhUGFhNDZKaVVGaFlTRWVmZlJSdlB2dXUvRDE5VVhEaGcwdHJRdGhZV0ZJU0VoQTY5YXRNV3ZXckJLUFRVeE14UFRwMDZIVDZmREtLNitVV0ZaUlFEYy9Wd0Q0NUpOUHNHSERobkxydTNEaEFnWU1HQUFBT0h6NE1QUjZQWHg4ZkFBQTA2Wk5Bd0RjdUhFRFgzenhoZVdYaVl5TUREUnExQWdiTm14QVZsWVdBS0JodzRZNGUvWXMwdExTMEtGREI3aTZ1c0xQencrSER4L0dZNDg5Qm05dmI4VEd4aUlqSXdOTm16YTlrNWV3UXR6L2lhZ3lqaEtTRlNIRU1MWmFVSEhtajc4QlJJRWZ0ZHF6Tzk3L24zcnFLVVJIUjZONzkrNW8yN1l0amgwN1Z1S0lwL25JTEFCTW56NGRnd1lOd2p2dnZGTnRCYXVxaXErLy9ocnQyN2RIZm40KzR1UGpMUzBVWm8wYU5jTEtsU3NSSFIxZFlqd3JLd3ZUcGsyRG01c2JQdjMwVTdSdDI3YkU4bXZYcnVIenp6K3Z0SWFPSFR0aThPREJaUzQ3Y09BQTh2UHpNWERnd0JMamx5NWRRa1pHQm9LQ2duRGh3Z1hrNU9TZ2JkdTJPSC8rUEI1Ly9IRkVSRVJnMWFwVitPR0hIM0R4NGtVQXdJb1ZLekJ4NGtUazVlVmg3ZHExME9sME9IejRNRlJWeFpneFkvRDQ0NDhqTGk0T21abVphTnk0Y2FWMVZ4WDNmeUtxakVPRVpMWmFrRFYrMU9vNDdtYi9iOTI2TlV3bUU3S3lzckIzNzE2c1dyVUtLMWFzUUk4ZVBYRGp4ZzNMUEJjWEY2U25wOFBEdzZQRUVlcWhRNGVXV04rMWE5ZEtqVlZFVVJSRVJVVlo3aDg5ZXJUS2ovWHk4c0tDQlF2dzhNTVBvMW16WnFXV1oyZG5ZODJhTlpXdXAwK2ZQakFhamFYR2c0S0M4UFBQUCtQWFgzL0YzTGx6RVJrWmljVEVSUHo5NzM5SFVWRVJ4bzhmajlkZWV3MUdveEdwcWFtSWlZbkJ2bjM3c0dUSkVyUm8wUUxyMTY5SDA2Wk5FUklTQXVCV3NFNUlTTUNnUVlPZzAra0FBQmtaR1FDQXhvMGJRMHFKSzFldXdNdkxDMDVPMWZNamkvcy9FVldGUTRSa3RscVFOWDdVNmpqdVp2ODNHQXh3ZDNmSEk0ODhnaDkrK0FHTkdqWEN6cDA3c1hQblRzdWNFU05HWU96WXNYanBwWmN3YytiTUVvKzM3c3RWVmJYTVh0M3FaRzZWMkxWckYzYnQybFZpMlp0dnZvblUxRlNNR2pXcVN1dGF1blFwM25qampUS1BqZ2NGQmNITHl3dXFxdUxxMWF0WXYzNDlidHk0QVRjM053UUhCeU1uSndmTGx5L0h2SG56QUFDYk5tMUNWRlFVMnJScGc0OC8vaGovbjcwN2o0NnF2djgvL3JxVEVIWkNXR1JKWkJGVUJHVEppSW9VWlVzQVJWSEswbGF0S0tBb2xjcFMrQ2txSW9MaStsVnNCUW9WTEtXQWJCVWtrSWlBVmxrbkxBcFVoVUJrazFuNjFRQUFJQUJKUkVGVWlXRUpaQ0dRYmU3dmp6QmpNbGtJV2VabWt1ZmpuQjdKdlorWis1NnBIL1BpM3ZmOTNFbVRKdW5Ja1NPNi92cnJOWExrU1Azem4vK1VhWnBhczJhTjFxeFpvMWF0V3FsUG56NlNwRVdMRnFsS2xTcEtUMDlYWm1hbTNubm5uVHpmZFhFdy93RVVSV1VJeWJSYUlBOHV0VllheFpyLzhmSHh5c3pNMU1hTkc1V2FtcXJQUHZ0TWt0ejl2WXNXTGRMeTVjczFlUEJnSlNRazZQTGx5NUtVYjYrdjNXN1B0YnBGV1prMGFaTGVmUE5OdFcvZlhvbUppYXBkdTdhN0hlTDc3Ny9QRTV5dlp1TEVpWktrdm4zN2F0S2tTWHI5OWRmZHEwRTBidHhZa3ZUV1cyOHBQajVlWThhTVVXQmdvR2JObXFVdFc3Ym9oeDkrY1BjY3IxaXhRajE3OXRUNDhlTTFZc1FJalJneFF1KysrNjdtenAycjBOQlFyVjY5V2xMMjZody8vZlNUSkNrMU5WV1N0SDc5ZW5jOVNVbEoyckJoUTZtRVpPWS9nS0tvOENHNVBMUmFIRDkrWEg1K2ZtcmF0S2tseDBkdVhHcXRQSW83LzF1M2JxMWV2WHJwMEtGRHlzaklVRkJRa0tUc2NGeVl0V3ZYcWxhdFd1clpzMmVCWXpadjNxeVVsQlRkZi8vOVJhNG5QMmxwYWJuYUQ0WU5HNlkzMzN4VExWcTBVTTJhTlJVVkZlVmVmazJTcGsyYnBwZGVla25yMTYvWGdnVUwxS2xUcHlJZDU5eTVjOXE3ZDY4NzlFcFNzMmJOSkVsZmZ2bWxtalZycG9jZmZsaUppWWthTldxVXpwdzVrK3YxRHozMGtNTEN3aFFaR2FuVHAwK3JXYk5tZXZIRkY5V3dZVU4xNnRSSjlldlhWM3g4dkhyMTZxV2twQ1NscDZmcnVlZWUwM1BQUFpmcmZicDI3YXBxMWFvVjY3dktpZmtQb0tncWZFZ3VTYXRGZVYwblZaSTJidHlZWjF2anhvMjFkdTFhUGZUUVE2cFNwWW9XTEZpZzU1OS9YblhyMXBVa1JVZEg1K3FuTEVqMzd0MnZPdWI5OTk5WFFrS0NwazJicHYvKzk3OEtEZzVXeTVZdEMzMU5yMTY5MUtaTm15TGRORlNXdU5SYWVSUjMvbmZzMkZGTm1qVFJQLzd4RDEyOGVGSDE2OWVYSkEwZlBseVN0SERod254Zjk4b3JyNmg1OCthRmh1VFpzMmNyTmphMjJDRzVaczJhNnQyN3QzNzY2U2Y1Ky9zckpTVWx6dzEwZDk5OXQ1WXRXNlpWcTFacDZOQ2g3dTJ1bG84UkkwWVUrUDZ0V3JWeXIrd2hTYnQzNzlidTNidHpqWEhkREdpejJUUnQyalR0M3IxYmJkdTJsZDF1VjN4OHZMcDE2NmFVbEJUOSs5Ly8xdXJWcTdWNjlXclpiRGJaN1hhRmhvYm1DdmVqUm8zU2E2KzlsdXY5Wjg2Y21ldm5KNTk4VXVucDZhVVNrcG4vQUlxcW9vZGs5NlZXVjQvYnRTaXY2NlRXcTFkUEw3endRcDd4enovL3ZENzc3RFB0M2J0WEowK2VWT1BHalhYa3lCRjE3dHhaTnB0TmI3enhobzRjT1hMVnoxMVk3UzVidDI1VmJHeXNubjMyV1UyYk5rM1ZxbFhUNHNXTDljWWJiK2lISDM3SU5kYjFPVE15TWdwOHY3ZmVla3ZMbHkvWFo1OTlwckZqeHlvdExVMXIxcXdwazRjUHVDNFppMHV0RlYyeDUvLzgrZk8xZE9sUzk4K3VmMmNLQ3NmZTFMQmhRNzN4eGhzYVBueTRMbCsrckNsVHBtaisvUG01eHJScTFVclhYMys5WnMrZXJkRFFVTFZ1M1ZxUzFMdDNiOTE1NTUzNXZ1L0ZpeGUxZE9uU1hDdEk1T3pCbHJMbmNHcHFxdnVoSk0yYU5WT0hEaDMwekRQUDZLZWZmbEpVVkpTNmR1MnFsSlFVTFYyNlZNOCsrNndHRGh5b0V5ZE9hTmV1WFpMa1hrdlo5ZDhaVjIwNWVhN1lNWERnUUVrcWxaRE0vQWRRVkJVNkpPZTgxSm96eUJaRmVWNG4xZWwwYXZEZ3dYcmdnUWRVcjE0OWpSNDlXaWtwS2VyZHU3ZCsvUEZIclZ5NVVyLzk3Vy9WdDI5ZnZmSEdHN3JsbGxzMGJkbzB2ZlhXVys3ZXlmeE1uRGd4eitOemx5eFo0cjdUUENmWFdxMUxsaXpSalRmZXFKOS8vbG1iTm0zU3FWT244dHlnTkdMRUNKMC9mMTZYTGwzUy92MzdjOTNsdjNEaFF0V3BVMGM3ZHV4UXo1NDlGUkFRb0ppWUdJMGJONjVNQXJMVDZmUjh5aFlxcUpMTS83Q3dNTjE2NjYyS2lvclNUei85cE1jZmYxeUxGaTNTekpremxabVpxWmRmZmxtZmYvNTV2blBqOHVYTDJyRWo5d25Lek14TTk3YkM1bUJSbUthcGQ5OTlWNGNPSGRLYmI3NnBtVE5uNnVtbm45WUhIM3dnS2Z2TTc3Qmh3L1R5eXk5cndvUUpHalZxbEQ3OTlGTTFhTkRBM1ZQdGREcVZrSkNnV3JWcXFXclZxakpOVTVHUmtWcTZkS2thTm13b1Nmcm1tMi8wMy8vK1YyZk9uTkhwMDZmMXl5Ky9LQ0VoUVIwNmROQjMzMzBuZjM5L0hUdDJURjk5OVpWaVltTFVva1VMU2RsWHlsSlNVblR3NEVGSnYvN2wyUFZ6Zml0bVNOTHJyNzh1S1R2Z3V3SjBVbEtTYXRhczZmNkxkMGxETXZNZndMV28wQ0c1SkswVzVYbWQxQXNYTHNqaGNDZ2lJa0pObWpUUmlSTW5ORzdjT0NVa0pHakFnQUdLakl6VWhnMGJ0R3JWS2dVSEI2dHYzNzR5REVONzl1elI5T25UcjZtT05XdldGSHIyT1dlUFpsUlVsQll0V3FTREJ3L3EwVWNmMVNPUFBLSng0OFlwTEN4TUNRa0prcVJMbHk3bENkRUpDUW1LajQvWGxDbFR0R2ZQSHRXdFc5ZDk1cWkwY2FtMThpakovSGYxNjM3Ly9mYzZldlNvYXRldUxVbGF2WHExZHUzYXBXclZxbW5LbENuYXUzZXZKT242NjY5M3Z6WStQajdQRS9FS2VrcGVjU3hmdmx6Ly92ZS85ZWMvLzFtOWUvZFdVRkNRWG56eFJYMzU1WmVTcE5PblQ2dFBuejY2NTU1NzlOaGpqK25reVpONTFoYzJERU1QUC95d3pwNDltK2Y5WFNjRjl1L2Y3ejVSWUJpR0dqUm9vR2JObW1uZnZuM3EzTG16bm52dU9ZMGNPVkxqeG8yVHBGenJPTWZGeGVuUlJ4L045YjZlUDN2S2VlT2V5NzMzM3B2cmFYdzV2K2ZpWVA0RHVCWVZPU1NYcU5XaVBLK1RXcTllUFkwY09WSlRwa3pSMGFOSFZiMTZkYjMzM250Njc3MzMzR01DQXdObG1xYnV2UE5PdFduVFJsTDJMLzdubjMrK3dHUE9uVHZYSFdZOTdkeTUwNzJHcVpUOVJLMXZ2LzFXbXpkdlZucDZ1ckt5c2dwOEdsWlVWSlF5TWpKMDU1MTNLanc4WEsrLy9ycUdEUnVtdzRjUHk5L2ZYM1hxMU5IWFgzL3RIbCtjLzcrS2lrdXRsVWFKNXI5TG16WnQzUC9lOSsvZlgzZmRkWmZhdDIrdnpwMDdxMXExYWpwMjdKaUNnNFBkd2JLdytlVlMyRHdyaW9FREI2cEdqUnJ1bnViUTBGQ3RYTGxTQVFFQk9uNzh1SDczdTkrNTd3OFlPM1pzdm1ldURjUFFvNDgrcWdNSERzZ3dEQm1Hb1JvMWF1aU9PKzV3ZjEvaDRlSHEwS0dEZ29PRDFiUnBVd1VFQk1qcGRPcVRUejdSNzMvL2UxV3RXbFh2dlBPTy92clh2NnBtelpvYU1tU0lwT3krN01Jc1dyUW8xK2NQQ2dyU2dBRURkUC85OXlzNk9scVptWm51ZmFHaG9UcHg0b1JzTnB1YU4yK3VwNTU2cXRqZm04VDhCM0J0S214SWRsMXFiZFNvMFRWZmFwWEs5enFwbjN6eWlkNS8vMzNWcmwxYjA2Wk5VNTA2ZFhLZGJaR2t1blhyYXVMRWlWcXhZb1grKzkvLzZvVVhYdENoUTRjS2ZWK25NL3QzaHF1L2NlVElrZTU5Zi8zclg5MS9DYWhWcTVZQ0F3TWxTU2twS1pvL2Y3NCsvL3h6ZmZMSko3cjU1cHZ6ZmUrVWxCUkpjcCtSY3gycnRCNE9VQlE1TDdWS1dsN1lXUGkya3M1L2w1dzN4SG5lWENibGZveXpwRHhQeGN0UFVjWVVwbHExYW5sdStxdGV2YnFrL0VONlFTMEtqenp5U0tISGFkV3FsVnExYXBWcm04MW1jOSs4S0VuZHVuVlR0MjdkY28yNTJnMkpudnREUWtJMGJkbzBTZEp0dDkyV2E1K3JoYVEwTVA4QlhLc0tHNUpkbDFyRHdzS0s5UUNSOHJ4TzZqMzMzS01EQnc3STRYQm8vUGp4aFk1OTZxbW4xTEZqUjMzNzdiZGF2SGh4a2Q3L280OCtrcFE3Sk9kc3F3Z09EbmFmYmRxeFk0ZldyVnVuVzI2NXBjQ0FMTW45Q0ZyWCtxcFpXVm1TdkJ1U2MxNXFqWTZPNWxKckJWYlMrWStLaC9rUDRGcFYxSkJjNGt1dDVYbWQxT2JObTJ2V3JGa2FNR0NBZ29PRE5YcjA2RHhqM24vL2ZaMDllMVpQUHZta3BPeCt2NlNrSkczZHVsWFBQZmVjSG5qZ0FVbS9CdmlJaUFqOThzc3Ztamh4b2g1OTlGSGRkOTk5a242OXlXajM3dDF5T3AyNi9mYmJWYTFhTllXRWhFaVMzbm5uSFptbXFiLzg1Uy81MXBxUmthR3NyQ3p0MjdkUGtuVEREVGRJeWc3SmhtR1V5YzE1QmZHNDFHcDY3Y0R3dGxKcHRVREZ3dndIY0swcVpFanUxS25UblNXOTFGcWUxMG5ONmVUSmswVytZWEQwNk5HS2pZM1ZuRGx6NUhRNjNYM09DUWtKbWpoeG92YnMyU04vZi85Y1BkZm56NTlYalJvMVpCaUdmdm5sRjBseXQ2RkkyVGZpL2Y3M3Y5Y3Z2L3lpaGcwYnFsR2pSa3BPVHBhVTNZdThhdFVxZmZqaGg5cXdZWU5zTnBzNmQrNHNLZnR1ZjFvdFVCWktZLzViSlRVMVZiLzk3VzkxODgwMzYvLys3Ly95SFpPZW5xNGxTNVlvSkNSRWZmcjBrY1BoY0QraExqOUZXZmU4b21QK0F5aU9DaG1TYlRiYkVLbGtsMXJMOHpxcExxTkhqOWE4ZWZPVW1wcXFQLzNwVCs3dGE5ZXVWWHg4dlA3d2h6L2tHbCs5ZW5YZGRkZGQrdmpqanpWOStuUjM2MFA5K3ZWMTVNZ1JaV1JrYU5xMGFlclJvNGNrNmRTcFUwcE5UVlhMbGkwMWF0UW9IVDU4V0ZMMkhlWmJ0MjZWbE4zdk9IYnNXSTBZTVVKbnpwelJEVGZjNEY3cUtqNCtYalZxMU5EMjdkdDE2TkFoZGUvZTNkM0xuSjZlVHFzRnlrUnB6SDl2MmI5L3Z5SWlJdHcvbno1OVdxZFBuNWFmbjU5bXpacVY3MnNHREJpZ3YvNzFyNnBXclpwdXVlVVd6Wmd4bzlEN0hRcGE5L3pSUngvVnhZc1hOWC8rZk5XclZ5L2ZNZDVjdjd3c01mOEJGRWRGRE1tbGNxbTFQSytUZXY3OGVjWEZ4YWxseTVZeVRkUDl1TmliYnJwSjZlbnArdkhISDFXbFNoVzFiZHZXdlRacGJHeXNwaytmcnJTME5MVnMyVkxEaHc5WDU4NmQ5Y0FERHlnd01GQWZmUENCSmt5WW9Ba1RKcWh4NDhicTE2K2ZlN1dLbTI2NlNSa1pHYnAwNlpKdXZQRkcxYXRYejMxejMrWExsN1Z0MnpZZE8zWk03ZHExYzkvVTE2dFhML1hzMlZPTkd6ZldVMDg5Slp2TjVtNzlPSC8rdkpLU2tsU3JWcTBTZlEvWGdrdXRsWVpQdFZyRXhNVGtlcnFkUzF4Y1hMN2JKV255NU1rYU9uU29saTVkbXVzK2d5VkxsdVFhbDkrNjV6bTUxajNPdVdxTkoyK3RYMTdXbVA4QWlxUENoZVRTdXRSYW50ZEpqWXlNMUp0dnZwbHJXMzdySCtkODlPd25uM3lpbTI2NlNTTkdqRkR0MnJWejdidnBwcHZVcEVrVExWcTBTUC82MTcvMDZhZWZxbWZQbnU2bmFuWHIxczNkbzN6OCtIRU5HalJJTnB0TlU2ZE8xY3laTTkwM0Q5NTIyMjE2NElFSFZMOStmZm41K2VuQWdRTWFQWHEwenA4L3J5ZWVlRUszM0hLTGV2ZnVyY1RFUkptbXFlRGc0Rkw1UHE2R1M2MlZoNisxV2p6NDRJTjY4TUVISldWZnZmcm9vNDgwWU1BQTkyb1BCWG5xcWFmVXJGa3pEUmt5eEwxYXhyWnQyM0tOOFZ6eHhsTkFRRUN1ZjNyeTV2cmxaWW41RDZDNEtseElkbDFxTGM0REJQSlRIdGRKN2Rtelo3NlBjaTFNdTNidDNLMGlXVmxaZXVTUlIrVHY3NjlHalJxNWw3bXFVcVdLaGc4Zjd1NjduakZqaHFaTm02YXdzREQzKzF4Ly9mVjY3cm5uVkwxNmRRMFlNRUQxNjlmWDIyKy9yVHAxNnVpM3YvMnQrd1pIS1h1dDZlYk5tNnRIang1NjVwbG5aQmlHZnZPYjMyalBuajFxMUtqUlZWZm1LQzBIRGh6Z1Vtc2xVZHJ6MzF2Mjc5L3Z2anF6YnQwNnJWdTNMczhZMTZQczMzdnZQZmNWckdIRGhybjN6NTQ5KzVxT1diVnExVnovOUZTdlhqMnZyVjllbHBqL0FJckxkMzZMRkkzTmJyZkhtcVlac25EaFF0MTY2NjFXMTFQcFpXUmtxRXFWS3BiVzhPNjc3K3BmLy9xWEpMMFhIUjN0bldRT0svamsvRDkrL0xpZWVPSUpKU1FrcUc3ZHV2cjk3MytmWjh4SEgzM2tEc2tEQnc1MEw2bm9jRGp5dEZsNEdqcDBhTDc5LzcvNzNlOTA3Tmd4YmQrK3ZYUStTRG5GL0FkUVhCWHFUTEt2WFdxdERLd095RnhxclR4OGNmNGZQWHBVWThhTWNWOVo4dmYzVjlPbVRRdDl6WC8rOHg4TkdqVElmYlBlTysrOFUrajRCeDk4TU4rUUhCQVFVT0JaNUlxQytRK2dKQ3BVU1BiVlM2MG9PMXhxclR4OGNmNy84TU1QaW8rUFYvLysvUlVSRWFHelo4OFdlVWxIbHkxYnRyai8vTTQ3N3lnaUlpSm5NQ3hRdFdyVkN1eEhyaWlZL3dCS29pS0ZaUGRkN1RsN2FGRzU1WGpLSVhlMVYydytPZi92dU9NT3paZ3hRLzM2OVZORVJJUWFOV3FrRjE5OE1jKzRaNTk5TnQvWHg4WEY1WHAwdG90ckdVZnAxMTVtVC9QbXpTdCs0VDZDK1ErZ0pDcE1TUGJGUzYwb1cxeHFyVHg4ZGY0SEJRV3BYNzkrN3AvajQrTUxETVQ1bVRKbGlsNTU1UlZKMHBvMWE3UjM3MTRaaHFHZ29DQ05IajFhQVFFQitTNjE2SFE2Tlh6NGNDVWtKR2pod29WcTBLQkJpVDlMZWNQOEIxQlN2cmZnWlFGODhWSXJ5aGFYV2l1UGlqTC9yNy8rZW0zYXRFbWJObTFTVkZTVU5tM2FsT2NzY0hwNnVzNmVQU3NwdTRlNWZmdjJpbzZPMXQ2OWU5V2lSUXU5K2VhYk9uLyt2UDc1ejM4cUl5TWozeHNZczdLeWRQYnNXU1VtSnBaNDNmYnlpdmtQb0tRcXlwbGtteVQzTDBsQSt2VUJBb1poZkNvdXRWWmtGV2IrMjJ3MjFhMWJWNUwwajMvOFEzUG16SkZwWnYrcjYzcGFaVUJBZ0xwMzc2NWF0V3FwU1pNbTduV1NYYTBiUVVGQjdqWE1YVS9qR3pkdVhLN2pWS2xTUld2V3JGRm1acVpxMUtqaHhVL29QY3gvQUNWVklVSnlwMDZkN3BRVTdHdVhXbEYybkU2bnV4L1JOTTFQTFM0SFphaWl6UC9telpzckpDVEUvWE9YTGwyMGV2VnErZm41S1Nnb1NHUEdqSEh2ZS9YVlYrWG41NmN6Wjg0b05qWlc5OTEzbjI2NzdUYjMvdnZ2djErMzNucXJWcTllbmV0MU9RVUVCRlRZRy9lWS93QktRNFVJeVRrdnRmcmlJMU5SK3JqVVdubFVsUG52MlZaeDY2MjNhdTNhdGZtT2RUM2dxR0hEaHBvNmRXcStZMXEwYUpIbkRISmx3ZndIVUJwODl6ZktyeXJNcFZhVUhpNjFWaHJNZitUQi9BZFFHbncrSkZlVVM2MG9QYVpwY3FtMWttRCt3eFB6SDBCcDhmbVFYRkV1dGFMMGZQLzk5MXhxclNTWS8vREUvQWRRV256OXR3cVhXcEVIbDFvckRlWS84bUQrQXlndFBoMlN1ZFFLVDF4cXJUeVkvL0RFL0FkUW1udzZKSE9wRlo2NDFGcDVNUC9oaWZrUG9EVDU3cU9wSk5udDl1T21hWVpjZlNRcUc4TXczblU0SEJPc3JnTmxoL21QZ2pEL0FaUUduejc5NG5RNkQxdGRBOHFsRkVrTHJTNENaWXY1andJdy93RUFSUmNhR21xR2hvWnlFd3RReVlTR2hyNXlaZjYvWW5VdEFPQkxmUHBNTWdBQUFGQVdDTWtBQUFDQUIwSXlBQUFBNElHUURBQUFBSGdnSkFNQUFBQWVDTWtBQUFDQUIwSXlBQUFBNElHUURBQUFBSGdnSkFNQUFBQWVDTWtBQUFDQUIwSXlBQUFBNElHUURBQUFBSGdnSkFNQUFBQWVDTWtBQUFDQUIwSXlBQUFBNElHUURBQUFBSGdnSkFNQUFBQWVDTWtBQUFDQUIwSXlBQUFBNElHUURBQUFBSGdnSkFNQUFBQWVDTWtBQUFDQUIwSXlBQUFBNElHUURBQUFBSGdnSkFNQUFBQWVDTWtBQUFDQUIwSXlBQUFBNElHUURBQUFBSGdnSkFNQUFBQWVDTWtBQUFDQUIwSXlBQUFBNElHUURBQUFBSGdnSkFNQUFBQWVDTWtBQUFDQUIwSXlBQUFBNElHUURBQUFBSGdnSkFNQUFBQWVDTWtBQUFDQUIwSXlBQUFBNElHUURBQUFBSGp3dDdvQWVGZG9hS2hwZFEwQUFBRGxIV2VTS3duVE5MZFlYUU1BeTZSSTJtMTFFUURnU3d5ckN3QlE5bkpjUVpnV0hSMzlpcFcxQUFEZ0N6aVREQUFBQUhnZ0pBTUFBQUFlQ01rQUFBQ0FCMEl5QUFBQTRJR1FEQUFBQUhnZ0pBTUFBQUFlQ01rQUFBQ0FCMEl5QUFBQTRJR1FEQUFBQUhnZ0pBTUFBQUFlQ01rQUFBQ0FCMEl5QUFBQTRJR1FEQUFBQUhnZ0pBTUFBQUFlQ01rQUFBQ0FCMEl5QUFBQTRJR1FEQUFBQUhnZ0pBTUFBQUFlQ01rQUFBQ0FCMEl5QUFBQTRJR1FEQUFBQUhnZ0pBTUFBQUFlQ01rQUFBQ0FCMEl5QUFBQTRNR3d1Z0FBcGF0RGh3NGgvdjcrU3lUVno3RzU3WlYvbnJueVAwbVMwK2xjdkhmdjN0ZTlXUjhBQUw3QTMrb0NBSlN1bTIrK09lN0lrU09kSk5YT1ozZkRLLytUSlBuNyt5ZDdyVEFBQUh3STdSWkFCZlBwcDU5bUdZYXh1aWhqRGNOWVVkYjFBQURnaXdqSlFBWGtkRHIvV1lSaDMrL2F0ZXVYTWk4R0FBQWZSRWdHS2lDYnpiWlZVbXBoWXd6RCtOaEw1UUFBNEhNSXlVQUY1SEE0TWlSOWZwVmh0Rm9BQUZBQVFqSlFRUm1Hc2FpUWZUODZISTZmdlZrUEFBQytoSkFNVkZDSmlZbGZtS2FabHQrK3JLeXNUN3hkRHdBQXZvU1FERlJRaHc4ZlRwTVVtZDgrbTgyMnpNdmxBQURnVXdqSlFBVm1HTWJDZkRiSFJrZEhIL1oyTFFBQStCSkNNbENCR1lheFFWS0d4N2FpTEE4SEFFQ2xSa2dHS2pDSHc1RnFHTWFXbk5zeU16T1hXbFFPQUFBK2c1QU1WSEJaV1ZrTGMvNjhiOSsrZ3hhVkFnQ0F6eUFrQXhWYzFhcFYxK1g0OFIrU1RLdHFBUURBVnhDU2dRcHV4NDRkU1pLK2xpVERNUDVxY1RrQUFQZ0VmNnNMQU9BVkgwdHE0SEE0OWxoZENBQUF2c0N3dWdDZ0l1cmF0V3YxeTVjdlAyWVlSbjlKTjBxNlFWSlZpOHNxRDlJa3hVajZ5VFROaU1EQXdJVmJ0bXk1YkhWUkFBQjRJaVFEcGN1dzIrMmpUZE44UmRKMVZoZmpBMDRiaHZHS3crR1lJM3FsQVFEbENDRVpLQ1U5ZXZUd1QwNU9ubTJhNW1oSnN0dnRHang0c0ZxMWFxV1FrQkJWcmNxSjVMUzBOSjA0Y1VKSGpoelJpaFVyNUhBNEpFbW1hWDRVR0JnNGRzdVdMWmtXbHdnQWdDUkNNbEJhak5EUTBIOUtlamd3TU5DY05XdVcwYVZMRjZ0ckt2ZDI3ZHFsU1pNbW1VbEpTWWFreGRIUjBYOFVaNVFCQU9XQW45VUZBQlZCYUdqb0tFbFRtalp0cWdVTEZoaTMzSEtMMVNYNWhPRGdZUFh1M2R2NDZxdXZsSnljM0tGcDA2WW40dUxpb3EydUN3QUF6aVFESldTMzIxdVpwbm5BejgrdjZzS0ZDOVcyYlZ1clMvSTVCdzRjME9PUFA2NnNyS3cwUHorL3RydDI3WXF4dWlZQVFPWEdPc2xBQ1ptbStZS2txazgrK1NRQnVaamF0V3VuSjU5OFVwS3FPcDNPRjZ5dUJ3QUF6aVFESmRDaFE0ZVcvdjcrUDlhdVhkdHYvZnIxUm8wYU5hd3V5V2VscHFhcWYvLytaa3BLU3BiVDZieHg3OTY5eDZ5dUNRQlFlWEVtR1NnQmYzLy9FWkw4aHc0ZFNrQXVvUm8xYW1qWXNHR0dKSDgvUDc4UlZ0Y0RBS2pjQ01sQXlUd2tTZjM3OTdlNmpncWhYNzkrcmo4K1pHVWRBQUFRa29GaTZ0aXg0MDJTMmdZSEI2dEZpeGFXMUdDYUZXdTF0Sll0VzZwcDA2WXlUYlBkbGU4WEFBQkxFSktCWXZMejgrc21TWGZjY1ljTXc1cjIva21USm1uNjlPbTZkT2xTcnUxMnUxMkRCZzI2NnVzSERSb2t1OTFlVnVWZE04TXdkTWNkZDBpUy9Qejg3cks0SEFCQUplWnZkUUdBRCtzb1NhMWJ0N2JrNEQvLy9MTzJiTm1pRGgwNnFIcjE2bGNkbjE5b1BuWHFWSUg3cGt5WllrbUF6dkY5ZHZUNndRRUF1SUtRREJSZkIwbTY0WVliTERuNHh4OS9MRWthUDM2OEpPVUp0TEd4c2U1dE5wdE5UcWV6d1BlS2pZM05zeTAxTmJXMFNyMG1PYjVQUWpJQXdES0VaS0Q0UWlTcFNaTW1Yai93d1lNSHRXN2RPZzBhTkVpWm1abjYzZTkrcC92dnYxL1hYWGVkSkduQmdnVUtEQXpVNE1HREpXV0g1TkdqUit2Y3VYTzUzbWZFaUJFNmZ2eTRJaU1qYzIydlg3KytkejVJUGx6ZnAyRVl3WllWQVFDbzlBakpRUEVGU2xLdFdyVzhmdURJeUVnNW5VNUZSRVJvelpvMWF0YXNXYUhCOXNFSEg1UWtoWWVINTd2ZmM3dkQ0U2k5WXErUjYvdDBPcDJCbGhVQkFLajBDTWxBOGRXVnN0ZjM5YmFISG5wSURSbzAwS3BWcXhRYkc2dEpreVpwOU9qUnVjWWtKaVpxd1lJRmtxUzc3cnBMalJzM2xwUjlsdmpaWjUrVkpNMmVQVnZuenAzVEs2KzhrdXRuSzlXc1dWT1NaQmhHWFVzTEFRQlVhb1Jrd0FjMWI5NWNwMCtmVm14c3JQcjE2NmN1WGJvVStleHZqUm8xZE5kZDJRdEhMRml3UU9mT25jdnpNd0FBbFIwaEdTaStDNUt1UzAxTlZVQkFnRmNQZlA3OGVVMmRPbFdTVktkT0hiMzMzbnVxVjYrZUVoSVM4aDFmcjE0OVBmYllZNUtrNDhlUDUybXZLS2dOd3dvWEwxNlVKSm1tZWNIaVVnQUFsUmdoR1NpK1JFblhwYVNrcUc1ZDczWUc3TnUzVC9IeDhaS2s1Y3VYNjhZYmIxUjZlbnErcTFSSTJXZWVIM3ZzTVUyZlBsMlNkT1RJRVMxYXRDalh3MGp1di85KzNYNzc3V1ZmL0ZXa3BLUklrbXcyVzZMRnBRQUFLakZDTWxCOEp5VGRHQmNYcDVDUUVLOGV1RnUzYm5ydHRkZlVva1VMMWE1ZFc4bkp5Wm95Wllxa3ZEZmQ1Vndhcm4vLy92clBmLzZqNWN1WDYvcnJyOWZGaXhkMTd0dzUzWGZmZmZyODg4OVZ2MzU5alJ3NTBxdWZ4Vk5jWEp3a3lUVE5rNVlXQWdDbzFBakpRUEh0bDlRekppWkdYYnAwOGVxQjE2OWZyMlhMbGlrdUxrNUpTVW1TcE9EZzdCWFQzbnZ2dlh4ZkV4VVZwWVVMRitwLy8vdWZPblRvb0xmZmZsdWpSbzNTdVhQbk5IWHFWQm1Hb1lVTEYrcXp6ejdUc0dIRE5HalFJTldyVjg5cm44a2xKaWJHOWNkOVhqODRBQUJYRUpLQjR0c25TWWNQSC9iNmdUTXlNblRzMkRHMWFORkNYYnQyVmJObXpSUVJFU0ZKV3J4NGNiNnZXYjkrdldKall6Vm16Qmc5OXRoajh2UHpjKy96OC9QVHRHblRkT3V0dCtyOTk5L1hGMTk4b2FGRGgzcmxzM2pLOFgwU2tnRUFsaUVrQThXVWxaWDFqWitmbjNiczJDSFROR1VZaHRlT1BYRGdRQTBhTkVnMm04MjliZGV1WFVwTlRWVlVWRlN1c1dGaFlRb0tDdExVcVZQbGREcHpuUjBlT0hCZ3JwdjlCZzhlckI0OWVrakt2aUhRMjB6VDFJNGRPeVJKV1ZsWjMzcTlBQUFBcnZEZWIzV2dBZ29ORFQwZ3FlMktGU3ZVc21WTHE4dnhlVEV4TVJveVpJZ013empnY0RqYVcxMFBBS0R5c2wxOUNJQkNySmJrYm5WQXlXellzTUgxeDlWVzFnRUFBQ0VaS0lITXpNd0ZraktYTDE5dXBxYW1XbDJPVDB0TlRkV3laY3RNU1psWldWa0xySzRIQUZDNUVaS0JFdGkvZi85UlNaOGtKeWNiUzVZc3Nib2NuN1preVJLbHBLUVlobUVzMnJ0Mzd6R3I2d0VBVkc2RVpLQ0VETU9ZS1NsdDNyeDVPbmp3b05YbCtLUURCdzVvM3J4NWtwUm1zOWxtV2wwUEFBQitWeDhDb0RCeGNYSG5telJwRW0rYTV2MDdkdXhROSs3ZEZSZ1lhSFZaUHVQNDhlTWFOMjZja3BLU1pCakcwN3QzNzk1a2RVMEFBQkNTZ1ZJUUZ4ZTNwMG1USnEyU2s1TTdSRVJFbUczYnRqVmNEL2RBd1hidTNLa3hZOGFZWjgrZU5TUXRqbzZPZnRucW1nQUFrQWpKUUttNStlYWIxNmFucDE5MytmTGxMdXZXclpQRDRWRFZxbFVsU1RWcjFwUy9QOHVTcDZXbEtUWTJWcnQzNzlZYmI3eWgrZlBuS3kwdHpUQk44NlBBd01EUng0NGRjMXBkSXdBQUV1c2tBNlhOc052dG81MU81MVRETUJwWlhVeDVaNXBtdk0xbW0rWndPT1pJTXEydUJ3QUFGMEl5VUFaNjlPaFJMVEV4Y2JqTlp1dG5tdWFOa2xwSnFtcDFYZVZBbXFRamhtSDg1SFE2TndRR0JpN2NzbVhMWmF1TEFn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Gs4T1VmQUFBZ0FFbEVRVl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kRlR1ZZWEFBQytwbXZYcnRVdlg3NzhtR0VZL1NYZEtPa0dTVlV0THFzOFNKTVVJK2tuMHpRakFnTURGMjdac3VXeTFVVUJRSEVRa2dHZzZBeTczVDdhTk0xWEpGMW5kVEUrNExSaEdLODRISTQ1a2t5cml3R0FhMEZJQm9BaTZOR2poMzl5Y3ZKczB6UkhTNUxkYnRmZ3dZUFZxbFVyaFlTRXFHcFZUaVNucGFYcHhJa1RPbkxraUZhc1dDR0h3eUZKTWszem84REF3TEZidG16SnRMaEVBQ2d5UWpJQVhKMFJHaHI2VDBrUEJ3WUdtck5telRLNmRPbGlkVTNsM3E1ZHV6UnAwaVF6S1NuSmtMUTRPanI2aitLTU1nQWY0V2QxQVFCUTNvV0dobzZTTktWcDA2WmFzR0NCY2NzdHQxaGRrazhJRGc1Vzc5NjlqYSsrK2tySnlja2Rtalp0ZWlJdUxpN2E2cm9Bb0NnNGt3d0FoYkRiN2ExTTB6emc1K2RYZGVIQ2hXcmJ0cTNWSmZtY0F3Y082UEhISDFkV1ZsYWFuNTlmMjEyN2RzVllYUk1BWEkzTjZnSUFvRHd6VGZNRlNWV2ZmUEpKQW5JeHRXdlhUazgrK2FRa1ZYVTZuUzlZWFE4QUZBVm5rZ0dnQUIwNmRHanA3Ky8vWSszYXRmM1dyMTl2MUtoUncrcVNmRlpxYXFyNjkrOXZwcVNrWkRtZHpodjM3dDE3ek9xYUFLQXduRWtHZ0FMNCsvdVBrT1EvZE9oUUFuSUoxYWhSUThPR0RUTWsrZnY1K1kyd3VoNEF1QnBDTWdBVTdDRko2dCsvdjlWMVZBajkrdlZ6L2ZFaEsrc0FnS0lnSkFOQVBqcDI3SGlUcExiQndjRnEwYUtGMWVVVWlXbm12N3FhMCtuMGNpWDVhOW15cFpvMmJTclROTnRkK1g0Qm9Od2lKQU5BUHZ6OC9McEowaDEzM0NIRDhJM2JOeFl1WEtoNzdybEhQLzc0bzN1YjArblU0TUdEOWNRVFQrakVpUk1XVmljWmhxRTc3cmhEa3VUbjUzZVhwY1VBd0ZYNFcxMEFBSlJUSFNXcGRldldsaHpjYnJjWGVlek1tVFBWdDI5Zm5UeDVVaWtwS1dyYXRLbDdYMVJVbEdKalk5V2lSUXNsSmlicTBLRkRDZ3NMSzR1U2l5VEg5OW5Sc2lJQW9BZ0l5UUNRdnc2U2RNTU5OMWh5OE9iTm0wdVNUcDA2cFl5TURJV0VoTWpQNzlmblA4WEd4cXBLbFNwcTJyU3BhdFdxcGJmZmZsczdkKzVVbFNwVk5HZk9IRW5Td3c4L3JMbHo1K3E2NjY3VGl5KytxT25UcCt2YmI3L1ZEVGZjb0ZhdFdsbnl1WEo4bjRSa0FPVWFJUmtBOGhjaVNVMmFOTEhrNEt0V3JaSWtEUm8wU0xHeHNabzNiNTRhTldyazNtKzMyOVcwYVZQM3VMRmp4N3IzL2Z2Zi81WWtuVHQzVHFkT25kTGN1WE5WcFVvVkRSdzRVRjk5OVpWbXpacWxlZlBtZWZIVC9NcjFmUnFHRVd4SkFRQlFSSVJrQU1oZm9DVFZxbFhMNmpxS0pDb3FTbUZoWVhyaWlTZFVwVW9WelowN1YxdTJiRkZXVnBaR2poeVo2K1k5aDhPaHJWdTM2cDU3N3ZGNm5hN3YwK2wwQm5yOTRBQndEUWpKQUpDL3VsTDIrcjdlTm4vK2ZLMWZ2MTVTZHJ1RkpEMzU1Sk81MmkxYyt3WU5HaVJKR2o5K3ZLVHNwOXQ5L2ZYWENnZ0kwS1JKazFTOWVuVTFhTkJBUVVGQkNnd01WR1ptcHNhUEg2K0xGeTk2OFJQOXFtYk5tcElrd3pEcVdsSUFBQlFSSVJrQXlwbHo1ODRwTmpZMjE3YjhWcWJJeU1od2o0dU9qcFlrZGVqUVFmUG16Vk9MRmkxMCt2UnBuVHQzTHMvcjJyZHZyM3Z2dmJjTUtnZUFpb09RREFENXV5RHB1dFRVVkFVRUJIajF3Sk1uVDlia3laTWxTVjI3ZGxWNmVycDI3TmdoZi85Zi81TnR0OXZWdkhsemQwL3l6Smt6SlVsejVzelJqei8rcUVHREJtbmp4bzE1d3JiTEN5KzhVTWFmSW4rdU05aW1hVjZ3cEFBQUtDTFdTUWFBL0NWS1VrcEtpbVVGSEQ5K1hPbnA2YXBYcjE2dWdKeWZ5Wk1ucTArZlBscTVjcVZNMDh6VmIreHdPTnovYzYyYVlSWFg5Mm16MlJJdExRUUFyb0tRREFENU95RkpjWEZ4bGhYZzZrdHUyN2J0VmNmNitmbHA2TkNoN3ArLy9QTExNcXVySkZ6ZnAybWFKeTB1QlFBS1Jic0ZBT1J2djZTZU1URXg2dEtsaTljUHZudjNibjM4OGNlU3BQNzkrMTkxL0E4Ly9LRC85Ly8rbnd6RFVJc1dMUlFWRmVXK1NjN1ZpaUZKQ1FrSlpWTndFY1hFeExqK3VNL0tPZ0RnYWdqSkFKQy9mWkowK1BCaHJ4L1k0WERvMldlZlZVWkdocnAxNjZhK2Zmc1dPdDQwVGMyY09WT3BxYW1hUG4yNmV2YnNLWWZEb1hmZWVVZVN0SExsU20rVVhTUTV2azlDTW9CeWpaQU1BUG5JeXNyNnhzL1BUenQyN0pCcG1qSU13MnZIN3RTcGszcjA2Q0diemFhWFhub3AzMlBmZE5OTjdzZFBHNGFoMmJObjY4S0ZDMnJXckpra3FWdTNianAvL3J5U2twTDBoei84d2YyNkw3NzR3ckkrYTlNMHRXUEhEa2xTVmxiV3Q1WVVBUUJGNUwzLzZnT0Fqd2tORFQwZ3FlMktGU3ZVc21WTHJ4N2IyOEhjRzJKaVlqUmt5QkFaaG5IQTRYQzB0N29lQUNnTU4rNEJRTUZXUzFKRVJJVFhEMXpSQXJJa2JkaXd3ZlhIMVZiV0FRQkZRVWdHZ0FKa1ptWXVrSlM1ZlBseU16VTExZXB5ZkZwcWFxcVdMVnRtU3NyTXlzcGFZSFU5QUhBMWhHUUFLTUQrL2Z1UFN2b2tPVG5aV0xKa2lkWGwrTFFsUzVZb0pTWEZNQXhqMGQ2OWU0OVpYUThBWEEwaEdRQUtZUmpHVEVscDgrYk4wOEdEQjYwdXh5Y2RPSEJBOCtiTms2UTBtODAyODJyakFhQTg4TE82QUFBb3orTGk0czQzYWRJazNqVE4rM2ZzMktIdTNic3JNRERRNnJKOHh2SGp4elZ1M0RnbEpTWEpNSXluZCsvZXZjbnFtZ0NnS0FqSkFIQVZjWEZ4ZTVvMGFkSXFPVG01UTBSRWhObTJiVnNqT0RqWTZyTEt2WjA3ZDJyTW1ESG0yYk5uRFVtTG82T2pYN2E2SmdBb0trSXlBQlRCelRmZnZEWTlQZjI2eTVjdmQxbTNicDBjRG9lcVZxMHFTYXBaczZiOC9WbDJQaTB0VGJHeHNkcTllN2ZlZU9NTnpaOC9YMmxwYVlacG1oOEZCZ2FPUG5ic21OUHFHZ0dncUNyZUdrTUFVSFlNdTkwKzJ1bDBUalVNbzVIVnhaUjNwbW5HMjJ5MmFRNkhZNDRrMCtwNkFPQmFFSklCNEJyMTZOR2pXbUppNG5DYnpkYlBOTTBiSmJXU1ZOWHF1c3FCTkVsSERNUDR5ZWwwYmdnTURGeTRaY3VXeTFZWEJRQUFnRW9vTkRUVURBME41VXd0QUpRaWxvQURBQUFBUEJDU0FRQUFBQStFWkFBQUFNQURJUmtBQUFEd1FFZ0dBQUFBUEJDU0FRQUFBQStFWkFBQUFNQURJUmtBQUFEd3dCUDNBTUNIdEc3ZHVtcFFVRkJRem0xWldWbHhrdVRuNTljazUvYno1OCtmUDN6NGNKbzM2d09BaXNMZjZnSUFBRVVYRkJRVWxKV1ZkVXI1bk9Sd2hlVXJuRUZCUWNHU2Z2RmFjUUJRZ2RCdUFRQStaTmV1WGI5SStxb0lRNysrTWhZQVVBeUVaQUR3TWFacHJpekNzQlZsWGdnQVZHQ0VaQUR3TVU2bmM5WFZ4bVJsWmEzMlJpMEFVRkVSa2dIQXgremJ0KytrcE8yRkRObDJaUXdBb0pnSXlRRGdnd3pES0xEbG9yQjlBSUNpSVNRRGdBL0t5TWdvTUFoblpHUmN0UjBEQUZBNFFqSUErS0Q5Ky9jZmxiUW5uMTNSVi9ZQkFFcUFrQXdBdml1L3M4bTBXZ0JBS1NBa0E0Q1B5cS8zMkdhekVaSUJvQlFRa2dIQVJ6a2NqdjlKT3VqNjJUQ01BN3QzNy83QndwSUFvTUlnSkFPQUQ4djVZQkduMDhsWlpBQW9KWVJrQVBCdDdtRE0wbThBQUFCQU5pTTBOUFJ3YUdqb1Q1SU1xNHNCZ0lyQzMrb0NBQUFsWWtwYWFSaUdlZVhQQUlCU1FFZ0dBQjluczlsV1ptWm1FcEFCb0JSeGFRNkF6d2dORGUwZzZSdEp0YXl1QlJXZVU5TEE2T2pvZFZZWEFzQWEzTGdId0pjTUZ3RVozbUV6RE9NM1ZoY0J3RHEwV3dEd0ZUYkRNSWFZcHFsRml4YXBmZnYyVnRlREN1akNoUXNLQ3d1VDArbk04dlB6ZTh2cWVnQlloelBKQUh4QzU4NmQ3ekJOTTZSeDQ4WnExNjZkMWVXZ2d0cThlYk9jVHFja2JkcTVjK2M1cStzQllCMUNNZ0NmWUJqR0VFbnEwNmVQRElQYktWQTJvcUtpSkVtR1lYeHFjU2tBTEVaSUJ1QUxiSzZRSEJZV1puVXRxS0F1WExpZ1hidDJTVktXbjUvZmFxdnJBV0F0UWpLQWNvOVdDM2dEclJZQWNpSWtBeWozYUxXQU45QnFBU0FuUWpLQThvNVdDNVE1V2kwQWVDSWtBeWpYYUxXQU4yelpzb1ZXQ3dDNUVKSUJsR3UwV3NBYklpTWpKZEZxQWVCWGhHUUE1Um10RmloenRGb0F5QThoR1VDNVJhc0Z2SUZXQ3dENUlTUURLTGNNd3hncTBXcUJzdVZhMWNJMHplVVdsd0tnSENFa0F5aXZiSVpoREpab3RVRFp1WERoZ25idTNDbEpXVldxVkZsamRUMEF5ZzlDTW9CeWlWWUxlQU90RmdBS1FrZ0dVQzdSYWdGdm9OVUNRRUVJeVFES0kxb3RVT1pvdFFCUUdFSXlnSExIbTYwV1M1Y3UxWU1QUHBobis4R0RCM1gvL2Zmcm80OCtLdkMxbHk5ZjFwdzVjN1JqeDQ2ckh1ZllzV1BhdW5WcnJtMGZmUENCbm4vK2VabW1XZURybm43NmFVMmJOaTNmZlZ1M2J0V3BVNmV1ZW16a2oxWUxBSVVoSkFNb2Q3elphdkh6enorclJvMGF1YmFkUDM5ZXp6Ly92RTZkT3FWLy9ldGYrdjc3Ny9OOTdSZGZmS0cvLy8zdm1qaHhvbjcrK2VjQ2o1R1ZsYVd4WThmcWhSZGVVR3hzckh2NzExOS9yYWlvcUVJLzQ4NmRPN1Z2Mzc1YzJ4SVNFdlRTU3k5cC9Qanhtamh4b3RMVDA0dnlVWXZOYnJmTGJyZnJ3b1VMWlhvY2I2UFZBa0JoL0swdUFBQTgyQXpER0d5YXB2cjA2Vk9tQjVvMWE1YVdMOC9PUjNhN1haSzBhdFVxalI4L1htZk9uTkdVS1ZPMGVQRmlQZjMwMDVveFk0YnV2dnZ1WEs4Zk1HQ0E0dUxpTkdmT0hMMzY2cXVhUDM5K3ZzZng4L1BUNU1tVE5YYnNXTDMrK3V2cTJMR2pUcDQ4cWZqNGVFblNpeSsrbUd2OHl5Ky9ySUNBZ0R6dmMrblNKUzFkdWxRZmYveXhMbDY4cUNaTm11aVBmL3hqdm1OUnVNVEVSRm90QUJTS2tBeWdYTW5aYXRHK2Zmc3lQZFp2ZnZNYnJWeTVVdDI3ZDlkTk45MmtiZHUyNmVHSEg5YWxTNWNrU1RObXpIQ1BIVGR1bkFZT0hLaVhYbm9wMTVuZmtTTkhhdWZPbllxT2p0YkdqUnZWdDIvZmZJL1ZyVnMzalJrelJuMzc5dFhreVpOMTZOQWg5NzZJaUloY1kxOTY2YVU4cjc5NDhhS0dEQm1pK1BoNEJRVUZhZFNvVVJvMmJCZ0J1WmcyYjk1TXF3V0FRaEdTQVpRcjNteTFhTm15cGJLeXNuVCsvSGx0M0xoUmYvLzczelY3OW16ZGZmZmR1bmp4b250Y1FFQ0FUcDgrclRwMTZ1U3B5VEFNZDFEOTZLT1AxS2RQSC9uNStlVWFzMkxGQ2kxWnNrU1N0SGZ2WGkxZXZGaVMxS3RYTDBuU2wxOStLVWthUEhpd2poNDlLbi8vdlA5cHJsbXpwa2FOR3FXTEZ5OXE4T0RCcWxhdFdyNmY2ZXpaczVvMWE1YWlvNk9Wa3BLaW0yKytXVk9tVE5ITk45OWNuSzhvbCszYnQydmV2SGs2ZGVxVU9uWHFwT25UcDZ0aHc0WWxlczhOR3pabzBhSkZPbnIwcUtwVXFhSUpFeWJrMnlOZTJtaTFBSEExaEdRQTVZblhXaTBreWVGd3FHYk5tbXJUcG8yMmI5K3UrdlhyYSszYXRWcTdkcTE3ek5DaFF6VjgrSEE5OHNnam1qQmhRcDczT0hic21Qdkd2ZVBIajJ2MTZ0VWFQSGh3cmpFWExsekkxWXNzU2FtcHFVcE1URlNyVnEzYzI3S3lzaVJsdDJma2JNRTRlL1pzcnA5ZmUrMjFQSFdNSGoxYUlTRWhPbkhpaEg3KytXZjE2OWRQUjQ4ZTFZNGRPL1RTU3krNTIwcEs0b01QUHREZGQ5K3RiZHUyYWRldVhYcnR0ZGYwL3Z2dkYvdjkxcTFicDZsVHA2cHExYXE2OTk1N1pSaEdycitjbEJWYUxRQVVCU0VaUUxuaGFyVm8xS2hSbWJkYVNGSjhmTHd5TXpPMWNlTkdwYWFtNnJQUFBwTWtQZmJZWTVLa1JZc1dhZm55NVJvOGVMQVNFaEowK2ZMbFBPL3g0WWNmeWpSTmhZV0ZLU29xU25QbnpsWC8vdjFWczJaTjk1aVJJMGRxNU1pUjdyNW5TZHF6WjQ4azZjWWJiM1J2UzA5UGQ1K1Z6dG1DY2ZIaXhUd3RHWjZHRFJ1bWtKQVF0VzNiVm9zWEwxWnNiS3dPSHo2c0hUdDI2TWlSSTBwTlRjMXpnK0sxbWpadG1ycDA2YUtZbUJnTkdUSkUyN1p0VTJabVpyNW52b3RpNGNLRmtxUlhYMzNWSzM4cGNzblJhdkVGclJZQUNrSklCbEJ1dUZvdHdzTEN2UElBa2RhdFc2dFhyMTQ2ZE9pUU1qSXlGQlFVSkNrN0hCZkZwazJidEhuelpqVm8wRUN2dnZxcVVsSlN0RzNiTnIzeHhodWFQbjE2b2E5ZHRteVpwT3krYUNuN0xISlNVcEs3amNMaGNFakt2cUd3ZWZQbVdyVnFsU1JweElnUk9uTGtpSll2WDY3cnJyc3V6L3QrK2VXWGV2MzExMldhcHRxMGFlUGVucDZlWHVLUTNMcDFhMGxTU0VpSXUrYTB0TFJpaCtUang0OUxranAzN2x5aXVxNVZqbGFMVDcxNllBQStoU1hnQUpRWDdnZUllT3VzWXNlT0hmWG9vNCtxZGV2V3FsR2podXJYcnk5SkdqNTh1SVlQSDE3b2EyTmlZdHpyRi8vNXozOVdRRUNBSms2Y3FJQ0FBSzFmdjE0clZxd284TFdmZlBLSnZ2bm1HelZxMUVoMzNYV1hIbmpnQWQxMzMzMUtUVTFWMDZaTkN6M3VNODg4bytUa1pQM2xMMzlSY25KeW52MXZ2dm1tVWxKU3RHalJJczJhTmVzcTM4QzFPWG55cEtUc05hUWxxVTZkT3JuT21GK3JldlhxU1pLKysrNjdraGRYUkxSYUFDZ3FRaktBY3FGVHAwNTNlclBWUXBMbXo1K3ZQL3poRC9yaWl5OTA1c3daZmZIRkY1S3kyd0JjclFENU9YYnNtSjU1NWhsZHZIaFJQWHIwMEwzMzNpdEphdEdpaFo1NjZpbEoyY3ZMNVd5UmNBWE16TXhNeGNYRnlXYXphZXJVcVFvTURGU3RXcldVa0pDZ2hnMGJhc3lZTVFVZU56VTFWZWZPbmRPQUFRUDAvZmZmYS9qdzRkcTdkMit1TVZmYUNQVGhoeC9tNmFHK2ZQbXlKaytlck8zYnR4ZnhHOHB0OHVUSmV1dXR0L1RDQ3k5SWtoNTY2S0VTdmUrUUlVTWtaYS9tTVdQR0RMM3l5aXZ1bXhyTENxMFdBSXFLa0F5Z1hMRFpiRU1rNzdWYXVJNDFZOFlNOWVqUlE4SEJ3WHI4OGNjbFNUTm56dFNycjc0cVNmcjg4ODl6OVNKdjM3NWRqei8rdU02Y09hTldyVnE1eDduODhZOS9WTmV1WGVWME92WFNTeTlweVpJbGlvbUowWWdSSXlSbGgrV2twQ1JObVRKRnQ5OSt1eVJweVpJbDJybHpwelpzMktBNzc3eFRtWm1aa3VSZVJ6a3hNVkVUSmt4UTc5Njk5Znp6eit1Wlo1N1JmZmZkcDJQSGptbmt5SkVhUFhxMFltSmlKRWtUSmt4UW5UcDF0SGZ2WGozd3dBTzVhdnZ1dSsrMGRldFdqUjA3VmhzMmJMam03K3ZlZSsvVit2WHJkZkhpUlEwZE9sVFBQUE5NaWQ3MzhjY2YxN1BQUHF2QXdFQ3RXYk5HMzM3N2JZbFh5N2dhV2kwQUZKVjNmaE1CUU9Gc2RyczkxalROa0lVTEYrcldXMi8xNnNIZmZ2dHRmZnZ0dDFxMWFwWHNkcnU2ZE9taVhidDJxVnExYW1yVHBvMzdiTzI4ZWZOMDh1UkpUWnMyVFMxYXRORGYvdlkzTldyVUtNLzdKU1VsYWNTSUVUcDc5cXptejUrdjc3NzdUdE9uVDlkdHQ5Mm1vMGVQNnR5NTdCT1lOdHV2NXlsTTAzUS9udm8zdi9tTjNuLy9mVVZFUkxoWHRhaFpzNlo2OXV5cG5qMTc2dTY3NzViTlp0UHk1Y3YxNFljZnFuSGp4bHE4ZUhHUjFremV0bTJieG84ZkwzOS9mNjFkdTFaMTY5WXQ4ZmRYbHU5Ym1oSVRFOVduVHg4NW5jNHNmMy8vUnB4SkJsQVlidHdEWURrcldpMXlhdE9talh0dDQvNzkrK3V1dSs1UysvYnQxYmx6WjFXclZrM0hqaDFUY0hDdysvSE1OcHROZDk5OXQrclVxWlB2KzlXcFUwZC8rOXZmZE9MRUNiVnExVXIxNjlmWCt2WHI5Zjc3Nyt2Q2hRdGF0R2lSRGh3NG9OVFVWRG1kVGptZFRuZEFsdVIrSUVtL2Z2MjBiZHMyM1g3NzdRb1BEODhUZ29jT0hhcStmZnNxSlNXbHlBOFY2ZHExcTk1OTkxMEZCQVNVYXBBdHEvY3RUYlJhQUxnV25Fa0dZTG5RME5EM0pEMzM4TU1QYS96NDhWYVhVeVpLc2xRYVNzZWYvdlFuYmR1MlRhWnBqdHl6Wjg4Q3Erc0JVTDdSa3d6QWF1NVZMY0xDd3F5dXBjd1FrSzJWbUpqb2V1Z0xxMW9BS0JKQ01nQkxXZDFxZ2NxQlZnc0ExNHFRRE1CU3JsVXQrdlRwNDdWVkxWRDV1SmIzWTFVTEFFVkZTQVpncFVyUmFnRnIwV29Cb0RnSXlRQXNRNnNGdklGV0N3REZRVWdHWUJsYUxlQU50Rm9BS0E1Q01nQ3IyQ1M1UXpKUUZoSVRFN1Z6NTA1SnlxVFZBc0MxSUNRRHNFU25UcDN1bEJSTXF3WEswdWJObTVXVmxTVkptMmkxQUhBdENNa0FMSkd6MVNMbjQ1bUIwa1NyQllEaTRqY1RBQ3ZRYW9FeWw1U1VSS3NGZ0dJakpBUHdPbG90NEEyMFdnQW9DVUl5QUsrajFRTGVFQlVWSllsV0N3REZ3MjhuQU41R3F3WEtISzBXQUVxS2tBekFxMmkxZ0RmUWFnR2dwQWpKQUx5S1ZndDRBNjBXQUVxS1Ixd0I4Q3E3M1g3Y05NMFFxK3RBcFpEcDcrL2ZtRFBKQUlxRDB6Z0F2TXJwZEI2MnVnWlVEcVpwL291QURBQUFVRW1GaG9hYW9hR2hwdFYxQUVCRndwbGtBQUFBd0FNaEdRQUFBUEJBU0FZQUFBQThFSklCQUFBQUQ0UmtBQUFBd0FNaEdRQUFBUEJBU0FZQUFBQThFSklCQUFBQUQ0UmtBQUFBd0FNaEdRQUFBUEJBU0FZQUFBQThFSklCQUFBQUQ0UmtBQUFBd0lOaGRRRUFnS0xyMEtGRGlMKy8vNHNlbTUrNjhzKzVPVGRtWm1hK3RuLy8vaFBlcVF3QUtoWkNNZ0Q0a0NGRGh2Z2RQbno0cEdFWWpRb2JaNXBtZk92V3JZTS8vZlRUTEcvVkJnQVZpWi9WQlFBQWl1N2d3WU5tY0hCd0swbTNYV1hvUHpkdDJyVE9HelVCUUVWRVR6SUErQmluMDdteUNNT0tNZ1lBVUFCQ01nRDRHSnZOdHRVMHpZUkNocHdMREF6YzZyV0NBS0FDSWlRRGdJOXhPQndaaG1IOHA1QWgvOW15WlV1bTF3b0NnQXFJa0F3QVBzZ3dqQUxiS1d3Mkc2MFdBRkJDaEdRQThFR0ppWWxmU0VyS1oxZlNoUXNYTm5tN0hnQ29hQWpKQU9DRERoOCtuR2FhWm42clY2dzlmUGh3bXRjTEFvQUtocEFNQUQ2cWdKWUxXaTBBb0JRUWtnSEFSeG1Hc1VGU2FvNU5xWVpoYkxTcUhnQ29TQWpKQU9DakhBNUhxcVFJMTgrR1lheS9zZzBBVUVLRVpBRHdZYVpwdXRzcml2aVFFUUJBRVJDU0FjQ0hCUVFFZk83NmM0MGFOVDR2YkN3QUFBQlFhWVNHaHE0TkRRMzl6T282QUtBaThiZTZBQUJBaWEwMERNTzB1Z2dBcUVnTXF3c0FBQlNMRVJvYWVvZWtZWktldTdMdC93ekRXT3B3T0haS0lqUURRQWtRa2dIQWR4aWhvYUdoeWc3R1F5VTFMMkRjTVVuTERjTlk1bkE0OW9qQURBRFhqSkFNQU9XYlliZmIyNXVtT1V6WjRiaTFhMGU5ZXZVVUZoYW1QbjM2eURBTVJVVkZLU29xU2drSkNUbGZmMWpTc2l1QitYc1JtQUdnU0FqSkFGQU8yZTMyTmptQzhTMnU3WUdCZ2VyVHA0L0N3OE1WR2hvcW15MzNJa1ZPcDFNT2gwT1JrWkhhdEdtVEVoTVRjKzQrcEY4RDgvKzg4VGtBd0ZjUmtnR2duT2pTcGNzTlRxZHptR21hdjVQVXdiVzlkdTNhNnRtenA4TER3OVdsU3hmNSt4ZnRudXZNekV6dDJyVkxrWkdSMnJ4NXM1S1RrM1B1M21jWXhqS2J6YlpzMTY1ZE1hWDdTUURBOXhHU0FjQkNkcnU5bWFTaFY4NGEzK2JhWHFOR0RmWG8wVVBoNGVHNjg4NDdWYVZLbFJJZEp6MDlYZHUzYjFka1pLUzJidDJxMU5SY0QrYmJiUmpHTWtuTEhRN0h6eVU2RUFCVUVJUmt3QWVacGxuc3ZsTERNSmozRnV2Y3VYTlRtODAyNUVvdzd1cmFYcTFhTlhYdjNsM2g0ZUhxMXEyYnFsYXRXaWJIVDB0TDB6ZmZmS1BJeUVoOTlkVlhTa3RMeTduNzJ5dUIrVk9Id3hGWEpnV2dXSmozZ0hjeGFRQWZ4QzlMMzlPaFE0ZnJxbFNwOHRzcndmaHVYZm52YjBCQWdMcDE2NmJ3OEhCMTc5NWQxYXRYOTJwZGx5NWQwdGRmZjYzSXlFaDk4ODAzU2s5UGQrMHlKWDFsR01heWpJeU1sZnYzN3ovdDFjS1FCL01lOEM0bURlQ0QrR1hwRzdwMjdWb3ZQVDE5MEpWZzNFdVNUWkw4L2YzVnRXdFhoWWVINjU1NzdsSE5tald0TGZTS2l4Y3Zhc3VXTFlxTWpOVDI3ZHVWbVpucDJwVWxhYk5oR01zQ0FnSldiZHUyTGFHUXQwRVpZZDREM3NXa0FYeFF6bCtXSzFhc3VPcjRPblhxS0R3OFhCSy9MTXVhM1c0UGxQVGdsV0FjcGl0UE5yWFpiTHI5OXRzVkhoNnVuajE3cWs2ZE9wYldlVFZKU1VuYXZIbXpJaU1qdFhQblRqbWRUdGV1VE5NMEl5VXRzOWxzLzNFNEhJbUZ2QTFLa1d2ZXo1NDl1OGl2Q1E0TzFxQkJnNWozUURFd2FRQWZsRE1rMiszMnE0NXYzcnk1VnExYUpZbVFYQmJhdFd0WEt5QWc0SDZielRiTU5NMytrZ0lreVRBTTJlMTJoWWVIcTFldlhnb0tDcks0MHVJNWYvNjh2dnp5UzIzY3VGSFIwZEhLOGE5ZnVtRVlFVTZuYzFsNmV2cmFBd2NPcEZoWlowWG5tdmRGbWZNdWRydGQ4K2JOWTk0RHhjQ2tBWHlRWjBnT0NRblJ2SG56OGgxNzc3MzNFcExMUU5ldVhhdGZ2bno1dml2QitENUo3bWJpamgwN0tqdzhYSDM2OUZHREJnMHNyTEwwblQxN1ZsOTg4WVVpSXlPMWI5KytuTHN1U1Zwbm11YXlhdFdxcmQrMmJkc2xpMHFzc1BKcnR6Qk5VM1BuenRYZi8vNTNCUVlHYXVYS2xmbitaWXg1RDF3N0pnM2dnemlUYkkzV3JWdFhyVjI3ZGw5Snd3ekRlRUJTTGRlK2R1M2FLVHc4WEdGaFlXclVxSkYxUlhwUmZIeThvcUtpRkJrWnFRTUhEdVRjbFdLYTVtZVNsaVVuSjI4OGZQaHdXZ0Z2Z1d2Z0daTFBuRG1qNmRPbjY1dHZ2cEVrUGYvODg3cjExbHQxOU9oUmhZZUg1M3JRRFBNZStQL3MzWGxZVkdYL0J2RDdESXVBaW9DaWxocXZpYmtuekxoa211STJHbVVTaWFpdmI5bGlWb1p0dnhhM3pEY1Q2OVhNcmNXczBOekZOUzBkVVRGUlFCbkFCWmVTRkV3VVFYWkJZV2JPNzQ5aFRqUERJS0RDek9EOXVTNnZtUE9jT2ZNZGJXWnVudm1lNTlRY1h6UkVkc2c4Skh0NWVXSFNwRWtXOXcwUEQyZEl2Z3NLaGNKSnA5TU5nVDRZQndGb1loanIwS0dERkl4YnRXcGx2U0p0d09YTGw2WEFmTzdjT2VPaGZGRVV0d21Dc0Y0UWhIMXF0YnJNV2pYYU84UHJ2cWlvQ092WHI4ZktsU3RSWEZ3TUx5OHY1T1Rrd01mSEIyM2F0RUZNVEF4OGZIenc2cXV2WXRpd1lSQUVnYTk3b2p2QUZ3MlJIZUpNY3UwS0NBaHd6TS9QSHlBSVFxZ29pczhKZ3VCbEdHdlhycDBVakgxOGZLeFpwczFLUzB1VEFuTnFhcXJ4MEhVQVcwUlIzT0RyNnh1OWFkTW1yWlZLdEV1aUtJcHF0UnB2dmZVV1NrcEs0T0xpZ3RHalIrT2xsMTVDUUVBQWZIeDg4TTAzMzJEdDJyWFlzbVVMaW91TDhjZ2pqMkRkdW5WODNSUGRBYjVvaU95UUtJcGlRa0lDVHAwNlZhUDdUWmd3Z1IrV2xaUDUrL3YzRXdRaEZNQW9BTTBOQXo0K1BoZzZkQ2lVU2lYYXRXdG52UXJ0VUdwcUtsUXFGZmJ1M1l1MHREVGpvV3NBSWtWUjNKQ1VsQlFEUUdmNUNHUWdpcUtZbjUrUFYxNTVCWUdCZ1FnT0RrYVRKdm92TmhRS2hja3Z3N201dVlpSWlFQitmajQrK2VRVHZ1Nko3Z0JmTkVSMlNCUkZjZUhDaFZpOWVuV043cWRXcS9saGFVcnc5L2QvckR3WWh3QjQwRER3NElNUFFxbFVRcWxVNHBGSEhnSC8ydTZPS0lyNDQ0OC9vRktwb0ZLcGtKR1JZVHljQVdBVGdQV0ppWW54MEYvSWhNendHeVNpdXNVWERaRWRNdjZ3aklpSVFHeHNMS1pObXdZZkh4OG9GQXEwYU5FQ00yYk1NTG1QbjNwVGpwY0FBQ0FBU1VSQlZKOGYzTnpjK0dFSkNISzVYQTRndFB6UFE0YUJGaTFhU0RQR25UdDNaakN1SmFJbzR2VHAwOUlNYzJabXB2RndHb0NOQURZa0ppWW1nb0ZaWWg2UzNkM2RFUndjYkhIZmlJZ0lobVNpdThRWERaRWRNbnhZbHBhV0lpZ29DSm1abWRpK2ZUdGF0MjVkNlF6VHhvMGIwYTVkdS92MXcxS1F5K1hkOEU4d2xub21talp0S2dYamJ0MjZtYXdJUUxWUHA5UGh4SWtUVW1ET3lURzVtTjk1L0JPWVQrSStEOHptSWRrNEJKc3pINzlQWC9kRWQ4WFIyZ1VRMFoxYnNXS0ZOQXYzeGh0djRKVlhYZ0dnYnhWWXNHQUJIQndjQU9pRGlLMWY0YTAyeU9YeVR2Z25HSGMwYlBmdzhNRGd3WU9oVkNvaGw4c1pqSzFJSnBQQno4OFBmbjUrK0wvLyt6OGtKaVpDcFZKaDM3NTl5TXZMOHdVd0RjQTB1VngrQnNBR1FSQTJxTlhxczFZdTJ5Yms1ZVhoNjYrL3RuWVpSUFVXZjdNa3NrT2lLSXBIang3RjVNbVQ0ZUhoZ2JsejUyTHAwcVczUFpIdm9ZY2V3dGF0Vyt2OWpKSkNvV2hYZmtub1VBQ1BHclkzYnR3WWd3WU5nbEtwUk0rZVBhVmZJTWcyYVRRYUpDUWtZTStlUFRodzRBQUtDd3VOaDAvZ244Q2NXc2toNmgzMkpCUFZMYjVvaU95UXFJZDE2OWFoUzVjdTZONjlPd0RneXBVclNFMU5SVkZSRWNyS3lxRFZhcUhSYUFBQWJkcTBRZS9ldmV2bGg2Vy92NytQSUFpam9RL0dVbnB3YzNQRHdJRURvVlFxMGJ0M2J6ZzVPVm12U0xwalpXVmxpSXVMZzBxbFFuUjBOSXFMaTQySEV3UkIyQUJnbzFxdFRyZFNpWFhDT0NSLzhNRUg4UGIyeHZ2dnYyOXhYL1B4K3ZpNko2cHRmTkVRMlNGTGw2ZXRydnJ5WWVudjcvK2dUQ1lMS1o4MTdtUFk3dUxpZ3Y3OSswT3BWS0p2Mzc1d2RuYTJZcFgzRDQxR0EwZkgydS9nS3kwdHhlSERoNkZTcWZENzc3L2o1czJieHNPeGdpQnMwT2wwbTVLU2tqSXFPNGE5NHV1ZXFHN3hSVU5raCs3WEQ4dEhIMzIwdVpPVDA2anlZUHdFeXQvRG5KMmQwYTlmUHlpVlN2VHIxdyt1cnE2MVhzdVJJMGN3Zi81ODlPelpFNisvL3JySldKTW1UV3E4TXNhMWE5Y1FGUldGY2VQR1Nkc2lJeU9ydkorN3V6dVVTaVVBWU1tU0pkVit2RmF0V2xXNk1nSUFMRnEwQ0RrNU9aZzllelppWW1MUXFsVXJ0RzNidHNKKzU4NmR3NXc1YytEajQ0TTVjK1pVKy9IdmhaS1NFc1RFeEdEUG5qMDRmUGd3U2t0TERVTWlnRU9DSUd3b0t5dUxQSEhpeExVNkxheVczSyt2ZXlKcjRZdUdpR3hhcjE2OW1tbzBtbURvV3lrR0FwQUJnS09qSS9yMDZRT2xVb2tCQXdhZ1ljT0dOVDcyZ2dVTGNPREFnV3J0dTNQblR1bm53c0pDakJzM3pueXRYMGwwZERRYU4yNE1RRC96MmFkUEg0djdBZnExcTlQUzBqQmx5aFJjdlhvVlAvNzRJN3AwNlFLZzVuMm4xZG5mUUtGUVlQbnk1WldPQndjSEl5MHREWHYyN01IWXNXUGg0dUtDMWF0WFN4ZXZNQ2dvS0VCd2NEQnljM094ZHUxYWRPalE0YmFQbTVLU2dxKysrZ29wS1Nsd2NIQ0FRcUhBUng5OWhKWXRXMWE3ZGt0dTNMaUJnd2NQUXFWU0lUWTJWbW96Z3Y0aUpmc0ZRZGpnN095OEpUWTJOdWMyaHlFaWtuQjFDeUt5T1FxRm9nbUFJRkVVUXpVYXpWQ1V2MWZKWkRMMDd0MGJTcVVTQVFFQmQ3MWlSMjV1THE1Y3VWS2orMmkxV2t5ZlBoMFpHUmtZTldvVSt2WHJCd0M0Y09FQ0ZpMWFCRzl2YjVPWmJBY0hCMHlZTUVGYXQzYmd3SUdJaUlpQXU3czdnb0tDc0huelpuejExVmZRYXJYNDhzc3ZwWUJzMExwMTYwckRiR0Jnb01sdHRWb3QvU3lLSXI3NzdqdDgvLzMzYU5La0NUWnYzZ3hQVDg4S3gxaTdkaTJ1WDc5ZVlYdEJRWUUwM3I1OWU2U25wMlBmdm4wNGRPaVErWlh6VUZwYUNsZFhWMHlkT3JYQ2NjeVhLSXVOalVWU1VoSmF0bXlKbkp3Y0hEcDBDQVVGQmZqeHh4OHRQc2ZxYXRpd0lRSURBeEVZR0lpQ2dnSkVSMGREcFZJaFBqNWVwdFBwaG9paU9PVFdyVnZmeU9YeXZlVTl6TnZVYW5YK1hUMG9FZFZybkVrbUlwdlFwVXVYUmk0dUxzK1V0MUlNQitBTTZJT3hYQzdIc0dIRE1HalFJSGg0ZUZpdHh0TFNVc3ljT1JOUlVWRndjSERBaXkrK0tKME11SC8vZnB3N2R3NjllL2VHWEM2SGg0Y0hSbzBhSmQxWG9WQmc4T0RCK09LTEw2UTFiSmN1WFlxUWtCQTBhOVlNNGVIaDZOU3BrMG1iUmsxbmtnMnlzckx3NmFlZjR2RGh3d0NBcVZPbm9sdTNicmh3NFFLVVNxWEprbmVqUjQ5R2FtcjFGb2pvMWFzWHJsKy9YdTM5QWRQZ0RnRHg4ZkZvM2JvMVdyVnFoVXVYTGlFb0tBaE9UazZJaTR1cjlqRnJJamMzRi92Mzc0ZEtwWUphcllaUngwSXBnTjJpS0s0dkxTMzlKU1VscGFoV0NpQWl1OFdaWkNLeUdvVkM0YWJUNlFKbE1sbW9LSXBQaTZMb1loano4L09EVXFuRWtDRkQwTFJwVTJ1V0tUbDI3SmpVbnFIVmFyRml4WW9LKzhUSHh5TStQaDQrUGo0bUlkbVNCeDk4RU9IaDRWQW9GTWpMeThPWU1XTXdkZXBVK1BuNVNmdDRlWGxoMHFSSkZ1OGZIaDV1Y3J1b3FBanIxNi9IeXBVclVWeGNEQzh2TCtUazVHRHQyclZvMDZZTlltSmlzSHo1Y3J6NjZxc1lObXlZU1NBL2V2U295Yko0WVdGaE9ITGtDQTRjT0lEUzBsSm90VnEwYU5FQ2dMNWxZdVBHalhqcHBaZmc0K05qVXNPRkN4Znc5ZGRmWThTSUVlamZ2MytGbW52MzdpMzlyTlBwQU9obnkydUxwNmNubm52dU9UejMzSE80ZnYwNm9xS2lvRktwa0p5YzdBemdHVUVRbm1uUW9FR0pRcUhZcGRQcE5zaGtzbC9WYW5WeGxRY21vbnFQSVptb0NuSzUvQXNBdmFILzVrVUFBRkVVaGZJVFlRd3BRd0FnaUtJb0FOSkpNaFhHRFNmUGxPOW5NaTRJZ25SL296SHBlRWIzdWV2ajNXbjk5L0EyUkZHTUZVV3hqeUFJMHV4ZTE2NWRwV0JzQ0dTMTdYWW5yeG1FaG9ZaU5EUVVmZnYyeGM4Ly80eHg0OGFoVFpzMmlJaUlBQUFNSGp5NHdtMkQ2T2hvbkR4NUVnQncvdng1NmVTNjNOeGNMRm15QkdGaFlUaDM3aHplZXVzdDVPYm1JanM3MitTeGMzSnlLb1JoUzlScU5kNTY2eTJVbEpUQXhjVUZ6ei8vUEY1NjZTVUVCQVFBQUtaTm00YTFhOWRpeTVZdG1ENTlPbGF1WEduUzRyQnMyVElwTkRkcTFFanFQUzRxS3NLS0ZTdXdhOWN1ckZxMUNoMDZkTURGaXhleGMrZE9PRG82WXViTW1TWjFiTnEwQ2Z2MzcwZW5UcDBzaG1RRHc2eThJQWg0N2JYWHFueCs5MExUcGsybGY4dk16RXpzM2JzWEtwVUtLU2twcnFJb2poSUVZWlFvaXZEMzkxOGdDTUo3Um5jVjhjL1Yva1N6UDNlMHpYQVNuaUFJRmZZVDlTL1FDdmZWdjZURkNzY3oybTd5R09YSGdORjlwUHVhSGF2S3g3aURtck9jbkp4ZWlvK1BMN2p0UHdxUkRXTklKcXBhaFlWSUt6dFJ2S29UeUc5M2N2cWRqTjNwOGU2MC9udEpFSVR1eHJjVkNnVmVlT0VGOU83ZHUwNldFak13NzYrMUpDOHZUL3JaY0dMYXBVdVhUTUt3K1cyREkwZU9ZUFBtemRKakdZSjBRVUVCSWlJaTRPM3RqY1dMRjBNVVJjeWZQeDlQUFBFRUVoSVNjT3JVS1lTRmhWWHJPVVJFUk9EWlo1L0ZBdzg4Z01EQVFBUUhCMWM0d2E1Rml4WjQ1NTEzcFA3by9QeDhrOTdwbFN0WFNqKzNhdFVLUTRZTUFhQ2ZHZCs1Y3ljNmRlb2tQWGVsVW9uRml4ZGoxNjVkZU8yMTErRHQ3UTBBS0M0dXhzNmRPK0htNW9hUWtKRGIxdnp6eno4akpTVUY3N3p6anZSWWRhbEZpeFlZTTJZTTJyWnRpNGlJQ0NRbUprcGpnaUM4WUxhN3lTOTQ5OEx0WG11VmpkWDBmZUJldjZmVXRHYXRWcnNVUUhTbGR5S3ljUXpKUk5Va2ltSUFqR1puQkVFUUJVRVFOUnFOeVczamNZMUdVMkYvdzIzRG1QbDRXVm1aQ0FBeW1hekNlRmxabVhUYk1DNlR5VVFBdUhYcmxtallaaGlYeVdUaXJWdTNwUHNidGhtUGw1U1VpQURnNE9BZ3ltUXkwY0hCUWJwZFZGUmtjdHZSMFZGMGRIUVVBU0F2TDA5MGNIQVFuWnljUkFCd2RuWVdHelJvSVA3OTk5OGlBRFJvMEVCMGNYRVJHemR1TEFLQXQ3ZTN1R25USm1ubXljL1B6OGZCd1NGTUZFVWxnSzVxdFJwcXRScnU3dTdTbGZGNjlPaFI2MWZHTSsrWnJZcFdxd1dnRDFrelpzd0FvRzlOTUw5dE1HM2FORXllUEJtREJnMUNVRkFRWnM2Y0tmVWtmL3Z0dHdnS0NrTFRwazB4Yjk0OGFZbTFRNGNPWWZYcTFUV3FhOEtFQ2RpMGFSTVVDZ1dXTGwxcU1wYVdsbWJTMzJ6Y3gyeFlaemdoSVFFNm5RNjlldldDaTR1TDFBS3hZTUVDaUtKb2N0RUtKeWNuQkFjSFkvbnk1ZGk4ZWJNMEU3eGp4dzdjdUhFRC8vblBmNlRWUFNweit2UnBORy9lSE9QSGo2L1I4N3hiV3EwV0NRa0pVS2xVMkw5L3YzU0NZcmxUZ2lDb3RGcnRrdVRrNUlzb0Q4Y2hJU0VDQUdSbFpRbUZoWVhDelpzM2hWdTNiZ2tBMExwMWErSFdyVnRDYVdtcFVGWldKcFEvaHVEaDRTRm9OQnBCbzlGSTI3UmFyZENvVVNOQnE5VksyM1E2bmFEVmFnVlhWMWNCQUhRNm5XRDhCOUIvODlPZ1FZTUsyM1E2bmJUZGVKc29pb0tUazVPMHpmREhzSitUazVOZ3ZOMnduNk9qWTRWdHh0dk5qK2ZvNkZoaEcvUmZSRVhYeWo4ZVVSMWpTQ2FxcHFTa3BJUFdycUUrS1E4aDd3RkE5KzdkdThoa3NsQ1pUQlphVUZEd3lMWnQyN0J0MnpaNGVYbEpnZG5mMzkva2hETnJ5YzNOQmFDZmNUT2VZZFpxdFNhM2phV242eThFMTZ4Wk01UHR6WnMzeDl5NWN5R1h5NUdibTR1UkkwZGl6Smd4ZU9lZGQvRE9PKzhnSWlJQ3NiR3htRFp0R254OGZLQlFLRXpDdUlGeER6T2dYenU1c2pZU3cweTI4Zk54YzNPRElBaTRldlVxQVAxS0VSMDdkZ1NnWDR0NDdOaXh1SHIxS3J5OXZhVTJtS2VmZmhyZmYvODl0bTNiaG9rVEowS3IxV0xseXBWbzBLQUJubi8rK1VyLy9neGVmLzExM0xwMXE4cjk3Z1dkVG9la3BDU29WQ3JzMjdkUCtqY3NkMDRVeFEwQU5pUWxKWjAydTZzSVFOeTBhVk9seHo1Ly92eTlMOWpPeWVYeWd3QUdXTHNPb3J2RmtFeEVWbmY4K1BFVUFCOERtT1huNTlkZEVJUlFtVXdXbXBPVDB6WXlNaEtSa1pIdzl2YkdrQ0ZEb0ZRcTBhMWJ0enB0RFRGbTZDKytkdTJhU1Q5dWRuWjJoZjVjQThNcUU1WXV4aEVRRUlBVEowN2czWGZmUlVGQkFYeDlmUUhvZTNZM2J0eUl6TXhNazluMHpNek1DbTBZR3pkdVJMdDI3YVRibnA2ZWxiWnFHSWZrakl3TUZCY1hvMjNidHBnNGNhSVUrTnEwYVlPREIvVy9FN3E0dUdES2xDbDQrZVdYa1pXVmhkMjdkd1BRdDJRTUhqd1lYbDVldUhIakJ2YnMyWU5yMTY3aDMvLytON3k4dkN3K3RyRUZDeGJnMnJWcldMTm1EVnhjWEtyY3Y2WkVVY1RKa3lleFo4OGVSRVZGbWZSNkM0SndRYWZUYlJCRmNVTnljdkp4L05OL1MwUWtZVWdtSWxzaUppY25Kd05JQmpETno4K3ZoNE9Ed3hnQW83T3lzbHF2VzdjTzY5YXRROHVXTFRGMDZGQW9sY29LeTZaVlYzeDhQTjU0NDQwYTNVZXRWc013cS9qS0s2OUlWOW96dEU5czJyUUpOMjdjd01DQkE2V2E4dlB6c1hIalJnQ0F2NysveWZIS3lzcXdhdFVxTEYrK0hES1pERjk4OFFVR0ROQlB3SzFZc1FLWm1aa0FnRGZlZUFPdnZQSUtBUDJLR0FzV0xKQ0NzMDZucTdCZWRGNWVIcjcrK3VzcW4wOU1UQXdBNEpGSEhrRlpXUmxLU2tyUXZuMTdlSGw1U1N0MzNMeDVFN0d4c2JoNDhTSzZkT2xpY1lZNlBqNGVXVmxaQUlDb3FDanB1QUR3MGtzdjRlbW5uNjV3bit6c2JPVGw1UmxmOU9PdWlhS0lNMmZPUUtWU1llL2V2ZExNZUxsTG9paHVMQS9HQ1dBd0pxSXFNQ1FUa2EwU2s1T1Rqd0U0QnVEOUhqMTY5QkZGTVZRVXhaQ3JWNisyL1Bubm4vSHp6eitqZGV2V1VDcVZVQ3FWOFBYMXJYWmdidENnQVpvM2IxNmpndjc2Nnk4a0pTWEIyZGtaUVVGQkZjYW5UcDJLZmZ2MkFZQjBCYm10VzdjaVB6OWZhcFV3Tm4vK2ZFUkdScUpseTViNC9QUFAwYlZyVndENjVkaCsrdWtuZUhsNVllN2N1Vmk2ZENsbXo1NE5RRC83TzNic1dKUGpQUFRRUTlpNmRhdDBPejgvSHovODhFT1Z6K2ZRb1VNQWdMNTkrK0twcDU0Q29EOEJNVGc0R0RLWkRMTm16Y0xjdVhQeDdydnZBZ0I2OU9pQmI3NzU1cmJITkFSN0E3T2VYOG1hTld1ZzFXcnYraExpb2lqaXp6Ly9sSUx4MzMvL2JUeDhWUkNFVFZxdGRuMXljbkljOUZmZkl5S3FGbDVNaEtnS2NybGNCSURFeEVTK1hteEFTRWlJdzRVTEY1NG9EOHlqQUVpTnZ2LzYxNytrd0d5cHRlRmVPSDc4T0M1ZnZteHl0YnVJaUFnMGFkSUVIaDRlaUltSlFhTkdqUkFTRWlLZC9CWVJFWUVlUFhwSUlYakdqQm53OXZaR2NIQXdWcTllalRmZmZOUGtSRGRSRkxGdTNUcDA2ZElGM2J2ckZ3RzVjdVVLVWxOVFVWUlVoTEt5TW1pMVdta1d0azJiTnRMNnd4OTg4QUc4dmIxTlRyUXpaanhlVUZDQTJiTm5Jenc4SE03T3p0SSthOWFzZ2F1cks0S0RneEViRzR2NTgrZkQzZDBkWDM3NXBjV3I5bG5EaFFzWG9GS3BvRktwY1BIaVJlT2hiRUVRSWdWQjJOQzJiZHREbXpadDBscXB4UHVXWEM2UEJqQkFKcE1OVEVoSWlMWnlPVVIzakIvNlJGVmdTTFpkQVFFQmprVkZSUU4xT3QwWUFNRUFwTXZ4K2ZyNll0aXdZVkFxbGJWNnNRcXFPNWN1WFpLQ3Nka0pjN21DSUd3UkJHRkRvMGFORGtSSFI5KzdIZzZxTVlaa3FpLzRvVTlVQllaays5Q2xTeGRuRnhlWG9lV1h0UTRDSUUzTmR1clVDVXFsRWtPSERzVUREenhndlNLcHhqSXlNcVNMZnB3OWU5WjRxQkRBTnBsTXRyNmtwQ1FxSlNXbDFFb2xraG1HWktvdjJKTk1SUFZDZVVqYUJXQlhRRUNBUzJGaDRmRHl3UHpNbVRObjNNNmNPWU5GaXhhaFc3ZHUwbFg5YXRxVFRIWGoyclZyMHVXakRhdUpsQ3NHc0VNUWhBMk5HemZlSFIwZGZkTktKUkxSZllBelkwUlY0RXl5Zlh2MDBVY2JPam82UGdVZ0ZFQWdBQmRBZjRVd1B6OC9EQnMyVEZyS2pLd25KeWRIQ3NiSnljbkdWMzY3Q2VCWFFSRFdBOWlsVnF1THJWY2xWUWRua3FtKzRJYytVUlVZa3V1UHZuMzdOaTRwS1hrRytzQThISUFUQU1oa012VG8wUU5LcFJLREJnMnFjRWxucWgzNStmbll2MzgvVkNxVmRNVy9jbVVBZGdQWTRPcnF1dVB3NGNPRjFxdVNhb29obWVvTGZ1Z1RWWUVodVg3cTFxMmJwNU9UVXhEMGdYa0lBQWNBY0hCd1FPL2V2YUZVS2hFUUVGRGw1WldwWmdvTEN4RWRIUTJWU29YNCtIanBNdDhBdEFEMkF0aWcwK20ySlNjblc3NThJZGs4aG1TcUw5aVRURVQzcFpNblQrWUMrQW5BVHdxRm9wa29pc0VBUXJWYWJjQ1JJMGRrUjQ0Y2daT1RFeDUvL0hFb2xVcjA3OThmYm01dVZxN2FQaFVYRitQMzMzL0huajE3RUJzYmk3S3lNc09RRGtBMGdBMkNJR3hScTlYWmxSNkVpS2lPTVNRVDBYMnZQSnd0QjdDOFo4K2VMYlZhN1hNQVFzdkt5cDQ0ZVBBZ0RoNDhDR2RuWnp6eHhCTlFLcFhvMTY5ZnJWeEt1VDY1ZWZNbVltSmlvRktwY09qUUlaU1dTb3RQaUFCaUFHeHdjbktLakkrUHo2ejhLRVJFMXNPUVRFUms1Tml4WTFjQkxBT3c3TkZISDIzdDZPZ1lBaUMwdExTMDk3NTkrN0J2M3o2NHVycWlmLy8rVUNxVmVQenh4MDB1eEhFL0t5MHR4WkVqUjZCU3FmRDc3NytqcEtURWVEZ093QWF0VnJ2cCtQSGpsNjFVSWhGUnRURWtFeEZWNHNTSkUzOERXQWhnb1orZjM3OWtNdGxvQUtFbEpTWHlQWHYyWU0rZVBXallzQ0VHRGh3SXBWS0pYcjE2d2NuSnljcFYxNjJ5c2pJY1BYb1VlL2JzUVhSME5HN2N1R0U4bkFoOWovSEc1T1RraTlhcGtJam96dkJFSktJcThNUTlNdWZuNTlkZUVJUlFRUkJDQVhRMWJIZDNkOGVnUVlPZ1ZDclJvMGNQT0RnNFdMSEsycVBWYXBHUWtBQ1ZTb1g5Ky9lam9LREFlUGdrL2duR2YxcXBSTElpbnJoSDlRVS85SW1xd0pCTXQrUHY3OThaZ0NFd2R6QnM5L1QweE9EQmc2RlVLdUh2N3crWlRHYTlJdThCblU2SHBLUWtxRlFxN051M0Q3bTV1Y2JENTBSUjNBQmdRMUpTMG1rcmxVZzJnaUdaNmd0KzZCTlZnU0dacWtudzkvZC9GRUNvVENZYkk0cGlXOE5BczJiTk1HVElFQ2lWU25UcjFzMXVBck5PcDhQSmt5ZWhVcWtRRlJXRjdHeVR4U2YrTWdyR0o2QS9JWStJSVpucURYN29FMVdCSVpudWdPRG41OWVqdkNWak5JQTJob0VXTFZwQXFWUkNxVlNpVTZkT0VBVGIrdDlLRkVXY1BuMGFLcFVLZS9mdVJXYW15ZUlUNlFBMmlxSzRJU2twU1EwR1k3S0FJWm5xQzl0NmR5YXlRUXpKZEpka2ZuNStqNVVINWhBQUR4Z0dXclZxSlFYbTl1M2JXeTB3aTZLSVAvLzhFeXFWQ2lxVkNwY3ZteXcrY1VVVXhVMEExaWNsSmNWRHY3WXhVYVVZa3FtKzRJYytVUlVZa3VsZUNRa0pjVGgvL253LzZIdVlSd0h3Tm96NStQaElnZm5oaHgrdWszcisrdXN2S1JpbnBhVVpEMldKb2hnSllJT3ZyMi9NcGsyYnRKVWNncWdDaG1TcUwvaWhUMVFGaG1TcURRRUJBWTVGUlVVRFJWRU1MYi9hbjZkaHJGMjdkaGcyYkJpVVNpWGF0R2x6bTZQVVhIcDZ1aFNNVTFOVGpZZHlCVUhZb3RQcDFqZHAwaVE2T2pwYWMwOGZtTzRiRE1sVVgvQkRuNmdLRE1sVTI3cDA2ZUxzNnVvNnBEd3dCd0Z3TjR4MTdOZ1JTcVVTUTRjT3hZTVBQbmhIeDgvSXlNRGV2WHV4Wjg4ZW5EdDN6bmlvUUJDRWJZSWdiQ2dwS1lsS1NVa3ByZXdZUk5YRmtFejFCUzhtUWtSa1plWGg5RmNBdndZRUJMZ1VGaFlPRjBVeEZNQ0lzMmZQTmp4Nzlpd1dMMTZNcmwyN1NvRzVlZlBtdHoxbVptWW1vcUtpb0ZLcGNPclVLZU9oRzRJZzdOQnF0UnM4UER6MlJFZEgzNnk5WjBaRVpMODRNMFpVQmM0a2s3VW9GQW8zQUUrVkIrYW5BTGdBZ0NBSThQUHpnMUtweEpBaFErRGw1UVVBeU1uSlFWUlVGUGJzMllQazVHVGpROTBFc0VzUWhBMEFkcW5WNnVLNmZTWjBQK0ZNTXRVWC9OQW5xZ0pETXRtQ3ZuMzdOcjU1OCthSThzQThISUF6QU1oa01yUnMyUklBY1BYcVZlaDAwdUlUcFFCMkM0S3d3Y1hGNVpmRGh3OFhXcU51dXY4d0pGTjl3WFlMSWlJN1VCNXkxd0pZNitmbjV5R1R5WUlBaE9wMHVpRVpHUm1HOTNJTmdMMkNJR3pRYXJYYms1T1Q4NnhXTUJHUm5XTklKaUt5TStYaE53SkFSSzlldlpxV2xaVUZBWUNUazlPMm8wZVBYcmRxY1VSRTlRUkRNaEdSSFNzUHhUOVl1dzRpb3ZxR0labklpRUtoYUtiVDZZWllHdlAzOXg5amZGc21rMFdwMWVyc3VxbU1pSWlJNmhKUFJDSXk4dWlqanpaMGRIUzhCc0N0aWwyTE5ScE44eE1uVHR5b2k3cUlpR3lVSUpmTDF3SHdnRDVUaUlJZzlCUkYwUXZBTVFBNWh1MEFsaVltSnU2MFhxbEVOY09aWkNJakowNmN1Q0dYeTM4RDhOenQ5aE1FNFZjR1pDSWlpS0lvM2hRRVlaalJCc09QUFkxMzFPbDByOVZsWVVSM1MyYnRBb2hzalNpS202dmFSNmZUVmJrUEVkSDlRQkNFeUdyc2RpWTVPZmxpYmRkQ2RDOHhKQk9aY1haMjNnWDlHck9WdWVYbTVyYXJydW9oSXJKbEJRVUZld0hjZGgxdVFSQlcxVkU1UlBjTVF6S1JtZmo0K0FJQXF0dnNvdUtGR1lpSTlNNmZQMzlMRUlUYjlocHJ0VnArKzBaMmh5R1p5TEpLMzlBRlFlQ2JQUkdSa1NwYTBFNG1KeWYvV1dmRkVOMGpETWxFRmpSbzBHQUg5RmN2TTZjcExTM2RVZGYxRUJIWk1xMVd1eHRBU1NYRG5GZ2d1OFNRVEdSQmJHeHNqaWlLQnl3TTdUOTU4bVJ1blJkRVJHVER5bGY3K2MzU21Fd21ZMGdtdThTUVRGU0pTdG9xK0daUFJHU0JwZmRNUVJEK1NFaElTTEZHUFVSM2l5R1pxQkpPVGs3Ym9GOEEzMENuMFdpMldhc2VJaUpiNXVqb3VCTm1Ld09WOXlxTGx1OUJaTnNZa29rcUVSOGZud25na05HbVF5ZE9uTGhtclhxSWlHeForY3BBZTQyMzhVUm5zbWNNeVVTM1lmd0dYNTJMakJBUjNlZWs5MGxCRUs0bUppWW1Xck1Zb3J2QmtFeDBHMlZsWlZzTVArdDB1aTIzMjVlSTZIN242T2dvcmY0amltSVMyR3BCZG93aG1lZzJUcHc0OFRlQWVBQnh4NDhmdjJ6dGVvaUliTm5SbzBldkF6aGRmbk9STldzaHVsc015VVJWRUFRaFVoQ0VTR3ZYUVVSa0QwUlJYQUlnSXpFeGNXK1ZPeFBaTUVkckYwQVYrZnY3eHd1QzBNdmFkWkNlS09xL0xaVEw1Zk90WEFvQkVFVXhPaWtwYWFDMTZ5QWl5eHdkSGJkcE5KcE9BSFRXcm9Yb2JnaldMb0Fxa3N2bDdPRWl1bzNFeEVTK2R4SDgvZjM3QzRLd0I0Q0x0V3NocXNkMEFFWW1KaWJ1dEhZaGRZMHp5VFpNclZaYnV3UWltNkpRS0t4ZEF0a1FRUkJlQVFNeVVXMlRDWUxRRHdCRE1oRVJrYTN6OWZWdEFHQWtBR3pmdmgydFc3ZTJja1ZFOVV0ZVhoNkdEaDBLblU2bmRYQncrSisxNjdFR25yaEhSRVIyeDkzZFhRbkF2V1BIamd6SVJMWGd3SUVEME9sMEFMQ3ZmTldTK3c1RE1oRVIyYU1RQUJnNmRLaTE2eUNxbC9idTFTOU9JZ2pDSml1WFlqVU15VVJFWkZlTVd5MkdEQmxpNVdxSTZwKzh2RHdjTzNZTUFMUU9EZzViclYyUHRUQWtFeEdSWFdHckJWSHRZcXVGSGtNeUVSSFptOUVBV3kySWFvdWgxVUlVeFkxV0xzV3FHSktKaU1odWxMZGFQQU93MVlLb05oaTNXamc1T1cyemRqM1d4SkJNUkVSMmc2MFdSTFdMclJiL1lFZ21JaUo3d2xZTG9sckVWb3QvTUNRVEVaRmRDQWdJY0FGYkxZaHFEVnN0VERFa0V4R1JYY2pQejFjQ2NPL1FvUU5iTFlocVFYUjB0S0hWSXVwK2I3VUFHSktKaU1oT0NJSVFBZ0JLcGRMYXBSRFZTeXFWQ2dBZ2l1Sjlld0VSWXd6SlJFUms4K3BEcThXbFM1ZVFrWkZoN1RLSUxHS3JSVVVNeVVSRVpQT3MyV3F4ZnYxNkJBVUZWZGgrK3ZScGpCZ3hBdDk4ODAyRnNiS3lNcFNXbHBwc0N3b0t3Z3N2dkNEZExpMHRSVmxaMmIwdnVCcTJiZHVHR1RObUlEVTFWZG9XRVJHQlYxOTlWYnA5OCtaTmsvc29GQW9FQndkTHQxZXNXSUhBd0VBY1BYcTBSbys5YU5FaXpKbzFDd0FRRXhPREN4Y3UzTWxUcU9ESWtTTUlEZzVHZUhnNDh2THlUUDZJb2xqajQxMjdkZzFyMTY2OUo3WFpBN1phVk9SbzdRS0k3cFc4dkR3OC8veno4UER3d0U4Ly9RUUhCNGQ3ZG15RlFnRUEyTGR2SHp3OFBPN1pjWTNwZERwTW1qUUpmLy85TjFhdFdnVnZiMitMKzAyWU1BRm56cHpCcmwyN2NPWEtGWHo3N2JjNGNlSUVOQm9ONUhJNXBrK2ZqZ2NmZkxCV2FpU3lGbXUyV3FTbnA4UE56YzFrVzI1dUxxWk9uWXFNakF5c1diTUdUenp4QkxwMjdTcU5oNGFHSWkwdERXcTF1dExqOXVuVEJ6NCtQdGl5WmN0dEh6OC9QeC9EaHcvSG5EbHowTEJoUTd6NTVwdFFxVlR3OHZLUzNwdXE0OGtubjhTY09YT1FtcHFLLy8zdmYyalZxaFZ1M2JxRlJZc1dJU3dzREJjdVhJQmFyVVoyZGpZaUlpS3dmZnQyTEY2OEdQNysvaFdPVlZwYWlvMGJOK0w2OWV0UXFWUTRjT0NBTk9ibTVvYXdzTEJLNnpoNDhDRFMwdElRRmhhRzJiTm53OFhGQmF0WHIwYVRKazJ3WU1FQ2syUGR6czZkTzZXZkN3c0xFUjRlam95TURLU2xwU0V5TXRKazMram9hRFJ1M0ZpcXZVK2ZQcFVlVjYxV0l5MHREVk9tVE1IVnExZlJ2WHQzZE9uU3BjSisvL25QZjNEanhnMnNXTEVDWGw1ZUZvLzF2Ly85RHhzM2JzU09IVHN3WmNvVTNMcDFDOXUyYllOTVpudHpsR3kxcUlnaG1lcU5PWFBtNFBMbHk1ZzNiOTQ5RGNoMVJTYVRZZXJVcVFnTkRjWEhIMzlzY1hZcUpTVUZKMCtleEpOUFBvbG16WnJoaHg5K1FIWjJOa2FPSEluRXhFVEV4Y1ZoNnRTcFdMbHlwUldlQVZIdENBZ0ljQ2tvS0JnSjFIMnJ4ZWVmZjQ2TkcvVXJZUmtDNlpZdFcvRHV1KzhpS3lzTDA2ZFB4K3JWcS9INjY2L2pzODgrUS8vKy9lOTVEVnUyYkVGWldSbDY5T2lCV2JObW9WMjdkbElvOC9IeHFiRC81Y3VYb2RGbzBLSkZDN2k0dUVqYnZiMjljZlhxVmJ6enpqdHc4NlB1bEFBQUlBQkpSRUZVYzNQRHZIbnpjT25TSmF4YXRRcE5temFWOWhzeFlnUzBXaTBHRGh3SVoyZG54TVhGNGZqeDR3RDBreEhmZmZjZGlvdUxjZjI2ZnJKeDY5YXRKby92NmVtSnNMQXdyRjI3VnRySFdFRkJBUUJnN2RxMWFOKytQZExUMDdGdjN6NEVCd2NqTnpjWFY2NWNxZEhmajFhcnhmVHAwNUdSa1lGUm8wYWhYNzkrQUlBTEZ5NWcwYUpGOFBiMmhxdXJxN1MvZzRNREpreVlnSWlJQ1BqNCtHRGd3SUdJaUlpQXU3czdnb0tDc0huelpuejExVmZRYXJYNDhzc3ZMUVprQUxoNjlTcHljbkp1KzNrVEh4OHYvVDMrOWRkZmVPZWRkMnd5SUJ1MVdtallhdkVQaG1TeVNhdFdyY0w0OGVPci9XWnkvUGh4SERod0FEMTc5a1RuenAxcnVicmE4L0RERDZOLy8vNklqbzVHVEV5TTlHWnZZUGpxYit6WXNRQ0FaNTU1QnUrLy96NWtNaG11WDc4T3BWS0pVNmRPb2FTa3hPUkRnY2llNWVmbkt3VkJhR3lOVm90Ky9mcGg4K2JOZU9LSkovRElJNDhnTmpZVy8vNzN2MUZTVWdJQStPeXp6NlI5MzNubkhZd2NPUkl6Wjg2OFo0K3YwK213YTljdWRPblNCVGR2M2tSaVlpSkdqUm9salp2UFFwOC9meDVqeDQ2Rmk0c0xObXpZSU0yZUdpeGV2QmlYTDE4R0FJU0VoRWpidi92dU8zVHIxZzBBTUduU0pJd1lNUUpmZmZVVi92ampEMXk4ZUJHclY2OEdvSi9WWHI1OE9XUXlHVHAyN0lodnZ2a0c3dTd1MG5HR0RoMHF0VFpzMjdiTnBKM0RuUEV2ODN2MzdrVndjRERtekptRE9YUG1WUHZ2cDdTMEZETm56c1RodzRmaDRPQUFEdzhQbkR0M0RnQ3dmLzkrQVByMzFZaUlDSGg0ZUdEVXFGRndjSEJBV0ZnWUlpSWk0T3ZySy8zczZlbUprSkFRaElTRW9GbXpaZ2dQRDBlblRwMHFmV3huWjJlVC81ckx5Y2xCWm1ZbXBrK2ZqcVNrSkhoNGVHRGt5SkhWZm01MXlhalY0cjYvZ0lneGhtU3FVNGFabVAvKzk3LzQvdnZ2a1ptWkNibGNqdG16WjZOWnMyWW9MUzFGZUhnNHVuYnRXcVBmdHJkdjN3N0FkSllwT3pzYm4zLytPUklURTFGVVZJUU9IVHBnK3ZUcDZOQ2hRNFg3cDZhbVlzeVlNWWJmcENzVkZ4ZUg1Y3VYSXlNakEzNStmdmowMDA4dHRrVlU1M2k3ZCsvR3lwVXJjZUhDQlRnNU9lRzk5OTVEVUZBUWhnNGRpdWpvYUd6ZHV0VWtKR2RuWnlNcUtncVBQdnFvTkxOaC9BWnUrUHR5ZG5hR2s1UFRiWjhIa1QyeFpxdEYyN1p0b2RWcWtadWJpejE3OXVENzc3L0hraVZMMEw5L2Y5eTRjVVBhejluWkdkZXVYWU83dXpzRVFaQzJHL2Z3QXZvWk8vTnR0eU9UeVV4YUIzNy8vZmRLOTlYcGRBZ1BENGRPcDhPenp6NWJJU0FEd01pUkkrSGk0Z0ozZDNjMGJ0d1lUWm8wZ2F1cks2S2pvNlVaM2djZWVBQm56NTVGVkZRVU5Cb053c1BENGUvdmovZmVldyt0V3JYQ1R6LzloTmRmZngwZmZQQUJubm5tR1F3ZlBod2ZmZlNSOUJqR3p4OEFqaDQ5YWpMYkdoWVdoaU5IanVEQWdRTW9MUzJGVnF0Rml4WXRxdjEzWXV6WXNXTlNlNFpXcThXS0ZTc3E3Qk1mSDQvNCtIajQrUGlZL0lKaHlZTVBQb2p3OEhBb0ZBcms1ZVZoekpneG1EcDFLdno4L0NyczI2QkJBNVAvbXZQeThzS2hRNGVrMjdaOHdpbGJMU3hqU0NhcldMWnNHUVlPSElpNHVEakV4Y1hoczg4K3c4S0ZDekZ4NGtTY09uVUtPM2Jzd055NWM2czhqcUhmTHpFeEVRQk12aGI3KysrL2taNmVqdUhEaCtQQ2hRdUlqNC9IekprenBhOU83OFRpeFl2UnYzOS94TWJHNHRpeFk1Z3padzRXTFZwVTQrUHMzTGtUczJiTlFvTUdEUkFZR0FoQkVLUVBYTU5zanVFNUdXemF0QWthalFianhvMnplTXdOR3pZQTBMOFJPenJ5cFUzMWd6VmJMUUQ5ZTB6RGhnM1JzV05IeE1YRm9XblRwdmpsbDEvd3l5Ky9TUHVNSGowYUV5Wk13UGp4NC9IZWUrK1ozRDh0TGMza3RrNm5xN0R0WGxtMmJCbVNrNU1CQUwvKytpdWVlKzQ1bkR0M0RzT0hENWYyOGZIeHdYZmZmVmZodnM4OTl4eUNnNE94Zi85K1RKczJEWUErL0JsQzVlN2R1d0hvV3psV3JWcUZOV3ZXWU92V3JTZ3NMSVN2cnk4T0h6Nk12bjM3UWhURkN1MEh5NVl0azRKem8wYU4wS1JKRXdCQVVWRVJWcXhZZ1YyN2RtSFZxbFhTQkVaMWZva0lEUTFGYUdnbyt2YnRpNTkvL2huanhvMURtelp0RUJFUkFRQVlQSGh3aGRzRzBkSFJPSG55SkFEOXpQdVNKVXNBNlB2TWx5eFpnckN3TUp3N2R3NXZ2ZlVXY25OemtaMmRiYkVHdzRTRUxiWlAxQVJiTFNySFQxS3lpazgrK1FTOWV2VkNlbm82bm4zMldSdzVjZ1FhalFaTGxpekJqQmt6MEx0Mzd4cDlJRjY5ZWhVQVRHWjFPM2Z1ak5XclZ5TXRMUTNuejU5SGZIdzhVbE5UVVZ4Y0xKMkVZMzdTaS9GdFN5ZmN6SjQ5R3oxNzlzUmZmLzJGa0pBUXhNYkdRcVBSU0tHMHVzY3p2SEgvOTcvL3JmQThtemR2RGtEZnQyZW90YlMwRkZ1MmJFR0xGaTB3YU5DZ0NuWEZ4Y1hoaHg5K1FOT21UZkhXVzI5VjhyZEVaSCtzMldvQkFKbVptZEJvTk5pelp3K0tpNHV4WThjT0FKQldxVmk1Y2lVMmJ0eUlVYU5HSVNjblIxb1J3dExKZUFxRkFsNWVYdEpsZisrbDFhdFhJeUlpQW9JZ1FCUkZpS0tJRHo3NEFCY3VYRUIyZGpiR2p4OXZzbi92M3IybE1QcmhoeDhDMEFmNi92MzdZOUtrU2RCcXRVaFBUNGRDb2NDVksxZWsyVnBIUjBlc1hyMGE3ZHUzeCtyVnErSHI2NHVzckN6TW16Y1BhOWFzZ1ZhcnJkQitZTnhXMGFwVksrazlMejQrSGp0MzdrU25UcDFNdnVHcnppOFJlWGw1MHMrRysxNjZkTWtrREp2Zk5qaHk1QWcyYjk0c1BaYmgvYmlnb0FBUkVSSHc5dmJHNHNXTElZb2k1cytmanllZWVNSmlEYzdPenBYT0l0c1R0bHBVamlHWnJLSjkrL1lBZ0pZdFd3SUFOQm9OYnQyNkJYZDNkeXhjdUJETGxpMkR0N2QzdFg5REwzK0JtM3pOdDMvL2ZvU0hoME1VUlhUczJGSGFYbHBhS29Ya0NSTW1BTkMvNFc3ZnZ0MWtlU1pMZkgxOUFVRDZzTlpxdGJoMTY1WVVrcXQ3dkV1WExnR0F4YlBHemIrcUJQUmZoZVhrNUNBc0xLekNMTTNaczJmeC92dnZ3OTNkSGN1V0xVT3paczF1K3h5STdJa2dDS01CZmErck5majYrbUxRb0VFNGMrWU15c3JLNE9ucENRQlZuaHo3eXkrL29GR2pSaGc0Y0dDbCt4dzRjQUJGUlVVWU1XTEVIZGVuMCttd2VQRmkvUHp6endDQXQ5OStHd3NYTG9RZ0NKZzNieDVlZSswMUxGeTRFSVdGaFhqOTlkZWwreGxhRUl5cDFXcnMzcjBiZ1lHQldMcDBLZjc0NHcvTW1ERURGeTVjUU1PR0RaR2ZuNDlXclZyaCtlZWZSMDVPRGk1ZnZvd2xTNWFnUTRjT1dMVnFGWll1WFFxdFZpdTlieHQrWVVoSVNJQk9wME92WHIzZzR1SWl2WDh1V0xBQW9pamkvZmZmcjFCSFRXaTFXZ0JBaXhZdE1HUEdEQUQ2bGc3ejJ3YlRwazNENU1tVE1XalFJQVFGQldIbXpKbFFLQlR3OGZIQnQ5OStpNkNnSURSdDJoVHo1czFEMjdadEszMWNGeGVYU3Z1UjdZbmhselpSRk8vOGE5WjZpaUdack9MeTVjdnc5UFRFNmRPbkFRRHU3dTVTY0hWd2NNQ1VLVk5xZEx6bXpadmp5cFVyeU03T2xzN1MvdUtMTDFCVVZJVEl5RWg0ZUhoWW5KazJ2SEdtcHFaaXg0NGR0MTIycUxLNkd6WnNXT1BqZVhsNTRkcTFhemg1OGlRQ0FnSk14ckt5c2dBQURSczJsUDVPMXExYmh3WU5HbFQ0R3ZMU3BVc0lDd3VEcTZzcnZ2bm1HN1JyMSs2MjlSUFprL0pXQzZ0ZVFLUjc5KzU0NElFSDhPT1BQK0xHalJ2Uys0dmhGMkxETEtTNVR6NzVSRm81b1RKTGxpeEJXbHJhSFlma2pJd016Sm8xQzRtSmlSQUVBVysvL1RiR2p4K1BoUXNYQWdEYXRXdUhiNy85RmhNblRzU0tGU3RRVkZTRS8vdS8vd09nNysrZU5Ha1NBSDJyaGJFcFU2YkEyOXNiYjczMUZvWU5HNGFWSzFjaU9EZ1lQLzMwRXdCZzBLQkJHRFpzR0dReUdlYlBuNC9Dd2tKb05Cb2NPWElFZ2lCSXkyVG01dWJDemMwTmdpQkkzL1laV2xjQW9LU2tCR1BIanNYVnExZmg3ZTE5eDMzSnVibTVBQUJSRkUxbW1MVmFyY2x0WStucDZRQlFZVktoZWZQbW1EdDNMdVJ5T1hKemN6Rnk1RWlNR1RNR0w3Lzhjb1ZqTEYrKy9JN3F0U1Y1ZVhtR2RhNDFMaTR1YkxVd3c1Qk1WdkhSUng5aHdJQUIwbGQ0d2NIQkZtZFFxNnQ3OSs2NGN1VUtVbEpTcEsvZURMUExTNWN1bGQ1RTc5YUhIMzZJZ0lBQXFlNW5uMzMyam80VEVoS0NaY3VXWWViTW1SZytmRGpLeXNyZzYrdUw4ZVBISXlVbEJZRCtPUUZBY25JeXpwNDlpK0RnWUpPenlBRmc4dVRKeU1uSndjQ0JBL0hycjc5SzJ5ZE9uR2l5OUJPUlBUSnV0V2pUcG8xVmFsaXhZZ1hXcjE4djNZNktpZ0pRZVRpdVM2V2xwZmpqanovZzZ1cUtUejc1eE9JdkV1M2F0Y1BpeFlzeGFkSWtaR1ptU3UrTEtwVktPbG5MM096WnN6RjgrSERNbXpjUEd6ZHVoRnd1UjhlT0hhV1E3Tzd1anNjZmZ4eUEvdHZBWnMyYW9YSGp4amgwNkJCaVltTGc1T1NFakl3TUZCY1hvMjNidHBnNGNTTE9uejhQQUdqVHBnME9IandJUUQ4VE8yWEtGTHo4OHN2SXlzcVMrcDVyeXRCZmZPM2FOWk9WUmJLenN5dGRhZVR3NGNNQVlIR21PQ0FnQUNkT25NQzc3NzZMZ29JQzZSdEVZenFkRGhNbVRFQk9UZzRpSWlMczloczg0MWFMMk5qWUhHdlhZMnNZa3NrcWdvS0NzSGJ0V21pMVdvU0docHA4RFhnbm5ucnFLZXpldlJ0UlVWSFNiT3Q3NzcySEw3LzhFc25KeVFnTEM1UFcrYlNrWGJ0MlZhNXNBUUNCZ1lHSWpJeUVUcWZENk5HajhjWWJiOXpSOFY1ODhVWHByUFZ0MjdiQjA5TlRXdHplOENGc21GMWF0MjRkQUdETW1ERVZqbU5ZeXNsODhmMy8vT2MvRE1sazk2emRhbUY0N0c3ZHVtSHYzcjM0ODg4LzhlS0xMMkxseXBXWU8zY3VOQm9OUHY3NFkremF0Y3ZpZXNBM2I5NnMwTktnMFdpa2JlWlh0S3VwZi8zclgvamlpeS9Rc21WTGkrc2xHM1R0MmhYTGx5OUhodzRkcEhZdHBWS0ppUk1ub3JpNEdDKzg4QUlFUVpCYUJ4NTk5RkhrNWVVaE9qb2FEei84c0RScmJtekJnZ1VBOUxQQmdpQ2dRWU1HYU5XcUZXSmlZdUR1N282WW1CZ0F3Q09QUElLeXNqS1VsSlNnZmZ2MjhQTHlrbGFndUhuekptSmpZM0h4NGtWMDZkSUY4Zkh4bGI2blZrYXRWbVBUSnYyQ0RLKzg4b3IwV1dKb245aTBhUk51M0xpQmdRTUhTaE14K2ZuNTBnbmM1aTF2WldWbFdMVnFsYlRNM1JkZmZJRUJBd1pVZUZ5dFZvdnM3R3dVRmhiZTliK2pOYkhWNHZZWWtza3FSbzBhaFZkZWVlV2VIZS94eHg5SHIxNjljUFRvVVp3OWV4WWRPM2JFaUJFalRMN0d0SFJaMmVveTdwR2JQSG55WGRVSzZQdU9KMHlZVU9IREp6MDlIZnYzNzBlM2J0MHdaTWdRWkdabTRzQ0JBK2pkdTdmRlZvcWE5dTRSMlF0YmFMVUFJQzM5ZGVyVUtWeTRjRUZhVm0zcjFxMDRkdXdZWEZ4Y01IMzZkR2xWQ2VNWjc4ek16QXFocjZDZ29NWkI4SFo2OSs1ZHJmM01MNGpSdUhGamZQZmRkOWkzYng4QWZUL3ZRdzg5aEMxYnRwaDhReFlZR0hqYjQwWkZSZUdUVHo0eDJmYllZNDlKUzUvMTdkc1hUejMxRkFCOWUxaHdjREJrTWhsbXpacUZ1WFBuNHQxMzN3VUE5T2pSQXcwYU5KQk9YSzZ1di83NkMwbEpTWEIyZHJiNEhqOTE2bFRwT1JyT2dkbTZkU3Z5OC9PaFVDZ3F0SGpNbno4ZmtaR1JhTm15SlQ3Ly9IT1RxeWdhYzNKeXdyWnQyNkRSYUNwY2pkRmVzTldpYWd6SlZHOTgrdW1ubURCaEF1Yk9uWXNmZi96UjdwWkIwK2wwbUR0M0xyeTh2QkFlSGc2WlRJWVdMVm9ZM3NTSTdpdDVlWG5EWkRLWlZWc3RqSFhzMkZHYWhYM3l5U2Z4K09PUG8ydlhydkQzOTRlTGl3c3VYcnlJVnExYVNTdmFUSjA2dGNwamZ2ZmRkOGpKdWZmZmNGZTE2c0xMTDcrTUxsMjZ3TlBURTQ4ODhnZzhQVDN4OU5OUHc5blpHZXZYcjhmRml4Y0I2RmVpTUw0NDAzdnZ2VmVoNWF0TGx5NVN5NEtMaXd0NjlPaUJsMTU2Q1NVbEpaZzllN2JKdHdCdDJyVEIyMisvRFZkWFZ6ejk5Tk5vMnJRcDVzK2ZEM2QzZHp6MzNIUHc5UFRFYjcvOVZ1UG4rKzIzMytMeTVjdDQ0SUVIcEcxaFlXRm8wcVFKUER3ODBMaHhZelJxMUVpNmVJcGhjcUpIang3Uy9rOCsrU1M4dmIybGJ5TGZmUE5OaSt0TUczTjJkcmJyRS9lTVdpMmkyR3BoMlowM2dWS3RrY3ZsSWxBL1p3a05IeUQ3OXUyVFR1NGdxaTdEL3orSmlZbDg3NnJuNUhMNWFnRC9mdlBOTi9IaWl5OWF1eHlpZW1meTVNbUlpNHVES0lvdkp5VWwvV2p0ZW15UmZVMjFrZDJyajhHZmlPNHRXMm0xSUtxdjJHcFJQZlo5bVJnaUlxcDM4dkx5aGdHd21WWUxvdnFHclJiVnc1Qk1SRVEyUlNhVGhRRFdYZFdDcUQ0eld0VmlrNVZMc1drTXlVUkVaRE1DQWdKY0FMRFZncWlXNU9mbnM5V2ltaGlTaVlqSVpyRFZncWgySFRod2dLMFcxY1NRVEVSRU5vT3RGa1MxaTYwVzFjZVFURVJFTm9HdEZrUzFpNjBXTmNPUVRFUkVOb0d0RmtTMWk2MFdOY09RVEVSRU5rRVFoTkVBV3kySWFvdWgxUUxBUm12V1lTOFlrb21JeU9vQ0FnSmNCRUVZQWJEVmdxZzJHTGRhTkdqUVlMdTE2N0VIRE1sRVJHUjFiTFVncWwxc3RhZzVYcGFhaUlpc3p0QnE0ZW5weWN2WEU5V0MrZlBuRzM1a3EwVTFNU1RiTUlWQ1llMFNpSWpxaENBSVR3TkFYRndjNHVMaXJGME9VWDNGVm9zYVlFaTJRYUlvUmd1Q0VHRHRPb2hza1NpSzBkYXVnV3JGUWdDREFPaXNYUWpkdGU0QVBBQWNCNUJuNVZySWxJcXRGa1IwVDhqbDhxL2tjcmtvbDh2ZnRuWXRSRVQyUUM2WFI4dmxjckZIang0QjFxNkY2Rzd3eEQwaUlpSWlJak1NeVVSRVJFUkVaaGlTaVlpSWlJak1NQ1FURVJFUkVabGhTQ1lpSWlJaU1zT1FURVJFUkVSa2hpR1ppSWlJaU1nTVF6SVJFUkVSa1JtR1pDSWlJaUlpTXd6SlJFUkVSRVJtR0pLSmlJaUlpTXd3SkJNUkVSRVJtV0ZJSmlJaUlpSXk0Mmp0QW9oc2hVS2hjQk5GOFVHenpXK1YvN2VaWEM3M05Xd1VCQ0ZEclZZWDExMTFSRVJFVkpjWWtvbktsWldWTlhKMGREd0h5OSt3VEMvL0F3QTZuVTdYRWdCRE1oRVJVVDNGZGd1aWNpZE9uTGdHNEdBMWRvMU9Ta3JLcXUxNmlJaUl5SG9Za29sTWJhNXFCMEVRcXR5SGlJaUk3QnRETXBFUlVSUzNWclVMZ0tyMklTSWlJanZIa0V4a0pDa3BLUVBBa2NyR1JWRThvbGFycjlSaFNVUkVSR1FGRE1sRVprUlJyTFNkZ3EwV1JFUkU5d2VHWkNJem9paHV1Wk14SWlJaXFqOFlrb25NSkNjblh3U2d0akNVa0pTVWxGYkg1UkFSRVpFVk1DUVRXV0NwcllLdEZrUkVSUGNQaG1RaUN6UWFUWVZBck5WcUdaS0ppSWp1RXd6SlJCWWNQMzc4RHdDbmpEYWRURTVPL3ROYTlSQVJFVkhkWWtnbXF0em1TbjRtSWlLaWVvNGhtYWdTeGozSU1wbU1JWm1JaU9nK3dwQk1WQW0xV24xS0VJUS9CRUg0SXlFaEljWGE5UkFSRVZIZGNiUjJBVVEyVE5UcGRKc0ZRUkNodnh3MUVSRVIzU2NZa20yQXY3OS92Q0FJdmF4ZEIxVk9McGRQczNZTlZKRW9pdEZKU1VrRHJWMEhFUkhWUDJ5M3NBRU15RVIzUmhDRUFHdlhRRVJFOVJObmttMklXbTNwSW05RVpJbENvYkIyQ1VSRVZJOXhKcG1JaUlpSXlBeERNaEVSRVJHUkdZWmtJaUlpSWlJekRNbEVSRVJFUkdZWWtvbUlpSWlJekRBa1U2M0x5OHZETTg4OGcrZWZmeDVhcmJiYTkxdTJiQm1lZWVhWmUzYThtdERwZEpnNGNTS2VmUEpKWkdWbFdhVTJoVUlCaFVLQnZMdzhtNnlQaUlpb1BtTklwbG8zWjg0Y1hMNThHUjk5OUJFY0hCeXEzRDg5UFIwTEZ5NkVJQWp3OXZaR1pHUWt0bS9mZnNmSHV4TXltUXhUcDA1RmRuWTJQdjc0WTV1cXpSN3FJeUlpc25jTXlWUWpxMWF0Z2s2bnEvYit4NDhmeDRFREI5Q3paMDkwN3R5NVd2Zkp5Y2xCVmxZV05tM2FoT1RrWkVSSFI2T29xT2lPajNlbkhuNzRZZlR2M3g5SGp4NUZURXlNVGRWbUQvVVJFUkhaTTRaa01uSHk1RW04K09LTDZOT25Ed1lNR0lEdnYvOGVBRkJhV29yWnMyZWpZY09Ha01tcS83K05ZUlp6eUpBaDBqWkRHOEd1WGJzUUZCU0VQbjM2WVBMa3ljak96Z1lBK1BuNVlkQ2dRZEJxdGVqZXZUdWFOR21DY2VQRzNmSHhiaWM3T3h2dnYvOCtCZzhlak42OWUrUDU1NS9IdVhQbnBQR2hRNGNDQUxadTNWcm50Um5FeGNVaE9EZ1lqejMyR0Y1NzdUV1Q5Z3BicUkrSWlLZytZa2dtRXg5ODhBRk9uRGlCUG4zNllQanc0YmgxNnhZQVlPTEVpZGl4WXdmbXpwMHJCYXZiL1RGSVRFd0VBSFRwMHFYQ1l5MWJ0Z3g5Ky9iRmd3OCtpTGk0T0h6MjJXZlNXR3BxS2w1NDRRVk1uejRkdWJtNUtDZ291S3ZqVmVidnYvOUdlbm82aGc4ZkRvVkNnWlNVRk15Y09WTWE3OWF0bThuajFtVnRCb3NYTDBhdlhyM1Fva1VMSER0MkRIUG16TEdwK29pSWlPb2pYcGFhVEdnMEdnREE0NDgvanFDZ0lEZzY2djhYV2JKa0NXYk1tSUhldlh1YnpFUlc1ZXJWcXdBQWIyL3ZDbU9mZlBJSmV2WHFoZlQwZER6NzdMTTRjdVFJTkJvTkhCMGRNV25TSkdtL3I3LysrcTZQdDJUSkVwTjl3OExDQUFDZE8zZkc2dFdya1phV2h2UG56eU0rUGg2cHFha29MaTZHbTVzYm1qZHZEZ0FvS0NpUXR0VlZiUWF6Wjg5R3o1NDk4ZGRmZnlFa0pBU3hzYkhTZlcyaFBpSWlvdnFJSVpsTXpKdzVFL1BtelVONGVEaSsrKzQ3dlAzMjIzanFxYWZnN3U2T2hRc1hZdG15WmZEMjlxNTJ5NFdoZjFrUWhBcGo3ZHUzQndDMGJOa1NnRDZnMzdwMVN3cm05L0o0RVJFUkp2c2FndDcrL2ZzUkhoNE9VUlRSc1dOSGFieTB0QlJ1Ym00V0g2ZXVhalB3OWZVRkFMUnUzUm9Bb05WcXBmdmFRbjFFUkVUMUVVTXltZWpYcng5Mjd0eUovZnYzNDhNUFA4U2NPWE13ZE9oUU9Eczd3OEhCQVZPbVRLblI4Wm8zYjQ0clY2NGdPenNiVFpzMk5SbTdmUGt5UEQwOWNmcjBhUUNBdTdzNzNOemNhdVY0YXJYYTR2RysrT0lMRkJVVklUSXlFaDRlSGhWbXlRMzl2dzBiTnF6ejJtNTMzNFlORzlwTWZVUkVSUFVSUXpLWkNBa0p3V09QUFlicjE2OERBRnhjWE81cXFiRHUzYnZqeXBVclNFbEpRWWNPSFV6R1B2cm9Jd3dZTUFBSERod0FBQVFIQjFjNU0zcXZqMmVZWFYyNmRDbHljM01yaktla3BFaVBXNVY3WFp2Qmh4OStpSUNBQU9tK3p6NzdyRTNWUjBSRVZCL3h4RDB5NGVucGllM2J0K1Bnd1lQbzFxMGJ2dnp5eTdzS3lVODk5UlFBSUNvcXFzSllVRkFRZnZ2dE45eTRjUU9ob2FGNC9mWFg2L3g0NzczM0h0emQzWkdjbkd6eDRodUd4eGt4WWtTZDEyWVFHQmlJWDMvOUZUZHUzTURvMGFQeHhodHYyRlI5UkVSRVJMVkNMcGVMY3JsY3JLOWVlKzAxVWFGUWlHZk9uQkZGVVJRTnp6YzNOOWNtamxlWnRMUTBzV2ZQbnVJTEw3d2dhclZhbTZyTkh1cXJiWWJhcmYzNkpTSlRjcms4V2k2WGl6MTY5QWl3ZGkxRWQ0TXp5VlRyUHYzMFU3UnMyUkp6NTg2VlZzK3dwZU5ab3RQcE1IZnVYSGg1ZVNFOFBMemFKeXJXUlczMlVCOFJFWkc5WTA4eTFicG16WnBoNTg2ZE5uczhTMlF5R2I3OTl0c2EzNjh1YWdOc3Z6NGlJaUo3eDVCTWRlNWVyNVpneTZzdjJISnRnTzNYUjBSRVpDMXN0eUFpSWlJaU1zT1FURVJFUkVSa2hpR1o2aDJkVG9lSkV5Zml5U2VmbEM2MllXbWJzV1hMbGxsY0FxNnk3UWtKQ1JnL2ZqejY5T21Ed01CQXJGNjl1c3E2RkFwRmhUOExGeTY4ZzJkSVJFUkV0WTBobWVvZG1VeUdxVk9uSWpzN0d4OS8vSEdsMndBZ1BUMGRDeGN1aENBSThQYjJSbVJrSkxadjMxN3BkZ0JJVFUxRldGZ1kwdExTOE13eno2Q3NyQXdMRnk3RXI3LytXcTM2eG93Wmd3a1RKbURDaEFubzFhdlh2ZjhMSUNJaW9ydkdFL2VvWG5yNDRZZlJ2MzkvUkVkSEl5WW1CdjM2OWJPNExTY25CMWxaV1lpTmpVVkJRUUZjWFYzUnAwK2ZTcmNEd0pvMWExQmFXb3JKa3lkai9Qang2TkdqQno3NjZDTkVSa1lpTURDd3l0b21UcHdJRHcrUDJ2NHJJQ0lpb3J2QW1XU3llN3QzNzhiWXNXUHgyR09QNFlrbm5zQzJiZHNBQUVPSERnVUFiTjI2VmRyWGZKdWZueDhHRFJvRXJWYUw3dDI3bzBtVEpoZzNibHlsMjRGL1ZvVG8yYk1uQU1EZjN4OEFjT2JNR2VreTEwUkVSR1RmR0pMSnJ1M2N1UlBUcDA5SFdsb2FBZ01Eb1ZRcWNlUEdEUUJBdDI3ZEFBQ0ppWW5TL3BhMnBhYW00b1VYWHNEMDZkT1JtNXVMZ29LQzIyNi9kdTBhQVAyYXc0RCtVdDRBVUZwYWlwS1NraXBySGpwMEtBSUNBakJ6NWt6cG1FUkVSR1JiMkc1QmRpMGlJZ0lBOE4vLy9oZERoZ3d4R1d2ZXZEa0FvS0NnQU1YRnhYQnpjN080YmRLa1NkSjl2djc2YStubnlyWWJybFFuQ0VLRmVtNTM1YnZubm5zT2JtNXVLQ3dzUkhSME5INzk5VmNVRnhkandZSUYxWDI2UkVSRVZFY1lrc211WGJwMENjQS9MUS9HTElWWVM5dHF5c1BEQXprNU9jak56WVdYbHhkeWMzTUJBSTBhTllLcnEydWw5NXMyYlpyMDg2aFJvekIrL0hnY09YTGtydXNoSWlLaWU0L3RGbVRYdkx5OEFBQW5UNTZzTUdaWTZxMWh3NFp3YzNPcmRGdE5kZTdjR1lCK0dUamdueDVsdVZ4ZTZYMjBXcTNKN2JLeU1nQ0F1N3Y3SGRWQVJFUkV0WXN6eVdUWFFrSkNzR3paTXN5Y09SUERodzlIV1ZrWmZIMTlNWDc4ZUtTa3BBQUF1bmZ2THUxdmFWdE5oWWFHSWlZbUJzdVdMY1BGaXhjUkZSVUZtVXlHQ1JNbVNQdjg5dHR2S0NrcFFYQndNQURncDU5K1FtSmlJbng5ZlZGWVdJajkrL2NEZ0hReUlCRVJFZGtXaG1TeWF5KysrQ0prTWhraUl5T3hiZHMyZUhwNlNrdTFSVVZGQVFCR2pCZ2g3VzlwVzAwOS92amptRFZyRm43NDRRZHMzYm9WclZ1M3h0U3BVMDJDOTZwVnExQllXSWdSSTBiQXlja0pEejMwRUhiczJJR0VoQVE0T0RqZzRZY2Z4dWpSb3pGeTVNZzdyb09JaUlocXo5MDNhTkpkazh2bEl2RFAxL1owOTlMVDB6RnExQ2gwN3R3WlAvNzRJMlF5bWNWdFpMOFVDZ1VBSURFeGtlOWpSRFpFTHBkSEF4Z2drOGtHSmlRa1JGdTVIS0k3eHBSQTlZNU9wOFBjdVhQaDVlV0Y4UEJ3eUdReWk5dUlpSWlJS3NOMkM2cDNaREladnYzMjJ5cTNFUkVSRVZXRzAybEVSRVJFUkdZNGsyeERYbnJwSld1WFFFUkVSRVJnU0xZVldRQzhqeDgvYnUwNmlPeE5sclVMSUNLaStva2gyUWFVbFpWMWNIWjI3bUx0T29qc1RXbHBhWXExYXlBaW92cUpJZGtHbkR4NU1oZEFqTFhyb0lvTXkvTnhtVEVpSXFMN0MwL2NJeUlpSWlJeXc1Qk1SRVJFUkdTR0labUlpSWlJeUF4RE1oRVJFUkdSR1laa0lpSWlJaUl6RE1sRVJFUkVSR1lZa29tSWlJaUl6REFrRXhFUkVSR1pZVWdtSWlJaUlqTERrRXhFUkVSRVpJWWhtWWlJaUlqSURFTXlFUkVSRVpFWmhtUWlJaUlpSWpNTXlVUkVSRVJFWmhpU2lZaUlpSWpNTUNRVEVSRVJFWmxoU0NhcWhvQ0FBRWRyMTBCRVJFUjFoeC84Uk9VVUNzVURvaWorQWFBUkFDMkFtNGF4Z29LQ1BMbGM3Z1RBR2NBTlFSQzZxOVhxVkN1VlNrUkVSTFdNTThsRTVkUnE5UlZSRkUrWDMzUUEwTkJvdUNIMEFSbUNJRnhrUUNZaUlxcmZHSktKakFpQ3NMbXFmWFE2WFpYN0VCRVJrWDFqU0NZeVVwMlFMSlBKSXV1aUZpSWlJckllaG1RaUkycTFPbFVRaE9UYjdQS25XcTArVldjRkVSRVJrVlV3SkJPWnVWMDdoU2lLbXdHSWRWZ09FUkVSV1FGRE1wR1oyN1ZUQ0lMQVZnc2lJcUw3QUVNeWtSbTFXbjBXd0drTFF4Y1RFeE1UNjdvZUlpSWlxbnNNeVVRV2xMZFZtQkFFWVF2WWFrRkVSSFJmWUVnbXNzQlNXNFZPcDJPckJSRVIwWDJDSVpuSWdzVEV4Sk1Bemh0dHVwS1VsQlJ2clhxSWlJaW9iakVrRTFrbW1xMlp2QldBemxyRkVCRVJVZDFpU0NhcWhGbDdCYSt5UjBRSTl1Y3BBQUFWYWtsRVFWUkVkQjloU0NhcVJGSlNraHBBRm9BQ1FSQU9XYnNlSWlJaXFqdU8xaTZBeUlhSkFOWUFjRk9yMVdYV0xvYUlpSWpxRGtNeUFRRGtjdm1qQUE0RGFHVHRXbXlSWEM1LzFkbzExQ002QUNNVEV4TjNXcnNRSWlLaXlyRGRnZ3dtZ0FHWjZvWk1FSVIrMWk2Q2lJam9kamlUVElBK3RJU0lvb2lWSzFlaWE5ZXUxcTduLzl1Ny85aXE2dnVQNDY5emI2R1ZBaFU2K1MxdEZWUW92OXE3am9IaVVLbWphb1BXOGlQUldJalR3Y3hjSkJ0R0NGTEhOSkx2Q0hGTmRESTZpMS93Q3hXUlNRVnRjZFFsKzVyU0g0Q3ViRTdCWHFzMFpSVDZpOUpDN3ozZlAvcHQwMTc2RStnOXZlYytId25KdmVlZWU4LzdYaEx5NHBQWC9WellVSFYxdFJJVEUrWDFlajFPcC9PL3JKNEhBSUR1c0pJTXhjWEZ6VFpOYzhLWU1XTVVHeHRyOVRpd3FjT0hEOHZyOVVyU0owZU9IS215ZWg0QUFMcERTSVlNdzFnc1NRc1dMSkJoR0ZhUEE1dkt5OHVUSkJtRzhhN0Zvd0FBMENOQ01oeXRJVGt4TWRIcVdXQlQxZFhWS2l3c2xDU1AwK2w4MytwNUFBRG9DU0U1eUZHMWdEOVF0UUFBQkJwQ2NwQ2phZ0Yvb0dvQkFBZzBoT1RnUnRVQy9ZNnFCUUFnRUJHU2d4aFZDL2hEZm40K1ZRc0FRTUFoSkFjeHFoYndoOXpjWEVsVUxRQUFnWVdRSEx5b1dxRGZVYlVBQUFRcVFuS1FvbW9CZjZCcUFRQUlWSVRrSUdVWXhoS0pxZ1g2Vit1dUZxWnBabHM4Q2dBQWZVSklEazRPd3pCU0phb1c2RC9WMWRVNmN1U0lKSGtHRFJxMHorcDVBQURvQzBKeUVLSnFBWCtnYWdFQUNHU0U1Q0JFMVFMK1FOVUNBQkRJQ01uQmg2b0YraDFWQ3dCQW9DTWtCeG1xRnAwckx5L1g2ZE9uclI3RE5xaGFBQUFDWFlqVkE4Qy83RmExMkxWcmwzYnQycVY5K3pvdVZwNDRjVUxQUC8rOEhuamdBYTFhdGFyRFk1Y3ZYNVpwbWhvOGVIRGJzWWNmZmxnalI0NXNxd2hjdW5SSmhtRm8wS0JCS2lzcjY5Tk1ZOGFNVVZoWW1DNWR1cVF6Wjg3bysrKy9WMWhZbUdiT25IbDFieklBVWJVQUFBUTZRbkp3Y1JpR2tXcWFwaFlzV0dEMUxOZkZ0OTkrcXlGRGhuUTRkdjc4ZWIzd3dnczZmZnEwZHU3Y3FYbno1bW5hdEdsdGp5OWR1bFJ1dDF2RnhjVmR2dTZjT1hNVUZSV2x2WHYzNnRGSEgrM1RURnUzYnRWcnI3Mm0wdExTdG1PeHNiR3FyNitYMiszdTlEbmR6UkpvYW1wcXFGb0FBQUllSVRtSXRLOWF0QStOZ1dyVHBrM0t6bTVacUhTNVhKS2t2WHYzYXZYcTFmclBmLzZqZGV2V2FjZU9IVnExYXBWZWZ2bGwzWDMzM1ZkMW5kZGZmNzNEL2IvKzlhL2FzMmVQN3J2dnZrNEQ5T1RKay9YQUF3OG9KaVpHT1RrNVdyeDRzUjUvL0hFOSsreXprdFRoT2JtNXVhcXJxN3VxdVFhcXc0Y1BVN1VBQUFROFFuSVFzVnZWNHE2Nzd0Sjc3NzJuZWZQbTZiYmJidE5ubjMybXh4NTdUQmN2WHBRa3Zmenl5MjNuUHZmY2MxcTBhSkhXcjEvZjUrczRuYzRPbFlzdnZ2aENrblRUVFRlcHZMeTh3N25SMGRFYVBueTRsaTFicGkrKytFSTVPVG1hT0hHaUpreVkwSGJPMnJWcjIyNFhGUlhaTGlSVHRRQUEyQUVoT1hqWXJtb1JFeE1qajhlajgrZlA2K09QUDlhZi92UW5aV1JrNk82Nzc5YUZDeGZhemhzOGVMRE9uRG1qNGNPSGQvalBRVXBLU29mWHE2NnV2dUtZSk8zZnYxODVPVGxYSE4rMWE5Y1Z4eDU2NkNIOThJYy8xRjEzM2RVVzFqZHYzcXpObXpjcktpcnFxdDlyb0tCcUFRQ3dDM2EzQ0JLdFZZdlJvMGZib21vaHRmUjR3OFBEZGNjZGQwaVNJaU1qdFgvL2Z2M21ONzlSZW5xNjB0UFRkZUxFQ2MyYU5VdHZ2LzIyUWtORE96emY3WGEzL1pFa3I5ZmI0WDVuMTJ1dFNoUVhGN2YxaUI5OTlORXJPc1UvL2VsUEZSY1hKMG1hTW1XS2twS1NydDhiSDhEYVZTME9VYlVBQUFReVZwS0RSR3ZWSWpFeDBSWlZDMG1xckt4VWMzT3pQdjc0WXpVME5PaUREejZRSktXbHBVbVN0bS9mcnV6c2JLV21wdXJjdVhOcWJHeVUxTkpiOXVWeXVUcnNidEdUMWc1MFY5YXZYOTlXcXhnNmRLalMwdEwwL1BQUDkrcTVnYXhkMWVKZGkwY0JBT0NhRUpLRGcrMnFGcEkwYWRJazNYdnZ2ZnJuUC8rcHk1Y3ZhOFNJRVpKYXduRjM5dS9mcjZGRGgrcWVlKzdwOHB6RGh3K3J2cjVleWNuSm5UNyszbnZ2U1ZLWE8xOFVGeGNyTnpkWGt2VGxsMS9xVjcvNmxSSVRFOXRXbCsySXFnVUF3RTRJeVVGZzFxeFpQN1piMVVLU1pzNmNxYkZqeCtyUGYvNnpMbHk0b01qSVNFblM4dVhMSlVsWldWbWRQaTg5UFYxUlVWSGRodVNNakF5NTNlNHVRM0ozMjhKNXZWNnRYYnRXa1pHUk9udjJySll2WDY3dzhIQ2xwS1RvMTcvK3RlNjk5MTdkZi8vOWV2UE5OMVZmWDY4WFhuaWhkMjk0Z0tOcUFRQ3dFMEp5RUhBNEhJc2xlMVV0SkduYnRtMGR2angzNk5BaFNWMkg0K3VwdTVWa2g4T2gwYU5IS3prNVdhKysrcW9HRFJxazFOUlU3ZDI3VjU5KytxbEdqQmloQng5OFVNZVBIOWZSbzBjVkZ4ZW5oUXNYOXZ2TS9ZMnFCUURBVGdqSjltZkxxb1hVRXZxblQ1K3V2THc4ZmZYVlYxcXhZb1cyYjkrdVYxNTVSYzNOelhyeHhSZjE0WWNmcXFycXlrWE54c1pHRlJRVWREalczTnpjZHF5MXY5emV2bjM3MnJhQ08zYnNXTnZ4c3JLeUszN3g3N2UvL1cySHJkMHFLeXVWa1pHaGNlUEdhZlhxMVRJTVErdlhyOWV5WmN1MGFkTW1KU1FrdEsyRUJ5S3FGZ0FBdXlFazI1eGRxeGFTTkd2V0xFblNQLzd4RDMzenpUY2FObXlZSk9uOTk5OVhZV0dod3NMQ3RHN2R1clpBZS9QTk43Yzl0N0t5VXIvNHhTODZ2RjV0YmUwVng5cmJ1SEZqcDdmYjczVFJLam82dW0wL1pVbjZ3eC8rb0lzWEx5b2pJMFBoNGVHU3BLaW9LRDN4eEJQYXRtMmI5dXpabzUvLy9PZDlldjhEQ1ZVTEFJRGRFSkp0cnJWcVlaY2ZFT25NSFhmY0lhZlRLVWxLU2tyUzNMbHpOVzNhTk1YRnhTa3NMRXhsWldVYVAzNTgyNjRTdmVrQXYvbm1tenAzN3B5a2x2MllYUzZYM25qampXNmZzMnJWS3NYRXhMVGR2K21tbS9UNDQ0OXJ5cFFwU2s1T1ZsSlMwaFgvVVZteFlvVW1UWnFreE1URVByM25nYWExNmtMVkFnQmdGL1pNVFdqbGNMbGNidE0wSjJSbFpXbjY5T2xXendNYnFxbXAwWUlGQytUMWVqMGhJU0dqV1VrR2dsdDhmSHkrcEo4NEhJNTdpb3FLOGkwZUI3aHEvSmlJamRtNWFvR0JnNm9GQU1DT0NNazJGZ3hWQzFpUHFnVUF3STRJeWZibE1Bd2pWVkxBOTEweGNOWFUxTFR1Q01LdUZnQUFXeUVrMnhSVkMvZ0RWUXNBZ0YwUmttMktxZ1g4Z2FvRkFNQ3VDTW4yNUpEVUZwS0IvdER1QjBTYXFWb0FBT3lHa0d4RHMyYk4rckdrOFZRdDBKOE9IejRzajhjalNaOVF0UUFBMkEwaDJZYmFWeTBjRHY2SzBUK29XZ0FBN0l3RVpUOVVMZER2YW10cnFWb0FBR3lOa0d3elZDM2dEMVF0QUFCMlIwaTJHYW9XOEllOHZEeEpWQzBBQVBaRmlySVhxaGJvZDFRdEFBREJnSkJzSTFRdDRBOVVMUUFBd1lDUWJDTlVMZUFQVkMwQUFNRWd4T29CY1AwWWhwRnFtcVoyN3R5cG5UdDNXajBPN0kycUJRREExbGh1dEJHdjEvdTExVE1nT0ppbXVaT3FCUURBemxoSnRwR2pSNC9lWS9VTWRoTWZIMjlLVWtsSmlXSDFMQUFBd0g5WVNRWUFBQUI4RUpJQkFBQUFINFJrQUFBQXdBY2hHUUFBQVBCQlNBWUFBQUI4RUpJQkFBQUFINFJrQUFBQXdBY2hHUUFBQVBCQlNBWUFBQUI4RUpJQkFBQUFINFJrQUFBQXdBY2hHUUFBQVBCQlNBWUFBQUI4RUpJQkFBQUFINFJrQUFBQXdBY2hHUUFBQVBCQlNBWUFBQUI4RUpJQkFBQUFINFJrQUFBQXdBY2hHUUFBQVBBUll2VUFRQ0NJaTR0Ylp2VU1RRmNNdzdqRk1JeEcwelRQV1QwTElPa25WZzhBWEErRVpLQVhETVA0SDZ0bkFMcGptcWJWSXdBZGVEd2VyOVV6QU5lQ2tBeDB3elROVllaaHpMZDZEcUFiWXlYZExVbW1hVzYzZUJhZzFkbUlpSWdqVmc4QlhBdkQ2Z0VBQUZjdklTRmhqTWZqcVpDa2twSVMvazBIZ091RUwrNEJBQUFBUGdqSkFBQUFnQTlDTWdBQUFPQ0RrQXdBQUFENElDUURBQUFBUHZnbU5BQUVrUGo0K0ljazdlL051WU1HRFlvdEtDZzQwYzhqQVlBdEVaSUJJTEE0NHVQakwwb2EzTU41TlNVbEpUZjZZeUFBc0NQcUZnQVFXTHlTaW5weDNpZjlQUWdBMkJraEdRQUNqTmZyZmIybmN6d2V6eVovekFJQWRrVklCb0FBTTNueTVGMlNtcnM1cGY3NDhlUDhKREFBWEFOQ01nQUVtSGZmZmRjajZYaFhqeHVHOGFrZnh3RUFXeUlrQTBBQWNqcWRXN3Q2ckxtNWViTS9ad0VBTzJKM0N3QUlRTEd4c1lQRHdzSWFUTk4wK2p4MHNhU2tKRnlTYWNWY0FHQVhyQ1FEUUFBcUxTMjlaSnBtWjNzZy8xMEVaQUM0Wm9Sa0FBaGNiL2tlY0RnY1c2d1lCQURzaHBBTUFBRXFORFQwaitxNGF0eFVWRlIwMEtwNUFNQk9DTWtBRUtBKysreXppNFpobkd5OWI1cm1FVkcxQUlEcmdwQU1BQUhNTk0zZDdXNW5XRGtMQU5nSnUxc0FRQUM3L2ZiYmg0V0hoOWRJYWk0cEtRbFR5ODlXQXdDdUVTdkpBQkRBdnZ6eXl6cEozeGlHVVNJQ01nQmNOeUZXRHdBQXVHYTdKUDNiNmlFQXdFNm9Xd0JBSDgyWk0rZUd4c2JHTk1Nd2tpUk5sblNMcEZDTHh4b0ltaVNka3ZTVmFab0hJeUlpc3ZMejh4dXRIZ29BcmdZaEdRQjZ6M0M1WEN0TjAweVhOTXJxWVFMQUdjTXcwb3VMaTMyM3FnT0FBWStRREFDOU1ILysvSkM2dXJvTTB6UlhTcExMNVZKcWFxcHV2ZlZXVFpnd1FhR2hMQ1EzTlRYcHUrKyswOG1USjdWbnp4NFZGeGRMa2t6VGZDTWlJdUxaL1B6OFpvdEhCSUJlSXlRRFFNK00rUGo0LzViMFdFUkVoTGxwMHlZaklTSEI2cGtHdk1MQ1FxMVpzOGFzcmEwMUpPMG9LU2w1UXF3b0F3Z1FUcXNIQUlDQkxqNCsvaWxKNjhhTkc2Zk16RXhqeXBRcFZvOFVFTWFQSDYvNzdydlArTnZmL3FhNnVyb1o0OGFOKzY2aW9xTEU2cmtBb0RkWVNRYUFicmhjcmx0TjB5eDFPcDJoV1ZsWm1qcDFxdFVqQlp6UzBsS3RXTEZDSG8rbnllbDBUaTBzTER4bDlVd0EwQlAyU1FhQWJwaW11VlpTNk5OUFAwMUF2a3F4c2JGNit1bW5KU25VNi9XdXRYb2VBT2dOVnBJQm9Bc3pac3lJQ1FrSitmZXdZY09jQnc0Y01JWU1HV0wxU0FHcm9hRkJTVWxKWm4xOXZjZnI5VTQrZHV4WW1kVXpBVUIzV0VrR2dDNkVoSVE4S1Nsa3laSWxCT1JyTkdUSUVDMWR1dFNRRk9KME9wKzBlaDRBNkFraEdRQzY5b2drSlNVbFdUMkhMU3hjdUxEMTVpTld6Z0VBdlVGSUJvQk96Snc1OHpaSlU4ZVBINi9vNkdoTFpqQk5lKzJXRmhNVG8zSGp4c2swemRqLy8zd0JZTUFpSkFOQUo1eE81NTJTTkh2MmJCbUdOVi9mV0xObWpUWnUzS2lMRnk5Mk9PNXl1WlNTa3RMajgxTlNVdVJ5dWZwcnZENHpERU96WjgrV0pEbWR6cmtXandNQTNRcXhlZ0FBR0tCbVN0S2tTWk1zdWZpMzMzNnIvUHg4elpneFF6ZmNjRU9QNTNjV21rK2ZQdDNsWSt2V3JiTWtRTGY3UEdmNi9lSUEwQWVFWkFEbzNBeEp1dVdXV3l5NStGdHZ2U1ZKV3IxNnRTUmRFV2pkYm5mYk1ZZkRJYS9YMitWcnVkM3VLNDQxTkRSY3IxSDdwTjNuU1VnR01LQVJrZ0dnY3hNa2FlellzWDYvOElrVEo1U1RrNk9VbEJRMU56ZHIyYkpsU2s1TzFxaFJveVJKbVptWmlvaUlVR3BxcXFTV2tMeHk1VXBWVlZWMWVKMG5uM3hTNWVYbHlzM043WEE4TWpMU1AyK2tFNjJmcDJFWTR5MGJBZ0I2Z1pBTUFKMkxrS1NoUTRmNi9jSzV1Ym55ZXIwNmVQQ2c5dTNicDRrVEozWWJiQjkrK0dGSjB2MzMzOS9wNDc3SGk0dUxyOSt3ZmRUNmVYcTkzZ2pMaGdDQVhpQWtBMERuYnBSYTl2ZjF0MGNlZVVRLytNRVB0SGZ2WHJuZGJxMVpzMFlyVjY3c2NFNU5UWTB5TXpNbFNYUG56dFdZTVdNa3Rhd1MvL0tYdjVRa1pXUmtxS3FxU3VucDZSM3VXeWs4UEZ5U1pCakdqWllPQWdBOUlDUUR3QUFURlJXbE0yZk95TzEyYStIQ2hVcElTT2oxNnUrUUlVTTBkMjdMeGhHWm1abXFxcXE2NGo0QW9HZUVaQURvWExXa1VRME5EUm84ZUxCZkwzeisvSGx0MkxCQmtqUjgrSEJ0MmJKRkkwZU8xTGx6NXpvOWYrVElrVXBMUzVNa2xaZVhYMUd2NktxR1lZVUxGeTVJa2t6VHJMWjRGQURvRmlFWkFEcFhJMmxVZlgyOWJyelJ2ODJBNDhlUHE3S3lVcEtVbloydHlaTW42OUtsUzUzdVVpRzFyRHlucGFWcDQ4YU5rcVNUSjA5cSsvYnRIWDZNSkRrNVdULzYwWS82Zi9nZTFOZlhTNUljRGtlTnhhTUFRTGNJeVFEUXVlOGtUYTZvcU5DRUNSUDhldUU3Nzd4VHYvdmQ3eFFkSGExaHc0YXBycTVPNjlhdGszVGxsKzdhYncyWGxKU2t2L3psTDhyT3p0Yk5OOStzQ3hjdXFLcXFTZzgrK0tBKy9QQkRSVVpHNm1jLys1bGYzNHV2aW9vS1NaSnBtdDliT2dnQTlJQ1FEQUNkKzF6U1BhZE9uVkpDUW9KZkwzemd3QUh0M3IxYkZSVVZxcTJ0bFNTTkg5K3lZOXFXTFZzNmZVNWVYcDZ5c3JMMHIzLzlTek5tek5EdmYvOTdQZlhVVTZxcXF0S0dEUnRrR0lheXNyTDB3UWNmYU9uU3BVcEpTZEhJa1NQOTlwNWFuVHAxcXZYbWNiOWZIQUQ2Z0pBTUFKMDdMa2xmZi8yMTN5OTgrZkpsbFpXVktUbzZXblBtek5IRWlSTjE4T0JCU2RLT0hUczZmYzZCQXdma2RydjF6RFBQS0MwdFRVNm5zKzB4cDlPcGwxNTZTZE9uVDlkcnI3Mm1RNGNPYWNtU0pYNTVMNzdhZlo2RVpBQURHaUVaQURyaDhYais3blE2VlZCUUlOTTBaUmlHMzY2OWFORWlwYVNreU9Gd3RCMHJMQ3hVUTBPRDh2THlPcHlibUppb0VTTkdhTU9HRGZKNnZSMVdoeGN0V3RUaHkzNnBxYW1hUDMrK3BKWXZCUHFiYVpvcUtDaVFKSGs4bnYvMSt3QUEwQWYrKzFjZkFBSk1mSHg4cWFTcGUvYnNVVXhNak5YakJMeFRwMDVwOGVMRk1neWp0TGk0ZUpyVjh3QkFkeHc5bndJQVFldDlTVzFWQjF5Ymp6NzZxUFhtKzFiT0FRQzlRVWdHZ0M0ME56ZG5TbXJPenM0Mkd4b2FyQjRub0RVME5HajM3dDJtcEdhUHg1TnA5VHdBMEJOQ01nQjA0ZlBQUC85RzB0dDFkWFhHTysrOFkvVTRBZTJkZDk1UmZYMjlZUmpHOW1QSGpwVlpQUThBOUlTUURBRGRNQXpqRlVsTlc3ZHUxWWtUSjZ3ZUp5Q1ZscFpxNjlhdGt0VGtjRGhlc1hvZUFPZ05aOCtuQUVEd3FxaW9PRDkyN05oSzB6U1RDd29LTkcvZVBFVkVSRmc5VnNBb0x5L1hjODg5cDlyYVdobUdzYXFvcU9nVHEyY0NnTjRnSkFOQUR5b3FLbzZPSFR2MjFycTZ1aGtIRHg0MHAwNmRhclQrdUFlNmR1VElFVDN6ekRQbTJiTm5EVWs3U2twS1hyUjZKZ0RvTFVJeUFQVEM3YmZmdnYvU3BVdWpHaHNiRTNKeWNsUmNYS3pRMEZCSlVuaDR1RUpDMkhhK3FhbEpicmRiUlVWRmV2WFZWN1Z0MnpZMU5UVVpwbW0rRVJFUnNiS3NyTXhyOVl3QTBGdnNrd3dBdldlNFhLNlZYcTkzZzJFWW82MGVacUF6VGJQUzRYQzhWRnhjL0VkSnB0WHpBRUJmRUpJQm9JL216NThmVmxOVHM5emhjQ3cwVFhPeXBGc2xoVm85MXdEUUpPbWtZUmhmZWIzZWp5SWlJckx5OC9NYnJSNEt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SUNBOTMrSEROSmNRVnBITmdBQUFBQkpSVTVFcmtKZ2dnPT0iLAogICAiVHlwZSIgOiAiZmxvdyIsCiAgICJWZXJzaW9uIiA6ICIzNiIKfQo="/>
    </extobj>
    <extobj name="ECB019B1-382A-4266-B25C-5B523AA43C14-2">
      <extobjdata type="ECB019B1-382A-4266-B25C-5B523AA43C14" data="ewogICAiRmlsZUlkIiA6ICI4NDM5NTE1Mzc4NyIsCiAgICJHcm91cElkIiA6ICI0OTg2Mjc1MzQiLAogICAiSW1hZ2UiIDogImlWQk9SdzBLR2dvQUFBQU5TVWhFVWdBQUExWUFBQUs3Q0FZQUFBRHg4UjZEQUFBQUNYQklXWE1BQUFzVEFBQUxFd0VBbXB3WUFBQWdBRWxFUVZSNG5PemRlWHhVOWIzLzhmZDNFa0pZRWhZWExJdElpRVVJSnVZTVZIR3BRUUZKY0dNd0Zia29na0JyVzl0N3IvWGVhdHVmV3kyMlY2clNhaFVSdDE1UmtVRkJDSUpvdUxSRmhDUWs3TmVBN0VMWnNwQ1FiZWI3K3dObWJzSWF5RExKNVBWOFBIeVErWjR6NTN4eUV2RzgvWHpuZXlR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VMR2hMcUFjSktTa2hKWlZGUjB0ekVtWFpMYldudVJwTmFocnFzWktEZkc3SmVVSmVtRG1KaVlEekl6TTZ0Q1hSUUFBQUJRV3dTcittRWN4NWtzNlplU0xndHhMZUZnbTZRcDJkblpyMG15SWE0RkFBQUFPQ3VDVlIzRng4ZTNqbzJOblNGcHJDVDE2ZE5INmVucGlvK1AxNldYWHFvT0hUcUV1TUttcjdDd1VEdDI3RkIrZnI1bXo1NnR6WnMzQnphOVUxUlVOQ2svUDc4OGxQVUJBQUFBWjBPd3FnTzMyOTNXV3J0STBnMFhYSENCSG4vOGNWMTc3YlV5aHN0NnZxeTErc2MvL3FFbm4zeFNCdzhlbEtUbHhwamhXVmxacGFHdURRQUFBRGdkVjZnTGFNNzhmditMa203bzNidTMzbjc3YlYxMzNYV0Vxam95eHVpNjY2N1RXMis5cGQ2OWUwdlNEZGJhRjBKZEZ3QUFBSEFtcElEejVIYTd4MWhyLy92Q0N5L1VlKys5cDA2ZE9vVzZwTEJ6K1BCaDNYMzMzVHA0OEtDc3RXTnljbkptaGJvbUFBQUE0RlRvV0oySDY2NjdMc1phKzJkampKNTY2aWxDVlFQcDFLbVRubjc2YVVtU01lYWw2NjY3TGliRUpRRUFBQUNuUkxBNkQyVmxaVCtSMU9tMjIyN1QxVmRmSGVweXd0clZWMSt0MjI2N1RaSTZsWmFXL2pqVTlRQUFBQUNuUXJBNlI0bUppZTJzdFE4YlkzVC8vZmVIdXB3VzRmNzc3NWN4UnNhWWh4TVRFOXVGdWg0QUFBRGdSQVNyY3hRWkdYbW5wQXRUVWxMVXMyZlBVSmZUSWx4MjJXVktTVW1ScEl0YXRXcDFSNGpMQVFBQUFFNUNzRHAzSXlWcCtQRGhvYTZqUmFsMnZVZUdzZzRBQUFEZ1ZBaFc1MkRRb0VGdEpLVkdSa1pxMEtCQm9TNm5SUmswYUpBaUlpSmtyVTA5L25NQUFBQUFtZ3lDMVRtb3FLaTRSbExiNU9Sa3RXdkhSMzBhVTd0MjdaU2NuQ3hKN1Nvcksxa3hCQUFBQUUwS3dlcmNKRXJTRlZkY0VlbzY2c1RuOCtueHh4K1gzKyt2TVY1YVdxb25ubmhDNWVYbElhcnN6QUxYM1ZxYkdPSlNBQUFBZ0JvaVExMUFjeEs0b1krTGl3dDFLWktrano3NktQaWNwOXJJeXNxU0pPM2R1MWNyVjY2VXkxVXpWLy8xcjM5VmVYbTVXcmR1WGE5MTFwZHExNTFnQlFBQUFEUlhqdU44NlRpT3pjdkxzMDJCMysrM1ZWVlZ0cXFxeWpxT1k0dUxpNE92VHpVV3NHTEZDdnZnZ3cvV09OYnUzYnZ0NE1HRDdlN2R1NjNQNTdQang0KzMrL2Z2Yit4djZZenk4dktzNHpqV2Nad1ZvZjVkQUFBQUFLcWpZM1Z1THBTa3pwMDdoN29PU1pJeFJoRVJFY0hYTHBlcnh1dFRqWTBmUDE0Yk5teVFNVWJYWDMrOWpoNDlxbFdyVnVtcHA1N1MyTEZqMWJWclYwblNIWGZjb2VlZWUwN1BQdnRzNDN3enRkQ3BVNmZBbHhlR3NnNEFBQURnUkFTcmM5TkJVck5ldU9LTk45N1E0NDgvcnF1dnZscERodzdWc0dIRDlJYy8vRUdyVnEyU3orZlRGMTk4b2VMaVlwV1VsS2lvcUVpNXVibEtTa29LZGRtU2FsejNEcUdzQXdBQUFEZ1J3ZXJjeEVwUzI3WnRRMTFIbld6ZXZGa1RKa3pRdm4zNzFMVnJWdzBaTWtTWFgzNjV1bmZ2cmdzdnZGQ2RPM2RXaHc0ZE5HL2VQTDMrK3V1YU5tMWFxRXVXUkxBQ0FBQkEwMFd3YXNiY2JuZU4xemZjY01OSisxUWZteng1c3U2OTkxNGRQSGhRbDE1NnFaWXVYYXJ2ZnZlN0dqQmdnQVlNR0hEU2UxTlRVM1h6elRmWGYrRUFBQUJBbUNGWW5ac2lTUmVXbHBZcUtpb3ExTFVFVi9tcnFLalFvRUdEOU5WWFg5WDRQSlhiN2RieTVjdHJkTmh5YzNNVkV4T2pJMGVPYU1XS0ZjRnc1bmE3ZGZIRkY5YzRma0ZCZ1Zhc2FEcnJSSlNVbEFTK0xBeGxIUUFBQU1DSkNGYm5wbERTaFNVbEplcllzV09vYXduYXYzKy9ZbU5qVDFxNDRsU1NrcEtVbHBhbWNlUEc2Y2lSSS9yWGYvMVhTVkpVVkpReU1qSnE3RHRvMEtBR3FmZDhFYXdBQUFEUVZQR0E0SE56UUpJT0hUb1U2anBxK1BMTEw1V1FrRkRyL1NkT25LaExMcmxFRlJVVit1YWJieHF3c3ZwMStQRGh3SmNIUWxrSEFBQUFjQ0tDMWJsWkw2bEpoWkd0VzdmcUwzLzVpKzY1NTU1YXYrZWpqejVTUVVHQmZ2U2pIK25CQngvVTFxMWJHN0RDK2hPbzB4aXpQc1NsQUFBQUFEVXdGZkFjR0dQeXJMVk5Kb2g4L1BISCt1TWYvNmpKa3lmcnV1dXVxOVY3WnMyYXBROCsrRUN2dnZxcUxyNzRZaVVtSmlvdUxrNlZsWlc2NDQ0N0dyaml1cWwyM2ZOQ1dRY0FBQUJ3SW9MVnVjbVRwRTJiTm9XNkRrbFNseTVkOU1JTEx5ZzVPZm1VMnlkUG5xeFdyVnJWR0x2c3NzczBZOFlNWFhEQkJaS2tmdjM2U1RxMmV1RHp6ejlmWTk5Lys3ZC9hNENxejEvZ3VodGpDRllBQUFCb1VreW9DMmhPQmcwYTFLYTh2SHgvWkdSa3U4OC8vN3haUHlpNHVTa3BLZEhnd1lQbDgvbEtZbU5qTDh6TXpDd0xkVTBBQUFCQUFKK3hPZ2NyVnF3NEttbFJWVlZWazFxR3ZDVllzV0tGZkQ2ZmpERVpoQ29BQUFBME5RU3JjemRYa2hZdFdoVHFPbHFVYXRkN2JpanJBQUFBQUU2RllIV09xcXFxUHBKMElETXpVOXUzYnc5MU9TM0N0bTNibEptWktVbjdLeXNyUHc1eE9RQUFBTUJKQ0ZibktDOHZyOFFZTTlWYXF6ZmZmRFBVNWJRSWI3NzVwcXkxc3RaT3pjdkxLem43T3dBQUFJREdSYkE2RDlIUjBTOUpPanh2M2p5dFhMa3kxT1dFdFpVclYycisvUG1TZExodDI3WXZoN29lQUFBQTRGUllGZkE4SlNjbjMyT01lZmVDQ3k3USsrKy9yMDZkT29XNnBMQno2TkFoalI0OVdnY1BIcFMxOXA2Y25KejNRbDBUQUFBQWNDb1JvUzZndWRxN2QrKzZTeTY1cFB2Um8wZWR2Ly85NzdyKyt1c1ZFeE1UNnJMQ3hyZmZmcXVmL09RbjJyTm5qeVM5bHBPVE15WFVOUUVBQUFDbncxVEFPbkM1WEQrWHRIekxsaTBhTjI2Yy92NzN2OHRhRytxeW1qVnJyZjcrOTc5cjNMaHgycnAxcXlRdE44YjhhNmpyQWdBQUFNNkVxWUIxRkI4ZjN6bzJObmFHcExHUzFLZFBINlducDZ0Mzc5N3EyYk9uT25Ub0VPSUttNzdDd2tKdDM3NWRXN1pzMGV6WnM3VjU4K2JBcG5lS2lvb201ZWZubDRleVBnQUFBT0JzQ0ZiMXd6aU9NMG5TbzVJdUMzRXQ0V0NicENuWjJkbXZTYUlGQ0FBQWdDYVBZRldQVWxKU0lvdUxpMzlnclUyWDVKWjBrYVRvRUpmVkhKUkoyaThweXhnek95WW01b1BNek15cVVCY0ZBQUFBQUNkeEhNYzZqa01IQ0FBQUFLaG5MRjRCQUFBQUFIVkVzQUlBQUFDQU9pSllBUUFBQUVBZEVhd0FBQUFBb0k0SVZnQUFBQUJRUndRckFBQUFBS2dqZ2hVQUFBQUExQkhCQ2dBQUFBRHFpR0FGQUFBQUFIVkVzQUlBQUFDQU9pSllBUUFBQUVBZEVhd0FBQUFBb0k0SVZnQUFBQUJRUndRckFBQUFBS2dqZ2hVQUFBQUExQkhCQ2dBQUFBRHFpR0FGQUFBQUFIVkVzQUlBQUFDQU9pSllBUUFBQUVBZEVhd0FBQUFBb0k0SVZnQUFBQUJRUndRckFBQUFBS2dqZ2hVQUFBQUExQkhCQ2dBQUFBRHFpR0FGQUFBQUFIVmtRbDBBR2taaVltTDN5TWpJWDU4dy9NUGpmNzVhZmJDcXF1cTNlWGw1dXhxbk1nQUFBQ0Q4RUt6Q1ZIcDZla1IrZnY1dVkweVhNKzFucmQwWEh4L2ZiZmJzMmI3R3FnMEFBQUFJTnhHaExnQU5ZOE9HRGJaYnQyNjlKUTA0eTY3dkxGMjY5SlBHcUFrQUFBQUlWM3pHS296NS9mNDV0ZGl0TnZzQUFBQUFPQU9DVlJoenVWekxyTFdIenJETHdRNGRPaXhydElJQUFBQ0FNRVd3Q21OWldWbVZ4cGlQejdETHg1bVptVldOVmhBQUFBQVFwZ2hXWWM0WWM5cXBmaTZYaTJtQUFBQUFRRDBnV0lXNXdzTEN6eVFWbldKVFVVRkJ3ZExHcmdjQUFBQUlSd1NyTUplZm4xOXVyVDNWcW4vejgvUHp5eHU5SUFBQUFDQU1FYXhhZ05OTUIyUWFJQUFBQUZCUENGWXRnREZta2FUU2FrT2x4cGhQUTFVUEFBQUFFRzRJVmkxQVZsWldxYVNNd0d0anpNTGpZd0FBQUFEcUFjR3FoYkRXQnFmKzFmTEJ3UUFBQUFCcWlXRFZRa1JGUlMwSWZOMjJiZHNGWjlvWEFBQUFBSEFhanVQTWR4eG5YcWpyQUFBQUFNSk5aS2dMUUtPYVk0eXhvUzRDQUFBQUNEY20xQVUwTnNkeC9rUFM3ME5kQjVvSGEyMW1UazdPNEZEWEFRQUFnS2F0cFgzR3lrajZhYWlMUVBOaGpFa0pkUTBBQUFCbytsclVWRURIY2E2VzFLTkxseTVhc0dDQmpHbHhEVHZVMHRTcFUvWHV1KzlLMHZPaHJnVUFBQUJOWDR2cVdCbGowaVZwNk5DaGhDcWNsdC92MTJlZmZTWkpzdGJPRG5FNUFBQUFhQVphVXJBeTF0cDBTUm95WkVpb2EwRVR0bmJ0V3Yzem4vK1VNV1pYVGs3T3lsRFhBd0FBZ0thdnhRU3I2dE1BKy9mdkgrcHkwSVNkMEszeWg3WWFBQUFBTkFjdEpsZ3hEUkMxd1RSQUFBQUFuSStXRXF4Y1RBTkViUVNtQVVyYXlUUkFBQUFBMUZhTENGYU80M3hQVEFORUxRUzZWWkkrRk5NQUFRQUFVRXN0SWxneERSQzF3VFJBQUFBQW5LK1dFS3lZQm9oYVlSb2dBQUFBemxmWUJ5dW1BYUsybUFZSUFBQ0E4eFgyd1VyU0Q2UmozU3FtQWVKMC9INi9saTVkR25qNVFTaHJBUUFBUVBNVDdzSEtKZWt1NmRqbnE0RFRXYnQycmZidDJ5ZEpPN096czVrR0NBQUFnSE1TMXNHS2FZRG54dWZ6NmVEQmc1S2t5c3JLRUZmVHVFNllCbWhEV0FvQUFBQ2FvYkFPVm1xRzB3Qm56SmloanovK3VNYVl0VmEvK01VdnRITGw2UnNwWldWbGV2dnR0MVZhV25yZTU5NjVjNmZ1dSs4K1ZWUlU2TjU3NzlWSEgzMVVZM3R1YnE3V3JWdDMwdnVtVDU5KzN1ZHNDcGdHQ0FBQWdMb0s1MkRWTEtjQjV1WGw2YkxMTHFzeDl2enp6K3VDQ3k3UWh4OStxUDM3OTUveWZhMWF0ZExPblR2MUgvL3hIL0w3ejIvZGhlam9hUG45ZmtWRlJlbmxsMS9XcWxXcmRPVElFVW5Id3Njenp6eWp5TWhJU2RJOTk5d1QvT2UxMTE2cjhmcTk5OTQ3ci9PSEN0TUFBUUFBVUZlUm9TNmdvU1FuSjErdFpqUU44TDMzM3BQWDY5WE9uVHUxYTljdVJVWkdhdGFzV2ZyREgvNmdxcW9xL2VwWHY5SzMzMzZyUng5OVZJODk5cGppNHVKcXZEOGlJa0tQUHZxb2Z2U2pIMm4yN05tNisrNjdUM3N1djkrdndZTUhuelJ1clZWcGFhbHV2UEhHNE5pSUVTUDAvdnZ2YS9YcTFVcEtTbEtmUG4zMDVaZGZhdGFzV2NGOWJyenh4aHF2bTV2QU5FQmp6R3d4RFJBQUFBRG5JV3lEVmVDaHdNMWxHdURvMGFOMTVaVlhhdnIwNlhyeHhSZTFhOWN1alI4L1htVmxaY0h0a25UbzBDSDkrdGUvMWwxMzNTV1B4MVBqR0M2WFMybHBhWHJoaFJlVW1wcXEyTmpZVTU3TFdxc2pSNDRvS3l1cnh2alJvMGQxODgwM2E5bXlaVFhHQ3dzTE5XdldMTDM2NnF2NjlOTlBOVy9lUEZWVlZlbWxsMTZTSkpXV2x1cWVlKzRKN3YvMjIyK3JWYXRXZGJzZ2phVDZORUFlQ2d3QUFJRHpGYTdCcWxsT0ExeTJiSmtHRHg0c2o4ZWo1NTkvWHNPSEQ5ZVlNV05PMm0vNzl1Mm5YVnhpeFlvVmF0V3FsZjc2MTcvcXh6Lys4VG1kUHpvNldwV1ZsZkw3L1hLNVhNck16RlRmdm4yVmtaR2hmZnYyYWVMRWlTb29LTkRNbVRQVnRXdFhYWC85OVpLYWQ4ZUthWUFBQUFDb0QyRVpySnJiTk1DQUw3NzRRak5tek5EYmI3K3RuajE3YXVyVXFaby9mNzRrcVVlUEhvcUxpOU9QZnZRalRaMDZWZE9tVFR2cC9VVkZSZnJiMy82bVAvM3BUM3I0NFlkMTMzMzNxWDM3OXFjOVgvVXBmNUswWk1rU2RlalFRWWNQSDFiNzl1MzE1Sk5QNnBWWFhsRjZlcnJ1dlBOT3ZmTEtLK3JYcjUvMjdObWpoeDkrT1BpK3JsMjcxdWhZU1dvMlFZdHBnQUFBQUtnUFlibDRSWE9iQmlnZG0rSzNZOGNPalI4L1hudjI3SkhINDlIZXZYczFhOVlzelpvMVM5dTJiZFBubjM4dTZWakg2bFErK09BRHVkMXVPWTZqYTYrOVZ1Kzg4ODRwOS9QNWZHcmR1cldXTFZ1bVpjdVc2WXN2dmxCcGFhbWlvcUxVcFVzWDdkMjdWL1BuejFmZnZuM1ZwMDhmdFd2WFRpdFdyRkJ4Y2JGdXYvMTJPWTZqV2JObXllZnpuZlJQVEV4TXN3bFZUQU1FQUFCQWZRbkhZT1dxSHF5YWk4NmRPMnZseXBYeWVyM3EycldydkY2dnlzcktORzdjT0kwYk4rNnM3ejkwNkpEZWVlY2RQZkRBQTVLa0gvN3doNW8xYTVaMjc5NTkwcjRsSlNXS2lZa0p2aTRySzFPYk5tMGtTVDE3OXRUYXRXdjE2cXV2NmljLytZa2thZVBHalhyaWlTZTBhOWN1M1g3NzdYcjIyV2NsU1FjT0hOQUhIM3lnNjYrL1hoOTg4SUUrK09BRGZmUE5OM1crRm8xbDNicDFnV21BTzVnR0NBQUFnTG9JdTZtQXljbkpWMXRydXplM2FZQW5LaWtwVVhSMHRONTY2eTFKMGc5KzhJUFQ3bXV0MWROUFA2M3JyNzllU1VsSmtxUkxMNzFVSTBlT0RFN25jN24rTDBQdjM3OWZGMTEwVWZCMVVWRlJNR2dsSmlicVQzLzZrMUpUVTVXUWtLREt5a3AxNjlaTnp6enpqSHIzN3EwZVBYb0VsMXdQdkRjek0xTS8rOW5QNnZYN2J3eExsaXlSSkJsamVDZ3dBQUFBNmlUc09sYlZ1MVhWdzBSVDk5VlhYK21Ydi95bEprNmNxTjI3ZCt2KysrOVhRVUdCSmt5WW9Ba1RKcHp4dlgvKzg1LzE5ZGRmNnovLzh6OXJqRC80NElNNmNPQ0FubnZ1dVJyalc3WnNVVnhjbkNvcUtpUWRlM2JXZDc3ekhVbkhGckNvcUtqUVF3ODlKRW1hTW1XS05tellvQ0ZEaHFobno1N2F0V3VYbGk5Zkhqelc4dVhMZGZqd1lTMWF0S2pPMTZBeE1RMFFBQUFBT0QyWDIrM2U2VGlPemMzTnRjMUpXVm1aUFh6NHNQWDVmSGJreUpIV1dtdlQwOU9EMjZ0L2ZmdnR0MXRycmEycXFySi8rTU1mYkVwS2lzM1B6ei9sY2ZQejgrMzN2Lzk5KzV2Zi9NWWVPWExFV212dEUwODhZVC84OEVQN3lDT1AyR3V1dWNhbXBLVFk1Y3VYMjIzYnR0a2hRNGJZY2VQRzJYbno1bGxyclgzd3dRZnR2SG56N0xoeDQreVFJVVBzK1BIajdjc3Z2Mnl0dGZhRER6NndJMGFNc0Y5OTlaVjk1SkZIN0lRSkUrektsU3ZyLytJMGdOemNYT3M0am5VY1o3dWs1dkZCUEFBQUFLQXhKQ2NuRDNJY3g2YW1wbHFmenhmcWUvZnpWajFZVlZWVjJTTkhqdGg3NzczWGJ0dTJ6ZTdZc2NNT0d6Yk1XbXZ0SC8vNFI1dVdsbmJhVUJXd2J0MDZPM1RvVUR0dDJqUmJXRmhvVTFKUzdNR0RCNjIxMWxaV1ZscHJyZDJ6WjQ4ZE1XS0VuVDkvdnQyNmRhc2RNV0tFemMzTnRjT0dEYk1IRGh5d216WnRDbDdUQlFzVzJIdnV1Y2VPR1RQR2J0eTRNWGllek14TW01cWFhbDk3N2JWNnZ5YjE3Ym5ubnJPTzQxaTMyejAxMUwrM0FBQUFRSlBpT003emp1UFlxVk9uaHZxK3ZVNEN3ZVNkZDk2eG16WnRzck5temJKZmYvMjEvZDN2Zm1mSGpoMXIvL0tYdjFocnJTMHNMTFFGQlFXMU91Ymh3NGR0WldXbHpjbkpzYzg4ODh4SjI5ZXNXV1BmZWVlZDRPdk16RXc3ZlBodys5UlRUNTIwNzlkZmYyM1hyRmx6eXZNVUZoWTIrVzZoeitlenFhbXBnV0IxZGFoL2J3RUFBTkQ4aGRNVUtKZmI3ZDV1cmUzK3hodHZLREV4TWRUMU5GaytuMDhSRVJHaExpTms4dkx5Tkg3OGVPbllhb0NYaVlVckFBQUFVRWZOWjNXSHN3aVgxUUFiUTBzT1ZSS3JBUUlBQUtEK2hVMndNc2I4UUdwK3F3R2ljVlZmRFZEU0I2R3NCUUFBQU9FalhCS0l5eGh6bDlTOEhncU14bGY5b2NCWldWbGZoYm9lQUFBQWhJZXdDRlpYWFhYVk5Vd0RSRzE4OXRsbmtvTFBybUlhSUFBQUFPcEZXQVFybDh2VkxCOEtqTWJsOS91RHdjcmxjdkZRWUFBQUFOU2JjRWdoVEFORXJUQU5FQUFBQUEybDJRY3JwZ0dpdHBnR0NBQUFnSWJTN0lNVjB3QlJHMHdEQkFBQVFFTnE3a25FSlNrWXJJRFRZUm9nQUFBQUdsS3pEbFpYWFhYVk5aSzZNUTBRWjhNMFFBQUFBRFNrWmgyc21BYUkybUFhSUFBQUFCcWFDWFVCZGVGMnUzZGFhN3VIdWc0MEd6dXlzN012RXgwckFBQUExTE5tM2VieCsvMzVvYTRCemNwTElsUUJBQUFBcUF2SGNhempPQVFMQUFBQW9KNDE2NDRWQUFBQUFEUUZCQ3NBQUFBQXFDT0NGUUFBQUFEVUVjRUtBQUFBQU9xSVlBVUFBQUFBZFVTd0FnQUFBSUE2SWxnQkFBQUFRQjBSckFBQUFBQ2dqZ2hXQUFBQUFGQkhCQ3NBQUFBQXFDT0NGUUFBQUFEVUVjRUtBQUFBQU9xSVlBVUFBQUFBZFVTd0FnQUFBSUE2SWxnQkFBQUFRQjBSckFBQUFBQ2dqZ2hXQUFBQUFGQkhCQ3NBQUFBQXFDT0NGUUFBQUFEVUVjRUtBQUFBQU9xSVlBVUFBQUFBZFVTd0FnQUFBSUE2SWxnQkFBQUFRQjBSckFBQUFBQ2dqZ2hXQUFBQUFGQkhCQ3NBQUFBQXFDT0NGUUFBQUFEVUVjRUtBQUFBQU9xSVlBVUFBQUFBZFdSQ1hRQWFSbUppWXZmSXlNaGZuekQ4dytOL3ZscDlzS3FxNnJkNWVYbTdHcWN5QUFBQUlQd1FyTUpVZW5wNlJINSsvbTVqVEpjejdXZXQzUmNmSDk5dDl1elp2c2FxRFFBQUFBZzNFYUV1QUExanc0WU50bHUzYnIwbERUakxydThzWGJyMGs4YW9DUUFBQUFoWGZNWXFqUG45L2ptMTJLMDIrd0FBQUFBNEE0SlZHSE81WE11c3RZZk9zTXZCRGgwNkxHdTBnZ0FBQUlBd1JiQUtZMWxaV1pYR21JL1BzTXZIbVptWlZZMVdFQUFBQUJDbUNGWmh6aGh6MnFsK0xwZUxhWUFBQUFCQVBTQlloYm5Dd3NMUEpCV2RZbE5SUVVIQjBzYXVCd0FBQUFoSEJLc3dsNStmWDI2dFBkV3FmL1B6OC9QTEc3MGdBQUFBSUF3UnJGcUEwMHdIWkJvZ0FBQUFVRThJVmkyQU1XYVJwTkpxUTZYR21FOURWUThBQUFBUWJnaFdMVUJXVmxhcHBJekFhMlBNd3VOakFBQUFBT29Cd2FxRnNOWUdwLzdWOHNIQkFBQUFBR3FKWU5WQ1JFVkZMUWg4M2JadDJ3Vm4yaGNBQUFBQWNCcU80OHgzSEdkZXFPc0FBQUFBd2sxa3FBdEFvNXBqakxHaExnSUFBQUFJTnliVUJhQlJ1QnpIR1NycEhVa1g2ZGdEZzMrUW5aMjlSSkkvcEpVQkFBQUFZWUJnRmNhU2s1TzdHbVBHUzVvbzZiSlQ3TEpOMGd4anpNeXNyS3h2RzdNMkFBQUFJSndRck1KTWVucDZSSDUrL2pCanpHUkp0MG1La0tSdTNicko0L0hvMm11djFULys4UTk1dlY3dDNyMDc4RGFmcFBuVzJ1bng4ZkdMWjgrZTdRdFIrUUFBQUVDelJMQUtFMGxKU2QwaUl5TW5XR3NuU3JwVWtpSWpJNVdTa2lLUHg2T0JBd2ZLNWZxL1JTRDlmcjlXclZvbHI5ZXJMNzc0UWo1Zk1FdnRNTWJNcUtxcW1wbWJtN3Y3NURNQkFBQUFPQkhCcWhsTFQwK1AyTHAxNjNCcjdXUkp0K3I0OHZrOWV2VFF5SkVqZGR0dHQ2bHo1ODVuUGM2aFE0YzBmLzU4ZWIxZTdkcTFLekRzTThaOFlveVozcXRYcjAvcFlnRUFBQUNuUjdCcWhnWU9ITmpENS9OTmtQU0FwQjdTc2U3VVRUZmRKSS9ISTdmYlhhTTdWVnQrdjE5WldWbnllcjM2L1BQUFZWVlZGZGkwMHhnem83S3ljbVplWHQ2dU14MERBQUFBYUlrSVZzMUVTa3BLWkZGUlVhcWt5WkxTZEx3N2RlbWxsOHJqOGVqV1cyOVZwMDZkNnUxOGh3OGYxaWVmZkNLdjE2c2RPM1lFaHYyU0ZraWFIaHNidXlnek03UHE5RWNBQUFBQVdnNkNWUlBuZHJzdjlmdjlEeGhqSHBEVVRaSmF0V3FsbTIrK1dSNlBSNDdqeUppRyt6RmFhNVdkblMydjE2dWxTNWVxc3JKU2ttU00yV1d0ZmYzNGlvSTd6bklZQUFBQUlLd1JySnFnbEpTVXlJS0NnaEhHbU1uR21GUWQvem4xN05rejJKM3EyTEZqbzlkVlVGQVE3R0p0Mzc0OU1PeVhsR0d0bmQ2aFE0ZUZkTEVBQUFEUUVoR3NtcERrNU9TZUxwZHJvclYyZ3FTdWtoUVZGUlhzVGlVbkp6ZG9kNnEyckxYS3lja0pkckVxS2lvQ20vWllhMStYOUhwT1RzNzJNeHdDQUFBQUNDdWh2MHR2NGR4dWR5dHI3YTJTSmtrYXJ1TS9rMTY5ZXNuajhXakVpQkhxMEtGRFNHczhrOExDUWkxWXNFQno1c3pSdG0zYkFzTlcwaUpqekhSSkM3S3lzaXBEVm1BejA2NWR1eUZSVVZGZERoOCsvTjhuYklwUXpYOWY2UXdDQUFBMElRU3JFRWxNVE93VkdSazVVZElFU1pkSXg3cFRRNGNPbGNmalVWSlNVcFBvVHRXV3RWYTV1Ym55ZXIxYXNtUko5UzdXdDVKbSt2MytHV3ZXck5rV3VncWJoeDQ5ZXJ4Y1dscTZzbnYzN2k5V1ZsYnVrcVJXclZyMUxpa3ArU0l5TXJLckpMVnAwNlpmVGs1T1ZHZ3JCUUFBUUhYTjU4NDlETGpkN2xaK3YvOTJZOHdrU2NOMC9Qckh4Y1ZwMUtoUlNrdExVMnhzYkdpTHJBZEZSVVZhdUhDaDVzeVpvNjFidHdhR3JhVEZrcVliWStiVHhUb2wwNzkvLzIvV3JWdDNkVkpTMHViYzNOeU9rblRsbFZmdVdydDJiZmZBVGllK0JnQUFRT2hGaHJxQWxtRGd3SUZ4VlZWVmsveCsvM2hqVEJmcFdIZHEyTEJoOG5nOFNreE1iRmJkcWJPSmpZM1Y2TkdqZGZmZGR5c3ZMMDllcjFlTEZ5ODJGUlVWdDBpNnhlLzM3MHRPVHA0WkdSazVZOVdxVlZ2UGVzQVdvbjM3OWpjWVl5SWw3UXQxTFFBQUFEZzM0WE0zMzhRa0pDUkVSVWRIMytIMyt5Y1pZNFlHeG52MzdxMVJvMFlwTlRVMUxMcFR0VlZVVktTTWpBek5tVE5IVzdac0NZNWJhNWRJbWw1UlVURnYvZnIxRmFjL1F2aUxpNHY3c0YyN2R0ZXNYYnUyZTFKU1VrRjVlZmsyU1dyZHVuV2Zzckt5SEdOTVc0bXBnQUFBQUUwUndhcWVPWTRUcjJNTFVZeVhkSkVrdFc3ZFdyZmNjb3M4SG8vNjkrOGZWdDJwYzJXdDFicDE2K1QxZXZYcHA1K3F2THc4c09tZnhwZzNyTFV6c3JPejgwTlpZeWkwYTljdU1TNHVMa09TRFFTcndGVEEyTmpZVzRxS2lqNE43TnU1YytmMFE0Y096UTVac1FBQUFEaEp5NzNEcjBjSkNRbFJyVnUzdmxQU1pFazNCOFl2di94eWpSbzFTc09IRDFkTVRFem9DbXlpaW91THRXalJJczJaTTBkZmYvMTE5VTFMSlUwdkx5Ly9xS1Ywc1RwMzdqekJHRlBWdFd2WDN3V0NWV0R4aXFLaW9xVVhYbmpoaExLeXNpMlMxS1pObXl2MjdObno2TDU5KzU0UGJkVUFBQUFJSUZqVlFWSlMwbmNqSWlJbVNycGZ4N3RUMGRIUkdqNTh1RHdlai9yMTY5ZWl1MU8xWmEzVit2WHJnMTJzc3JLeXdLYjlrdDcwKy8ydnJWbXo1dXN6SENJY1JFc3FDeXhNVWIxakpVbng4ZkZMOC9QemgwdHlYWFhWVlljMmI5NTg4OUdqUjc4TVhia0FBQUNvanJ2K2N4UWZIOTg2SmlabXBERm1zcVRCZ2ZFK2Zmckk0L0VvTlRWVjdkcTFDMkdGemR1UkkwZTBhTkVpZWIxZWJkNjh1ZnFtTDZ5MTA0dUxpK2ZtNStlWG4rNzl6ZDNwZ2xXM2J0MStWMVJVOUkvSXlNajJsMXh5eVg5dTNMZ3hPWlIxQWdBQW9DYUNWUzBOR0RDZ2o4L25tMlNNdVYvU0JaTFVwazJiWUhlcWI5KytkS2Zxa2JWV0d6WnNDSGF4amg0OUd0aDAwRnI3WmtSRXhHdXJWNi9lZktaak5FZlZnMVZnS21CRlJjWHVuVHQzL3JSWHIxN3ZSa1JFeE96WXNXTmljWEh4MzBKZEt3QUFBUDRQU2VBTVVsSlNvb3VMaXozVzJzbVNiZ3lNOSszYlZ4NlBSOE9IRDFmYnRtMURXR0hMVUZKU0V1eGliZHEwcWZxbVpjYVk2VEV4TWQ3TXpNeXkwNzIvT1RsZHgwcFNURUpDUXJiUDV5dll0R25UWUVsSFFpZ21yazhBQUNBQVNVUkJWRlVqQUFBQVRrYXdPZ1hIY2ZwS21tU3RIV2VNNlN4SmJkdTJWV3BxcWthT0hLbStmZnMyeUhsOVBwOEtDZ3Awd1FVWHFMS3lVcTFhdFdxUTh6Um5HemR1bE5mcjFhSkZpMVJhV2lwSnN0WWVNc2E4SmVtMTdPenNqYUd0c0c1T0VheE1URXpNaUI0OWV2elhnUU1IWG91SWlHaDd3UVVYVE5xL2YvOEwrL2J0bXlHcE9OUTFBd0FBQUVHREJnMXE0empPV01keC9zZHhIQnY0Wit6WXNYYnUzTG0ycEtURU5yUnZ2dm5HcHFXbDJmTHljbnYzM1hmYnVYUG4xdGkrWnMwYXUzYnQycFBlOStxcnJ6WjRiVTFOU1VtSjlYcTlkdXpZc2JiNnordjR6Mi9zb0VHRDJvVDZkK3A4WEg3NTVaOGQvL09MNDBNeHZYcjFlcTlObXpiWEJQYUppb3JxMTcxNzk5OUxJbmtEQUFBMEVTMitZNVdVbEpRUUVSRXhTZEo5a2pwSng3cFRhV2xwOG5nODZ0T25UNlBWc25mdlhvMGZQMTRaR1JrNmRPaVFwazZkcWtjZmZWVHQyN2VYMysvWDZOR2o5ZFJUVCttS0s2N1FQZmZjRTN4ZmZuNis0dVBqZzYvdnVPTU9qUjQ5dXRiblBYandvS1pNbWFJdnYveFNVVkZSdXV1dXUvVGdndzhHUHpQbTkvdjE0b3N2YXQ2OGViTFd5dVB4NktHSEhqcmxaOHJlZSs4OXZmdnV1OXE3ZDY5Njl1eXBSeDU1Uk4vNzN2ZnFjRlhPYnRPbVRabzdkNjRXTGx3WTdHSkpPaXpwYld2dDlKeWNuQTBOV2dBQUFBQmF2QllackFZTkd0U21yS3dzWGRKa1k4eDFnZkdFaEFTTkdqVktRNGNPYmREUFR2bjlmZzBlUFBpa2NXdXRTa3RMVDFwVjhQMzMzOWZxMWF1Vm01dXJ4eDU3VEN0WHJ0UTExd1FiR0xyeHhodTFiTm15azQ1MzVNZ1JsWlNVcUV1WExtZXM1Nzc3N3ROM3Z2TWQvZXBYdjFKaFlhRisvdk9mYTh5WU1icnJycnNrU1crKythYm16NSt2bDE1NlNhV2xwWm84ZWJKKyt0T2Y2czQ3N3p6cFdDKy8vTEp1dXVrbWRlblNSZSsvLzc1bXpacWx4WXNYcTNYcjFyVzZOblZSV2xxcXhZc1h5K3YxYXYzNjljRnhhKzNmSlUyUGpvNmV2V0xGaXFPblB3SUFBQUNBc3hvd1lFQi90OXM5elhHY3c0R3BZemZjY0lOOTl0bG43ZWJObXh0dEdsdFZWWlYxSE9lazhkTFNVanRvMEtDVHhnc0tDdXlZTVdOc2NYR3h6Y2pJc0E4KytLQmR2bnk1SFQxNnRCMDllclFkTUdCQThPdlJvMGZiaW9vS2E2MjErL2J0czBPSERyWFRwazJ6eGNYRnA2eGwrL2J0MW5FYysrMjMzd2JIRmkxYVpQL2xYLzRsK0RvdExjM09uejgvK1ByUGYvNnpuVGh4NGxtL3o2TkhqMXJIY2V5ZVBYdk91bTk5MjdScGs1MHlaWXE5NFlZYnFrOFRQT3gydTZjTkdEQ2dmNmgvRndFQUFCQmVJa05kUUdOd0hHZWtKSy9mN3crT1hYbmxsUm8xYXBTR0RCbWlObTJheHNkeG9xT2pWVmxaS2IvZkw1ZkxwY3pNVFBYdDIxY1pHUm5hdDIrZkprNmNxSUtDQXMyY09WTmR1M2JWOWRkZkwrbFl4MnJXckZrbkhlL2lpeS9XaHg5K3FKa3paeW85UFYxang0NVZlbnE2b3FLaWd2dVVseDk3SkZUMWFYMmRPblhTbGkxYkpCMmJKcmgzNzE1ZGVlV1Z3ZTM5K3ZYVDdObXp6L3I5ckZ5NVVwZGNjc2xaTzJZTm9VK2ZQdnJsTDMrcG4vLzg1MXF5WkltOFhxL1dybDNiMFZyN2tMWDJJY2R4Sk1tVG5aMDl0OUdMQXdBQVFOaHBFVk1CSGNjNUlpazR2KzYzdi8ydFVsTlRRMWFQeitmVDk3NzNQYlZ2Mzc3RytKSWxTNVNXbHFiMzMzOWY3ZHUzMS9EaHcvWEtLNitvZS9mdXFxeXMxQ3V2dktKKy9mcXBhOWV1bWpwMTZoblBjV0xRMnJkdm4xNTk5VlZsWldYcG9ZY2UwcEFoUTRLMTNISEhIWEs3M2ZyRkwzNmhzckl5L2IvLzkvLzAxVmRmNmF1dnZsSitmcjdHakJtanpNeE14Y1RFU0pKeWNuSTBjZUpFclZxMVNpNlg2NVRuejhySzBxT1BQcW9wVTZiSTdYYWY3NldxVndzWEx0UnZmdk9iNmtNbCtyL2ZDNzhrVzVzL3JiWFdHT09YWksyMWZtT01EV3d6eGxocnJWK1NOY2I0cmJXblBNWnA5anVYODUxdXYxcWR6Ky8zbi9LWXhoaDdwbTFuT2taZy9QZ3gvTmJhN0RWcjFueGNMejg4QUFDQUpxNUZkS3drM1N0cGpvNEh5Vi8vK3RkNjc3MzNncCtuYXV5T2xjL25VK3ZXcllPZmkvTDcvYnI2NnFzVkZSV2xMbDI2YU8vZXZkcTRjYVA2OXUwYlhEd2pJeU5EeGNYRnV2MzIyK1gzK3pWcjFpejk0QWMvT09uWUhUdDIxUFRwMDA5NTN2YnQyOHRhcThMQ3d1QllSRVNFWG5qaEJUM3p6RE1hTW1TSXVuWHJwclMwTksxWnMwWVJFUkh5K1h5U1ZDTkF1Vnl1TXo0TWVmLysvWHI0NFlmMTNIUFBoVHhVSFQxNk5QaTVxM1hyMWxYZlpIWHM5OEo3L0hYZ0c0dzQyekdyZis4blhvZGorZWprcjA5VTIvM09kcjdUN1hlMjg1M3VtR2ZiZGk3SE1NWlVpWlVMQVFCQUM5RWlndFh4NlY2dUFRTUc5UGY1ZkpPTU1mZXRXN2V1NDdwMTYvVGNjODhwTFMxTkkwZU9iTFFWQUV0S1NvTGRIMGtxS3lzTGhydWVQWHRxN2RxMWV2MzExL1hDQ3k5SU92YnNwaWVlZUVKWFhIR0Zici85ZGwxenpUVjY3TEhIZE9EQUFYMysrZWVhTm0yYWZ2YXpuMG1TaGc0ZFd1TmNXN1pzMGR0dnY2M1ZxMWRyekpneG1qMTc5a2tMU2NUSHgrdU5OOTRJdnA0N2Q2NTY5dXdwU1lxTmpaVWtGUllXQmhmVktDZ29VTWVPSFUvYnJWcXpabzNpNHVJMFlNQ0E4NzVHZGJWNTgyWjV2VjVsWkdTb3BLUWtNRnhnclgwN0lpTGl0ZFdyVndkU2xrdVNTVTlQTjF1M2JuV1ZsWldaaXk2NnlGVmVYbTVLU2twY1BwL1B0Ry9mM2xWVlZXVXFLaXBjN2R1M054VVZGUzYvMzIraW9xSmNmci9mVkZWVnVmeCt2N0hXbWxhdFdybjhmci94K1h5dTFxMWJHNS9QNS9MNy9TWXlNdEpsclRWK3YvK2sxNUdSa2Nidjk3dXN0Y1phYXlJaUlrNjVyZnE0Sk9OeXVRTHZjVVZFUkFUSHJiVTF0a2t5eHBqQU5wZkw1VExXV3RlWjlqdnhQU2Z1R3pqR0dmWjdVaTNrN3hjQUFBQ3BoZDM0SEwrWi92bWdRWU4rV1ZaV2RwY3habkpKU2NuMXMyZlAxdXpaczVXUWtDQ1B4Nk5odzRZMTZLcUErL2Z2MTBVWFhSUjhYVlJVRkF4YWlZbUordE9mL3FUVTFGUWxKQ1Nvc3JKUzNicDEwelBQUEtQZXZYdXJSNDhlaW95TXJQSGV6TXpNWUxDcWJ0ZXVYWHJvb1lkMDMzMzM2VmUvK2xXTnoxYWR5WklsUy9UOTczOWZrdFMxYTFmRnhNUm93NFlONnRxMXF5UnB3NFlONnQvLzlPcy9YSDMxMWZydWQ3OWJxM1BWcDlPdENpanBiOWJhNmRIUjBSK2VZbFZBSzhrZS84eVlyN0ZxRFhlTzR6d1o2aG9BQUFBYVU0c0tWZ0hIYjY3ZmtmUk9jbkp5UDJQTUpFbmoxcTlmMzJuOSt2V2FPblZxc0l0MXhSVlgxUHY1dDJ6Wm9yaTRPRlZVVkNncUtrcDVlWG42em5lK0krbllBaFlWRlJWNjZLR0hKRWxUcGt6UnNHSEROR1RJRVBuOWZ1M1lzVU03ZCs3VURUZmNJRWxhdm55NURoOCtyRVdMRm1uNDhPRTF6blB4eFJmcm80OCtPbXVneXMzTlZWeGNuS3kxZXVlZGQ3UjE2MVpObVRKRjByRnBmN2ZkZHB0bXpweXBxNjY2U2tWRlJmSjZ2WHJxcWFmTytQMnRXN2RPOTk1NzczbGZvM094YWRPbVlIZnFoT2RZdldXdGZZM25XQUVBQUtDaHRZakZLMm9qSlNVbHVxaW9hSlNreVpLK0h4anYyN2V2Um8wYXBWdHV1YVhldWxoUFB2bWsrdmZ2cjVVclYycjU4dVdLam83VzAwOC9yUjQ5ZW1qaXhJbnExcTJiUm8wYXBkdHV1MDAvL3ZHUGxacWFxamx6NW1qMzd0M3EwYU9IQmc0Y3FBY2ZmRkN6WjgvV1cyKzlwY2NmZjF5elo4L1d3WU1IOWNNZi9qRDRRTjZQUHZwSXYvLzk3MDladzVJbFM0S0xaMHliTmkyNHlwL2I3ZGJERHorc0hqMTZCUGN0THkvWE04ODhvNlZMbHlvbUprWVRKMDRNUHVQcVZGNS8vWFZsWkdUb3d3OC9ySmZyZFNxbHBhVmF0R2lSdkY2dk5tN2NXSDNULzBpYUhoc2JPeWN6TTdPc3dRckFHVG1PWXlVcE96dWJ2Mk1BQUFCYUtyZmJmWVhiN1o2YW5KeDhNUEFNcE91dnY5Nys5cmUvdFJzMmJEai9oeXRaYXdzTEMyMUtTb285ZVBDZ3RkYmF5c3BLYTYyMWUvYnNzU05HakxEejU4KzNXN2R1dFNOR2pMQzV1YmwyMkxCaDlzQ0JBM2JUcGszVzUvTlphNjFkc0dDQnZlZWVlK3lZTVdQc3hvMGJnOGZPek15MHFhbXA5clhYWHF0VGpVM1ordlhyN2ROUFAyMnZ1KzY2NnMrbk91QjJ1NmU2M2U3NmJ5L2l2QVIrTnFHdUF3QUFvTEh3ZjVQUElDVWxKYnF3c0hDa3BNbkdtSlRBK0JWWFhDR1B4NlBodzRjSEYzU29yVFZyMW1qaHdvVjY3TEhIYW96bjV1WnE3ZHExR2p0MnJDUnAyYkpsZXZiWlozWHR0ZGVldUVTNDh2UHpWVkpTb3FTa3BKT09YMVJVcEczYnRpa3hNZkdjNm1yS1NrcEtsSkdSSWEvWHE4MmJOd2ZIcmJXWmtxWjM2TkJoTHQycHBvV09GUUFBYUdtNDZhbWxBUU1HOVBINy9STWwzUy9wUWtscTA2YU5icm5sRm5rOEh2WHIxKytNeTExWDUvUDVGQkZ4MWxXOVd6UnJyVFpzMkNDdjE2dEZpeGFwckN5WW13NUlldFBsY3MxWXZYcjE1ak1jQWlGRXNBSUFBQzBOTnozbktENCt2blZzYk95ZE92WlpySnNDNDMzNjlBbDJzVTU4OEM5cTc4aVJJOEh1MVAvKzcvOVczL1M1cE9sRlJVVWY1ZWZubDRlb1BOUVN3UW9BQUxRMDNQVFV3VlZYWFhXNXkrV2FLR204cEl1a1k2djZCYnBZQ1FrSnRlNWl0V1RXV3ExYnQwNWVyMWVMRnkrdTNwM2FMK2tOdjk4L1k4MmFOVitIc0VTY1FYeDhmT3RPblRwMXFqN204L20rbGFTSWlJanZWQjgvZlBqd1lZSXhBQUFJUjl6MTE0T0VoSVNvNk9qb082eTFreVVOQ1l4ZmZ2bmw4bmc4U2sxTnJmRkFZQnhUWEZ3YzdFNTkvWFdOM1BTWk1XWjZXVm5aeCt2WHI2OElWWDJvbllFREIxN2k4L24yNk94L24vZ2pJaUs2clZxMWFtOWoxQVVBQU5DWUNGYjF6TzEyOTVZMHlWbzdYdExGa3RTNmRXc05HelpNSG85SFYxNTVaWXZ1WWxscnRYYnQybUIzcXJ3ODJMejRwN1YycHN2bG1wR1ZsYlVsbERYaTNEbU9reW5weHJQc3RpdzdPenVsNGFzQkFBQm9mQzMzRHIrQkpTUWtSRVZGUmQxKy9PSER3d0xqdlh2M2xzZmpVVnBhbW1KalkwTllZZU1xS2lyU3dvVUw1ZlY2dFdWTGpkeTAyRm83dmFLaVlqN2RxZVlyT1RuNUlXUE10TFBzOWxCMmR2YWZHNlVnQUFDQVJrYXdhZ1FEQnc2TXE2cXFtaWhwZ2pHbWl5UkZSVVVGdTFpSmlZbGgyY1d5MWlvdkx5L1luYXFvQ09hbXZaSm1Sa1JFdkw1cTFhcXRJU3dSOVNRcEthbGJSRVRFcmpQdDQvUDV1dWZtNXU1dXJKb0FBQUFhVS9qZHpUZGhicmU3bGJYMk5rbVRKTjJpNDljL0xpNU9IbzlISTBhTUNJc3VWbEZSa1JZc1dDQ3YxNnV0VzRPNXlVcjZWTkowWTh3bldWbFpsYUdyRUEzQmNad1ZrcTQ1emVZVjJkbloxelptUFFBQUFJMkpZQlVpVjExMTFXWEhWeFNjSU9rNzByRXUxcEFoUStUeGVIVFZWVmMxcXk2V3RWWnIxcXlSMSt2Vlo1OTlWcjA3OWEweDVuV2Z6L2Y2bWpWcnRvV3dSRFF3dDl2OUMydnRmNTFxbXpIbUYxbFpXVk1idXlZQUFJREcwbnp1M01PVTIrMXVKV21FMysrZlpJeEoxZkdmeVdXWFhTYVB4Nk5iYjcxVkhUcDBDRzJSWjFCWVdLaFBQdmxFWHE5WDI3WnRDd3hiYTIyR3RYWjZ4NDRkRjJSbVpsYUZzRVEwa3NURXhGNlJrWkdubk5wWlZWVVZsNWVYOTAxajF3UUFBTkJZQ0ZaTlNISnljazlKRHhoakhwRFVWWkphdFdxbG0yKytXUjZQUjQ3ak5Ja3VsclZXMmRuWjhucTlXcnAwcVNvcmc3UDZkbHRyWDVjME15Y25aM3NJUzBTSU9JNlRMU241aE9IczdPeHNkeWpxQVFBQWFDeWh2MHZIU1ZKU1VpSUxDd3ZUakRHVEphVktja2xTejU0OWcxMnNqaDA3Tm5wZEJRVUZ3ZTdVOXUzQjNPU1h0RkRTOU5qWTJBeTZVeTJiNHppL2t2VGJFNFovbFoyZC9idFExQU1BQU5CWUNGWk5uTnZ0dnRSYU84RVk4NEMxdHJ0MHJJdDEwMDAzeWVQeHlPMTJOMmdYeTFxcnJLd3NlYjFlZmY3NTU4SHVsREZtbDdWMlJrUkV4TXhWcTFidGJMQUMwS3k0M2U0cnJMVWJxNCs1WEs0clZxOWV2VGxVTlFFQUFEUUdnbFV6a1pLU0VsbFVWRFJjMG1SSkkzUzhpM1hwcFpkcTVNaVJ1dlhXVzlXNWMrZDZPOStoUTRmMHlTZWZhTzdjdWRxeFkwZGcyQy9wRTJQTTlMaTR1RVd6WjgvMjFkc0pFVFljeDFrdnFaOGtHV1BXWjJWbDlROXhTUUFBQUEyT1lOVU1KU1ltZG0vVnF0VUVhKzFFU1Qwa0tUSXlVb01IRDViSDQ5R0FBUVBrY3JuTytiaCt2MStyVjYrVzErdlZGMTk4b2FxcTRLeStIY2FZR1pXVmxXL2s1ZVdkOFZsRlFISnk4bFBHbU45SWtyWDJxWnljbk1kRFhSTUFBRUJESTFnMVkrbnA2UkhmZlBQTkxkYmF5ZGJhV3lWRlNGTDM3dDAxY3VSSTNYNzc3YlhxWWgwNmRFano1czNUM0xsenRXdFhNRGY1Sk0yMzFrNlBqNDlmVEhjS3RaV2NuSnhrakZsei9HVlNkbloyWGtnTEFnQUFhQVFFcXpDUmxKVFV6ZVZ5alRmR1RKSjBxWFNzaTVXU2tpS1B4Nk9CQXdmVzZHTDUvWDZ0V3JVcTJKM3krWUs1YWJ1MWRvYU9yZXkzcDlHL0VZUUQ0empPMTVKc2RuYjJkM1hzNGRBQUFBQmhqV0FWWnRMVDB5TzJiTmt5Vk1jK2kzVzdqbmV4dW5YcnBwRWpSK3JhYTYvVlAvN3hEODJkTzFlN2QrOE92TTBuYVo2azZiMTc5MTVDZHdwMTVUak83NDB4TmlzcjY1ZWhyZ1VBQUtBeEVLekNtTnZ0L282MWRyeWtTWkl1TzhVdTJ5Uzlab3g1SXlzcjY5dkdyQTFoeWVVNHpsQnI3VnZHbUM3VzJoSmp6S2pzN093bE9yYndDUUFBUU5naVdMVU1McmZiUGNSYUczZ3VWb1l4Wm5wV1Z0Wm40b1lYZFpTY25OelZHRE5lMGtTZFBzRFBNTWJNSk1BREFJQndSYkJxUVJ6SHNaS1VuWjNOengxMWtwNmVIcEdmbnovcytFT3NiMU8xS2FjZWp5YzQ1ZFRyOVo0NDVaUUZVUUFBUUZqaUJyc0ZJVmlocnBLU2tycEZSa1lHbHZxdnl5SXBPNHd4TTZxcXFtYm01dWJ1UHZsTUFBQUF6UXMzMkMwSXdRcm5JejA5UFdMcjFxM0RqMDhsdlZYSEgwN2RvMGNQalJ3NVVyZmRkbHV0bC9XZlAzKyt2RjV2aldYOWpUR2ZHR09tOStyVjYxTzZXQUFBb0xuaUJyc0ZJVmpoWEF3Y09MQ0h6K2ViSU9rQlZYc1E5VTAzM1NTUHh5TzMyMzNlRDZMT3lzcVMxK3ZWNTU5L1h2MUIxRHVQUDRoNkpnK2lCZ0FBelEwMzJDMEl3UXBuazVLU0VsbFVWSlNxWTh2MXArbDRkK3JTU3krVngrUFJyYmZlcWs2ZE90WGIrUTRmUHF4UFB2bEVYcTlYTzNic0NBejdKUzJRTkQwMk5uWlJabVptMWVtUEFBQUEwRFJ3ZzkyQ0VLeHdPbTYzKzFLLzMvK0FNZVlCU2Qwa3FWV3JWcnI1NXB2bDhYamtPSTZNYWJoZkcydXRzck96NWZWNnRYVHBVbFZXVmtxU2pERzdyTFd2SDE5UmNNZFpEZ01BQUJBeTNHQzNJQVFyVkplU2toSlpVRkF3d2hnejJSaVRxdU4vSC9UczJUUFluZXJZc1dPajExVlFVQkRzWW0zZnZqMHc3SmVVWWEyZDNxRkRoNFYwc1FBQVFGUEREWFlMUXJDQ0pDVW5KL2QwdVZ3VHJiVVRKSFdWcEtpb3FHQjNLams1dVVHN1U3VmxyVlZPVGs2d2kxVlJVUkhZdE1kYSs3cWsxM055Y3JhZjRSQUFBQUNOSnZSM1QyZzBCS3VXeSsxMnQ3TFczaXBwa3FUaE92N3ZmcTlldmVUeGVEUml4QWgxNk5BaHBEV2VTV0Zob1JZc1dLQTVjK1pvMjdadGdXRXJhWkV4WnJxa0JWbFpXWlVoSzdDWmF0ZXUzWkNvcUtndWh3OGYvdThUTmtXbzVuOGY2QkFDQUhBVzNHQzNJQVNybGljeE1iRlhaR1RrUkVrVEpGMGlIZXRPRFIwNlZCNlBSMGxKU1UyaU8xVmIxbHJsNXViSzYvVnF5WklsMWJ0WTMwcWE2ZmY3WjZ4WnMyWmI2Q3BzWG5yMDZQRnlhV25weXU3ZHU3OVlXVm01UzVKYXRXclZ1NlNrNUl2SXlNaXVrdFNtVFp0K09UazVVYUd0RkFDQXBxLzUzRkdoemdoV0xZUGI3VzdsOS90dk44Wk1ralJNeC84OWo0dUwwNmhSbzVTV2xxYlkyTmpRRmxrUGlvcUt0SERoUXMyWk0wZGJ0MjROREZ0Sml5Vk5OOGJNcDR0MVJxWi8vLzdmckZ1Mzd1cWtwS1ROdWJtNUhTWHB5aXV2M0xWMjdkcnVnWjFPZkEwQUFFNHRNdFFGQUtnZkF3Y09qS3VxcXByazkvdkhHMk82U01lNlU4T0dEWlBINDFGaVltS3o2azZkVFd4c3JFYVBIcTI3Nzc1YmVYbDU4bnE5V3J4NHNhbW9xTGhGMGkxK3YzOWZjbkx5ek1qSXlCbXJWcTNhZXRZRHRqRHQyN2Uvd1JnVEtXbGZxR3NCQUNBY2hNOWRGczZLamxYNFNVaElpSXFPanI3RDcvZFBNc1lNRFl6Mzd0MWJvMGFOVW1wcWFsaDBwMnFycUtoSUdSa1ptak5uanJaczJSSWN0OVl1a1RTOW9xSmkzdnIxNnl0T2Y0U1dJeTR1N3NOMjdkcGRzM2J0MnU1SlNVa0Y1ZVhsMnlTcGRldldmY3JLeW5LTU1XMGxwZ0lDQUZCYjNHQzNJQVNyOE9FNFRyeU9MVVF4WHRKRmt0UzZkV3ZkY3NzdDhuZzg2dCsvZjFoMXA4NlZ0VmJyMXEyVDErdlZwNTkrcXZMeThzQ21meHBqM3JEV3pzak96czRQWlkyaDFLNWR1OFM0dUxnTVNUWVFyQUpUQVdOalkyOHBLaXI2TkxCdjU4NmQwdzhkT2pRN1pNVUNBTkJNdE53N3J4YUlZTlc4SlNRa1JMVnUzZnBPU1pNbDNSd1l2L3p5eXpWcTFDZ05IejVjTVRFeG9TdXdpU291THRhaVJZczBaODRjZmYzMTE5VTNMWlUwdmJ5OC9LT1cxc1hxM0xuekJHTk1WZGV1WFg4WENGYUJ4U3VLaW9xV1huamhoUlBLeXNxMlNGS2JObTJ1MkxObno2UDc5dTE3UHJSVkF3RFF0SEdEM1lJUXJKcW5wS1NrNzBaRVJFeVVkTCtPZDZlaW82TTFmUGh3ZVR3ZTlldlhyMFYzcDJyTFdxdjE2OWNIdTFobFpXV0JUZnNsdmVuMysxOWJzMmJOMTJjNFJEaUpsbFFXV0ppaWVzZEtrdUxqNDVmbTUrY1BsK1M2NnFxckRtM2V2UG5tbzBlUGZobTZjZ0VBYVBwWXZBSm9ndUxqNDF2SHhNU01OTVpNbGpRNE1ONm5UeDk1UEI2bHBxYXFYYnQySWF5dytUSEdxSC8vL3VyZnY3LysvZC8vWFlzV0xaTFg2OVhtelpzdmt2U0l5K1Y2eEhHY0w2eTEwNHVMaStmbTUrZVhuL1dnelZmWm1UWWVQWHAwWlV4TXpDMlJrWkh0eTh2TC81ZFFCUURBMmZHL3VWc1FPbFpOMzRBQkEvcjRmTDVKeHBqN0pWMGdTVzNhdEFsMnAvcjI3VXQzcWg1WmE3Vmh3NFpnRit2bzBhT0JUUWV0dFc5R1JFUzh0bnIxNnMyaHJMRWhWZTlZQmFZQ1ZsUlU3TjY1YytkUGUvWHE5VzVFUkVUTWpoMDdKaFlYRi84dDFMVUNBTkRVMGJFQ1Fpd2xKU1c2dUxqWVk2MmQ3UGY3Ynd3RXA3NTkrOHJqOFdqNDhPRnEyN1p0aUtzTVQ4WVlKU1FrS0NFaG9VWVhhOU9tVFJjWVl4NzIrLzBQTzQ2enpCZ3pQU1lteHB1Wm1YbkdUazl6dG1IRGh2N1ZYc1pFUkVSMDlQbDhCY1hGeFd0Q1ZoUUFBTTBJd1FvSUVjZHgra3FhVkZoWU9NNFkwMW1TMnJadHE5VFVWSTBjT1ZKOSsvWnRrUFA2ZkQ0VkZCVG9nZ3N1VUdWbHBWcTFhdFVnNTJsdTJyVnJwMUdqUm1uVXFGSGF1SEdqdkY2dkZpMWFwTkxTMGh1dHRUY1dGaFllY2h6bkxVbXZaV2RuYnd4MXZRM0V4TVRFak9qUm84ZC83ZCsvL3k4UkVSRnQrL2Z2djM3Ly92MHY3TnUzYjRhazRsQVhDQUFBRUhLTzQ5akFkRUNFeHFCQmc5bzRqalBXY1p6L0NmdzhITWV4WThlT3RYUG56clVsSlNXMm9YM3p6VGMyTFMzTmxwZVgyN3Z2dnR2T25UdTN4dlkxYTliWXRXdlhudlMrVjE5OXRjRnJhMnBLU2txczErdTFZOGVPdGRWL1hzZC9mbU1IRFJyVUp0Uy9VM1Z4K2VXWGYzYjh6eStPRDhYMDZ0WHJ2VFp0Mmx3VDJDY3FLcXBmOSs3ZGZ5K0pCQTRBd0Jud1lZMFdoTTlZaFU1U1VsSkNSRVRFSkVuM1Nlb2tIZXRPcGFXbHllUHhxRStmUG8xV3k5NjllelYrL0hobFpHVG8wS0ZEbWpwMXFoNTk5RkcxYjk5ZWZyOWZvMGVQMWxOUFBhVXJycmhDOTl4elQvQjkrZm41aW8rUEQ3Nis0NDQ3TkhyMDZGcWZkL1BtelhyeHhSZVZsNWNuYTYzY2JyY2VlZVFSOWVqUlE1TGs5L3YxNG9zdmF0NjhlYkxXeXVQeDZLR0hIanJsWjhyZWUrODl2ZnZ1dTlxN2Q2OTY5dXlwUng1NVJOLzczdmZxY0ZYT2J0T21UWm83ZDY0V0xseW8wdExTd1BCaFNXOWJhNmZuNU9Sc2FOQUNBQUJBazhZTmRndENzR3BjZ3dZTmFsTldWcFl1YWJJeDVyckFlRUpDZ2thTkdxV2hRNGMyNkdlbi9INi9CZzhlZk5LNHRWYWxwYVVuclNyNC92dnZhL1hxMWNyTnpkVmpqejJtbFN0WDZwcHJnbzBMM1hqampWcTJiTmxKeHp0eTVJaEtTa3JVcFV1WDA5WlNXbHFxRVNOR2FOU29VUm8zYnB5cXFxcjB4ei8rVVJzMmJOQ2NPWE1rU1crKythYm16NSt2bDE1NlNhV2xwWm84ZWJKKyt0T2Y2czQ3N3p6cGVDKy8vTEp1dXVrbWRlblNSZSsvLzc1bXpacWx4WXNYcTNYcjFyVytQdWVydExSVWl4Y3ZsdGZyMWZyMTY0UGoxdHEvUzVvZUhSMDllOFdLRlVkUGZ3UUFBQUEwYTB3RmJCd0RCZ3pvNzNhN3B6bU9jemh3elcrNDRRYjc3TFBQMnMyYk56ZmFOTGFxcWlyck9NNUo0NldscFhiUW9FRW5qUmNVRk5neFk4Ylk0dUppbTVHUllSOTg4RUc3ZlBseU8zcjBhRHQ2OUdnN1lNQ0E0TmVqUjQrMkZSVVYxbHByOSszYlo0Y09IV3FuVFp0bWk0dUxUMW5MNXMyYnJlTTQ5dkRodzhHeEw3LzgwbDU5OWRYVzcvZGJhNjFOUzB1ejgrZlBEMjcvODUvL2JDZE9uSGpXNy9QbzBhUFdjUnk3WjgrZXMrNWIzelp0Mm1TblRKbGliN2poaHVyVEJBKzczZTVwQXdZTTZILzIzeFlBQUFBME93U3JodVU0enNnVFBvZGp4NDBiWitmTm0yZExTMHNiL2FiL2RNSEs3L2ZiQVFNR1dKL1BaNjIxOW9zdnZyQjc5KzYxYjd6eGhyMzU1cHZ0M1hmZmJXKzU1UmE3ZS9mdUd1LzcvdmUvZjlwekZSWVcydWVmZjk0T0h6N2Mvdld2ZjdYbDVlVTF0bGRVVk5nNzdyakRQdlhVVTdhOHZOd2VPblRJVHB3NDBUNzU1SlBXV21zUEhEaGdIY2V4MjdadEM3N244ODgvdHpmZWVPTlp2OC9NekV5YmxwWVcvSDVDb2JTMDFINzg4Y2QyM0xoeEozNFd5enFPTXpMVXY1dkEvMmZ2M3VPaUxQUC84Yit1ZXdZWUZKQTB4VkMwVU9Nd0Nzd01wRzc2bFJLUmc0ZTRpZGJjVHBiU285MnN6eWUzUjJXMlc1cWZ0azEzTzN4c0N3K2RmcHYxUlcvTkE2Q20wYmFmOXR2S0RLQ0FrRUtlendjWUJPYkEzTmZ2RDVqN0E4cEpoUmxnM3M5L2NxN3JudnQrejh3VmM3M25mZC9YVFFnaHBPZlJLV0VlaEU0RjdGbDZ2ZjRxQU9YOHVqZmZmQlBKeWNsdWk4ZmhjT0NlZSs2Qm41OWZxL1k5ZS9ZZ0pTVUZYMy85TmZ6OC9KQ1VsSVNQUHZvSUkwZU9oTjF1eDBjZmZZVEl5RWdFQndkajllclZIUjVqNDhhTnJSNmZPM2NPSDMvOE1ZeEdJeFl2WG95RWhJUldmYSs4OGdwT25EaUIrdnA2ekowN0Z5Kzg4QUxVYWpVcUtpb3dmLzU4NU9mbnc5L2ZId0JRV0ZpSWhRc1hZdi8rL1JBRW9jM2pHNDFHdlBMS0szanJyYmRnTUJodTVtM3Fkams1T1hqdHRkZGFOdFhoZjhlRkRJQzM4ZC9yMmpqbk1tT3M1V1BPR0pNQmNNYVl6RGxYK2hoam5IUGVabC9MWTF6YjErSVlISURjOGhnZEhmL2F2bzZPMy9JWWpERlpsdVcyOXROUm44d1k0OWYyT1ovVDNDZHp6azFGUlVYZmROc0hTUWdoaE53Z1dtNmRrTzd6S0lETmFQN0JZdG15WmZqcXE2K1U2Nmw4ZlYyN2dKekQ0WUNQajQ5eVhaUXN5NWc0Y1NLOHZiMFJGQlNFczJmUDR0Q2hRNGlJaUZBV3o4ak56VVZ0YlMzbXpKa0RXWmF4Y2VOR1BQVFFROWZ0T3pBd0VGbFpXVzBlMTgvUEQ1eHoxTlRVdEdyLzhjY2ZjZmp3WWZ6bU43L0JMNy84Z2gwN2RpQStQaDczM0hNUEhBNEhBTFJLb0FSQjZQQm15QmN1WE1DU0pVdXdhdFVxdHlkVkRRME55blZYSlNVbExiczRtc2FGMVB6WStRSlZuZTN6NjNQUDB3QUFJQUJKUkVGVTJ0ZmU4bkZUM29JMkgxL2IxOTUyblIzalJ2bzZPdjYxY2JlM24xdnRZNHcxZ2xZdUpJUVE0a2FVV0JIU1RVd20weFlBUW14czdIaUh3N0dJTWZaWVNVbEpZRWxKQ1ZhdFdvV1VsQlNrcGFXNWJBWEF1cm82cGZvREFCYUxSVW51Um84ZWpZTUhEMkw5K3ZWNDk5MTNBUUNIRGgzQzY2Ky9qdkR3Y015Wk13ZVRKazNDMHFWTGNmSGlSZXpidHcvdnYvOCtubnZ1T1FEQWpCa3pXaDJyc3JJU24zLytPUW9LQ2pCLy9ueGtaMmUzV2tpaXRyWVc3N3p6RHBZdlg2NVVzZjc2MTc5aTVjcVYrT2FiYnhBUUVBQUFxS21wVVJiVnFLNnVSbUJnWUx2VnFxS2lJb1NHaGlJMk5yWTczcTZiVWxGUkFVbVNrSnViaTdxNk9tZHpOZWY4YzVWS3RiYWdvTUNaWlFrQVdFWkdCcXVxcWhJc0Znc2JPblNvWUxWYVdWMWRuZUJ3T0ZoZ1lDQ3pXQ3lDdytGZ3ZyNitnc1BoWUhhN1hYQTRITXpIeDBlUVpabkpzc3djRG9mZzQrUERHaHNiQmM0NTgvTHlFbVJaWnB4ejVuQTRCQzh2THliTHNzQTVaeXFWU3VDY0s0L1ZhdlVOOXdGZ2dpQUluSFBXOHQrY2M0RnozcXFQY3k0SWduQmRIK2ZjdVorMm51ZDhyR3pIR0JPYys3djJHTzMwdlFINlBpT0VFT0ptOUVWRVNEZHJua3cvUDNueTVKY3RGc3VEakxITXVycTZLZG5aMmNqT3pvWldxNFVvaWtoTVRPelJWUUV2WExpQW9VT0hLby9OWnJPU2FFVkZSZUdERHo1QWNuSXl0Rm90N0hZN1Jvd1lnWlVyVjJMTW1ERUlDUW1CV3ExdTlkejgvSHdsc1dycDVNbVRXTHg0TVI1NzdERzgrdXFyOFBiMnZtNmIwNmRQdzJxMXRxb3NUWmt5QlgvLys5OGh5ektDZzRQaDcrK1Bzckl5QkFjSEF3REt5c293Zm56NzZ6OU1uRGdSZDk5OTk0Mi9NYmVvdlZVQkFmeVRjNTZsMFdnMnRiRXFJQWZBczdPekFjRGhxbGc5aFY2dmY4UGRNUkJDQ0NHVVdCSFNRNW9uMTE4QStFS24wMFV5eGhZQmVMeTB0UFMyMHRKU3JGNjlXcWxpaFllSGQvdnhLeXNyRVJvYUNwdk5CbTl2Ynh3NGNBQjMzSEVIQUVDajBjQm1zMkh4NHNVQWdMZmVlZ3VKaVlsSVNFaUFMTXM0ZnZ3NFRwdzRnYWxUcHdJQWZ2amhCMXk1Y2dWNWVYbElTa3BxZFp4aHc0Wmg2OWF0YlNaVVRxTkdqVUpBUUFEV3JWdUhwNTkrR2xhckZYLy8rOStoMSt1Vml0VHMyYk94WWNNR3hNVEV3R3cyUTVJa0xGKyt2TVBYVjFKU2drY2ZmZlNXM3FldUtpOHZWNnBUMTl6SDZqUE8rVnE2anhVaGhCRGkyV2dSQXc5Q2kxZTRYM3g4dk1ac05xY0R5QVR3ZjV6dEVSRVJTRTlQeDh5Wk03dXRpdlhHRzI5Zy9QangrT21ubi9ERER6OUFvOUZneFlvVkNBa0p3Y0tGQ3pGaXhBaWtwNmRqOXV6WitPMXZmNHZrNUdSczNyd1pwMDZkUWtoSUNPTGk0dkRNTTg4Z096c2JuMzMyR2Y3NHh6OGlPenNibHk1ZHd0TlBQNjNja0hmcjFxMTQrKzIzMjR4aHo1NDl5dUlaQnc4ZXhEdnZ2SU9LaWdvTUdEQUFreVpOd3U5Ly8zc01HVElFQUdDMVdyRnk1VXJzM2JzWC92NytXTGh3SVI1ODhNRjJYOS82OWV1Um01dUxUWnMyZGN2NzFaYjYrbnJrNWVWQmtpUWNPblNvWmRjL0FHUUZCQVJzenMvUHQvUllBS1JMNkc4YklZUVFRbHlLbGx2dlhRd0dRN2pCWUZpdDAra3VPVCtiS1ZPbThEZmZmSk9YbFpYZDZJcmZyZFRVMVBENCtIaCs2ZElsempubmRydWRjODc1NmRPbmVXcHFLdCsrZlR1dnFxcmlxYW1wdkxpNG1DY21KdktMRnkveTh2SnlaZG55blR0MzhvY2ZmcGpQbnorZkh6cDBTTmwzZm40K1QwNU81bXZYcnIybEdIdXowdEpTdm1MRkNuN3Z2ZmUyWERiOW9zRmdXRzB3R0xxL3ZFaHVDZjF0STRRUTBodlFyM3NlaEg3VjdaM2k0K00xTlRVMWFRQXlHV1B4enZidzhIQ0lvb2lrcENSbFFZZXVLaW9xUWs1T0RwWXVYZHFxdmJpNEdBY1BIc1Fqanp3Q0FQaisrKy94cHovOUNiLzYxYSt1WFNJY1I0NGNRVjFkSGFLam82L2J2OWxzeHRHalJ4RVZGWFZEY2ZWbWRYVjF5TTNOaFNSSnFLaW9VTm81NS9rQXNnWU5HclNGcWxPOUUvMXRJNFFRMGh2UWw1QUhvY2xIN3hjYkd4c215L0pDQUU4QXVCMEFmSDE5TVhQbVRJaWlpTWpJeUE2WElHL0o0WEJBcGVwMFZXK1B4amxIV1ZrWkpFbENYbDRlTEJZbGI3b0k0Rk5CRU5ZVkZCUlVkTEFMMGd2UTN6WkNDQ0c5QVgwSmVSQ2FmUFFkWThlTzlRa0lDSGdBVGRkaTNlOXNEd3NMVTZwWTE5NzRsM1RkMWF0WGxlclV6ei8vM0xKckg0QXNzOW04OWNpUkkxWTNoVWR1RVAxdEk0UVEwaHZRbDVBSG9jbEgzeFFURXpOT0VJU0ZBQllBR0FvMHJlcm5yR0pwdGRvdVY3RThHZWNjSlNVbGtDUUp1M2Z2YmxtZHVnRGdFMW1XMXhVVkZSMTJZNGlrQzhhT0hldHoyMjIzM2RheXplRnduQUVBbFVwMVI4djJLMWV1WEtFRW1SQkNpS3ZRYk15RFVHTFZ0Mm0xV20rTlJqT1hjNTRKSU1IWlBtN2NPSWlpaU9UazVGWTNCQ1pOYW10cmxlclU0Y090OHFadkdXTlpGb3ZsbTlMU1VwdTc0aU0zSmk0dWJyakQ0VGlOenIrL1pKVktOV0wvL3YxblhSRVhJWVFRUWhOc0QwS0pWZjloTUJqR0FGakVPVjhBWUJnQStQajRJREV4RWFJb1lzS0VDUjVkeGVLYzQrREJnMHAxeW1wVmloYm5PZWNiQkVGWVp6UWFLOTBaSTdsNWVyMCtIOEMwVGpiNzNtUXl4ZmQ4TklRUVFrZ1R6NTE1ZVNCS3JQb2ZyVmJyN2UzdFBhZjU1c09KenZZeFk4WkFGRVdrcEtRZ0lDREFqUkc2bHRsc1JrNU9EaVJKUW1WbHE3eHBOK2M4eTJhemJhZnFWTituMCtrV004YmU3MlN6eFNhVDZiOWRFaEFoaEJBQ1NxdzhDaVZXL1Z0Y1hGeG9ZMlBqUWdCUE1zYUNBTURiMjF1cFlrVkZSZlhMS2hibkhBY09IRkNxVXphYmtqZWRCYkJCcFZLdDM3OS9mNVViUXlUZExEbzZlb1JLcFRyWjBUWU9oMk5rY1hIeEtWZkZSQWdoaFBTL1dSWnBGeVZXbnNGZ01IaHh6bWNEV0FSZ0pwci9QdzhORFlVb2lraE5UZTBYVlN5ejJZeWRPM2RDa2lSVVZTbDVFd2V3QzBBV1kyeUgwV2kwdXk5QzBwUDBldjIvQUV4cXAvdGZKcFBwVjY2TWh4QkNDS0VKdGdlaHhNcnp4TVRFM05tOG91Q1RBTzRBbXFwWUNRa0pFRVVSTVRFeGZhcUt4VGxIVVZFUkpFbkN0OTkrMjdJNmRZWXh0dDdoY0t3dktpbzY2c1lRaVlzWURJYmZjODdmYWF1UE1mWjdvOUc0MnRVeEVVSUk4V3g5WjBaRmJoa2xWcDdMWURCNEFVaVZaWGtSWXl3WnpmL3YzM25ublJCRkViTm16Y0tnUVlQY0cyUUhhbXBxc0dQSERraVNoS05IanpxYk9lYzhsM09lRlJnWXVETS9QNy9SalNFU0Y0dUtpcnBMclZhM2VZcG5ZMk5qNklFREIzNXhkVXlFRUVJOEcwMndQUWdsVmdRQWREcmRhQUJQTWNhZUFoQU1BRjVlWHBnK2ZUcEVVWVJlcis4VlZTek9PVXdtRXlSSnd0NjllMkczSzJmMW5lS2Nyd2V3b2JDdzhKZ2JReVJ1cHRmclRRQjAxelNiVENhVHdSM3hFRUlJOFd4cWR3ZEFDSEd0NW1Ua0QvSHg4Y3RyYW1wU0dHT1pkcnM5T1M4dlQ4akx5OFBvMGFPVktsWmdZS0RMNDZ1dXJsYXFVOGVPS1htVERDQUhRRlpBUUVBdVZhZElzODI0UHJIYTdJNUFDQ0dFRVBmL0xFMWNoaXBXcEQwR2cyRVU1L3hKeHRoVG5QT1JRRk1WNi83Nzc0Y29pakFZREQxYXhlS2N3MmcwUXBJazdOdTNUNmxPTWNaT2NzN1hxVlNxRGZ2Mzd6L1JZd0dRUHNsZ01JUnp6ZysxYkJNRUlieWdvS0RDWFRFUlFnanhYRFRCOWlDVVdKSE94TWZIcTgxbWN4S0FUQUNwQUFRQUdEVnFGTkxTMGpCcjFpd01Iank0MjQ1MytmSmw3Tml4QTF1MmJNSHg0OGVkelRLQUhZeXhyTkRRMEx6czdHeEh0eDJROUR0NnZiNFVRQ1FBTU1aS2pVYmplRGVIUkFnaHhFUFJCTnVEVUdKRmJrUlVWTlJJTHkrdkp6bm5Dd0dFQUlCYXJjWjk5OTBIVVJRUkd4c0xRUkJ1ZUwreUxLT2dvQUNTSk9HNzc3NURZNk55VnQ5eHh0ZzZ1OTMreVlFREJ6cThSeEVoVGpxZGJqbGo3RFVBNEp3dkx5d3MvS083WXlLRUVPS1phSUx0UVNpeElqY2pJeU5EOWNzdnY4emtuR2R5em1jQlVBSEF5SkVqa1phV2hqbHo1blNwaW5YNThtVnMyN1lOVzdac3djbVRTdDdrQUxDZGM1NDFkdXpZM1ZTZElqZEtwOU5GTThhS21oOUdtMHltQTI0TmlCQkNpTWVpQ2JZSG9jU0szS3JvNk9nUmdpQXNZSXd0QWpBS2FLcGl4Y2ZIUXhSRnhNWEZ0YXBpeWJLTS9mdjNLOVVwaDBQSm00NXh6dGVoYVdXLzB5NS9JYVEvWVhxOS9qQUFiaktaN2tiVFRhSUpJWVFRbDZNSnRnZWh4SXAwbDR5TURGVmxaZVVNTkYyTE5RZk5WYXdSSTBZZ0xTME52L3JWci9Eamp6OWl5NVl0T0hYcWxQTnBEZ0RiQUdTTkdUTm1EMVduU0hmUjYvVnZNOGE0MFdoODJkMnhFRUlJOFZ3MHdmWWdsRmlSbm1Bd0dPN2duQzhBc0FqQW5XMXNjaFRBV3NiWUowYWo4WXdyWXlQOW5xRFg2MmR3enI5a2pBMEdZQWJ3a01sazJvT21SVkFJSVlRUWw2RUp0Z2VoeElyME1NRmdNQ1J3empNQkpBUElaWXhsR1kzR2IwR1RYTktOZERwZE1HTnNBWUNGYUQrWlg4Y1kyMERKUENHRUVGZWhDYllIb2NTS3VBcU5OZExkTWpJeVZFZU9IRWxrakdVQ21JMFdwNStLb3FpY2ZpcEowcldubjlMaUtJUVFRbHlDSmowZWhDYTd4RlZvckpIdUVoMGRQVUt0Vmp1WC9iK1ZCVk9PTThiV05UWTJiaWd1TGo1MS9aRUlJWVNRVzBPVEhnOUNrMTNpS2pUV3lLM0l5TWhRVlZWVkpUV2ZWam9MelRlcURna0pRVnBhR21iUG50M2xKZjYzYjk4T1NaSmFMZkhQR052QkdNdTY2NjY3ZGxFVml4QkNTSGVoU1k4SG9ja3VjUlVhYStSbXhNWEZoVGdjamljQlBJVVdONlcrLy83N0lZb2lEQWJEVGQrVTJtZzBRcElrN051M3IrVk5xVTgwMzVSNkE5MlVtaEJDeUsyaVNZOEhvY2t1Y1JVYWE2U3I0dVBqMVdhek9SbE5TL2Vub0xrNk5XclVLSWlpaUZtelp1RzIyMjdydHVOZHVYSUZPM2JzZ0NSSk9INzh1TE5aQnJBVFFGWkFRRUJlZm41K1kvdDdJSVFRUXRwR2t4NFBRcE5kNGlvMDFraG5EQWJES0ZtV24yS01QUVZnQkFCNGVYbGgrdlRwRUVVUmVyMGVqUFhjOE9HY3cyUXlRWklrN04yN0YzYTdIUURBR0R2Sk9WL2Z2S0xnOFU1MlF3Z2hoQ2hvMHVOQmFMSkxYSVhHR21sTGZIeTh1cnE2T3BVeGxza1lTMGJ6ZDlEbzBhT1Y2bFJnWUtETDQ2cXVybGFxV01lT0hYTTJ5d0J5T2VkWmd3WU55cUVxRmlHRWtNN1FwTWVEMEdTWHVBcU5OZEtTVHFjYkxRakNRczc1a3dDQ0FjRGIyMXVwVHVsMHVoNnRUblVWNXh5RmhZVktGY3Rtc3ptN1RuUE8xd05ZWDFoWWVLeURYWkJyREJ3NE1NSGIyenZveXBVcmY3K21TNFhXY3hCS1hBa2hmWjc3djhtSXk5QmtsN2dLalRWaU1CaThPT2V6QUN3Q2tJVG03NXU3N3JvTG9pZ2lOVFVWZ3dZTmNtdU1IYW1wcWNIT25UdXhlZk5tSEQxNjFObk1BZVF4eHJJQTdEUWFqWGEzQmRoSGhJU0VmRmhmWC8vVHlKRWozN1BiN1NjQndNdkxhMHhkWGQxM2FyVTZHQUI4ZlgwakN3c0x2ZDBiS1NHRTNEcWE5SGdRbXV3U1Y2R3g1cm1pb3FMdVVxdlZDd0U4Q1dBNDBGU2RtakZqQmtSUlJIUjBkSytvVG5VVjV4ekZ4Y1dRSkFsNzl1eHBXY1U2QTJDRExNdnJpb3FLanJvdndsNk5qUjgvL3BlU2twS0owZEhSRmNYRnhZRUFNR0hDaEpNSER4NGM2ZHpvMnNlRUVOSlhxZDBkQUNHRWtMN05ZREI0eWJJOGh6RzJDRUFpbW4rMEN3ME5SWHA2T2xKU1VoQVFFT0RlSUc4U1l3d3hNVEdJaVluQjczLy9lK1RrNUdEejVzMm9xcXE2QThDcmdpQXMxZXYxdXdGa01jYTJVeFhyZi9uNStVMWxqS2tCbkhOM0xJUVE0Z3FVV0JGQ0NMa3BjWEZ4b1kyTmpZdGtXVjdBR0FzQ21xcFRpWW1KRUVVUlVWRlJmYW82MVptQWdBRE1temNQdi83MXIzSGd3QUZJa29UZHUzY3ptODAyRThCTVdaYlA2WFM2RFdxMWV0MysvZnVyM0IydnV3MGJOdXk1bG8vRHc4T0xBRUFRaENGaFlXRS9Nc1lHQUlCYXJSN21qdmdJSWFTN1VXSkZDQ0dreTdSYXJiZEdvNWtyeS9JaWg4TXh3NWs0alJrekJ1bnA2VWhPVHU2ejFhbXVZb3doT2pvYTBkSFJXTEprQ1hKemM3RjU4MlpVVmxZR0FYakY0WEM4b3RQcDlnRElzdGxzMjBwTFMyMmQ3Yk8vR1Rod1lOVEFnUU1ubyttNk5BQkFlWGw1REFBRUJBVE1OSnZOdTV6dGd3Y1B6bkJEaUlRUTB1MzZ6MCtKcEZOMDNRdHhGUnByL1k5ZXJ4K0xwb1VvRmdBWUNnQStQajZZT1hNbVJGSEUrUEhqKzFWMTZrWnh6bEZTVWdKSmtyQnIxeTVZclZabjEzbkcyQ2VjODNVbWsrbUlPMk4wcGNHREJ6L0pHR3NNRGc3K3I0TUhENDZNam82dWRpNWVZVGFiOTk1KysrMVBXaXlXU2dEdzlmVU5QMzM2OUN2bnpwMzdxM3VqSm9TUVcwTVZLMElJSVczU2FyWGVQajQrRHdESUJERGQyVDV1M0Rpa3A2Y2pLU2tKL3Y3KzdndXdGMkdNWWNLRUNaZ3dZUUplZU9FRjVPWGxZZlBtelRoOCtQQXd6dmxMQUY3UzYvVjdBV1JacmRhdC9iMktkZm55NVM4QldJS0RnLy9MMlZaV1ZqYmUrVytOUmpQK3lKRWpTUUNFbUppWXkyYXorVi91aUpNUVFyb1RKVlo5VkZoWVdINUZSVVc4dStNZ2hQUS8wZEhSZDZ0VXFvVUFua0J6ZFVxajBTQXBLUW1pS0NJeU10S2pxMU9kOGZmM1IwWkdCaDU4OEVHVWxwWXFWU3lMeFRJZHdIUWZINThMZXIzK1UxbVcxeFlWRlIxMmQ3dzl4TkpSWjBORHcwLysvdjR6MVdxMW45VnEvYm1ob2VIL3VTb3dRZ2pwS2ZUTjJBZEVSa2FXWE51bTBXaTBGb3VsOU5wMldaYXQ1ZVhsaHJiMlE2ZG5FVmVoc2RiM2pCMDcxc2ZmM3orTk1aWUo0RDVuZTFoWUdFUlJSSEp5TWdZT0hPakdDUHUycTFldklpOHZENUlrb2FLaW9tWFhkNXp6ck5yYTJpMUhqaHl4dHZmOHZzcTVsSHJMVXdGdE50dXBFeWRPUEh2WFhYZDlxVktwL0k4ZlA3Nnd0cmIybis2T2xSQkNiaFZWclBxQWxxZFBPT24xZXQ1V095R0UzSWpZMk5nd2g4T3hpREgyQklBaEFPRHI2NnRVcHlJaUlxZzYxUTM4L1B6dzRJTVBJajA5SFdWbFpVb1ZxNkdoNFQ3RzJIMEJBUUdYZERyZHB5cVZhbTFCUVVGRjUzdnNlNjc1enZKWHFWU0JEb2VqdXJhMnRzaHRRUkZDU0RlaWI4cytRcWZUV1JvYUdzcmI2eDh3WUVDVXlXUVNPdG9IVlJHSXE5Qlk2OTNpNCtNMXRiVzFJdWM4RThBMFozdEVSQVJFVVVSU1VoSUdEQmpneGdnOVExMWRuVkxGS2k5djllZjllOFpZbHIrL3Y1U2ZuOS9oS1hXOVhjdUtWZk1OZ3BtL3YzOXFTRWpJT3hjdlhseXJVcWtHREJreVpOR0ZDeGZlUFhmdTNEb0F0ZTZPbVJCQ2JoWlZyUHFXUm5jSFFBanB1L1I2ZlFTQVJUVTFOWTh6eGdZRHdJQUJBNUNjbkl5MHREUkVSRVQweUhFZERnZXFxNnN4Wk1nUTJPMTJlSGw1OWNoeCtwcUJBd2NpUFQwZDZlbnBPSFRvRUNSSlFsNWVIdXJyNjZkeHpxZlYxTlJjMXV2MW53RllhektaRHJrNzNwdGhzVmpLQWFDK3ZyNnd1Y252OXR0dmYrU1hYMzVaNEx5dTZ0S2xTOUt3WWNNZVJ5ZlhaUkZDU0c5SHZ5YjNFVHFkemxKWVdLaTUyWDZBcWdqRWRXaXM5UjZUSjAvMnRWcXQ2V2hhMlcrcXN6MHlNaExwNmVsSVRFenM4ZXJVMGFOSDhidmYvUTVidG16Qlk0ODlobm56NXVHQkJ4NVErb3VMaTZGU3FUQitmT3V6bTdPeXNwQ1ptZG1qc2ZVMjlmWDEyTFZyRnlSSlFsbFpXY3V1SHdCaytmajRiUDdYdi83VjRLYndDQ0dFZElBcVZuMUllSGg0UVh0OWpERnZWOFpDQ09uZG9xT2p0U3FWYXBIVmFuME13RzFBVTNVcUpTVUZvaWdpTEN6TVpiRm9OQnJJc2d4dmIyOTgrT0dIV0wxNk5SSVNFdURuNXdkWmxyRnk1VW9zWDc0Y0FQRHd3dzhyenp0eTVBaSsrKzQ3NWZIY3VYTXhiOTY4TGgvWFlMaCtIWitBZ0FCbG43SXM0NzMzM3NPMmJkdkFPWWNvaWxpOGVIR2IxNVI5OWRWWCtQTExMM0gyN0ZtTUhqMGFMNzc0SXU2NTU1NHV4OUpWQXdZTVFGcGFHdExTMGxCZVhvNHRXN1lnSnljSDlmWDFVd0ZNdFZxdDcrdjErczg1NTFtRmhZVmxuZTZRRUVLSXk5Q3Z5WDBFVmF4SVgwSmp6VDBtVDU3c2E3RllNZ0JrTXNidWRiWnJ0VnFrcDZkanhvd1pQVnFka21VWjk5MTMzM1h0bkhQVTE5ZGZ0NnJnMTE5L2pZS0NBaFFYRjJQcDBxWDQ2YWVmTUduU0pLVi8yclJwK1A3Nzc2L2IzOVdyVjFGWFY0ZWdvS0FiaXU5UGYvb1RBT0RsbDE4R0FIejY2YWZZdm4wNzFxeFpnL3I2ZW1SbVp1TFpaNTl0VlUxeit2REREM0gvL2ZjaktDZ0lYMy85TlRadTNJamR1M2ZEeDhmbmhtSzRHZlgxOWRpOWV6Y2tTVUpwNmY4dUJzczUveDhBV1JxTkpwdXFXSVFRNG41VXNlcERxR0pGQ0dsTGJHenNlTTU1cHRWcWZaUXhGZ2cwWGIrVG1wcUt0TFEwM0gzMzNTNkpnM09PcTFldndtZzB0bXB2YUdqQTlPblRyMHVTYW1wcXNISGpSbno4OGNmWXRXc1h0bTNiaHNiR1JxeFpzd1pBVTBMUnNvTDErZWVmdzh2TEMvWDE5WGowMFVjeGUvWnNMRml3QUg1K2ZwM0daclBac0d2WEx2ejNmLyszMHBhZG5ZMW5ubmtHdzRjUEJ3Q2twYVZoNTg2ZGJTWld2LzN0YjVWL1AvSEVFMWk3ZGkwdVg3Nk1PKzY0b3d2dnpLMFpNR0FBSG5qZ0FUend3QU9vcUtoUXFsaDFkWFgzQXJqWGFyVytaekFZdm1DTVpSVVVGRngzZXc1Q0NDR3VRWWxWTHpkNDhPQ0hoZzhmL2dmR21MY2dDQjFXcEp6M3U2SmwyQW54REhxOVBnMkFKTXV5MGpaaHdnU2twNmNqSVNFQnZyNis3Z3V1QlkxR0E3dmREbG1XSVFnQzh2UHpFUkVSZ2R6Y1hKdzdkdzRMRnk1RWRYVTFObXpZZ09EZ1lFeVpNZ1ZBVThWcTQ4YU4xKzF2MkxCaDJMUnBFelpzMklDTWpBdzg4c2dqeU1qSWdMZDMrNzh2NWVmblkralFvZEJxdFFDQVM1Y3U0ZXpaczVnd1lZS3lUV1JrSkxLenN6dDlQVC85OUJPR0R4OSt3eFd6N2hBV0ZvYVhYMzRaenovL1BQYnMyUU5Ka25EdzRNRkF6dmxpenZsaXZWNFBBS0xKWk5yaTh1QUlJY1REMFdrNmZRZno5L2RQRFFvS2V1N01tVE12MXRYVkZRTVlQRzdjdU0yMXRiWGYxZGJXYnF1cnErdndYaUIwZWhaeEZScHJycUhYNjY4Q1VNNnZlL1BOTjVHY25PeTJlQndPQis2NTU1N3JLa2g3OXV4QlNrb0t2djc2YS9qNStTRXBLUWtmZmZRUlJvNGNDYnZkam84KytnaVJrWkVJRGc3RzZ0V3JPenpHdFluV3VYUG44UEhISDhOb05HTHg0c1ZJU0VobzgzbS8rOTN2TUduU0pEejY2S01BZ0lxS0NzeWZQeC81K2ZudzkvY0hBQlFXRm1MaHdvWFl2MzgvQktIdHUxY1lqVWE4OHNvcmVPdXR0OXE4aHNzZGNuSnk4TnBycjdWc3FzUC9qZ3NaQU8vS2Z6bm5uREVtQStDY2M1a3h4cDE5akRIT09aY0JjTWFZekRsdmN4K2RiTmVWNDNVWVYyZkhrMlc1elgyMnMxMlg5dUZzWjR4eHVlbFhqSDhVRmhidTdZN1BqaERTdjFERnFnOElDZ3A2NWZiYmIzL1NhclZXblQ5Ly9xOTFkWFVIbXJzdUh6dDI3SmtoUTRha2p4bzE2ak9WU3VWLzhlTEZUODZlUGJ2Q3JRRVRRbHpsVVFDYjBmd2oyYkpseS9EVlYxOHAxMU81dW1MbGNEamc0K09qblBJbnl6SW1UcHdJYjI5dkJBVUY0ZXpac3poMDZCQWlJaUtVeFROeWMzTlJXMXVMT1hQbVFKWmxiTnk0RVE4OTlOQjErdzRNREVSV1ZsYWJ4L1h6OHdQbkhEVTFOVzMybnp0M0RrYWpVVmtnd3hrcmdGWUpsQ0FJSGQ0TStjS0ZDMWl5WkFsV3JWcmw5cVNxb2FGQnVlNnFwS1RWMlg4Y1RlTkNhbjdzZklHcXp2Ylo4clZmK3o0MDVVZlgvL3RhWGQydXMrTzF0MTFueDJ0dm54MXRkeVA3WUl5Qk1YWVNRRWk3UVJGQ1BCWWxWbjFBWTJQanljckt5Z1NMeFhMczJqNmJ6VlorNXN5WmxXZk9uRm5wN2UydDFXZzBJOTBSSXlIRTlacFA5eEppWTJQSE94eU9SWXl4eDBwS1NnSkxTa3F3YXRVcXBLU2tJQzB0eldVckFOYlYxU25WSHdDd1dDeEtjamQ2OUdnY1BIZ1E2OWV2eDd2dnZnc0FPSFRvRUY1Ly9YV0VoNGRqenB3NW1EUnBFcFl1WFlxTEZ5OWkzNzU5ZVAvOTkvSGNjODhCQUdiTW1OSHFXSldWbGZqODg4OVJVRkNBK2ZQbkl6czd1OTJGSkhiczJJR0pFeWRpeUpBaFNsdEFRQUNBcHV1OG5JdHFWRmRYSXpBd3NOMXFWVkZSRVVKRFF4RWJHM3N6YjArM3FLaW9nQ1JKeU0zTlJWMWRuYk81bW5QK3VVcWxXdHZpR2lzQkFNdkl5R0JWVlZXQ3hXSmhRNGNPRmF4V0s2dXJxeE1jRGdmejgvTVRHaHNibWMxbUUvejgvSmpOWmhOa1dXYmUzdDZDTE11c3NiRlJrR1daY2M2Wmw1ZVhJTXN5Y3pnY2dvK1BEM000SElJc3kweXRWZ3VjY3liTDhuV1AxV28xazJWWjRKd3psVW9sY001WlIzMnlMQXNBbUNBSXptMEZsVXFsdE11eUxLaFVLc1k1RnpqbkRBQmpqQWtBR09kY0VBUkI2V3U1ai9hMmEzN2NhdHVXZlMyZjAzeThZTWJZTTdJczA0M1lDQ0Z0b3NTcUQ3aDA2ZElYWGRuT1pyT1YybXkyMHM2M0pJVDBKODJUNmVjblQ1Nzhzc1ZpZVpBeGxsbFhWemNsT3pzYjJkblowR3ExRUVXeHgrOVpkZUhDQlF3ZE9sUjViRGFibFVRcktpb0tIM3p3QVpLVGs2SFZhbUczMnpGaXhBaXNYTGtTWThhTVFVaElDTlJxZGF2bjV1Zm5LNGxWU3lkUG5zVGl4WXZ4MkdPUDRkVlhYKzN3MmlvQTJMNTlPNTU5OXRsV2JjSEJ3ZkQzOTBkWldSbUNnNE1CQUdWbFpkZmRTNnVsaVJNbnVtd2hrSmJhV3hVUXdEODU1MWthaldaVEc2c0NjZ0M4K1pveGg2dGk3Yy9pNHVLR094eU9aOXdkQnlHazk2TEVpaEJDK29ubXlmVVhBTDdRNlhTUmpMRkZBQjR2TFMyOXJiUzBGS3RYcjFhcVdPSGg0ZDErL01yS1NvU0doc0ptczhIYjJ4c0hEaHhRVnMzVGFEU3cyV3hZdkhneEFPQ3R0OTVDWW1JaUVoSVNJTXN5amg4L2poTW5UbURxMUtaN0dQL3d3dys0Y3VVSzh2THlrSlNVMU9vNHc0WU53OWF0V3p0TnFBREFaREtocHFZRzA2Wk5hOVV1Q0FKbXo1Nk5EUnMySUNZbUJtYXpHWklrdFRwZHNLM1hWMUpTb2x5bjFkUEt5OHVWNmxSOWZiMnorUXFBenpqbmEraytWb1FRMHJ0UVlrVUlJZjFRODZUN1ArUGo0MTh4bTgzcEFETHI2K3YvejZaTm03QnAweVpFUkVRZ1BUMGRNMmZPN0xZcTFyLy8vVzlFUjBkajJiSmwrT0dISDZEUmFMQml4UW9jTzNZTWE5YXNnVmFyeFQvKzhRL01uajBiWjgrZXhZVUxGL0RFRTAvZzFLbFRDQWtKUVZ4Y0hLWk9uWXBubm5rR2YvdmIzL0RuUC84WnpxcmJ5cFVybGVQazVPVGc3YmZmYmpPR1BYdjJ0Rm84WTl1MmJVaEtTb0tYMS9WbmJ6Mzc3TE5ZdVhJbDVzNmRDMzkvZnp6OTlOT1lQSGx5dTYvUFpESWhOemUzUnhPcit2cDY1T1hsUVpJa0hEcDBxR1hYUHdCa0JRUUViTTdQejdmMFdBQ0VFRUlJNlp4ZXIrZk8xZG9JNlVrMDFub25nOEVRYmpBWVZ1dDB1a3ZPejJqS2xDbjh6VGZmNUdWbFpmeFcxTlRVOFBqNGVIN3AwaVhPT2VkMnU1MXp6dm5wMDZkNWFtb3EzNzU5TzYrcXF1S3BxYW04dUxpWUp5WW04b3NYTC9MeThuTHVjRGc0NTV6djNMbVRQL3p3dzN6Ky9QbjgwS0ZEeXI3ejgvTjVjbkl5WDd0MjdTM0YySnVWbHBieUZTdFc4SHZ2dlpjN1B4dTlYbi9SWURDc05oZ00zVjllSkRjc0xpNXV1RjZ2NXpxZDdxeTdZeUdFOUU1VXNTS0VFQTloTkJyTEFTeUpqNDkvdGFhbUpnMU5WYXg0U1pJZ1NSTEN3OE1oaWlLU2twS1VCUjI2cXFxcUNqTm16TURnd1lNQlFMbGU2dno1ODVnM2J4NW16Wm9GQUhqeHhSZngwa3N2WWNxVUtSZ3laRWlyQlNYdXZ2dHV2UFRTUzRpT2ptNjE3Mm5UcGtHbjArSG8wYU0zL2RwN283cTZPdVRtNWtLU0pGUlVWQ2p0blBOOEFGbURCZzNhUXRVcFFnanBPK2dlTXg2RTdpMlpNU1E4QUFBZ0FFbEVRVlJFWElYR1d0OFJHeHNiSnN2eVFnQlBBTGdkQUh4OWZURno1a3lJb29qSXlNZ09sN3R1eWVGd1FLWHFkRlZ2ajhZNVIxbFpHU1JKUWw1ZUhpd1dKVys2Q09CVFFSRFdGUlFVVkhTd0MrSW16WXRYbk9HY255c3NMQnp1N25nSUliMFBWYXdJSWNTRE5VL2lYeHc3ZHV5eWdJQ0FCd0JrTmpRMDNMOTE2MVpzM2JvVllXRmhTaFhyMmh2L1hvdVNxdlpkdlhwVnFVNzkvUFBQTGJ2MkFjZ3ltODFianh3NVluVlRlSVFRUXJvQi9acnNRYWlLUUZ5RnhscmZGaE1UTTA0UWhJVUFGZ0FZQ2pTdDZ1ZXNZbW0xMmk1WHNUd1o1eHdsSlNXUUpBbTdkKzl1V1oyNkFPQVRXWmJYRlJVVkhYWmppS1FEa3lkUDltMXNiQnprZkN3SXdqQzczVjRNNElKS3BZcHF1YTBzeTVlTVJxUGQ1VUVTUW5vVittYjBJRFRaSmE1Q1k2MS8wR3ExM2hxTlppN25QQk5BZ3JOOTNMaHhFRVVSeWNuSnJXNElUSnJVMXRZcTFhbkRoMXZsVGQ4eXhySXNGc3MzcGFXbE5uZkZSN29tT2pwYXExS3BTanJmRXZXTXNhRkdvN0crODAwSklmMFpUWG84Q0UxMmlhdlFXT3QvREFiREdBQ0xPT2NMQUF3REFCOGZIeVFtSmtJVVJVeVlNTUdqcTFpY2N4dzhlRkNwVGxtdHlsbDk1em5uR3dSQldHYzBHaXZkR1NPNVlVeXYxeDhDRU5iaFJveHRNaHFOR1M2S2lSRFNpOUUxVm9RUVFqclZuQlM4ck5WcS8rRHQ3VDJITWJiSWFyVW1idCsrSGR1M2I4ZVlNV01naWlKU1VsSVFFQkRnN25CZHhtdzJJeWNuQjVJa29iS3lWZDYwbTNPZVpiUFp0bE4xcXMvaUFEWURXTnJSUnJJc2IzWk5PSVNRM3M1emYxNzBRRlJGSUs1Q1k4MHp4TVhGaFRZMk5pNEU4Q1JqTEFnQXZMMjlsU3BXVkZSVXY2eGljYzV4NE1BQnBUcGxzeWw1MDFrQUcxUXExZnI5Ky9kWHVURkUwazBNQm9PZWMyN3NZQk9ycjYvdjBQLzVuLytwZFZsUWhKQmVxLzk5NDVGMjBXU1h1QXFOTmM5aU1CaThPT2V6QVN3Q01CUE4zeTJob2FFUVJSR3BxYW45b29wbE5wdXhjK2RPU0pLRXFpb2xiK0lBZGdISVlvenRvQVVNK2gybTErdXJBTnpaVHY4Mms4azAxNFh4RUVKNk1acjBlQkNhN0JKWG9iSG11V0ppWXU1c1hsSHdTUUIzQUUxVnJJU0VCSWlpaUppWW1ENVZ4ZUtjbzZpb0NKSWs0ZHR2djIxWm5UckRHRnZ2Y0RqV0Z4VVZIWFZqaUtTSDZYUzZWWXl4SlczMWNjNGZMeXdzL056Vk1SRkNlcWUrOCsxR2JobE5kb21yMEZnakJvUEJDMENxTE11TEdHUEphUDYrdWZQT095R0tJbWJObW9WQmd3WjF2Qk0zcXFtcHdZNGRPeUJKRW80ZVBlcHM1cHp6WE01NVZtQmc0TTc4L1B4R040WklYRVNuMDAxbWpQM1lScGZkYnJjSEhUeDQ4SXJMZ3lLRTlFbzA2ZkVnTk5rbHJrSmpqYlNrMCtsR0EzaUtNZllVZ0dBQThQTHl3dlRwMHlHS0l2UjZmYStvWW5IT1lUS1pJRWtTOXU3ZEM3dGRPYXZ2Rk9kOFBZQU5oWVdGeDl3WUluRVBRYS9YbjBEejJHMGh6MlF5SmJzaklFSkk3MFNyQWhKQ0NPbFJ6Y25JSCtMajQ1ZlgxTlNrTU1ZeTdYWjdjbDVlbnBDWGw0ZlJvMGNyVmF6QXdFQ1h4MWRkWGExVXA0NGRVL0ltR1VBT2dLeUFnSUJjcWs1NU5CbUFCT0RabG8yTU1Wb05rQkRTaXZ0L0lpUXVRMVVFNGlvMDFraG5EQWJES003NWs0eXhwempuSTRHbUt0Yjk5OThQVVJSaE1CaDZ0SXJGT1lmUmFJUWtTZGkzYjU5U25XS01uZVNjcjFPcFZCdjI3OTkvb3NjQ0lIMUtiR3hzdkN6TDM3Vm9jakRHaGh1TnhvdHVDNG9RMHV2UXBNZUQwR1NYdUFxTk5kSlY4Zkh4YXJQWm5BUWdFMEFxQUFFQVJvMGFoYlMwTk15YU5RdURCdy91dHVOZHZud1pPM2Jzd0pZdFczRDgrSEZuc3d4Z0IyTXNLelEwTkM4N085dlJiUWNrL1VKR1JvYXFzckx5SElBaHpVMzdUQ2JUZEhmR1JBanBmV2pTNDBGb3NrdGNoY1lhdVJsUlVWRWp2Ynk4bnVTY0x3UVFBZ0JxdFJyMzNYY2ZSRkZFYkd3c0JFRzQ0ZjNLc295Q2dnSklrb1R2dnZzT2pZM0tXWDNIR1dQcjdIYjdKd2NPSERqWmZhK0U5RWQ2dmY3L0EvQWJBR0NNL2M1b05IN281cEFJSWIwTVhXTkZDQ0drVjJoT2JwWm5aR1NzL09XWFgyWnl6ak1iR3h0bjdkbXpSN1Zueng2TUhEa1NhV2xwbUROblRwZXFXSmN2WDhhMmJkdXdaY3NXbkR5cDVFME9BTnM1NTFsang0N2RUZFVwMGxVT2gyT3pTcVg2VGZQRExXNE5oaERTSzlHdnlSNkVxZ2pFVldpc2tlNFNIUjA5UWhDRUJZeXhSUUJHQVUxVnJQajRlSWlpaUxpNHVGWlZMRm1Xc1gvL2ZxVTY1WEFvZWRNeHp2azZOSzNzZDlybEw0VDBlVnF0MXR2SHgrY2NnQktUeVRUVjNmRVFRbm9mbXZSNEVKcnNFbGVoc1VhNlcvTTFMalBRZEMzV0hBQXFBQmd4WWdUUzB0THdxMS85Q2ovKytDTzJiTm1DVTZkT09aL21BTEFOUU5hWU1XUDJVSFdLM0NxRHdmQVo1N3pRWkRLOTYrNVlDQ0c5RDAxNlBBaE5kb21yMEZnalBjbGdNTnpCT1Y4QVlCR0FPOXZZNUNpQXRZeXhUNHhHNHhsWHhrYjZKVUd2MTgvZ25IL0dHQXZpbkY5bGpEMW9NcG4yb0duaEUwSUlBVUNKbFVlaHlTNXhGUnByeEVVRWc4R1F3RG5QQkpBTUlKY3hsbVUwR3I4RlRYakpMZExwZE1HTXNRVUFGcUw5Qkg0ZFkyd0RKZkNFRUlBU0s0OUNrMTNpS2pUV2lDdlJlQ1BkSlNNalEzWGt5SkZFeGxnbWdObG9jY3FwS0lyS0thZVNKRjE3eWlrdGlFSUlvY1RLazlEa2c3Z0tqVFhpU2pUZXlLMktqbzRlb1Zhcm5VdjkzOG9pS2NjWlkrc2FHeHMzRkJjWG43citTSVNRL295V1d5ZUVFRUtJeDhuSXlGQlZWVlVsTlo5S09vdHpMZ0JBU0VnSTB0TFNNSHYyN0hhWDlSY0VBUk1uVHNURWlSTngrZkpsYk4rK0haSWs0ZVRKazZNNDU4dFZLdFVmRFFiRERzWlkxbDEzM2JXTHFsaUVlQWI2ZGMrRDBLKzY1R2FFaFlYbFYxUlV4Ti9JYzJpc0VWZWk4VVp1UkZ4Y1hJakQ0WGdTd0ZOb2NTUHErKysvSDZJb3dtQXczUFNOcUkxR0l5Ukp3cjU5KzFyZWlQcEU4NDJvTjlDTnFBbnAzNmhpUlFoUlJFWkdsbHpicHRGb3RHMjF5N0pzTFM4dk43Z21Na0lJdVhueDhmRnFzOW1jRENEVDRYQ2tBQkFBWU5Tb1VSQkZFYk5temNKdHQ5MTJTOGNRQkFGeGNYR0lpNHZEbFN0WHNHUEhEa2lTaE9QSGo0ZHd6dDlRcTlWLzFPdjFPd0ZrQlFRRTVPWG41emQydWxOQ1NKOUN2KzU1RVBwVmw5d012VjdQYjNUTTBGZ2pya1RqamJUSFlEQ01rbVg1S2NiWVV3QkdBSUNYbHhlbVQ1OE9VUlNoMSt2QldNOE5HODQ1VENZVEpFbkMzcjE3WWJmYkFRQ01zWk9jOC9YTkt3b2U3N0VBQ0NFdVJWOUNIb1FtSDZRcmREcWRwYUdob2J5OS9nRURCa1NaVEtZT3o1T2hzVVpjaWNZYmFTaytQbDVkWFYyZHloakxaSXdsbzNtdU0zcjBhS1U2RlJnWTZQSzRxcXVybFNyV3NXUEhuTTB5Z0Z6T2VkYWdRWU55cUlyVmZRWU9ISmpnN2UwZGRPWEtsYjlmMDZWQzYva3Z2ZWVrMjlDcGdJU1F0dEFYRFNHa1Q5SHBkS01GUVZob05wdWZGQVFoR0FDOHZiMlY2cFJPcCt2UjZsUm5BZ01EOGNnamorQTN2L2tOQ2dzTG5WVXN3V2F6cFRMR1VzMW04Mm1kVHJjZXdQckN3c0pqbmU2UWRHanc0TUZpZlgzOVQ5SFIwZFYydS8wa0FIaDVlWTJwcTZ2N1RxMVdCd09BcjY5dlpHRmhvYmQ3SXlYOUNTVldoSkRybEplWHg3YlhwOVBwTEs2TWhSQkMybU13R0x3NDU3TUFMQUtReERsbkFIRFhYWGRCRkVXa3BxWmkwS0JCN2czeUdvd3g2UFY2NlBWNnZQamlpOWk1Y3ljMmI5Nk1vMGVQQmpQR1hnT3dUSy9YNXpIR3NnRHNOQnFOZG5mSDNBZXhRWU1HcFp3NGNlS05rU05Ib3F5c2JEd0FUSmd3NGVTUkkwZFNuQnRObURDQkZoTWgzWW9TSzBMSWRjTER3d3ZhNjJPTTBhOTdoQkMzaW9xS3VrdXRWaS9rbkQ4SllEalFWSjJhTVdNR1JGRkVkSFMwVzZ0VFhUVm8wQ0RNbno4ZkR6LzhNSXFMaXlGSkV2YnMyY05zTmxzeTV6d1p3Qm05WHI5Qmx1VjFSVVZGUjkwZGIxL2g1K2MzbFRHbUJuRE8zYkVRejBLSkZTSGtPbFN4SW9UME5nYUR3VXVXNVRtTXNVVUFFdEY4blV4b2FDalMwOU9Sa3BLQ2dJQUE5d1o1a3hoamlJbUpRVXhNREg3Lys5OGpKeWNIbXpkdlJsVlYxUjBBWGhVRVlhbGVyOThOSUlzeHRwMnFXQjBiTm16WWN5MGZoNGVIRndHQUlBaER3c0xDZm1TTURRQUF0Vm85ekIzeGtmNkxFaXRDeUhXb1lrVUk2UzNpNHVKQ0d4c2JGOG15dklBeEZnUTBWYWNTRXhNaGlpS2lvcUw2UkhXcXF3SUNBakJ2M2p6OCt0ZS94b0VEQnlCSkVuYnYzczFzTnR0TUFETmxXVDZuMCtrMnFOWHFkZnYzNzY5eWQ3eTl6Y0NCQTZNR0RodzRHUUIzdHBXWGw4Y0FRRUJBd0V5ejJiekwyVDU0OE9BTU40UkkrakZLckFnaEFJREJnd2MvTkh6NDhEOHd4cndGUWRCMHRLM3p2bGJPODlZSklhUTdhYlZhYjQxR00xZVc1VVVPaDJPR00zRWFNMllNMHRQVGtaeWMzR2VyVTEzRkdFTjBkRFNpbzZPeFpNa1M1T2JtWXZQbXphaXNyQXdDOElyRDRYaEZwOVB0QVpCbHM5bTJsWmFXMnR3ZGMyL2c0K01UZS9yMDZWZUNnNFAveTlubS9NNHltODE3UTBORE4xa3Nsa29BOFBYMURmZnk4aHA1N3R5NXY3b3JYdEsvVUdKRkNBRUFYTDU4K2Y5ZXZuejUvd0pnL3Y3K3FVRkJRYytkT1hQbXhicTZ1bUlBZzhlTkc3ZTV0cmIydTlyYTJtMTFkWFZGN282WEVOTC82UFg2c1doYWlHSUI1M3dvWXd3K1BqNllPWE1tUkZIRStQSGorMVYxcXFzQ0FnTHc2MS8vR2c4OTlCQktTa29nU1JKMjdkb0ZxOVU2QThBTUh4K2Y4d2FENFJQTytUcVR5WFRFM2ZHNjArWExsNzhFWUdtWldMWDhFVkNqMFl3L2N1UklFZ0FoSmlibXN0bHMvcGM3NGlUOUV5VldoQkJGVUZEUUs3ZmZmdnVUVnF1MTZ2ejU4Myt0cTZzNzBOeDErZGl4WTg4TUdUSWtmZFNvVVorcFZDci9peGN2Zm5MMjdOa1ZiZzJZRU5MbmFiVmFieDhmbndjQVpBS1k3bXdmTjI0YzB0UFRrWlNVQkg5L2YvY0YySXN3eGpCaHdnUk1tREFCTDd6d0F2THk4ckI1ODJZY1BueDRHT2Y4SlFBdjZmWDZ2UUN5ckZiclZnK3RZblY0SFhCRFE4TlAvdjcrTTlWcXRaL1ZhdjI1b2FIaC83a3FNTkwvVVdKRkNGRTBOamFlckt5c1RMQllMTmZkUThWbXM1V2ZPWE5tNVpreloxWjZlM3RyTlJyTlNIZkVTQWpwSDZLam8rOVdxVlFMQVR3QllDZ0FhRFFhSkNVbFFSUkZSRVpHZW1SMXFxdjgvZjJSa1pHQkJ4OThFS1dscFVvVnkyS3hUQWN3M2NmSDU0SmVyLzlVbHVXMVJVVkZoOTBkcnpzNVR3VzAyV3luVHB3NDhleGRkOTMxcFVxbDhqOSsvUGhDZDhkRytoZEtyQWdoaWt1WExuM1JsZTFzTmx1cHpXWXI3ZWw0Q0NIOXk5aXhZMzM4L2YzVEdHT1pBTzV6dG9lRmhVRVVSU1FuSjJQZ3dJRnVqTER2WVl4aC9QanhHRDkrdkZMRmtpUUpGUlVWUXdHOEtBakNpM3E5L2p2T2VWWnRiZTJXSTBlT1dOMGRzNnRkY3oyd3YwcWxDblE0SE5XMXRiVjBXanZwVnBSWUVVSUlJYVJIeGNiR2hqa2Nqa1dNc1NjQURBRUFYMTlmcFRvVkVSRkIxYWx1NE9mbmh3Y2ZmQkRwNmVrb0t5dFRxbGdORFEzM01jYnVDd2dJdUtUVDZUNVZxVlJyQ3dvS0t0d2RyNHN4ZjMvLzFKQ1FrSGN1WExqd041VktOV0Q4K1BHbEZ5NWNlUGZjdVhQckFOUzZPMERTOTFGaVJRZ2hoSkJ1Rng4ZnI2bXRyUlU1NTVteUxFOXpKazRSRVJFUVJSRkpTVWtZTUdDQW02UHNueGhqMEdxMTBHcTFyYXBZNWVYbFF4aGpTMlJaWHFMWDY3OW5qR1g1Ky90TCtmbjUvZTcraEJhTHBSd0E2dXZyQzV1Yi9HNi8vZlpIZnZubGx3WE82Nm91WGJva0RSczI3SEYwY2wwV0lWMUZQdzk1RUwxZXp3SEFaRExSNTA1NkZJMDE0a28wM25vWHZWNGZBV0FSNS94eHh0aGdBQmd3WUFDU2s1T1JscGFHaUlpSUhqbXV3K0ZBZFhVMWhnd1pBcnZkRGk4dnJ4NDVUbDkyNk5BaFNKS0V2THc4MU5mWEF3QTQ1NWNaWTU4QldHc3ltUTY1TjBKQytqYjZFdklnTlBrZ3JrSmpqYmdTalRmM216eDVzcS9WYWsxSDA4cCtVNTN0a1pHUlNFOVBSMkppWW85WHA0NGVQWXJmL2U1MzJMSmxDeDU3N0RITW16Y1BEenp3Z05KZlhGd01sVXFGOGVOYjMzNHZLeXNMbVptWlBScGJiMU5mWDQ5ZHUzWkJraVNVbFpXMTdQb0JRSmFQajgvbWYvM3JYdzF1Q28rUVBvdE9CU1NFRUVMSVRZbU9qdGFxVktwRlZxdjFNUUMzQVUzVnFaU1VGSWlpaUxDd01KZkZvdEZvSU1zeXZMMjk4ZUdISDJMMTZ0VklTRWlBbjU4ZlpGbkd5cFVyc1h6NWNnREF3dzgvckR6dnlKRWorTzY3NzVUSGMrZk94Yng1ODI3bzJJY1BIOGJxMWF0eDRNQUJlSHQ3WTlteVpVaElTQUFBeUxLTTk5NTdEOXUyYlFQbkhLSW9ZdkhpeFcxZVUvYlZWMS9oeXkrL3hObXpaekY2OUdpOCtPS0x1T2VlZTI3bTdlalFnQUVEa0phV2hyUzBOSlNYbDJQTGxpM0l5Y2xCZlgzOVZBQlRyVmJyKzNxOS9uUE9lVlpoWVdGWnB6c2toQUNnaXBWSG9WOTFpYXZRV0NPdVJPUE50U1pQbnV4cnNWZ3lBR1F5eHU1MXRtdTFXcVNucDJQR2pCazlXcDJTWlJuMzNYZmZkZTJjYzlUWDExKzNxdURYWDMrTmdvSUNGQmNYWStuU3BmanBwNTh3YWRJa3BYL2F0R240L3Z2dnI5dmYxYXRYVVZkWGg2Q2dvQTdqT1hueUpCNTk5RkU4L3ZqamVPaWhoM0QxNmxWWXJWYUVoSVFBQUQ3OTlGTnMzNzRkYTlhc1FYMTlQVEl6TS9Ic3M4KzJxcVk1ZmZqaGg3ai8vdnNSRkJTRXI3LytHaHMzYnNUdTNidmg0K1BUcGZmbVZ0VFgxMlAzN3QyUUpBbWxwZis3NkN2bi9IOEFaR2swbW15cVloSFNNZm9TOGlBMCtTQ3VRbU9OdUJLTk45ZUlqWTBkenpuUDVKdy9DaUFRQUFZT0hJalUxRlNrcGFYaDdydnZka2tjRG9jRDk5eHpENHhHWTZ2MmhvWUdUSjgrSFQvKytHT3I5cHFhR3Z6MnQ3L0Z4eDkvakgvKzg1L1l0bTBiNXMrZmp6VnIxZ0JvcWxpTkhUdFcyZjd6enorSGw1Y1h6cDgvajBjZWVRU3paOC9HZ2dVTDRPZm4xMlk4UzVjdWhVcWx3b29WYmQ4dlBUVTFGYzg4OHd4bXpab0ZBRml6WmcyS2lvcXdkdTNhRGwrbnhXTEJ2ZmZlaXgwN2R1Q09PKzdvK0UzcFpoVVZGVW9WcTY2dXp0bGN6Umo3Z2pHV1ZWQlFVT0xTZ0FqcEkraFVRRUlJSVlTMFM2L1hwd0dRWkZsVzJpWk1tSUQwOUhRa0pDVEExOWZYZmNHMW9ORm9ZTGZiSWNzeUJFRkFmbjQrSWlJaWtKdWJpM1Buem1IaHdvV29ycTdHaGcwYkVCd2NqQ2xUcGdCb3FsaHQzTGp4dXYwTkd6WU1telp0d29ZTkc1Q1JrWUZISG5rRUdSa1o4UGIyVnJaeE9Cekl6OC9IZSsrOTEyWk1seTVkd3Rtelp6Rmh3Z1NsTFRJeUV0bloyWjIrbnA5KytnbkRody92dEdMV0U4TEN3dkR5eXkvaitlZWZ4NTQ5ZXlCSkVnNGVQQmpJT1YvTU9WK3MxK3NCUURTWlRGdGNIaHdodlJnbFZvUVFRZ2pwU0tzYmg3LzU1cHRJVGs1MlZ5eUthZE9tdFhxOFo4OGVEQm8wQ0ZldVhJR2ZueC9lZU9NTmZQVFJSOGpJeU1BRER6eUFqejc2Q0pHUmtUaDkralNXTEZtaVBDODRPTGpWTlZjQWxFUXJJQ0FBLy9FZi80R0hIMzRZSDMvOE1USXlNckI0OFdMbCtxbVRKMC9DYXJYaTNMbHptRHQzTHM2ZlB3K2RUb2ZYWDM4ZHc0WU53OFdMRndFQWd3Y1BWdllkR0JpSTJ0cGFKUUZzaTlGb3hNcVZLL0hXVzIrMXU0MHIrUHI2WXM2Y09aZ3padzV5Y25MdzJtdXZ0ZXorUXEvWE84KzdsQUh3THZ5WGM4NWx4bGliMnpER09PZGMyYmE5UHNhWXpEbFgrcTk1bnN3NTU0d3h1YTNqZGRUWHh2RTZqWk14SnN1eXpKMzdhYWZ2MnVPMTJlZHNaNHh4V1pabHpybXBxS2pvbTI3NU1JbExVR0pGQ0NHRWtJNDhDbUF6bWk4ZldMWnNHYjc2Nml2bGVpcFhWNndjRGdkOGZIeVU2NkprV2NiRWlSUGg3ZTJOb0tBZ25EMTdGb2NPSFVKRVJJU3llRVp1Ymk1cWEyc3haODRjeUxLTWpSczM0cUdISHJwdTM0R0JnY2pLeW1yenVINStmdUNjbzZhbVJtbHpuaVpYWEZ5TUw3NzRBbmE3SFMrOTlCTGVlT01OckZtekJnNkhBd0JhSlVlQ0lIUjRNK1FMRnk1Z3laSWxXTFZxRlF3R3d3MitPOTJyb2FGQnVlNnFwS1RWMlg4Y1RlTkNhbjdzZklHcXp2YlowV3R2eW1NNjc3dDJ1MnNmdHp6R3RjZnJxTzltWTJtNW40NzZydDJ1c3o3R1dDTUF1bTlBSDBLSkZTR0VFRUxhMVh5Nmx4QWJHenZlNFhBc1lvdzlWbEpTRWxoU1VvSlZxMVloSlNVRmFXbHBMbHNCc0s2dUR2Nysvc3BqaThXaUpIZWpSNC9Hd1lNSHNYNzllcno3N3JzQW11N2Q5UHJycnlNOFBCeHo1c3pCcEVtVHNIVHBVbHk4ZUJINzl1M0QrKysvaitlZWV3NEFNR1BHakZiSHFxeXN4T2VmZjQ2Q2dnTE1uejhmMmRuWnJSYVNjQjczNmFlZlJrQkFBQURnaVNlZXdILys1MzlDbG1XbHJhYW1SbGxVbzdxNkdvR0JnZTFXb29xS2loQWFHb3JZMk5oYmZxOXVWa1ZGQlNSSlFtNXVicXRyckRqbm42dFVxclV0cnJFU0FMQ01qQXhXVlZVbFdDd1dOblRvVU1GcXRiSzZ1anJCNFhBd1B6OC9vYkd4a2Rsc05zSFB6NDg1SEE1bXQ5c0ZoOFBCZkh4OEJGbVdXV05qbzhBNVoxNWVYb0lzeTh6aGNBZytQajdNK1cvT09WT3IxUUxubkRrY0RzSEx5NHZKc2l4d3pwbEtwUkk0NTR4enptUlpGdFJxOVhWOXNpd0xBSmdnQ01xMkxaNG5jTTViOWltUEFiQnIrd0F3eHBpelR4QUVRWGxPZTMzWHRqZnZzNk0rZ1hQK0JtaWUzdWZRQjBZSUlZU1FUalZQcHArZlBIbnl5eGFMNVVIR1dHWmRYZDJVN094c1pHZG5RNnZWUWhURkhyOW4xWVVMRnpCMDZGRGxzZGxzVmhLdHFLZ29mUERCQjBoT1RvWldxNFhkYnNlSUVTT3djdVZLakJrekJpRWhJVkNyMWEyZW01K2ZyeVJXTFowOGVSS0xGeS9HWTQ4OWhsZGZmYlhWdFZWT0lTRWhHREJnQUs1ZXZZcmJiNzhkUUZQbHdjZkhCNElnSURnNEdQNysvaWdySzBOd2NEQUFvS3lzN0xwN2FiVTBjZUpFbHkwRTBsSjdxd0lDK0NmblBFdWowV3hxWTFWQURvQTNYelBtY0ZXc25rQ3YxNy9oN2hqSWphUEVpaEJDQ0NGZDFqeTUvZ0xBRnpxZExwSXh0Z2pBNDZXbHBiZVZscFppOWVyVlNoVXJQRHk4MjQ5ZldWbUowTkJRMkd3MmVIdDc0OENCQThxcWVScU5CamFiRFlzWEx3WUF2UFhXVzBoTVRFUkNRZ0prV2NieDQ4ZHg0c1FKVEozYWRBL2pIMzc0QVZldVhFRmVYaDZTa3BKYUhXZllzR0hZdW5Wcm13bVZrMXF0eHB3NWMvQ1h2L3dGeTVjdmg5MXV4N3AxNjVScjBBUkJ3T3paczdGaHd3YkV4TVRBYkRaRGtpVGxmbHJ0dmI2U2toSTgrdWlqdC9RK2RWVjVlYmxTbmFxdnIzYzJYd0h3R2VkOExkM0hpcEN1bzhTS0VFSUlJVGVsZWRMOW4vSHg4YStZemVaMEFKbjE5ZlgvWjlPbVRkaTBhUk1pSWlLUW5wNk9tVE5uZGxzVjY5Ly8vamVpbzZPeGJOa3kvUERERDlCb05GaXhZZ1dPSFR1R05XdldRS3ZWNGgvLytBZG16NTZOczJmUDRzS0ZDM2ppaVNkdzZ0UXBoSVNFSUM0dURsT25Uc1V6enp5RHYvM3RiL2p6bi84TVo5VnQ1Y3FWeW5GeWNuTHc5dHR2dHhuRG5qMTdsT1hYbjMvK2VmejV6My9HN05tem9WS3BNSFBtVEx6d3dndkt0czgrK3l4V3JseUp1WFBud3QvZkgwOC8vVFFtVDU3Yzd1c3ptVXpJemMzdDBjU3F2cjRlZVhsNWtDUUpodzRkYXRuMUR3QlpBUUVCbS9Qejh5MDlGZ0FoaFBSMWVyMmVPKy8zUWtoUG9yRkdYSW5HVys5aU1CakNEUWJEYXAxT2Q4bjUyVXlaTW9XLytlYWJ2S3lzak4rS21wb2FIaDhmenk5ZHVzUTU1OXh1dDNQT09UOTkralJQVFUzbDI3ZHY1MVZWVlR3MU5aVVhGeGZ6eE1SRWZ2SGlSVjVlWHM0ZERnZm5uUE9kTzNmeWh4OSttTStmUDU4Zk9uUkkyWGQrZmo1UFRrN21hOWV1dmFVWWU3UFMwbEsrWXNVS2Z1Kzk5M0xuWjZQWDZ5OGFESWJWQm9PaCs4dUw1S2JSMzdXK2lTcFdoQkJDQ09rMlJxT3hITUNTK1BqNFYydHFhdExRVk1XS2x5UUpraVFoUER3Y29pZ2lLU2xKV2RDaHE2cXFxakJqeGd4bCtYTG45VkxuejUvSHZIbnpsSnZ3dnZqaWkzanBwWmN3WmNvVURCa3lCRU9HREZIMmNmZmRkK09sbDE1Q2RIUjBxMzFQbXpZTk9wME9SNDhldmVuWDNodlYxZFVoTnpjWGtpU2hvcUpDYWVlYzV3UElHalJvMEJhcVRoSFNQZWd1OVI3RStjdUh5V1NpejUzMEtCcHJ4SlZvdlBWK3NiR3hZYklzTHdUd0JJRGJnYVlWOVdiT25BbFJGQkVaR2RuaDB0Y3RPUndPcUZTZHJ1cnQwVGpuS0Nzcmd5Ukp5TXZMZzhXaTVFMFhBWHdxQ01LNmdvS0NpZzUyUWR5TS9xNzFUVlN4SW9RUVFraVBhcDdFdnpoMjdOaGxBUUVCRHdESWJHaG91SC9yMXEzWXVuVXJ3c0xDbENxVzg5cWw5bEJTMWI2clY2OHExYW1mZi82NVpkYytBRmxtczNucmtTTkhyRzRLajVCK2p4SXJRZ2doaExoRTg2VCthd0JmeDhURWpCTUVZU0dBQlJVVkZVUGZldXN0L1BXdmYxV3FXRnF0dHN0VkxFL0dPVWRKU1Fra1NjTHUzYnRiVnFjdUFQaEVsdVYxUlVWRmg5MFlJaUVlZ3hJclFnZ2hoTGhjODJUL0phMVcrNXBHbzVuTE9jKzBXQ3dKMzN6ekRiNzU1aHVNR3pjT29pZ2lPVG01MVEyQlNaUGEybHFsT25YNGNLdTg2VnZHV0piRll2bW10TFRVNXE3NENQRkVsRmdSUWdnaHhHMmFKLy9aQUxJTkJzTVlBSXM0NXdzT0h6NDg3TzIzMzhhNzc3Nkx4TVJFaUtLSUNSTW1lSFFWaTNPT2d3Y1BLdFVwcTFVNXErODg1M3lESUFqcmpFWmpwVHRqSk1TVFVXSkZDQ0dFa0Y2aE9TbDRXYXZWL3NIYjIzc09ZMnlSMVdwTjNMNTlPN1p2MzQ0eFk4WkFGRVdrcEtRZ0lDREEzZUc2ak5sc1JrNU9EaVJKUW1WbHE3eHBOK2M4eTJhemJhZnFGQ0h1UjRrVklZUVFRbnFWNWlSaEU0Qk5jWEZ4b1kyTmpRc0JQRmxaV1JuMHpqdnY0TDMzM2xPcVdGRlJVZjJ5aXNVNXg0RURCNVRxbE0ybTVFMW5BV3hRcVZUcjkrL2ZYK1hHRUFraDE2REVpaEJDQ0NHOVZuUHlzTlJnTVB5UmN6NGJ3Q0tielRaeng0NGRiTWVPSFFnTkRZVW9pa2hOVGUwWFZTeXoyWXlkTzNkQ2tpUlVWU2w1RXdld0MwQVdZMnlIMFdpMHV5OUNRa2g3S0xFaWhCQkNTSy9YbkV4SUFLU1ltSmc3bTFjVWZMS3FxdXFPVmF0VzRmMzMzMGRDUWdKRVVVUk1URXlmcW1KeHpsRlVWQVJKa3ZEdHQ5KzJyRTZkWVl5dGR6Z2M2NHVLaW82Nk1VUkNTQmRRWWtVSUlZU1FQcVU1eVZobU1CamVBSkFxeS9JaW04MlduSk9UdzNKeWNuRG5uWGRDRkVYTW1qVUxnd1lOY25PMDdhdXBxY0dPSFRzZ1NSS09IajNxYk9hYzgxek9lVlpnWU9ETy9QejhSamVHU0FpNUFaUllFVUlJSWFSUGFxNWliUVd3VmFmVGpRYndGR1BzcWFOSGp3Yi81Uzkvd1FjZmZJRHAwNmRERkVYbzlmcGVVY1hpbk1Oa01rR1NKT3pkdXhkMnUzSlczeW5PK1hvQUd3b0xDNCs1TVVSQ3lFMml4SW9RUWdnaGZWNXpNdktIK1BqNDVUVTFOU21Nc1V5NzNaNmNsNWNuNU9YbFlmVG8wVW9WS3pBdzBPWHhWVmRYSzlXcFk4ZVV2RWtHa0FNZ0t5QWdJSmVxVTRUMGJaUllFVUlJNlhYQ3dzTHlLeW9xNHQwZEIvbi8yN3YzNkNqcSsvL2pyMWxpREZHQ1FUQ2hwVUZDTkZRdU5oc29CdXBwd0dwRkVFMFFoR29GdFVWcnJUOTd2Rkt0ZU91UFZ1VkFGWDdsVUZvdnRCU0pRaUZZOEl1RVdFUkUyS1RFU3FFbklLRmdXalFKbHlhR3plNStmbjlBOGsyRVFNZ2tNM3Q1UHM3aG5Pek03UGhLZUJ2eW1zOW1OdktjS0NlckpLM0t6czVPTThiY1lWblduUlVWRlgzbXpKbWplZlBtYWZUbzBjclB6MWQyZG5hbnJtSVpZK1R6K2JSOCtYSVZGUlUxclN4QkRyNEFBQ0FBU1VSQlZFNVpsclhmR0xPb1M1Y3V2OSs2ZGV1L09pMEFBRWRSckFBQXJycnNzc3YrL3VWdENRa0pBMCsxUFJRS0hkdTVjMmUyTThrUTZYdyszejVKVCtibTVqNTc1TWlSYXlWTmIyaG9HUHYyMjI5NzNuNzdiYVdscFNrdkwwL2p4bzFUang0OU91eS9XMTFkcmRXclYydkZpaFhhdDI5ZjQrYVFwTldXWlMxTVQwOWZXMUJRRU95dy95Q0FzT0QraTQzaEdLL1hheVNwcEtTRXYzZDBLbVlOZG5tOVh0UFcrV0hlY0RhR0RCblM1NXh6enJuREdQTURTVitUcExpNE9JMGFOVXI1K2ZrYU9uU29QQjdQV1o4M0ZBcHAyN1p0V3I1OHVUWnMyS0JBb09sVmZmc3N5MXJVME5Ed2NsbFoyZjZPKzB3UXpmaStGcGxZc1FJQXVDNHJLNnYraXkrKzJObjR1SzZ1YnZ1QUFRUCsxdmc0TVRGeFNFbEp5ZG4vdEF0OHlZbHk4L1RFaVJOLzhja25uM3pYR0RNOUVBaU1XN2R1WFpkMTY5YXBUNTgreXN2TDAvang0OXUwaWxWZFhhMVZxMVpweFlvVjJyKy9xVGNGSlJVYVl4Wm1aR1Q4RDZ0VFFHeWdXQUVBd2dXL3VBL0huQ2c3ZjVIMGw4c3Z2L3lySG8vbmRzdXlmcmgvLy82MGwxNTZTYi81elcrVW01dXIvUHg4RFJzMnJNVXFWaWdVMHRhdFc1dFdwNExCcHQ1VVlZeFpwT04zOXZ0VWtrcExTNTMrMUFDNGhHSUZBQWdMTzNmdUhOcmF2cXlzckhvbnN5QzJiTisrL1lDa1p5ZE9uRGhyOSs3ZFYwdWFIZ2dFeHIvenpqdGQzbm5uSFgzMXExOVZYbDZlUm93WW9mZmZmMThyVnF6UWdRTUhHcDhlMVBHYlpTenMzNy8vT2xhbmdOaEZzUUlBaElVQkF3WnNhMjJmWlZueFRtWkJiRHBSaXRaS1dwdWRuZDNiR0hPN3BCOGVPSERnNG5uejVtbmV2SG5ORDk4cjZiZVdaYjNzOC9rcUphbWtwTVR4ekFEQ0I4VUtBQkFXV0xGQ09EbFJsdjZ2cEY5bVoyZC94eGd6WGRJWVNXc3N5MXJvOC9uZTBmRTcvUUdBSklvVkFDQk1zR0tGTUJYeStYei80L1Y2MzVha2twS1NtOXdPQkNBOFVhd0FBSzdwMGFQSHBOVFUxQ2NzeTRyM2VEd0pwenUyOFgydGR1ellNY2laZEFBQXRCM0ZDZ0RnbXVycTZtWFYxZFhMSkZuZHVuVWJtNUtTY2w5bFplVkR0YlcxMnlYMXVPU1NTOTQ4ZXZUb2hxTkhqNjZxcmEzOTI1bk9Cd0NBVzNoUEVBQ0FxMUpTVW1ZTUhEandueWtwS1Q4NWVQRGduTnJhMnJJVHU2b3JLaXArWkZsV01DMHQ3ZFZCZ3didFNVMU4vYm1yWVFFQWFBVXJWZ0FBVndVQ2dmMjdkKy8rVG4xOWZjV1g5L245L3AyVmxaVy9xS3lzL0VWOGZQekFoSVNFUG01a0JBRGdUQ2hXQUFCWFZWVlZMVzdMY1g2Ly8yTy8zLzl4WitjQkFLQTllQ2tnQUFBQUFOaEVzUUlBQUFBQW15aFdBQUFBQUdBVHhRb0FBQUFBYktKWUFRQUFBSUJORkNzQUFBQUFzSWxpQlFBQUFBQTJVYXdBQUFBQXdDYUtGUUFBQUFEWVJMRUNBQUFBQUpzb1ZnQUFBQUJnRThVS0FBQUFBR3lpV0FFQUFBQ0FUUlFyQUFBQUFMQ0pZZ1VBQUFBQU5sR3NBQUFBQU1BbWloVUFBSWc1bVptWnhXNW5BQkJkNHR3T0FBQUEwSmt1dSt5eXYzOTVXMEpDd3NCVGJRK0ZRc2QyN3R5WjdVd3lBTkdFWWdVQUFLTGFqaDA3Qm4xNW05ZnJOYWZhRGdEdFJiRUNBQUJSTHlzcnEvNkxMNzdZMmZpNHJxNXUrNEFCQS83VytEZ3hNWEZJU1VrSnZ5SUJvTjBvVmdBQUlGWUUzQTRBSUhwUnJBQUFRRXpZdVhQbjBOYjJaV1ZsMVR1WkJVRDBvVmdCQUlDWU1HREFnRzJ0N2JNc0s5N0pMQUNpRDhVS0FBREVCRmFzQUhRbWloVUFBSWdKckZnQjZFd1VLd0FBRUxWNjlPZ3hLVFUxOVFuTHN1STlIay9DNlk1dGZGOHJic01Pb0Qwb1ZnQUFJR3BWVjFjdnE2NnVYaWJKNnRhdDI5aVVsSlQ3S2lzckg2cXRyZDB1cWNjbGwxenk1dEdqUnpjY1BYcDBWVzF0N2QvT2RENEFhQTN2MXdBQUFLSmFTa3JLaklFREIvNHpKU1hsSndjUEhweFRXMXRiZG1KWGRVVkZ4WThzeXdxbXBhVzlPbWpRb0QycHFhay9kelVzZ0lqRmloVUFBSWhxZ1VCZy8rN2R1NzlUWDE5ZjhlVjlmcjkvWjJWbDVTOHFLeXQvRVI4ZlB6QWhJYUdQR3hrQlJENktGUUFBaUdwVlZWV0wyM0tjMysvLzJPLzNmOXpaZVFCRUoxNEtDQUFBQUFBMlVhd0FBQUFBd0NhS0ZRQUFBQURZUkxFQ0FBQUFBSnNvVmdBQUFBQmdFOFVLQUFBQUFHeWlXQUVBQUFDQVRSUXJBQUFBQUxDSllnVUFBQUFBTmxHc0FBQUFBTUFtaWhVQUFBQUEyRVN4QWdBQUFBQ2JLRllBQUFBQVlCUEZDZ0FBQUFCc29sZ0JBQUFBZ0UwVUt3QUFBQUN3aVdJRkFBQUFBRFpSckFBQUFBREFKb29WQUFBQUFOaEVzUUlBQUFBQW15aFdBQUFBQUdBVHhRb0FBQUFBYktKWUFRQUFBSUJORkNzQUFBQUFzQ25PN1FBQUlsdEdSc2E1eWNuSnljMjNCWU5CU2RLd1ljTlNtMit2cWFtcEtTOHZQK1pnUEVRWjVnMU9ZTTRBdEFmRkNvQXR5Y25KeWNGZzhGTkoxcGYzQllQQnltWVBROG5KeVYrVjlHL0h3aUhxTUc5d0FuTUdKdzBaTXFSUFhGemM0NmZhNS9WNkZ6Ui9IQWdFbmkwcks5dnZUREtjTFY0S0NNQ1dyVnUzL2x2U1g5dHc2TVlUeHdMdHhyekJDY3dabkpTWm1WbHBqTGxSMGwzTi9qUnEybWFNdVRFek03UHlWT2RBZUdERktrcHg5UU5PTXNhOGFWbld0ODl3MkJ1T2hFSFVZOTdnQk9ZTVRpa29LQWhtWjJldk1NYmNmWVpEbHhjVUZBUWRDWVYyWWNVcVNuSDFBMDRLaFVMTHozUk1NQmhjNFVRV1JEL21EVTVnenVDa1VDajBaaHNPYThzeGNCSEZLa29WRkJRRVBSNVBXNzdoYy9VRHRtM2Z2djJBcEE5T2M4am1FOGNBdGpGdmNBSnpCaWQ1UEo1M2pUSFZwem1rcW52Mzd1ODZGZ2p0UXJHS1lsejlnSk1zeTJwMWxrNjNEMmdQNWcxT1lNN2dGSi9QMTJCWjFzclRITEt5dUxnNDRGZ2d0QXZGS29weDlRTk9hbWhvYVBXSGpJYUdoak8rcEFZNEc4d2JuTUNjd1Vtbksrc2VqNGNpSHdFb1ZsR01xeDl3VWxsWjJTZVNTayt4cStURVBxRERNRzl3QW5NR0p4MCtmUGdkU1VkT3NldklvVU9IMWp1ZEIyZVBZaFhsdVBvQmg1MXFwcGd6ZEJibURVNWd6dUNJOHZMeVk4YVkxYWZZVmNpYlVFY0dpbFdVNCtvSG5IU3FJaytCUjJkaDN1QUU1Z3hPYXVXQ09QTVdJU2hXVVk2ckgzQ1N6K2ZiS1dsSDQyUExzajdldG0zYkxoY2pJWW94YjNBQ2N3WW5XWmExVmxKZHMwMTFsbVc5N1ZZZW5CMktWUXpnNmdlY1pJeHBtcTAyM3BrU2FEZm1EVTVnenVBVW44OVhKMmxONDJQTHN2NXlZaHNpQU1VcUJuRDFBdzVyK3FHRDJ4SERBY3dibk1DY3dURVUrY2hGc1lvQlhQMkFrMHBMUzhzazdaWlVYbEpTOHBIYmVSRGRtRGM0Z1RtRGsrTGo0OTlxL0RneE1mR3QweDJMOEJMbmRnQTR3eGp6cG1WWkV5U3VmcURUR1VsdldwWmxUbndNZENibURVNWd6dUNZTFZ1MkhQRjZ2YXNsbVUyYk5oMTFPdy9ham1JVkkrTGo0OTlxYUdpUXhOVVBkRDZQeC9ObUlCRGdodzg0Z25tREU1Z3pPS3l4eUNPQ1dHNEhnSE84WG0raEpGTlNVakxlN1N3NHZheXNyQzJXWlgzVDdSeXh5aGhUWEZwYU9zcnRIRTVpNXR3Vkt6UEhuTGtyVnVaTVl0YmNGa3V6MWh3clZyR0ZxeDhSZ244TTNHVlpWcTdiR1p6R3pMa3JWbWFPT1hOWHJNeVp4S3k1TFpabXJUbUsxVm1LOUNzZ3hoaDV2ZDVYM003UlhyRjJCY1RuODdrZEllWmtaMmU3SGNGVnpKenpZbkhtbURQbnhlS2NTY3lhRzJKMTFpVHVDbmpXSXJsVVJZTll2UUlDQUFDQThNYUtWVHR4QmNSNXNYd0ZCQUFBQU9HTkZTc0FBQUFBc0lsaUJRQUFBQUEyVWF3QUFBQUF3Q2FLRlFBQUFBRFlSTEVDQUFBQUFKc29WZ0FBQUFCZ0U4VUtBQUFBQUd5aVdBRUFBQUNBVFJRckFBQUFBTENKWWdVQUFBQUFObEdzZ0Jpd2FORWlyVnk1c3NVMlk0d2VmUEJCYmRteTVZelBQM3IwcUI1KytPSE9pb2NveE15aHN6RmpjQm96aHpPaFdBRXhvS3lzVEJkZmZIR0xiWFBtek5HRkYxNm9OOTU0UTU5OTlsbUxmWDYvLzZUSDY5ZXZQKzB4cDlQUTBLQng0OFlwRkFycHR0dHVVMlZscFQ3NjZDTmxaMmNyT3p0Ync0WU4wOVNwVTdWMzc5NFd6NXM1YzZaZWUrMDFMVm15Ukk4Ly9uaWIvM3R3WHpqT1hQTjlpeGN2MXBRcFV6Uml4QWhkY2NVVnlzdkwwODZkT3lVeGQ1RWlIR2VzK2ZlMW9VT0hhdFNvVWJybm5udFVWRlIwMHZPWnM4Z1Q3alBYK0dmU3BFbE56MkhPbkVXeEFxTFkwcVZMTlduU0pHM2R1bFZQUGZXVUprMmFwR0F3cUZtelpxbTJ0bGFQUFBLSTdyLy9mczJZTVVONzl1eHBlbDVPVG80T0hUcDAybk8zNVpoR216ZHZWa1pHaGlvckszWG8wQ0gxN3QyN2FkL0dqUnUxWWNNR3BhYW02dWMvLzNtTDUvbDhQbDE5OWRYYXRtMmJ2dnZkNzU3Rlp3NjNoUHZNMWRmWDY2Njc3bEpSVVpFZWZQQkJGUmNYcTZpb1NJOCsrcWk2ZHUwcWlia0xkK0UrWTlMeDcydGJ0MjdWOHVYTGRlT05OK3FsbDE3U2swOCtxVkFvMUhRTWN4WTVJbVhtZkQ2ZmZENmZsaTFiMXJTZE9YTlduTnNCY0h4cHVWZXZYcnJoaGh1YXRobGo5TkJERDJuaXhJa2FQbno0YVo5LzlPaFJQZlBNTTNydXVlYzZPeW9pek9USmt6VjQ4R0F0WExoUXYvNzFyN1YvLzM3ZGZ2dnRxcSt2YjlvdlNkWFYxWHI4OGNkMTAwMDNLVDgvdjhOekZCVVZhZGl3WVNvcUt0TFFvVU5QMm4vKytlZHJ3b1FKdXVlZWV4UUtoZVR4ZUZSWldhbGV2WG9wSlNWRmUvYnMwUlZYWE5IaHVkRHh3bjNtNXMyYnAyUEhqdW5sbDE5V2ZIeThKQ2srUHI3cCt5eHpGLzdDZmNZYVdaYWw1T1JrWFhQTk5icmlpaXQweXkyM2FObXlaWm84ZVRKekZtRWlaZWErakRsekhzVXFESlNWbGVuT08rOXNzYTM1MG5KNmVycDY5ZXJWdE0vdjl6ZjlRTkQ0K0ZSTHk4MlBPWjJHaGdibDVlVnAxYXBWbWpadG1uNzFxMStwZCsvZTJyaHhvKzYvLzM0OThNQUQrdDczdnRkMC9NeVpNOVcvZjMvRnhjVnB4NDRkZXZiWlo5dnphY01oNzc3N3JrYU5HcVg4L0h6Tm1UTkgxMTU3Yll1L3owWVZGUlZxYUdqb2xBeFBQdm5rR1kvNTczLy9xMTY5ZXNuak9iNlEzcnQzYjczODhzdVNwRC8vK2MrZGtndWRJMXhuTGhBSWFPWEtsWHJtbVdkYS9mN0kzRVdHY0oyeDFpUWxKZW1XVzI3Um0yKytxY21USnpObkVTalNaazdpKzVrYktGWXVXcnAwcVpZdlg2NS8vZXRmMnI5L3YrTGk0dlNuUC8xSnp6MzNuQUtCZ0I1NzdERlZWbFpxeG93Wit0blBmcWIwOUhSSng1ZU4xNjlmcndzdXVLRFZjN2ZsbUVhdExTMFhGaGFxVDU4K0tpd3NiUEhOdytmejZlNjc3OWJ6enordnZMdzhtMThGZExZTkd6Wm8wYUpGZXUyMTE5UzNiMS9ObmoxYmhZV0ZrcVN2ZmUxclNrOVAxOTEzMzYzWnMyZnJ4UmRmYkhyZW1ERmpUanBYVGs1T3AyU3NycTdXNHNXTE5YWHExRTQ1UDV3VnJqTzNiOTgrMWRYVmFmRGd3UjEyVHJnalhHZnNkQzY1NUJMdDNidTNhVlVla1NVU1p3N09vMWk1S0p5WGxvOGNPYUsvL3ZXdm1qTm5qdTY3N3o3dDJyVkxtWm1aTEN0SG1PcnFhdTNidDArMzMzNjdQdjMwVStYbjV5c3VMcTdwOWRlVEprM1MzcjE3ZGZmZGQ2dWlvcUxwZVQ2ZnI4VjVxcXFxZE0wMTEyano1czFOMjdLenN6c2s0NVZYWGlsSlNrdExVMUpTRWo5MFJMaHducm5HcThoeGNmelRGOG5DZWNaT0p4QUlxRXVYTG54L2kwQ1JNSE9OLzVaSzBwUXBVL1RnZ3c5MnlIbHhkdmpYeFdYaHVyUzhaczBhOWV2WFR6azVPUm8yYkpnS0N3dVZtWm5Kc25LRTZkR2pSOU10WVBQejg3VjgrWEtOSHovK2pDdERiWGtwcWMvbk82dTdHYlZtNDhhTjZ0cTFxeW9yS3pWMzdseXRYNzllczJmUHRuMWV1Q09jWjY1Mzc5NnlMRXZsNWVXZCtnTTBPbGM0ejlqcGZQVFJSeG93WUVDbm5CdWRLeEptYnVQR2pVcE1UTFI5SHRqRFpST1hiZGl3UWFOR2paSWs5ZTNiVng5ODhJR21USm1pS1ZPbTZPR0hIOWFDQlFza1NiTm56MVpHUmtiVDg4YU1HYU9jbkJ6bDVPUm8zTGh4a3RUMHVDT1dtQXNMQ3pWMjdGaEowdGl4WTdWMjdWb0ZBZ0hiNTRXN2FtdHJsWkNRb0ZkZmZWV3Z2dnBxcThlMTVTNUZodzRkNnJDWE0xaVdwYTk4NVN1NitlYWI5ZTY3NzdhNGN4WWlXempOWEZKU2tvWVBIMzdhSElnODRUUmpyZm5zczgvMCt1dXZhOHFVS1IxK2JqZ3ZFbVlPN21ERnlrWGh1clM4ZS9kdTdkcTFTM1BuenBVa2pSNDlXck5temRKNzc3Mm4zTnpjZHA4WHp2dnd3dysxZlBseWZmNzU1enB3NElDbVRadW13NGNQNjQ0NzduQTdXZ3ZHR0gzNjZhZjZ3eC8rb01zdnY1eVh5a1N3Y0orNVJ4NTVSTGZmZnJzZWZ2aGhUWjgrWGYzNjlWTnRiYTE4UHAvUzB0TFV2MzkvdHlQaURNSjl4aG9aWTFSVFU2TVBQdmhBOCtmUDE5aXhZN25kZFlTS2xKbUQreWhXTGdyWHBlVlZxMWJKR0tNSkV5WTBiVHQyN0pnS0N3c3BWaEhtOHNzdjE2V1hYcXFrcENUZGROTk5LaWdvMEtSSmsvVDczLzllMHZIeTN2ejlMdHpRK0xyd3BLUWtqUnc1OHFUM3NrSmtDZmVaUzB0TDB4Ly8rRWN0WExoUTk5NTdyNnFxcXRTMWExZGRldW1sekY2RUNQY1prNDUvWDdNc1MwbEpTUm8wYUpBZWUrd3hqUmd4d3RWTWFMOUltYm5taW91TDFhMWJONWZTeEM2S1ZSaHB2clFzcWNVN1p6ZlhsanYrSFRwMFNGZGRkZFZKcTF0bkVnd0d0V2JOR2ozd3dBUDY5cmUvM2JTOXJLeE1NMmZPVkUxTmpaS1RrOC9xbkhEUHVlZWVxM1BQUGZlazdjRmdVUFgxOVVwSVNGQkZSWVU4SGsvVFRWTWFkZmFkakFZUEhuelc4NG53Rjg0ejF5ZzFOVlZQUFBGRWg1OFh6Z2puR2VQN1duUmk1dEJXRkNzWGhlUFM4dnZ2djYvRGh3OXIzTGh4TGE1MHBLU2s2SVVYWHRDYU5XdE9lWE1OaEwvcnJydE9ralIrL0hpVmw1ZXJ0TFJVVHp6eGhKWXNXYUlkTzNhMHVIVitXNzVKTjVaM29EWE1IRG9iTXdhbk1YTkFCL0o2dmNicjlacU9VRjlmYjJwcWFrd3dHRFI1ZVhuR0dHTW1UcHpZdEwvNXgrUEhqMi82Mk92MW1wcWFtcWJIbjMvKytVbVphbXBxMnBYem9ZY2VNai81eVU5T3VXL1dyRmxtOHVUSlozM09qdEw0dFhkN0JwelFrWE9Hc3hOTGM5WWNNK2VlV0pvNTVzdzlzVFJuRXJQbXBsaWJ0ZVpZc1hKUk9DNHRQL2ZjYzYzdWUvVFJSMjJmSHdBQUFJaEdGS3N3d2RJeUFBQUFFTGtvVm1IaUJ6LzRnU1RwMWx0dmxTUmxabVpLa21iTW1OR3U4MTF3d1FYOE1pTUFBQURnRU40c0JnQUFBQUJzb2xnQkFBQUFnRTBVS3dBQUFBQ3dpV0lGQUFBQUFEWlJyQUFBQUFEQUpvb1ZBQUFBQU5oRXNRSUFBQUFBbXloV0FBQUFBR0FUeFFvQUFBQUFiSXB6T3dDQTFtVm5aN3NkQVRHR21ZTVRtRE00aFZtRGsxaXhBc0tRTWFiWTdReXhMQmEvL3JINE9ZZVRXUG42eDhybkdhNWk2ZXNmUzU5ck9JclZyNy9sZG9CSTQvVjZqZHNaWWwxSlNRbHpHK1lhL3ovaDd3cE9ZTjdnQksvWHUwRFNYY2FZSDVXV2xpNXdPdytpMTdCaHcxS0R3V0NsTWVZL3BhV2xxVzduUWR1eFluV1dZcldCaHd1Ky9nQUFBQWhIL0k3VldTb3RMUjNsZG9iMjRxb3VBQUFBMERsWXNRSUFBQUFBbXloV0FBQUFBR0FUeFFvQUFBQUFiS0pZQVFBQUFJQk5GQ3NBQUFBQXNJbGlCUUFBQUFBMlVhd0FBQUFBd0NhS0ZRQUFBQURZUkxFQ0FBQUFBSnNvVmdBQUFBQmdFOFVLQUFBQUFHeWlXQUVBQUFDQVRSUXJBQUFBQUxDSllnVUFBQUFBTmxHc0FBQUFBTUFtaWhVQUFBQUEyRVN4QWdBQUFBQ2JLRllBQUFBQVlCUEZDZ0FBQUFCc29sZ0JBQUFBZ0UwVUt3QUFBQUN3aVdJRkFBQUFBRFpSckFBQUFBREFKc3Z0QUhDTzErczFibWNBZ001aWpOa2tLZUIyRGtRbnk3SytmZUxEdHlSdGN6TUxvbDZxcEx1TU1mOHBMUzFOZFRzTTJpN083UUJ3ampHbTJMS3NYTGR6QUVCbnNDeHJwTnNaRUJQR252Z0RkQ3FQeDlQZ2RnYWNIVmFzQUhTNHJLeXM3MWlXOVMyM2N5Qm16SlFrWTh3QlNlVXVaMEYwcTVQME44dXkvRzRIUWZRenhyeGRXbHE2MmUwY2FEdUtGUUFnb2pWN21mTlRKU1VsVDdxWkJRQVF1N2g1QlFBQUFBRFlSTEVDQUFBQUFKc29WZ0FBQUFCZ0U4VUtBQUFBQUd5aVdBRUFBQUNBVGR3VkVBQVFNUVlOR2pTa2E5ZXV6eGxqbWk0TWhrS2hxeVhKNC9Ic2tiUzdjWHN3R0h5MnRMVDByeTdFQkFERUlONGdHQUFRTWJwMjdkb3JHQXgrOTFUN1FxRlF1cVQweHNjZWo2ZE9Fc1VLQU9BSVhnb0lBSWdZVzdkdVhTL0puUEZBU1pabHplM2tPQUFBTktGWUFRQWl6WjQySEJQczE2L2Z4azVQQWdEQUNSUXJBRUJFQ1FhRDk1L3BHR1BNdW9LQ2dxQVRlUUFBa0NoV0FJQUlzMzM3OXRVNnc4c0JQUjdQSElmaUFBQWdpV0lGQUloQWxtVWRPTTN1a0tRTlRtVUJBRUNpV0FFQUlwRGY3MyswdFgzQllIQ1R6K2RyY0RJUEFBQVVLd0JBeFBub280LythTXlwWHczWXBVdVg1eDJPQXdBQXhRb0FFTEgrYzRwdEppa3BhWjNqU1FBQU1ZOWlCUUNJU0pabFBmUGxiUjZQeDFkY1hGenZSaDRBUUd5aldBRUFJbEpKU2NuOEwyOExCb08vY2lNTEFBQVVLd0JBSkt0cS9pQVlESzV4S3dnQUlMWlJyQUFBRWNzWU03Zlp4OGZLeXNwcTNjd0RBSWhkRkNzQVFNUXFMUzJkMWV6aGROZUNBQUJpSHNVS0FCREpncElPU3pJZWoyZWwyMkVBQUxITGNqc0FBQ0M4NWVibXhoMDVjdVJteTdJbVNzbzJ4dlNTZEs3YnVTTEFNY3V5UHBQa2s3U3NXN2R1eTRxTGl3TnVod0lBZEE2S0ZRQ2dOWmJYNjUwdTZWRkpGN3VjSlJyc2xUU3JwS1RrdDVKTy9lN0dBSUNJUmJFQ0FKd2tJeVBqM0tTa3BFV1NicFdrek14TVRadzRVUmtaR1VwTFMxUDM3dDFkVGhqK0RoOCtySDM3OXFtOHZGd0ZCUVhhdFd0WDQ2N0ZSNDRjK1dGNWVma3hOL01CQURvV3hRb0EwRUoyZG5haU1XYXRwQ3N2dlBCQ3padzVVeU5HakpCbDhVOUdleGxqOVA3NzcrdXBwNTVTVlZXVkpHMjBMT3Rhbjg5WDUzWTJBRURINE9ZVkFJQVdRcUhRcnlWZDJiOS9mNzMyMm1zYU9YSWtwY29teTdJMGN1Ukl2ZnJxcStyZnY3OGtYZG44VnZFQWdNakh2NVFBZ0NiWjJkbmZNOGI4c1dmUG5scTZkS21TazVQZGpoUjFhbXBxZFBQTk42dXFxa3JHbU8rVmxwYit5ZTFNQUFEN1dMRUNBRWlTUm80YzJjMFlNOCt5TEQzOTlOT1VxazZTbkp5c1o1NTVScEprV2RiOGtTTkhkbk01RWdDZ0ExQ3NBQUNTcFByNitoOUxTcjcrK3VzMWZQaHd0K05FdGVIRGgrdjY2NitYcE9TNnVycDczTTREQUxDUFlnVUEwSkFoUTg0enhqeGdXWmFtVFp2bWRweVlNRzNhTkZtV0pjdXlIaGd5Wk1oNWJ1Y0JBTmhEc1FJQUtDNHU3a1pKUFhOemM5VzNiMSszNDhTRWl5KytXTG01dVpMVTY1eHp6cm5CNVRnQUFKc29WZ0FBU2NxVHBHdXZ2ZGJ0SERHbDJkYzd6ODBjQUFEN0tGWUFFT055Y25LNlNob1RGeGVubkp3Y3QrUEVsSnljSEhYcDBrWEdtREVuL2g0QUFCR0tZZ1VBTWM3djkxOGhLVEVySzB2bm5jZXYrampwdlBQT1UxWldsaVNkMTlEUXdCMURBQ0NDVWF3QUFFTWthY0NBQVc3bmFHSDkrdldhUDMvK1Nkdno4L01WQ29YYWRJNUlXSUZyL0xvYlk0YTRIQVVBWUVPYzJ3RUFBTzVxL0lFK1BUM2Q3U2hOakRGYXRHaVJIbnJvb1pQMlZWUlV5QmpUWXR1WU1XTk9lUjYvMzMvS2ZVODk5WlMrK2MxdmRreFltNXA5M1NsV0FCREJLRllBZ0lHUzFLOWZQN2R6TkhucnJiZVVucDZ1YjN6akc5cTdkNi91dU9PT0Z2dXZ2dnJxRm8rTGlvcE9lWjZjbkJ5dFdiT20wM0oyaE1aaVpZd1o2SElVQUlBTkZDc0FRRTlKNnRHamg5czVKRW1IRGgzU3l5Ky9ySVVMRjJyeDRzWGFzV05IaStLVW5aMnRkZXZXcVV1WExpNm03RGpKeWNtTkgvWjBNd2NBd0I2S0ZRQ2d1NlN3dVhIRjZ0V3JkZkRnUWQxNTU1MDZmUGl3bGk1ZDJxYm41ZVRrNktLTExtcXhyYUdoUVRmYzhMOXZFWFhnd0FGdDI3YXRRL1BhMWV6cjN0M05IQUFBZXloV0FJQWtTVXBNVEhRN2h5UnB3b1FKdXVHR0cvVG9vNC9xKzkvL3ZsSlNValI2OU9nV3h6Ui9LZUQ4K2ZQMTlhOS9YWkswY3VYS0ZzZmw1T1MwMkJhT043T2dXQUZBZEtCWUFRRENTdGV1WFZWUVVLQnp6amxIRXlaTWtOVDY3MUFCQUJBdUtGWUFnQ09TZXRiVjFTaytQdDd0TE5xelo0OW16NTZ0ckt3czNYYmJiVXBNVE5TQ0JRdGF2Zk5mODV0VGpCczNydW5qSTBlT3lPLzM2NnFycmxMWHJzZmZlOWZ2OTNkdStIYW9yYTF0L1BDd216a0FBUFpRckFBQWh5WDFySzJ0MVFVWFhPQjJGcDEvL3ZtNjlkWmJsWjZlcnZUMGRQWHQyMWVTZFBEZ1FmbDh2aGJIRGhzMnJPbmpGMTU0UVNOSGpwUWt2ZmZlZTFxNGNLSCs4WTkvS0NNalEwOC8vYlJTVWxLMGFkTW01ejZSTnFKWUFVQjA0QTJDQVFDZlMxSjFkYlhiT1NSSkYxMTBrZTY5OTE1ZGQ5MTFTazlQMXovLytjODJQVy9reUpHcXE2dlRyRm16dEdUSkVyMzAwa3VLaTR2VEk0ODhvcC8rOUtkNjk5MTNtNHBYT0ttcHFXbjg4SE0zY3dBQTdLRllBUUErbHFSUFB2bkU3UnlTanI4VThIZS8rNTN1dWVjZWpSNDlXblBuemozamMveCt2OTU0NHcxTm1USkZhV2xwbWo5L3ZycDNQMzR2aVBUMGRMMzQ0b3Rhc21TSjdydnZQcFdWbFhYMnAzQlc5dXpaSTBteUxPdGpsNk1BQUd6Z3BZQUFFT01zeXlvenhqVDlnTysyaW9vS1ZWZFg2K2FiYjlZdmYvbExKU1VsTmUzNzh1OVpoVUloQlFJQjNYYmJiUm84ZUxBV0xWcWtYcjE2blhUT25qMTdhc0dDQlZxOWVyV2VmUEpKUGYvODgrcmZ2MytuZnk1dDBlenJIbDZORHdBQUFFRGJaV2Ruai9KNnZlYXV1KzR5NGV5RER6NDRhZHVISDM1b2pESEc3L2VmOGprdnZ2aGlwMmJxQ05PblR6ZGVyOWNNSFRvMDErMVpBQUMwbitWMkFBQ0F1M0p5Y3JvZU8zYnNzN2k0dVBPS2lvckM1bzJDWTBGdGJhMUdqUnFsWURCWW01U1UxTE80dUxqZTdVd0FnUGJoZDZ3QUlNWnQzcno1QzBsckE0R0FObS9lN0hhY21MSjU4MllGZzBGWmxyV0dVZ1VBa1kxaUJRQ1FwQldTdEhidFdyZHp4SlJtWCs4VmJ1WUFBTmhIc1FJQUtCQUkvRm5TNThYRnhhcW9xSEE3VGt6WXUzZXZpb3VMSmVtemhvYUdsUzdIQVFEWVJMRUNBS2lzckt6V3Nxelp4aGk5OHNvcmJzZUpDYSs4OG9xTU1UTEd6QzRySzZzOTh6TUFBT0dNWWdVQWtDUWxKQ1RNbDFTemF0VXFiZG15eGUwNFVXM0xsaTBxTEN5VXBKckV4TVQvNTNZZUFJQjkzQlVRQU5Ba0t5dHJpbVZaU3k2ODhFSzkvdnJyU2s1T2RqdFMxS211cnRia3laTlZWVlVsWTh5VTB0TFNwVzVuQWdEWTE4WHRBQUNBOFBIdmYvLzc3Nm1wcVgyKytPSUw3NlpObS9TdGIzMUwzYnAxY3p0VzFLaXNyTlNQZi94amZmcnBwNUwwMjlMUzBsbHVad0lBZEF4ZUNnZ0FhTUhqOGZ3ZlNSdDM3OTZ0cVZPbmF0T21UVExHdUIwcm9obGp0R25USmsyZE9sVjc5dXlScEkyV1pkM3ZkaTRBUU1maHBZQUFnSk5rWkdTY201U1V0RWpTclpLVW1abXBpUk1ucW4vLy91cmJ0Nis2ZCsvdWNzTHdkL2p3WVZWVVZHajM3dDBxS0NqUXJsMjdHbmN0UG5Ma3lBL0x5OHVQdVprUEFOQ3hLRllBZ05aWVhxLzNoNUptU0xyWTVTelJZSytrV1NVbEpiK1Z4QklnQUVRWmloVUE0TFJ5YzNQampoNDlPc2tZTTFGU3RxUmVraEpjamhVSjZpVjlKc2xuV1ZaQnQyN2RsaFVYRndmY0RnVUFBQUFBQUFBQUFBQUFBQUFBQUFBQUFBQUFBQUFBQUFBQUFBQUFBQUFBQUFBQUFBQUFBQUFBQUFBQUFBQUFBQUFBQUFBQUFBQUFBQUFBQUFBQUFBQUFBQUFBQUFBQUFBQUFBQUFBQUFBQUFBQUFBQUFBQUFBQUFBQUFFMTVWT1FBQUFOMUpSRUZV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zT0gvQS9NZG1odHAvYXpqQUFBQUFFbEZUa1N1UW1DQyIsCiAgICJUeXBlIiA6ICJmbG93IiwKICAgIlZlcnNpb24iIDogIiIKfQo="/>
    </extobj>
    <extobj name="ECB019B1-382A-4266-B25C-5B523AA43C14-3">
      <extobjdata type="ECB019B1-382A-4266-B25C-5B523AA43C14" data="ewogICAiRmlsZUlkIiA6ICI4NDU3NDU3MDI1MiIsCiAgICJHcm91cElkIiA6ICI0OTg2Mjc1MzQiLAogICAiSW1hZ2UiIDogImlWQk9SdzBLR2dvQUFBQU5TVWhFVWdBQUFmQUFBQUlDQ0FZQUFBQXdIcDlwQUFBQUNYQklXWE1BQUFzVEFBQUxFd0VBbXB3WUFBQWdBRWxFUVZSNG5PemRlMXhVZGY0LzhOZm5nQ2lHbDFEQkxEZER6UlFWT0lPeXBwbmtMYlgxdGlKalgxMnRkZHN5ZFczYjZtZVhiYmV5M1c5bGxxalozYXlOUWJ5bGxWcVp0M1ZkbFprQkNSS0ZTaEVWTDREY0hJYVo4L245QWNNWEZSUzVuWm54OVh3OGZEanpPV2ZPZWMrZ3ZPZnpQcC96K1FC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Ua3hvVGVBWGdiZzhFUUphVjhGRUFvZ0RzQnROTTVKSGR4VmtwNVJBaGhkVHFkY1NrcEtVZjBEb2lJeUpNeGdUZVM4UER3Ym9xaXJBSndyOTZ4ZUFBSllJMFE0bzltcy9tQzNzRVFFWGtpSnZCR1lEQVlvZ0JzbGxKMkNnd014UC84ei85ZzRNQ0I2TnExSzlxMGFhTjNlTHFUVWlJL1B4L1oyZG5ZdVhNbjFxNWRpOUxTVWdnaDBqUk5HMmUxV28vcEhTTVJrYWRoQW04Z1ZWVjdBTEFDQ0JnL2Zqd1dMbHdJUHo4L3ZjTnlheGN1WE1Benp6eURnd2NQUWdqeGs2K3ZiOFQrL2ZzTDlZNkxpTWlUK09nZGdDZnIwYU5IeTVZdFcyNEZjUHZ2ZnZjN1BQMzAwL0QxOWRVN0xMZlhxbFVyakI0OUdwbVptZmpsbDE5dTFqU3QrNmxUcDlicEhSY1JrU2RSOUE3QWs3VnQyL1pQQUZSVlZURnYzandJd1lKR1hiVm8wUUovLy92ZjBhVkxGd0NZcXFycUEzckhSRVRrU2RnRHI2ZisvZnZmNU9Qams2Z29TdXVWSzFlaVhUc09OcjllZm41K3VPT09PL0QxMTE4RFFNOVRwMDU5b0hkTVJFU2VnajN3ZXZMeDhYbFlTdG54L3Z2dng2MjMzcXAzT0I3cjE3LytOWHIxNmdVQWtaR1JrU1Awam9lSXlGTXdnZGVURUdJYUFCaU5ScjFEOFdoQ0NNVEd4Z0lBcEpTeE9vZERST1F4bU1EcklTSWlvZ3VBUVIwNmRFRHYzcjMxRHNmajNYUFBQUkJDUUVvNVBpWW1ocGQxaUlqcWdBbThIaFJGR1FrQWd3WU5ncUs0LzBmb2REcng0b3N2UXRPMFM5cExTMHZ4dDcvOURXVmxaVHBGVmlFd01CQjkrdlFCZ0U0Ly9mUlRtSzdCRUJGNUNON3pWQTlTeWpBQXpkNzczcmh4STE1KytlVTY3MjgybXdFQXAwK2Z4djc5KzYvNHN2SFpaNStockt3TUxWdTJiTlE0NitPdXUrNUNXbHFhNjdPMTZCMFBFWkc3WXdLdm4vNEFFQklTMHF3bm5UQmhBbjd6bTk4QUFBWU9ISWhkdTNiQjM5Ky9hbnROYlFDUW5aMTlSYXduVDU2RXlXVENaNTk5QmszVE1IdjJiTHoyMm12bzJMRmowNytSR3R4eHh4MnVoLzExQ1lDSXlNTXdnZGRQTndETlB2cGNDQUVmbi8rN1JLd295aVhQYTJwNzZLR0hrSjZlRGlFRWhnd1pnb3NYTCtMZ3dZTjQ2YVdYTUgzNmROZDkySmd3WVFMZWVPTU4vUE9mLzJ5ZU4zTVpWeHlvL0d5SmlPanFtTURycHgwQUJBUUU2QjNITlgzODhjZDQ4Y1VYRVJVVmhaRWpSMkxVcUZGNDdiWFhjUERnUVRpZFR1ellzUU5GUlVVb0tTbEJZV0VoVWxKU0VCYlcvSmVocTMyV3ZLR2VpS2dPbU1EcnB4MEF0RzdkV3U4NDZpUWpJd01QUC93d2NuTnowYVZMRjR3WU1RSTllL2JFYmJmZGhvNGRPeUl3TUJEdDJyWERwazJiOE9HSEgyTHAwcVhOSG1PMXo3SjlzNStjaU1nRE1ZSFhqd1pVckxMVm5Bd0d3eVhQNzdubm5pdjJxZDcyeUNPUFlNYU1HVGgvL2p4KzlhdGZZZnYyN2Jqenpqc1JHUm1KeU1qSUsxNDdac3dZREI4K3ZQRURyNE5xSStTZHVnUkFST1JobU1EcjV3S0FvSktTa21aZGVjdzFxdHh1dDJQUW9FRTRjT0RBSmRlN0RRWUQ5dXpaYzBsbElDVWxCVzNhdEVGeGNUSDI3ZHRYOVNYQVlEQWdLQ2pva3VNWEZCUmczNzU5emZCT3JsUmFXdXA2eVBYQmlZanFnQW04SG9RUUJWTEtvTUxDUXR4ODg4M05mdjZ6WjgraWJkdTJWd3hncTBsWVdCakdqaDJMbVRObm9yaTRHQXNXTEFCUU1RLzVsaTFiTHRsMzBLQkJUUkp2WFJRVkZia2VGdWdXQkJHUkIzSC9XVWpja0pUeUtBQ2NPSEZDbC9QLzk3Ly9SV2hvYUozM256MTdOanAzN2d5NzNZNmZmLzY1Q1NPcnYrenNiQUQvOTlrU0VkSFZNWUhYZzVUeUVBQmtaV1UxKzdsLyt1a252UFBPTzVnMmJWcWRYN054NDBZVUZCVGcwVWNmeFdPUFBZYWZmdnFwQ1NPc24ycGZMQTdwR1FjUmthZGdDYjBlRkVXeFNpbnh3dzgvTk90NXYvamlDN3o1NXB0NDVKRkhNSGp3NERxOUpqNCtIbXZXck1HNzc3NkxvS0FnOU8vZkh5RWhJU2d2TDhlRUNST2FPT0s2UzB0TEF3QUlJWkoxRG9XSWlMeFZlSGg0ZTFWVnkrKzU1eDVaWGw0dW04dStmZnVreFdLcGRmdktsU3VsM1c2L3BPMC8vL21QUEhmdTNCWDdMbGl3b0U1dHplSEVpUk5TVlZXcHF1clBBSVRlUDE4aUl2SmlxcXB1VlZWVjd0dTNUNWVrNTAwKy9mUlRWd0ovVSsrZkt4R1JwK0ExOFByN0RLaFlFSVRxeitsMHdtUXlBUUNrbEovckhBNFJrY2RnQXErbnRtM2JtZ0JrN2R1M3I5bXZoWHVUTFZ1MjROU3BVd0N3MVdxMUp1a2REeEdScDJBQ3I2ZWRPM2M2aEJBdkE4QmYvL3BYWEx4NFVlK1FQTTdwMDZmeCt1dXZ1NmF6Kzd1dXdSQVJlWmhyendSQ3RUcDE2dFNoVzI2NUplTENoUXU5amg4L2pudnZ2YmRPazZ0UXhheHZmLzd6bjVHVGt5T0VFUDlyc1ZoVzZSMFRFWkVuWVErOFlXVExsaTBmRWtJYy8rNjc3ekJuemh5Y1BIbFM3NWpjM3VIRGgvSFFRdys1YmgzYkErQUZuVU1pSXZJNHZHV25FZlR2My84MlgxL2ZMd0dFS1lxQzBhTkhZK0RBZ2VqYXRTdmF0bTJyZDNpNmsxSWlMeThQMmRuWjJMbHpKLzd6bi8rNE5uMVpWbFkyTFMwdHJWalArSWlJUEJFVGVDTVpQSGh3bTRzWEwvNER3TzhCdE5JN0hqZVhMNlY4czBlUEh2OUlURXprNm1ORVJQWEFCTjdJb3FLaWdzdkx5MmRLS2ZzSUlYb0tJZHJwSFpNN2tGS2VBWkFwaEVpMjJXeXIyZXNtSWlLNkNsVlZsMVZPa2pKWDcxaUlpS2p4Y0JBYkVSR1JCMklDSnlJaThrQk00RVJFUkI2SUNaeUlpTWdETVlFVEVSRjVJQ1p3SWlJaUQ4UUVUa1JFNUlFNGtZc1hxWnpTOWZucWJVS0lJVkxLVUNubFhpRkUxYnFuRG9mamxVT0hEcDFvL2lpSmlLZ3hNSUY3a1ppWUdKL016TXdjSVVUdzFmYVRVdWIyNk5IalZrNWpTa1RrdWJqMnBSZEpUMCtYdDk1NmEzY0FrZGZZOWRQdDI3ZC8yUnd4RVJGUjArQTFjQytqYWRxNk91eFdsMzJJaU1pTk1ZRjdHVVZSZGtrcDg2Nnl5L2wyN2RydGFyYUFpSWlvU1RDQmV4bXoyVnd1aFBqaUtydDhzWFBuVGtlekJVUkVSRTJDQ2R3TENTRnFMWkVyaXNMeU9SR1JGMkFDOTBJWExsejREa0JoRFpzS0N3b0t0amQzUEVSRTFQaVl3TDFRWm1abW1aU3lwbEhtbXpNek04dWFQU0FpSW1wMFRPQmVxcFl5T3N2blJFUmVnZ25jU3draHRnSW9yZFpVS29UWXBsYzhSRVRVdUpqQXZaVFpiQzRGc01YMVhBanhkV1ViRVJGNUFTWndMeWFsckNxWjEzR0NGeUlpOGhCTTRGN016OC92SzlmajFxMWJmM1cxZlltSWlNaU5xS3E2V1ZYVlRYckhRVVJFamN0WDd3Q295YTBUUWtpOWd5QWlvc1oxSXkwbnFxaXErbDhBQS9RT2hOeUxsSEtuMVdxTjFqc09JcUxyY2NOY0F3OFBELzgxbUx5cEJrS0lZWHJIUUVSMHZXNllFcnFpS0RFQThPQ0REK0xKSjUvVU94eHlBNHNYTDhibm4zOE9BRy9wSFFzUjBmVzZVWHJnQ29BWUFCZzVjcVRPb1pBNzBEUU4zMzMzSFFCQVNybEc1M0NJaUs3YkRaSEFLOHZudHdZSEI2TnYzNzU2aCtQVmJEYWIzaUhVU1dwcUtzNmNPUU1oeEFtcjFicGY3M2lJaUs3WERaSEFYZVh6NGNPSFExSDBlY3NmZlBBQnZ2amkwbVc2cFpUNHkxLytndjM3YTg4Zk5wc05xMWV2Um1scDgweWk1bkE0c0dYTEZoUVcxclNZR1pDYm00dWNuQndBd0wzMzNnc0F5TXJLd3JsejUxQmFXb3BodzRiQmJyYzNTNndOVWEzM3ZSYUFwbTgwUkVUWDcwWkk0RzVSUGo5MDZCQzZkZXQyU2R1U0pVdlFvVU1IckYyN0ZtZlBucTN4ZFMxYXRFQjJkamFlZnZwcGFOclY4MHh4Y1RIT256OWZweisxZWYvOTkvSFh2LzRWcTFldnJuSDduajE3OE5KTEwxVTlsMUppMGFKRk9IYnNHRkpUVS9HclgvMEtmbjUrVjQxVGJ5eWZFNUUzOFBwQmJIcVh6MDBtRTlhdlg0L3M3R3ljT0hFQ3ZyNitpSStQeDJ1dnZRYUh3NEhubm5zT3AwNmR3c0tGQy9Ic3M4OGlKQ1Rra3RmNytQaGc0Y0tGZVBUUlI1R1ltSWpZMk5oYXovWFBmLzRUVzdac3FYVjdkV2F6K1lxMjNidDNZKzNhdGZqZ2d3L3c1Sk5QUWxWVjNIMzMzWmZzTTNueVpPemN1Uk9uVHAwQ0FLU25wK09PTys2QXdXREE0c1dMMGI5Ly96cWRYMC9WeStjV2k0WGxjeUx5U0Y1L0g3aXFxa3NBTE5CejlIbGFXaHJlZSs4OXZQMzIyemh4NGdTZWZmYlpLNjRWNStYbElTZ29DRk9tVE1Ia3laT3ZPTWJHalJ2eDFsdHZZZE9tVFdqYnRtMmp4N2gzNzE0OCsreXorT2MvLzRsQmd3WmgzNzU5K0gvLzcvOVZQWGVwSGx0MmRqYTZkdTBLQVBqTFgvNkNGMTU0QVg1K2Z2RHg4VUZKU1FuS3k4dng1Sk5QWXRLa1NZMGViME5VSDMxdXNWaWUwRHNlSWlLNmtxS3E2Z2xWVldWS1NvclV5L0xseStXR0RSdmtwRW1UNUMrLy9DTC85YTkvMWJqZkw3LzhJbzhlUFZyanRxZWZmbHFPR0RGQ0xsKyt2TkhqaTQrUGwwT0dESkU3ZHV5NHBIM0hqaDF5eUpBaDh0MTMzNVZPcC9PU09QL3doei9JcUtnbytlNjc3OHFTa2hMNTJXZWZTVlZWNVprelo2U1VVcjczM252eXpUZmZiUFJZRzhycGRNcjc3NzlmcXFvcUl5SWlCbDM3bnhBUmtYdnk2bXZnZXBmUFhYYnMySUhvNklxSnZtNi8vWGI4OTcvL3hiUnAwekJ0MmpROC9mVFRXTGx5SllDS25tR1BIajJ1ZUgxaFlTSCsvZTkvNDMvLzkzK1JtSmlJNHVMaVdzOVZVRkJ3elQrdTNuOU9UZzdtelp1SFZhdFdZZVhLbFJnMmJCZ0tDZ3BnTUJoUVVGQ0FZY09HNGYzMzM4Zm16WnN4ZWZKa2JOMjZGWEZ4Y1hqcHBaZncvUFBQbzJYTGx1alpzeWNlZmZSUm5ENTlHcEdSa2NqS3lnSlFNYkN0ZS9mdWpmMVJOaGhIbnhPUnQvRHFhK0R1TVBvOEx5OFB4NDhmeDBNUFBZU1RKMDlpOHVUSjhQWDF4Wm8xRldPbnBrNmRpbDkrK1FXUFB2b29qaDA3VnVNeDFxeFpBNFBCVUhWTit0TlBQOFZqanoxVzQ3N0RodysvWmt5UFBQSUkvdmpIUHlJaElRSHQyclhEbWpWcmFpM0wzM1hYWFZpelpnMCsrT0FEbEpXVm9YZnYzbmo4OGNleGVQRml2UERDQzRpT2prWmtaQ1RhdEdtRGhJUUU3Tm16QndNR0RFQlNVaExtelp0WHgwK3ArWEQwT1JGNUMyOU80RzR4K2p3d01MRHFOckhKa3lkai9mcjFHRDkrUEdiT25GbW4xK2ZsNWVIVFR6L0YwcVZMQVFCLy9PTWZNWDM2ZEl3ZlB4NjMzbnJyRmZ2WE5EaXROZ3NXTEtqVEZ4dC9mLytxWkR4NThtUXNXN1lNMmRuWjJMZHZIMWFzV0FFQStPaWpqeEFkSFkxcDA2YWhhOWV1Nk5LbFM0M3g2WW1qejRuSW0zaHRDZDFkeXVlWEt5a3BRYXRXcmZESko1L2drMDgrdWVxK1VrcTgvUExMR0RKa0NNTEN3Z0FBdi9yVnJ6QnAwaVQ4L2U5L3YrWnRaZGRTbjZyRXFsV3I0SEE0c0g3OWVxeGZ2eDZMRmkyQ3I2OHYyclp0aTZDZ0lBd1pNZ1N2di80NlpzK2UzYURZbWdMTDUwVGtUYnkyQis0TzVYTUFPSERnQU5hdlg0OXo1ODRoSnljSHMyYk53b1VMRi9Ed3d3OWY4N1hMbGkzRDBhTkhYU09tcXp6MjJHTjQ4TUVIOGNZYmIrRHBwNTl1cXRCclZGeGNqTDU5KytMRkYxL0V4SWtUOGNrbm4rREZGMStFb2lqUU5LM3Ercnc3VHViQzhqa1JrZnR6aTlIblVrcHBzOWxrZm42K2REcWRjdEtrU1ZKS0tXTmlZcXEyVjM4OGZ2eDRLYVdVRG9kRHZ2YmFhM0xZc0dFeU16T3p4dU5tWm1iS29VT0h5aGRlZUVFV0Z4Zkw4dkp5bVorZmYxMS9hcEtmbnk5VlZhMTF1NVJTbHBXVnlkZGVlMDBPR1RKRWpoZ3hRcHBNSmxsZVhpNy8rdGUveW9jZmZsanUyTEZERGg0OFdLNWJ0KzY2UDYrbXd0SG5ST1J0dkxJSDdrN2w4NVl0VzZKbHk1Wlh0RHVkVHRoc05yUnExUXJIamgyRG9paFZvOE9YTGwyS25UdDM0b01QUHFoMUpIZjM3dDJ4WXNVS1BQSEVFL2pvbzQ4d2NPQkF6Smt6NTdwaXU1N3I1VUJGNy92MTExK0gyV3pHdmZmZWl5KysrQUw1K2ZuWXUzY3Y1c3laQTM5L2Y4VEZ4YUYxNjlaNDQ0MDM4TXd6ejBCUkZFeWNPUEc2enRNVU9Ia0xFWkVIVUZWMWlhcXE4bzAzM3RDNzQzZUo5OTkvWDBvcDVhZWZmaW9QSHo0czQrUGo1ZEdqUitXcnI3NHFwMCtmTHQ5NTV4MHBwWlFYTGx5UUJRVUZkVHBtZm42K0xDOHZiN1FZTDF5NElNZVBIeTh2WExoUTQvWmR1M2JKaXhjdlh0RnVOcHVscG1tWHRKMCtmVnFXbFpVMVdtd044Y1liYjBoVlZXWGx4RDVFUkI3UEcyZGlVMVJWUFE3ZzFvOC8vdGdqcHZha3BxVnBHc2FORzRjelo4NUFTbm0zMVdyZHAzZE1SRVFONVhXajBOMnBmRTd1Z2FQUGljZ2JlVjBDZDVmUjUrUStPUHFjaUx5UnQyVTR0NWk4aGR3SEoyOGhJbS9sVlFtYzVmT0tjckhCWUVCcGFhbmVvYmdGbHMrSnlGdDVWUUpuK1p3dXgvSTVFWGtyYjhweUxKL1RKVmcrSnlKdjVqVUozSlBMNXdjT0hNQ0REejZJcUtnby9PWTN2OEcrZlEyL3k4bHF0V0xLbENrWU5HZ1E1cytmajRLQ2dnWWRUOU0wckZxMUN1UEhqMGRVVkJUR2poMkxIMy84c2NGeE5pV1d6NG5JbTNsTkF2Zms4bmxKU1FtZWYvNTU3Tm16QjhPR0RjTS8vdkdQQmg5ejA2Wk5lTys5OS9ERkYxL2czTGx6ZVAzMTF4dDB2Q1ZMbG1EOSt2VjQrZVdYc1hmdlhpeGJ0Z3p0MjdkdmNKeE5pZVZ6SXZKbTNqS1Zxa2VYejZPam8yR3oyWkNWbFlXQWdBRGs1T1RBNFhEQTE3ZitQNTdISG5zTWdZR0JBSUNaTTJmaWxWZGVxZmV4aW9xS2tKQ1FnQlVyVmxTdGloWVNFbEx2NHpVSGxzK0p5TnQ1UlFMMzVQSTVBTVRGeFdIVHBrM28zNzkvMWJ6cERWMHFOQ2dvNkpMSHBhV2wwRFN0WHRXSm5Kd2NPSjFPOU9yVnEwRXhOU2ZPZlU1RTNzNnphczIxOE9UeStZa1RKN0JxMVNxOCsrNjdXTHg0TVg3em05ODB5bkZkeTNvQ3dMRmp4eEFjSEZ6dnorYm1tMjhHQUJ3L2ZyeFJZbXNPTEo4VGtiZnpyR3hYTTQ4dW56c2NEZ0RBcVZPblVGaFlpUGo0K0V1MjUrYm0xdXU0eTVZdFEwbEpDWTRkTzRhUFB2b0k0OGVQci9jeGc0T0RNWFRvVUN4YXRBaEhqaHlCMCtsRVJrWUdjbkp5NmhWYlUyUDVuSWh1QkI2ZndEMjlmTjZ0V3pjWWpVWTg5ZFJUK04zdmZvZTc3NzY3YXB2ZGJzY2pqenlDanovKytMcVAyNjlmUDB5WU1BRXpac3pBNE1HRE1YdjI3QVlkYzlHaVJlalhyeC9tekptRElVT0c0RzkvK3h2S3lzcXVPNjdtd05IblJFUWV3RjJYRG0wc1o4NmNrYi85N1cvbGtpVkwzUHFZN29STGh4TFJqY0RUQjdGNWRQbThManAxNm9TVksxY2lLeXZMclkvcExsZytKNkliaFVjbmNFOHZuOWRWeDQ0ZDBiRmpSN2MvcGp2ZzZITWl1bEY0OURWd1R4NTlUazJEbzgrSjZFWWg5QTZnSVF3R1E3YVU4amE5NHlEM0k2VzgyMnExTm54T1dpSWlOK1hSM1ZaTjB6TDFqb0hjMGtHT1BpY2lJbzlXT1JwYjZoMEhFUkUxTG8vdWdSTVJFZDJvbU1DSmlJZzhFQk00RVJHUkIySUNKeUlpOGtCTTRFUkVSQjZJQ1p5SWlNZ0RNWUVURVJGNUlDWndJaUlpRDhRRVRrUkU1SUU4ZWk1MHVsSkVSTVNqUW9qd2FrMS9yUHo3M2VyN1NTbVRyVmJyeXVhTGpJaUlHcE5ITHlkS1YxSVVSWkZTL3JHR1RYKzhiTC9IbXlra0lpSnFBaXloZTU4TmRkbEpVWlQxVFIwSUVSRTFIU1p3TDJNMm0wOUpLZmRlWTdkL0h6eDQ4SFN6QkVSRVJFMkNDZHdMQ1NIV1hXT1hhMjBuSWlJM3h3VHVoYVNVVnkyUEN5RllQaWNpOG5CTTRGN0lhclVlQTVCVXkrYURaclA1ZUhQR1EwUkVqWThKM0V2VlZrYVhVcko4VGtUa0JaakF2WlRUNmF3eFVkZmgramdSRVhrQUpuQXZsWnljZkJSQTZtWE5oeXdXUzZZZThSQVJVZU5pQXZkdWwvUzIyZnNtSXZJZVRPQmVURkdVU3hLMncrRmdBaWNpOGhLY0M5MjdDVlZWTmRjVGk4V2lBSkE2eGtORVJJMkVQWER2SmdHOFYvbjRYVEI1RXhGNURTWnc3L2NlQUFnaDNydldqa1JFUk9RK2hLcXEyOEhMSlVSRVhvVy8xTDJYVUZWMUNJRFZBTG9CeUJkQ2pEZWJ6WHZCVWpvUmtjZGpBdmN5Z3dZTjhyZlpiTk1VUlprbnBReS9mTHNRSWxsS3ViUmx5NWFtZmZ2MlhkUWpSaUlpYWpnbWNDOWhNQmgrcFduYVkwS0lQd0RvQUFBMzMzd3pKaytlaktGRGgyTDM3dDFZdDI0ZENnb0tYQzg1TDZWODM5ZlhkOFhCZ3dlemRRdWNpSWpxaFFuY3M0bUlpSWloUW9oNUFDYWhjbEJpNzk2OVlUUWFNV3JVS1BqNStWWHRiTGZiOGMwMzN5QStQaDZIRHg5Mk5Uc0JiSlJTTHJWYXJYdkE4am9Sa1VkZ0F2ZEFCb09oTllBSHBaVHpBUFFIQUI4Zkg0d1lNUUpHb3hIOSt2V0RFTFgvYUtXVU9IVG9FRXdtRTdadjN3Nm4wK25hZEVoS3ViUlZxMWFmczd4T1JPVGVtTUE5U0VSRXhPMUNpRGxTeXRsQ2lFQUFDQXdNeE9USmt6Rmx5aFIwNnRUcHVvOTU1c3dackZ1M0R1dldyVU4rZmo0QVFFcVpweWpLK3dCV2NPbFJJaUwzeEFUdS9rUmtaT1M5bXFiTkJ6QUJsV1h5UG4zNndHZzBZdVRJa1plVXlldkxicmZqMjIrL2hjbGtRbnA2dXF0WkE3QlJVWlM0cEtTa1hXQjVuWWpJYlRDQnV5bUR3ZEJhU2prZHdEd0FmWUdLTXZuSWtTTmhOQnJSdDIvZnE1Yko2MHRLaVI5KytBRW1rd25mZnZ0dDlmSjZLb0E0SWNTL3pHWnphYU9mbUlpSXJnc1R1SnNKRHcvdnBpaks0d0IrRCtCbW9LSk1QbVhLRlB6MnQ3OUZ4NDRkbXkyV3MyZlBWcFhYOC9MeVhNMzVBRDdRTkcxRmNuTHlMODBXREJFUlhZSUozRDBJVlZXamhSRHpwWlMvUVdXWlBEUTBGTk9tVGNQdzRjTWJwVXhlWDNhN0hkOTk5eDFNSmhQUzB0SmN6UnFBVFFEaUxCYkxEckM4VGtUVXJKakFkZFMvZi8rYmZIMTlwd3NoNWtrcFF3SEExOWNYbzBhTmd0Rm9SR2hvcU40aFhxRjZlZDNoY0FBQWhCQnBVc280aDhQeDJhRkRoMHAwRHBHSTZJYkFCSzZEQVFNR2hHaWE5cmlVOG1FQTdRR2dRNGNPaUltSndlVEprOUdoUXdlZEk3eTI4K2ZQWTkyNmRWaTdkaTNPbnovdmFpNlFVbjdvZERxWEh6cDA2R2M5NHlNaThuWk00TTFIUkVSRURCZEN6QWZ3QUNvLyszNzkrc0ZvTkdMNDhPRm8wYUtGdmhIV1EzbDVPYlp2M3c2VHlZVFUxRlJYc3dTd3VYSnltTzl4QTVYWGI3cnBwaEYrZm43QitmbjUvN3Bza3c4dS9mL21hTWF3aU1nTE1ZRTNzZERRMElCV3JWck5rRkxPQmRBSEFGcTBhSUZSbzBZaE5qYldMY3ZrOVpXV2xvYUVoQVJzMjdhdHFyd09JRjBJc2N4bXMzMmFscFpXckdkOHphRnIxNjRyU2t0TDk5OTIyMjF2bDVlWG53Q0FGaTFhZEM4cEtkbmg2K3ZiQlFEOC9mMzdXSzFXL1FZMUVKRlhZQUp2SWdhRG9idVU4bkVBRHdOb0J3QWRPM2FzS3BNSEJnYnFHMkFUeXN2THcvcjE2NUdZbUloejU4NjVtaThBK0VnSXNkeHNObWZwR0Y1VEVuMzc5djM1aHg5K2lBb0xDOHRJU1VscER3RDkrdlU3a1pxYWVwdHJwOHVmRXhIVmg2L2VBWGdaWVRBWVJrb3A1MGtweDZIeUMxSllXQmlNUmlQdXUrOCsrUHA2LzBjZUdCaUkyYk5uWStiTW1maisrKytSa0pDQWxKU1VkZ0Nla0ZJdVVGWDFLMFZSbGlZbEpYMEhMeXF2QndRRTNDT0U4QVdRcTNjc1JPVDkyQU52QklNSEQyNXo4ZUxGM3dHWUMrQXVvS0pNUG5yMGFCaU5SdlR1M1Z2ZkFOM0Fqei8rQ0pQSmhHM2J0cUc4dk56VmZGZ0lFV2V6MlZaN1EzazlKQ1JrN1UwMzNmVHIxTlRVMjhMQ3dnckt5c3ArQVlDV0xWdjJzdGxzVmlGRWE0QWxkQ0pxSEV6Z0RhQ3FhZzlVSk8ySEFMUUZnS0NnSUV5Wk1nV1RKazN5NmpKNWZlWGw1V0hEaGcxSVRFekUyYk5uWGMyRkFENEdzTXhpc1dUcUYxMzkzWFRUVGYxRFFrSzJBSkN1Qk80cW9iZHQyM1owWVdIaE50ZStnWUdCTVhsNWVZbTZCVXRFWG9FSi9Qb3BxcXFPa2xMT0UwS01kVFdHaDRmRGFEUWlPanI2aGlpVE41VEQ0Y0NPSFRzUUh4K1BsSlFVVjdPVVVtNFJRaXkxV0N6Zm9tS3lHSThRR0JqNHNCREMwYVZMbDFkZENkdzFpSzJ3c0hCN3g0NGRIN2JaYkZrQTRPL3ZmOWZKa3ljWDV1Ym1MdEUzYWlMeVpFemdkUlFWRmRYV2JyZlBWQlJscnBUeVRnRHc4L1BEL2ZmZkQ2UFJpRjY5ZXVrZG9zZkt5TWlBeVdUQzFxMWJZYmZiQVFCQ2lDTlN5amgvZi85UDl1N2RXNlJ6aUhYUkNvRE5OVUN0ZWc4Y0FIcjA2TEU5TXpQemZnQktlSGg0WGtaR3h2Q0xGeS8rVjc5d2ljalRNWUZmUTFoWTJKMit2cjV6cFpTekFMUUJnT0RnWU1URXhHRFNwRWxvMzc3OTFROUFkWmFmbjQrTkd6Y2lNVEVSdWJsVjQ4Q0twSlFmU3ltWEpTY25IOVV6dnJxb0xZSGZldXV0cnhZV0Z2N0gxOWMzb0hQbnpzLzgrT09QRVhyR1NVU2Vqd204WmtwRVJNVG95a2xYN25jMXFxcUsyTmhZUkVkSHc4ZkhSOGZ3dkp2VDZjU09IVHRnTXBsZ3RWcXJiOW9pcFl5eldxM2I0S2JsOWVvSjNGVkN0OXZ0T2RuWjJYUHZ1T09PejMxOGZOb2NQMzU4ZGxGUjBiLzFqcFdJUEJzdjFsWmpNQmphQVpoVmVmOTJUNkNpVEQ1MjdGakV4c2Jpemp2dmJKTHpta3dtakI4L0hxMWJ0MjZTNDErTHBta29MaTVHMjdadGRUbi81WHg4ZkRCaXhBaU1HREVDR1JrWlNFaEl3Sll0VzJDMzI4Y0lJY2FvcW5wVUNMSE0xOWQzMWY3OSt3djFqcmMyNmVucGZhczliZVBqNDlQZTZYUVdGQlVWSmVzV0ZCRjVEZmJBQVJnTWhyc3FaMHFiQ1NBQXFDaVRUNTA2RlpNbVRVSzdkdTJhOVB3REJnekE1czJiMGJsejU5cmlxOU54ZnYvNzMyUE9uRGxJVFUzRnJGbXpzR2ZQbmhxL0ZHUmtaT0Rnd1lQSXpzNUdWbFlXc3JLeU1HclVLQ3hjdUxCQjc4UEZaRExoODg4L3grblRwM0g3N2JmanFhZWV3c0NCQXh0MHpJS0NBbXpjdUJGcjFxeXBYbDR2QnJCS1VaUmxTVWxKR1EyTnV6SFVVRUlYYmRxMEdkZTFhOWZYejUwNzk3NlBqMC9yRGgwNi9PSHMyYk52NWVibWZnREFFNjd2RTVFYnVwRjc0SXJCWUJnanBad3ZwUnpsYWpRWUREQWFqYmozM251YnJVd3VwWVNpS0xWdVAzRGd3Q1hQaTR1TGNkOTk5MTNSTGtUZHZvODVIQTZVbDVjalBEd2Ntelp0d3E1ZHUrRG41d2VuMDRtQkF3Y2lJQ0Rna25NZE9IRGd1ajZMdkx3OHZQYmFhd2dPRGtaQ1FnS2VldW9wZlBQTk4yalpzbVdkajNHNTl1M2JZOWFzV1pneFl3WjI3dHlKaElRRW1NM21BQUJ6TlUyYnE2cnFOaUZFbk5sczNnSWR5K3MybSswd0FKU1dscnBxL3dFZE8zYWMvdlBQUHova0dyUjIvdno1OVVGQlFUTUIyUFNLazRnODN3M1hBemNZRE8ya2xBK2g0djd0N2dEUXNtVkxqQmt6QmthakVUMTc5bXpXZURSTnc0QUJBL0R0dDkvVytiN3hvcUlpREJzMkRHYXp1Y2J0MStxQlZ6ZG8wQ0RzMjdjUEFLb1NlUFhqR2d5RzYwN2cxZGxzTmd3ZVBCaGZmdmtsYnJubGxub2RvelpIang2RnlXVEMxMTkvWFRWNkhVQW1nT1ZDaUkvTlp2T0ZSajBoRVpFYnVXRjY0S3FxOXE2YzR2UjNBRzRDZ0Z0dXVRVlRwMDdGeElrVEcvWDY3NEVEQi9EV1cyOGhLeXNMUVVGQmVQYlpaekZvMENDa3A2ZGp4b3daTmI1bTVNVzJNUTRBQUNBQVNVUkJWTWlSTmJiWGxxVHJ3bXExWXNtU0pjakp5Y0dBQVFQdzBrc3ZvWDM3OWxpNGNDSFMwOU5SWGw2Tzh2SnlUSmd3QVFDd2Z2MzZxeDVQMHpTc1hyMGE2OWV2UjI1dUxqcDA2SURGaXhkZmRhYTUvZnYzbzNQbnpnZ09EcTczKzZoTno1NDk4Y0lMTDJEKy9QbFY1ZlhUcDAvM0FMQkVTdm1LcXFxZm9HSnltQjhiL2VSRVJEcnoraDU0WkdUa01DbmxwMUxLMjZxMVlkcTBhUmc2ZE9oVlM5ZjF0V1BIRGdRSEI2TkhqeDZJaTR2RHJsMjdzR25UcGhyM1BYWHFGQjU0NEFGOC92bm5OZDVMWHRmcjN5NlBQUElJN3I3N2JzeWFOUXNqUm96QU04ODhBNGZEZ1FVTEZ1Q09PKzdBb2tXTHF2Wjk1NTEzc0hyMTZqcjN3QmN2WG94ZHUzYmg1WmRmUm1ob0tJNGZQdzUvZi85YWU5Wm1zeGtMRnk3RVAvN3hqK3QrSC9YaGREcXhlL2R1bUV3bUpDVWxWZCtVclNqSzd6Uk4yNEdLdWRjbEtzcnNXaU05cnZPK1VrcE5DSEhWeC9XSm8vTDF0VDJ1T2dlQVVnRC9hN1ZhcTZiQkl5TFA1UFU5Y0UzVE5xTnlZQm9BZlBqaGh3Z1BEMi9TYzBaSFI4Tm1zeUVyS3dzQkFRSEl5Y21CdytHb2NZYTJ0TFEwS0lxQ2YvLzczelVtOEpwNjRIVXBvUVBBWTQ4OVZsV1duemx6Smw1NTVaV3FmZkx6ODdGaHd3Wm9tb2Jubm5zT3p6Ly9QUHo4YXArZXU2aW9DQWtKQ1ZpeFlnWEN3c0lBQUNFaEliWHVmL2JzV1R6NTVKTjQ0NDAzbWlWNUF4V2oxNk9qb3hFZEhRMnIxWXJaczJlN05uV3QvSGNBVkh4cEZRQWEvNXRiSFZRZnAxRGI0Nlk2cnV1eEVPSW5BQ3NhZEVJaTBwM1hKM0FoeEJOU3l2ZGR6eDkvL0hFODhNQURpSTJOdldvQ2FvaTR1RGhzMnJRSi9mdjNyeHE0cFdrMWo2dmF1blVyWnMyYWhRMGJObURHakJsWFRhTFhLeWdvNkpMSHBhV2wwRFFOaXFKZzhlTEZHRGR1SEV3bUUvcjI3WXNubjN3U1M1Y3VyZlZZT1RrNWNEcWRkWjV4TGprNUdTRWhJWWlNakd6dys3Z2VQLzMwRXhJU0V2RGxsMTllMGk2RWVNSnNObjhJUUF3Yk5rd3BLaW9TRnk1Y1VEcDE2cVRZN1haaHM5bVVnSUFBeGVGd0NMdmRydmo3K3l0T3AxT1VsNWNyTFZ1MlZEUk5FdzZIUS9IejgxTTBUUk5PcDFOcDBhSkYxV01wcGZEMTlWVTBUVk0wVGF0NkxLVVVQajQrVjMwTVFDaUtjc2xqS2FXUVVpcU44UmlBSW9SUXBKVExBUWdwcFM1ZlhvaW9jWGw5QWplYnpSL0V4TVI4ZlBUbzBRY1VSWmxuczltR3IxMjdGbXZYcmtWVVZCUmlZMk54enozM05Gb3AvY1NKRTFpMWFoVVNFeE1SRWhLQ2ZmdjJZZHUyYlRYdW01cWFpdVRrWkx6ODhzdkl6czdHeXBVck1YLysvRWFKQTZnWVFlNGF4SGJzMkRFRUJ3ZERVUlJzM3J3WlZxc1ZpWW1KTUpsTW1EWnRHa0pDUXE3YUM3ejU1cHNCQU1lUEgwZG9hT2cxengwVkZkVms5ODFmVHRNMDdObXpCeWFUNmZLUitkdWxsRXQ3OU9qeFZXSmlvck95VGU3Y3ViUHEyMVJtcGtldW5WSXZxcXFHQW5oYzd6aUlxSEhjRU4vRUV4TVRuY25KeVY5WUxKWVJpcUwwQS9BdWdOTDkrL2ZqejMvK015Wk9uSWpQUHZzTWhZVU5ueFBFNFhBQXFMaTJYVmhZaVBqNCtCcjNPM2Z1SEo1OTlsbk1temNQL3Y3K2VPS0pKNnFtRVcwc3k1WXRRMGxKQ1k0ZE80YVBQdm9JNDhlUEJ3QWNPblFJaXhZdHVtU0VlbFJVMUZXUEZSd2NqS0ZEaDJMUm9rVTRjdVFJbkU0bk1qSXlrSk9UVStQK1dWbFoyTDE3ZDZPOWw1b1VGaGJpczg4K3c4U0pFL0huUC8vWmxieExoUkFyblU1blg0dkZNc0pxdFc2cWxyeUppTHlHMS9mQUw1ZVVsUFFEZ0VmNzlldTMwTS9QNzJFQWorZms1Tnl4Wk1rU3ZQUE9PeGczYmh4aVkyUFJ2WHYzZWgyL1c3ZHVNQnFOZU9xcHB4QVVGQVNqMFlpOWUvZGVzazlXVmhhZWVPSUpEQjQ4dUdvRWVIQndNTjU4ODAzTW16Y1A2ZW5wK05PZi9uVEZQT3V1OG5kZVhsNmRWanpyMTY4ZkpreVlBTHZkam5IanhsVmRFMTY0Y09GVkt3NzMzWGRmamUyTEZpM0MyMisvalRsejVxQ2twQVRkdW5XN1pGQmNkUmFMQlZ1MmJLbDExSDFEWkdWbElTRWhBVjk5OVJWc3RvcGJxWVVRUDJ1YXRzemhjSHljbXBxYTMrZ25KU0p5TTE0L0N2MWFZbUppZkRJek04Y0pJZVlCR09GcUh6QmdBSXhHWTZPT1ZDOHBLY0hxMWF1eGV2VnFUSjgrSFhQbXpMbWliSjJabVlubm5uc09KMCtleE5peFk3Rmd3UUw0Ky9zRHFMalZ6R2F6b2F5c0RJTUdEY0xiYjcvZDRKaWErajd3eHFKcFd0VUk4NE1IRDFiZjlCMkFwZDI3ZC8rYVBlMnJVMVYxR1NwSzZQTXNGc3N5dmVNaG9vYTU0WHJnbDZ2OHBiOEp3S2FJaUlnK0FPWUtJV1llUEhpdzljR0RCOUdsU3hkTW5Ub1ZFeVpNYVBDOTRzWEZ4VWhLU3NMYmI3OWQ2OVNpUFhyMFFIeDhQTDc2Nml1VWxaVlZKVzhBU0VoSVFGbFpHWHg5ZmRHcFU2Y0d4VklUSVFRbVRweDRTZHZFaVJNYlBFSzZJUW9MQzZzdUxadzhlZExWWENLbFhBMWdtZFZxVFFjcWV2eEVSRGVTRzc0SFhwUHc4UEQyaXFLNFptc0xBU3BtYXhzM2JoeU1SbU85eSt2dXlGV1dkemVabVpsVnM2eVZsWlc1bW44Q3NFelR0SStUazVNTGRBelBJN0VIVHVSZG1NQ3ZJaVlteGljcksydU1sSEsrRUtKcXFyVEl5TWlxK2RMZE1mbDVLdGRFTFBIeDhaZmY0LzROZ0xqdTNidHZZWm04L3BqQWlid0xFM2dkcWFyYUd4VTk4cG1vTmhWclRFd01KazJhNURaTGNYcWl3c0pDYk5pd3dUVVZxcXU1QkFDblFtMUVUT0JFM29VSi9EcTUyMklvbnN5MUdNbVdMVnVxbDhtemhCQnhBRlp4TVpMR3hRUk81RjJZd092UHRSenBQQUNqWFkxNkxFZnFTWnhPSjNidDJnV1R5WFI1bWR3dGxnUDFaa3pnUk43bGhoK0YzZ0NhMld6K0NzQlhrWkdSdlRSTm13dGdsdGxzRGpDYnplamN1WE5WZWIxZHUzWjZ4NnE3Q3hjdVZKWEpjM056WGMzRkFGWXBpcklzS1NrcFE4ZndpSWc4RG52Z2pjaGdNTFFETUV0S09SZEFEd0R3OC9QRDJMRmpFUnNiMjJ4VGk3cVRJMGVPSUNFaDRZbzF1NFVRY2I2K3ZxdjI3OS9mOE9udnFFWVJFUkYvRmtKVS9hTVRRZ3lSVW9aS0tmY0tJWDV3dFVzcDkxcXQxay8xaVpLSTZvc0p2R2tva1pHUjkydWFOZy9BL2E1R1ZWVmhOQm94Yk5nd3J5NnZPNTFPN05peEF3a0pDWmZmbjcxVlNyblVhclZ1QTh2a1RjNWdNUHhWU3ZuM2ErMG5wWHpRYXJYV1BPY3ZFYmt0SnZBbUZoa1oyVXRLK1hqbHdMY0FvR0xhMUtsVHAyTGl4SWxYVEpmcXlRb0tDckJod3dZa0ppWldMNU1YQ1NGV09SeU9aU2twS1VmMGpPOUdFeEVSMFVjSWtYYXQvVnEwYU5HT2xSQWl6OE1FM2t5aW9xTGEydTMybVpWVHR2WUVLc3JyWThhTVFXeHNiSjJYNlhSSEdSa1pNSmxNMkxwMWExV1pYQWh4Uk5PMFpYNStmcDh3T2VoSFZkVWZBZHgxbFYwMld5eVc4YzBWRHhFMUhpYnc1cWVvcWpvS3dId0FZMXlORVJFUk1CcU5pSTZPOW9qeXVzUGh3TTZkT3hFZkg0L2s1T1NxZGlubDEwS0lPSXZGOGcxWUp0ZWRxcXF2QUhpdXR1MUNpRmxtcy9tVFpneUppQm9KRTdpT3dzTEM3bFFVNVhFaHhFTUEyZ0FWNWZVcFU2WmcwcVJKVld0d3U1UDgvUHlxTXZtWk0yZGN6VVVBUHRJMGJYbHljdkpSSGNPank0U0hoNGNyaW1LdFpiT2p2THc4aUt1M0VYa21KbkEzTUhqdzREWVhMMTZjaVlySllYb0JGZVgxMGFOSFk5cTBhVzVSWGo5OCtEQk1KaE8yYmR0V2ZUUjVCb0E0ZjMvLzFYdjM3aTNTTVR5cW5WQlZOUk9WYy9wZlpwdkZZcm0vaG5ZaThnQk00TzVGVVZWMUpJQjVBTWE1R3NQQ3dqQnQyalJFUjBmWGFSM3d4dUp3T1BEOTk5L0RaREloSlNYRjFTd0JmQzJFV0dvMm03OER5K1J1VDFYVjF3QThWY09tUnl3V3kvdk5IUThSTlE0bWNEZWxxbW9QVk15YTlUQ0F0Z0FRRkJTRUtWT21ZUExreVUxYVhzL0x5OFA2OWV1eGR1MWFuRDE3MXRWY0NPQWpBTXN0Rmt0bWs1MmNHbDFrWk9SQVRkUDJYOWFzU1NrN1c2M1dzelcraUlqY0hoTzRteHM4ZUhBYm04MDJvM0xLMXJzQW9FV0xGaGc5ZWpTTVJpTjY5KzdkYU9mNjhjY2ZxOHJrNWVYbHJ1YkRRb2c0bTgyMk9pMHRyYmpSVGtiTlNhaXFlZ3hBMTJwdE95d1d5MzE2QlVSRURjY0U3amxFWkdUa0NFM1Q1cU9pdkM2QWl2SjZiR3dzaGc4ZlhxL3l1c1Bod1BidDI1R1FrSEI1bWZ3clJWR1dKaVVsZlZmNW5EeVlxcXB2QWZoVHRhYTVGb3RsdVY3eEVGSERNWUY3SUlQQjBGMUsrVGlBMzZPeXZONnBVNmVxOG5wZ1lPQTFqMUZMbWZ3Q2dJK0VFTXZOWm5OV1U4VlB6YzlnTUF5UlV1NXhQWmRTM21xMVdrL3FHUk1STlF3VHVBY0xEUTBOYU5XcWxhdTgzaHY0di9KNmJHd3MrdlRwYzhWcjB0TFNrSkNRZ0crKythWjZtZnpIeWpMNXB5eVRleTFGVlZVbkFFZ3B5NnhXYXl1OUF5S2lobUVDOXc0aUlpSml1QkJpUG9BSFVQbHo3ZCsvUDJKalkzSHZ2ZmRXTGVHWm1wcnFlbzBFc0ZsS0dXZTFXcmVEWlhLdnA2cnFMZ0JEcFpRcnJWYnJZM3JIUTBRTnd3VHVaUVlNR0JDaWFkcmpVc3JmQTZocEhkTUxVc29QZkgxOVZ4dzhlUENuNW82UDlCTVJFVEZDQ1BHdGxMS2IxV285cG5jOFJOUXdUT0JlS2pRME5NRFB6Mjk2NWR6cmZRQ2tBMWpxY0RnK08zVG9VSW5PNFpFT0RBWkRDeW5sbHhhTFpiVGVzUkJSd3pHQmV6bFZWYzhCNkNDbERPSTl2emNrb2FycUVBQ3JBWFFUUWx3QThJRFpiTjRMWGpZaDhtak5ONjBYNlVwUkZQNnl2b0VNR2pUSTMyYXpUVk1VWlo2VU10elZMcVZzQjJDUHdXQklsbEl1YmRteXBXbmZ2bjBYZFF5VmlPcUpQWEF2NStxQkN5RTZtYzNtYzNySFEwM0xZREQ4U3RPMHg0UVFmd0RRQVFCdXZ2bG1USjQ4R1VPSERzWHUzYnV4YnQwNkZCUVV1RjV5WGtyNWZ1V1lpR3pkQWllaTY4WUU3dVdZd0c4SUlpSWlZbWpsZUlkSkFCUUE2TjI3TjR4R0kwYU5HZ1UvUDcrcW5lMTJPNzc1NWh2RXg4Zmo4T0hEcm1ZbmdJMVN5cVZXcTNVUFdGNG5jbnRNNEY2T0NkeDdHUXlHMWdBZXJKd0hvRDhBK1BqNFlNU0lFVEFhamVqWHJ4K0VxUDIvdUpRU2h3NGRnc2xrd3ZidDIrRjBPbDJiRGtrcGw3WnExZXB6bHRlSjNCY1R1SmRqQXZjK0VSRVJ0d3NoNWtncFp3c2hBZ0VnTURBUWt5ZFB4cFFwVTlDcFU2ZnJQdWFaTTJld2J0MDZyRnUzRHZuNUZjdURTeW56RkVWNUg4QUtzOWw4dkZIZkJCRTFHQk80bDJNQzl4b2lNakx5M3NxNThDZWdza3plcDA4ZkdJMUdqQnc1OHBJeWVYM1o3WFo4KysyM01KbE1TRTlQZHpWckFEWXFpaEtYbEpTMEN5eXZFN2tGSm5Bdnh3VHUyUXdHUTJzcDVYUlVyQkhmRjZnb2s0OGNPUkpHb3hGOSsvYTlhcG04dnFTVStPR0hIMkF5bWZEdHQ5OVdMNituQW9nVFF2ekxiRGFYTnZxSmlhak9tTUM5SEJPNFp3b1BEKyttS0lwcndacWJnWW95K1pRcFUvRGIzLzRXSFR0MmJMWll6cDQ5VzFWZXo4dkxjelhuQS9oQTA3UVZ5Y25KdnpSYk1FUlVoUW5jeXpHQmV4U2hxbXEwRUdLK2xQSTNxQ3lUaDRhR1l0cTBhUmcrZkhpamxNbnJ5MjYzNDd2dnZvUEpaRUphV3BxcldRT3dDVUNjeFdMWkFaYlhpWm9ORTdpWFl3SjNmLzM3OTcvSjE5ZDN1aEJpbnBReUZBQjhmWDB4YXRRb0dJMUdoSWFHNmgzaUZhcVgxeDBPQndCQUNKRW1wWXpqZEwxRXpZTUozTXN4Z2J1dmFndlBQQXlnUFFCMDZOQUJNVEV4bUR4NU1qcDA2S0J6aE5kMi92eDVyRnUzRG12WHJzWDU4K2RkelFWU3lnK2RUdWZ5UTRjTy9heG5mRVRlakFuY3l6R0J1NTBhbDM3dDE2OGZqRVlqaGc4ZmpoWXRXdWdiWVQyVWw1ZGorL2J0dFMxWnU5UnF0WDZQRzdDOGZ0Tk5ONDN3OC9NTHpzL1AvOWRsbTN4dzZlOWZSek9HUlY2Q0NkekxNWUc3aDlEUTBJQldyVnJOa0ZMT1JjWHFjR2pSb2dWR2pScUYyTmhZdHl5VDExZGFXaG9TRWhLd2JkdTJxdkk2Z0hRaHhES2J6ZlpwV2xwYXNaN3hOYWV1WGJ1dUtDMHQzWC9iYmJlOVhWNWVmZ0lBV3JSbzBiMmtwR1NIcjY5dkZ3RHc5L2Z2WTdWYTlSdmNRQjZMQ2R6TE1ZSHJ5MkF3ZEpkU1BnN2dZVlN1ejk2eFk4ZXFNbmxnWUtDK0FUYWh2THc4ckYrL0hvbUppVGgzcnVxZjNnVUFId2tobHB2TjVpd2R3MnNPb20vZnZqLy84TU1QVVdGaFlSa3BLU250QWFCZnYzNG5VbE5UYjNQdGRQbHpvcnJpYW1SRWpVOFlESWFSVXNwNVVzcHhxUHlpSEJZV0JxUFJpUHZ1dXcrK3Z0Ny9YeTh3TUJDelo4L0d6Smt6OGYzMzN5TWhJUUVwS1NudEFEd2hwVnlncXVwWGlxSXNUVXBLK2c1ZVdGNFBDQWk0UndqaEN5Qlg3MWpJTzNuL2J4R2laako0OE9BMkZ5OWUvQjJBdVZMS3U0Q0tNdm5vMGFOaE5CclJ1M2R2blNQVWgrc3pHRDE2Tkg3ODhVZVlUQ1pzMjdaTmxKZVhQNkJwMmdPcXFoNFdRc1RaYkxiVjNsUmVEd29LbWwvOStWMTMzWlVNQUlxaWRPalZxOWQvaEJDdEFjRFgxemRJai9qSTg3R0U3dVZZUW05NnFxcjJBREFYd0VNQTJnSkFVRkFRcGt5WmdrbVRKbmwxbWJ5Kzh2THlzR0hEQmlRbUp1THMyYk91NWtJQUh3TllackZZTXZXTHJ1RnV1dW1tL2lFaElWc0F5TlRVMU52Q3dzSUtYQ1gwdG0zYmppNHNMTnptMmpjd01EQW1MeTh2VWJkZ3lXTXhnWHM1SnZBbW82aXFPa3BLT1U4SU1kYlZHQjRlRHFQUmlPam82QnVpVE41UURvY0RPM2JzUUh4OFBGSlNVbHpOVWtxNVJRaXgxR0t4Zkl1S3lXSThTbUJnNE1OQ0NFZVhMbDFlZFNWdzF5QzJ3c0xDN1IwN2Ruellack5sQVlDL3YvOWRKMCtlWEppYm03dEUzNmpKMC9BM0RORjFpSXFLYW11MzIyY3FpakpYU25tbkVBSitmbjY0Ly83N1lUUWEwYXRYTDcxRDlDaSt2cjRZT1hJa1JvNGNpWXlNREpoTUptemR1bFhZN2ZheEFNWWFESVlqVXNvNGYzLy9UL2J1M1Z1a2Q3eDFsWmVYOXprQVc1Y3VYVjUxdGFXbnAvZDFQVzdWcWxYZnpNek0rd0VvNGVIaGVZV0ZoZnYwaUpNOEd4TTRVUjJFaFlYZDZldnJPN2U4dkh5V0VLS05sQkxCd2NHSWlZbkJwRW1UMEw1OWU3MUQ5SGk5ZXZYQ2l5KytpUG56NTJQanhvMUlURXhFYm03dW5RRGlMbDY4K0dwRVJNVEhVc3BseWNuSlIvV090UTVzVjl0NDhlTEYvVzNhdEJudDYrc2JVRlpXZHVUaXhZdi9iYTdBeUh1d2hPN2xXRUp2RUNVaUltSjA1YVFyOTdzYVZWVkZiR3dzb3FPajRlUGpvMk40M3MzcGRHTEhqaDB3bVV5d1dxM1ZOMjJSVXNaWnJkWnRjUFB5dXVzV3Nlb2xkTHZkbnBPZG5UMzNqanZ1K056SHg2Zk44ZVBIWnhjVkZmMWI3MWpKODdBSFRuUVpnOEhRRHNDc3l2dTNld0tBbjU4ZnhvNGRpOWpZV054NTU1MzZCbmlEOFBIeHdZZ1JJekJpeEFoa1pHUWdJU0VCVzdac2dkMXVIeU9FR0tPcTZsRWh4REpmWDk5VisvZnZMOVE3M211cFhrSUgwTWJIeDZlOTAra3NLQ29xU3RZdEtQSm83SUY3T2ZiQTY4NWdNTnhWT1ZQYVRBQUJBQkFjSEl5cFU2ZGkwcVJKYU5ldVhaT2UzMlF5WWZ6NDhXamR1bldUbnFjMm1xYWh1TGdZYmR1MjFlWDhkVkZRVUlDTkd6ZGl6Wm8xeU0ydHVyMjZHTUFxUlZHV0pTVWxaZWdZM2hXcTk4QXJSNkdMTm0zYWpPdmF0ZXZyNTg2ZGU5L0h4NmQxaHc0ZC9uRDI3Tm0zY25OelB3RGdNZGY1U1gvc2dkT05UakVZREdPa2xQT2xsS05jalFhREFVYWpFZmZlZTIremxja1hMMTZNWWNPRzFackFEUVpEblk3eis5Ly9IblBtekVGcWFpcG16WnFGUFh2MjFIak1qSXdNSER4NEVObloyY2pLeWtKV1ZoWkdqUnFGaFFzWE51aDl1SmhNSm56KytlYzRmZm8wYnIvOWRqejExRk1ZT0hCZ2c0N1p2bjE3ekpvMUN6Tm16TURPblR1UmtKQUFzOWtjQUdDdXBtbHpWVlhkSm9TSU01dk5XK0FHNVhXYnpYWVlBRXBMUzEzWEFBSTZkdXc0L2VlZmYzN0lkZDM3L1BuejY0T0NnbWJpR3RmTmlTN0hCRTQzSklQQjBFNUsrUkFxSmwzcERnQXRXN2JFbURGallEUWEwYk5uejJhUFNVb0pSVkZxM1g3Z3dJRkxuaGNYRitPKysrNjdvbDJJdWhYV0hBNEh5c3ZMRVI0ZWprMmJObUhYcmwzdzgvT0QwK25Fd0lFREVSQVFjTW01RGh3NGNGMWZadkx5OHZEYWE2OGhPRGdZQ1FrSmVPcXBwL0ROTjkrZ1pjdVdkVDVHYlh4OGZEQjgrSEFNSHo0Y1I0OGVoY2xrd3RkZmZ3MjczVDVhU2psYVZkVk1BTXVGRUIrYnplWUxEVDVoUFIwOWVuUkU1ZC9SbFUxRlAvLzhzN0g2UG5hN1BmM0VpUlBQTkh0d1JPVGVWRlU5cDZxcU5CZ01IZldPeFIyb3F0bzdJaUppaGFxcXhhcXFTbFZWNWJoeDQrUW5uM3dpTDF5NElQWGlkRHFscXFyeS9QbnpkWDVOWVdHaFZGVzExdTJIRGgyU3FxcktrcEtTYXg3cjE3LytkZFZqaDhOeHhYRlZWWlVPaDZQT3NWM3U0c1dMVWxWVmVmTGt5WG9mNDFvS0NncmtxbFdyNU5peFk2WHJaMXY1YzE2dXF1cU5PUTBlZVRYMndPbUdFQmtaT1V4SythbVU4alpYRHpVeU1oTFRwazNEMEtGRHI5cnpyYThEQnc3Z3JiZmVRbFpXRm9LQ2d2RHNzODlpMEtCQlNFOVB4NHdaTTJwOHpjaVJJMnRzTjV2TjlZN0RhclZpeVpJbHlNbkp3WUFCQS9EU1N5K2hmZnYyV0xod0lkTFQwMUZlWG83eThuSk1tREFCQUxCKy9mcXJIay9UTkt4ZXZScnIxNjlIYm00dU9uVG9nTVdMRjE5MXF0ajkrL2VqYytmT0NBNE9ydmY3dUpaMjdkcGg1c3labUQ1OU9uYnYzZzJUeVlTa3BLU2JBTXdCTUVkVjFXeEZVWDZYbEpTMEM1WGpmMkppWXNUWnMyY0ZBQlFWRlFtYnpTWUFvS3lzVE54MjIyMVZqKzEydXdDQTh2Snk0WFE2QlFDMGI5OWVPQndPQVFBT2g2T3EzZWwwaW9DQWdLckhyblpOMDZvZSsvdjdDMDNUcXRxclA1WlNDZ0JvMmJMbEplMEFJS1dzYXF1K3ZYcTdsRkswYU5HaTZySHJlTlgzYWRHaWhTZ3ZMNWNPaCtOb1dscWF2UWwrSE5RTU9Jak55M0VRV3dWVlZZdFFPVEFOQUQ3ODhFT0VoNGMzNlRsMzdOaUI0T0JnOU9qUkEzRnhjZGkxYXhjMmJkcFU0NzZuVHAzQ0F3ODhnTTgvLzd6R3lXRHFldjNiNVpGSEhzSGRkOStOV2JObVljU0lFWGptbVdmZ2NEaXdZTUVDM0hISEhWaTBhRkhWdnUrODh3NVdyMTZOZmZzcTVoSnhsZENyZjJrd0dBeFZKZlRGaXhkajE2NWRlUG5sbHhFYUdvcmp4NC9EMzk4ZnQ5eHlTNDJ4bU0xbUxGeTRFUC80eHordSszMDBsTlZxeGV6WnM2czNGYVBhdndQQ0ZvdkZNdmJhdTVFN1lnK2NiZ2hDaUNla2xPKzduai8rK09ONDRJRUhFQnNiaTVDUWtDWTVaM1IwTkd3Mkc3S3lzaEFRRUlDY25CdzRISTRhcDFoTlMwdURvaWo0OTcvL1hXTUNyNmtIWGxSVWhHSERodFhhTzA5TlRRVUFQUGJZWTFYenNjK2NPUk92dlBKSzFUNzUrZm5Zc0dFRE5FM0RjODg5aCtlZmZ4NStmclV2VFYxVVZJU0VoQVNzV0xFQ1lXRmhBSERWeisvczJiTjQ4c2tuOGNZYmJ6UnI4djdwcDUrUWtKQ0FMNy84OHBMMnkvNGR5R3AvTjlsakthVVVRdFM0ajVSU1ZzWlY0MnVGRUZYNzFIRjcxV1BYT1N1M1g3NVBuOHJuWTBBZWl3bWNiZ2htcy9tRG1KaVlqNDhlUGZxQW9panpiRGJiOExWcjEyTHQycldJaW9wQ2JHd3M3cm5ubmtZdHBjZkZ4V0hUcGszbzM3OS8xY0F0VGF0NVlQVFdyVnN4YTlZc2JOaXdBVE5tekxocUVyMWVRVUZCbHp3dUxTMkZwbWxRRkFXTEZ5L0d1SEhqWURLWjBMZHZYeno1NUpOWXVuUnByY2ZLeWNtQjArbXM4NVN4eWNuSkNBa0pRV1JrWklQZng3Vm9tb1k5ZS9iQVpESmRQckJ2dTVSeWFZOGVQYjVLVEV4MEF2aWd5WU54Y3hFUkVTT0VFTjhDMks1M0xGUi9UT0IwdzZqODVmMEZnQzhpSXlQN2FwbzJGOENNL2Z2M3Q5Ni9mejl1dmZWV1RKMDZGZVBIajIvd3ZkQW5UcHpBcWxXcmtKaVlpSkNRRU96YnR3L2J0bTJyY2QvVTFGUWtKeWZqNVpkZlJuWjJObGF1WEluNTgrZlh1Rzk5RkJjWFY5MUdkdXpZTVFRSEIwTlJGR3pldkJsV3F4V0ppWWt3bVV5WU5tMGFRa0pDcmpxSy9lYWJid1lBSEQ5K0hLR2hvZGM4ZDFSVVZKTlBmRk5ZV0loTm16Wmh6Wm8xeU1uSmNUV1hDaUZXT3h5T1pTa3BLV2tBTHAvTmpjampOZjdJSFNJUGtKU1U5SVBGWW5tMHZMejhOaUhFWDRRUVArZms1R0RKa2lVWU0yWU1YbjMxVldSbFpkWDcrQTZIQTBERnRlM0N3a0xFeDhmWHVOKzVjK2Z3N0xQUFl0NjhlZkQzOThjVFR6eFJOUTk0WTFtMmJCbEtTa3B3N05neGZQVFJSeGcvZmp3QTROQ2hRMWkwYU5FbDk0aEhSVVZkOVZqQndjRVlPblFvRmkxYWhDTkhqc0RwZENJakk2TjY0cnhFVmxZV2R1L2UzV2p2NWZKanYvcnFxeGd6Wmt6VklEMGh4TTlTeWlmTHk4dHZNNXZOajdtU041RTNZZytjYm1pcHFhbjVBQmJIeE1TOGxabVpPVTRJTWM5bXM0MVl0MjRkMXExYmh3RURCc0JvTkY3M1NQVnUzYnJCYURUaXFhZWVRbEJRRUl4R0kvYnUzWHZKUGxsWldYamlpU2N3ZVBEZ3FoSGd3Y0hCZVBQTk56RnYzanlrcDZmalQzLzYweFVMcGJqSzMzbDVlWFZhc3JSZnYzNllNR0VDN0hZN3hvMGJWeldvYStIQ2hWZDlUL2ZkZDErTjdZc1dMY0xiYjcrTk9YUG1vS1NrQk4yNmRidGtVRngxRm9zRlc3WnNxWFhVL2ZYU05LMXFoUG5CZ3dlcmIvb093TktRa0pDdkt5c3RSRjZQbzlDOUhFZWhYNytJaUlnK0FPWUtJV1lDYUEwQVhicDB3ZFNwVXpGaHdvUUdsOWRMU2txd2V2VnFyRjY5R3RPblQ4ZWNPWE91S0Z0blptYml1ZWVldzhtVEp6RjI3RmdzV0xBQS92NytBQ3B1TmJQWmJDZ3JLOE9nUVlQdzl0dHZOeWdlQUJnMGFGQ2RSNkhyb2JDd3NLb3ljZkxrU1ZkemlaUnlOWUJsVnFzMVhaZkFQRlQxYStBV2kyV0UzdkZRL2JBSFRuU1p5bVF3Snp3OC9GbEZVUjRDTVBma3laTWhiNzMxRnQ1NTV4Mk1HemNPUnFNUjNidDNyOWZ4aTR1TGtaU1VoTGZmZnJ2V3FVVjc5T2lCK1BoNGZQWFZWeWdySzZ0SzNnQ1FrSkNBc3JJeStQcjZvbE9uVHZXSzRXcUVFSmc0Y2VJbGJSTW5UcXp6REcrTktUTXpzMnFXdGJLeU1sZnpUd0NXYVpyMmNYSnlja0d6QjBYa0p0Z0Q5M0xzZ1RkY1RFeU1UMVpXMWhncDVYd2hSTlZNSzVHUmtWWHpwVGZGUkRETnlWV1dkd2RPcHhPN2QrOUdmSHo4NWJmSWZRTWdybnYzN2x0WUptOFk5c0M5QTN2Z1JOZFFtU3krQlBCbDVaU2Njd0hNVEVwS3Vpa3BLUW0zM0hJTFltSmlNR25TSkxkZXlldHEzQ0Y1RnhZV1lzT0dEVml6WmcxT256N3RhaTRCOEFtQVpSYUw1VWVnNHJvNkViRUg3dlhZQTI4YTFSZERBZUFXaTZGNEt0ZGlKRnUyYktsZUpzOFNRc1FCV0tYbllpVGVpajF3NzhBZXVJZnAxYXZYem95TWpHRjZ4M0dqcTB3cWJ3RllXcmtjNmJ5eXNyTFJHemR1eE1hTkczVlpqdFNUT0oxTzdOcTFDeWFUNmZJeXVWc3RCMHJrenBqQTNWaWZQbjErdUx5dFZhdFdvVFcxYTVwV2R2anc0ZWFkYUpvQVFET2J6VjhCK0NveU1ySlg1ZVF3czh4bWM0RFpiRWJuenAycnl1dnQyclhUTzFiZFhiaHdvYXBNbnB1YjYyb3VCckJLVVpSbFNVbEpHVHFHUitSUldFTDNNS3FxU292RlV1ZWZHMHZvemM5Z01MUURNRXRLT1JkQUR3RHc4L1BEMkxGakVSc2IyK1F6azdtakkwZU9JQ0Vod2JWbXQ2czVVd2dSNSt2cnUyci8vdjJGZXNaM28yRUozVHN3Z2J1NWlJZ0kyOFdMRncvWHRyMTE2OWI5TFJaTHJTT1FtTUIxcFVSR1J0NnZhZG84QVBlN0dsVlZoZEZveExCaHc3eTZ2TzUwT3JGanh3NGtKQ1JjUHZCc3E1UnlxZFZxM1FhV3lYWEJCTzRkV0VMM0RBNjlBNkI2MFpLU2tyNEc4SFZrWkdRdktlWGpVc3FITEJaTGdNVmlRWEJ3TUtaT25ZcUpFeWRlSHR2UWN3QUFIL2hKUkVGVU1kdWFKeXNvS01DR0RSdVFtSmhZdlV4ZUpJUllWVGszK1JFOTR5UHlGa3pnSHVEdzRjTzFMdVVVRVJGaGE4NVlxSDRxciszT2o0cUtldDV1dDg4VVFzekx6YzN0R1JjWGgzZmZmUmRqeG94QmJHeHNuVmY1Y2tjWkdSa3dtVXpZdW5WclZabGNDSEZFMDdSbGZuNStuN0JNVHRTNG1NQTl3RjEzM1pWVTJ6WWhST090TzBsTnJqS0p4UUZZcnFycUtBRHo3WGI3bUMrKytBSmZmUEVGSWlJaVlEUWFFUjBkN1JIbGRZZkRnWjA3ZHlJK1BoN0p5Y2xWN1ZMS3J5dEhrMzhEbHNtSm1nUVR1QWRnRDl3cmFSYUxaU3VBcldGaFlYY3Fpdks0RU9JaHE5WGF4bXExSWpnNEdGT21UTUdrU1pPcWx2QjBKL241K1ZWbDhqTm56cmlhaXdCOHBHbmE4dVRrNUtNNmhrZDBRMkFDOXdEc2dYdTN5bXZDZnhvOGVQRHpGeTllbkFsZ2JtNXVicS9seTVmai9mZmZ4K2pSb3pGdDJqUzNLSzhmUG53WUpwTUoyN1p0cXo2YVBBTkFuTCsvLytxOWUvY1c2UmdlMFEyRkNkeE5CUVlHVHUzY3VmTmZoUkIraXFLMHV0cStydnZDMDlQVCt6WlBkTlFVS3BQZk1nQXJWRlVkQ1dDZTNXNGZ0M256Wm16ZXZCbGhZV0dZTm0wYW9xT2o2N1NNYUdOeE9CejQvdnZ2WVRLWmtKS1M0bXFXQUw0V1FpdzFtODNmZ1dWeW9tYkhCTzZtOHZMeTF1VGw1YTBCSU5xMGFUTXVPRGg0L3FsVHA1NHFLU2xKQVJEWXMyZlBkVVZGUlR1S2lvbzJsWlNVSkYvcmVPUlJOSXZGc2czQU5sVlZld0I0SE1EREtTa3BiVk5TVWhBVUZJUXBVNlpnOHVUSlRWcGV6OHZMdy9yMTY3RjI3VnFjUFh2VzFWd0k0Q01BeXkwV1MyYVRuWnlJcm9uM2didXg0T0RnaFIwN2RueTRyS3pzcHpObnpyeFZXRmk0RlJVOUgvajUrZDNWb1VPSDM3WnYzMzZxajQ5UG0zUG56bjE4K3ZUcGx5OC9CdThEOXc2REJ3OXVZN1BaWmtncDV3RzRDd0JhdEdpQjBhTkh3Mmcwb25mdjNvMTJyaDkvL0xHcVRGNWVYdTVxUGl5RWlMUFpiS3ZUMHRLS0crMWtwQXZlQis0ZG1NRGRXSWNPSFdhVWxKVHN0dGxzeDY2Mm41K2ZYMmlyVnExdUt5d3MzSGI1Tmlad3J5TWlJeU5IYUpvMkg4QTRWUDRmRGdzTFEyeHNMSVlQSDE2djhyckQ0Y0QyN2R1UmtKQndlWm44SzBWUmxpWWxKWDFYK1p5OEFCTzRkMkFKM1kyZFAzLyswN3JzWjdmYjAreDJlOXIvYisvZXc2T3E3bkNQdjNzU2trQzVTSlNMVUJRUlZDNENtUUJLRllFcWlsYUo1U2lDQlFYbDhTQThXRzJyRmtTalVHeVBHQkR4SUY3cUJUbUNZRkhSS3BWeURJZHFqR0dTRUFvRlM5QVFJS0FZSUNRaHQ1bDEvZ2lKdVpKSWt0bXpaNzZmNS9GeHN2ZWVtZDhNYS9hNzlwcTFaN2QwUFFnSVp0dTJiWnNrYllxTmpiM1lHRE5MMHIwVncrdWRPbldxSEY2UGpvNXU4TUhxR1NZL0llazF5N0wrdDhmanlXeTVsd0tnS1RnQ0QzSWNnUWUvL3YzN3Q0MktpcW9ZWHU4ci9UaThmc2NkZDZoZnYzNjE3ck56NTA2OTg4NDcrdlRUVDZzT2svL245REQ1V3d5VEJ6ZU93SU1EUitDQXc1ME8yeGNscllpSmlibldzcXdIU2t0TGIvN29vNCtzano3NlNBTUhEdFFkZDl5aGtTTkhWbDdDYzhlT0hSVjNONUkrTk1Zc1MwdEwyeXlHeVFISElNQ0I0R0hTMHRMK0tlbWZRNGNPN2VYeitXWVpZKzdOeU1qb2tKR1JVWFBiRThhWVY4UER3NWVucEtUc3M2RldBRTFFZ0FOQjZIUW8vNzUvLy83eEVSRVJreTNMbWkycG42UmRrcDR2S3l0YmxaR1JVV0J2bFFDYWdnQVBmbTNzTGdEMk9UMjh2a0xTUzRNSEQ3NHdQVDA5U3d5VEEwR2gzdXRJSTJpMHRyc0FCQVRqY3JuMnV0MXUzNmhSbytpNEEwR0FBQThSSG84bjErNGFBQUROaHdBUEhmeFdOUUFFRVFJY0FBQUhJc0FCQUhBZ0Fod0FBQWNpd0FFQWNDQUNIQUFBQnlMQUFRQndJQUljQUFBSElzQUJBSEFnQWh3QUFBY2l3QUVBY0NBQ0hBQUFCeUxBQVFCd0lBSWNBQUFISXNBQkFIQWdBaHh3bUVzdnZUVFI3aG9BMkMvYzdnSUExSzlmdjM3L3Jya3NLaXFxZjEzTGZUNWY4ZTdkdTJQOVV4a0F1eEhnUUFEYnRXdlhnSnJMM0c2M3FXczVnTkJDZ0FNQkxpWW1wdWpVcVZPN0svNHVMQ3pjZnRsbGw2VlgvTjJtVFp1QnFhbXBmQjBHaEJnQ0hIQ0dNcnNMQUJCWUNIREFBWGJ2M2oya3ZuVXhNVEZGL3F3RlFHQWd3QUVIdU95eXk3YlZ0ODZ5ckFoLzFnSWdNQkRnZ0FOd0JBNmdKZ0ljY0FDT3dBSFVSSUFEQVNvNk9ucEMxNjVkbjdBc0s4TGxja1dkYWR1Szg4STV2UXdJSFFRNEVLQnljM1BYNXVibXJwVmt0V3ZYN2xkZHVuUjVJQ2NuNStHQ2dvTHRrcUw3OU9uenQ1TW5UMzUyOHVUSkRRVUZCZWtOUFI2QTRNSzVvMEFBNjlLbHk1eisvZnQvM2FWTGw5bmZmZmZka29LQ2dvelRxM0t6c3JMdXR5ekxlOEVGRjd3NVlNQ0FmVjI3ZG4zYzFtSUIrQlZINEVBQUt5c3JPNUNabVhsZFVWRlJWczExSlNVbHUzTnljaGJtNU9Rc2pJaUk2QjhWRmZYekJoNHVySVhLQkdBREFod0lZRC84OE1OYmpkbXVwS1JrWjBsSnljN0diSnVZbU9ocldsVUFBZ0ZENkVEb0ljQ0JJRUNBQXdEZ1FBUTRBQUFPUklBREFPQkFCRGdBQUE1RWdBTUE0RUFFT0FBQURrU0FBd0RnUUFRNEFBQU9SSUFEQU9CQUJEZ0FBQTVFZ0FNQTRFQmN6Q1NJWEg3NTVSM0R3OE5qNjFvWEV4TnpYZFcveThyS1BEdDI3RGptbjhvQUFNM05zcnNBTkovWTJOZ094cGp2SkVVMHNHbUpaVm1kUFI3UENYL1VCZjhiT25Sb1Y2L1hPN0hHNGlXbi8vOVExWVZoWVdGclVsSlNEdnVuTXRnaEppYm1mMWlXTlVmbEIyMWxrdHBMNmlQcHBLU3ZLNVliWTQ2a3BhWGRMTW5ZVml3YWpTUHdJT0x4ZUU2NDNlNVBKZDNjd0tiL0lMeUQyODkrOXJQamVYbDVUNmw4UjEzVGtpcTM4NDRkTy9haW44cUNmYlpKcW10MHJsM1Y1WlpsdlN6QzJ6SDREano0L0syaERTekxhbkFiT0Z0aVltS1JNZWFqUm16NjRkNjllNHRidkNEWUtpMHRMVXZTdnh2YWpuMkRzeERnUVNZeU1uS0R5b2ZJNmxOV1VsS3l3Vi8xd0Q2TjNCbXp3dzRSbG1YOW53WTJPU2JwTTMvVWd1WkJnQWVacEtTa1hHUE1tVDZFLzVmSmE2SEJzcXlOa2dyUHNFbWhaVm4vOEZjOXNKZlg2MjJvcy9hQngrTXA5VXN4YUJZRWVCQnE0TWlMSTY0UTRmRjRDaVY5VXQ5Nnk3SStQcjBOUWtCNmV2cC9KZTA0d3lic0d4eUdBQTlDclZxMWVsOTFUMFR4bFpXVnZlL3ZlbUFmWTB5OU8yV2Z6OGNPTy9UVTkyOStNaTh2YjVOZkswR1RFZUJCS0RrNStZaWtyWFdzMnBxUmtmR2R2K3VCZlNJaUl2NHVxYVNPVmNWdDJyVDV1Ny9yZ2IxY0xsZWRBVzZNWVRLakF4SGdRYXF1WWZRekhZMGhPQ1VuSitkSityU09WWjkrL3ZubkovMWREK3kxYmR1Mm5aWmxmVjF6T2JQUG5Za0FEMUtscGFYcmF5N3orWHkxbGlFazFObzVzOE1PV2FhT3IwNEtUMDk0aE1NUTRFRXFJeVBqZ0tUa0tvdSszTDU5KzBHNzZvRjk2amkxa0ZNSlExak56aHVUR1oyTEFBOXVsUjlVanJoQ1Z4Mm5GbklxWVFoTFRVMU50U3pyU01YZlRHWjBMZ0k4aUlXRmhWVitNRXRMUy9tUWhyQWFIVGphUW1nenhwaTBpaitZek9oY0JIZ1FTMGxKMldkWlZycWt0SXlNakcvc3JnZjJPWDFxb1NTSlV3bmg4L2tXbkw2NWtjbU16a1dBQnpsanpMdVMzclc3RHRqcjlLbUYvMC9TRms0bFJIcDYrcGVTRGhsalZ0dGRDODRlVnlPclIweE1UTEpsV2NQc3JxTzV1TjN1aFhiWDBGVEdtTVMwdExUUmR0ZmhWTWFZZHkzTDRrcFRrQ1NmWlZsclNrdExQN1M3RUp3OXJnZGVEN2Zielk0dUFLV21wdnE5elFaYlp5NFkyTm1ab3owRW5sRHQzSE1FM2dDUHgyTjNDWkFVRzF2WHBZejlnNTExNExFc2E1U056MDE3Q0RCMnRnYzdFZUJBSTlHWkN3eDJkdWFxb2owRWhrQnBEM1pnRWhzQUFBNUVnQU1BNEVBRU9BQUFEa1NBQXdEZ1FBUTRBQUFPUklBREFPQkFCRGdBQUE1RWdBTUE0RUFFT0pxc3FLakk3aElBSU9RUTRDM28xVmRmMVFjZmZGQnRtVEZHZi9qREg1U2NuTnpnL1UrZVBLbEhIbm1rcGNxclpzMmFOU29zTEt4ejNaRWpSM1R3NEVGSjBzaVJJeVZKbVptWk9ucjBxQW9MQ3pWcTFDaVZsSlQ0cFU0RUxqcHlxSWsyMGJJSThCYVVrWkdobmoxN1ZsdTJaTWtTblh2dXVYcjMzWGYxL2ZmZlYxdFhNd1JMU2txMGVmUG1NMjRqU1ZkZWVhWHV2dnZ1ZXYrNzhjWWJHNncxSVNGQmVYbDVkYTdidW5XcjVzK2ZYL20zTVVZTEZ5NVVWbGFXZHV6WW9Rc3V1RUFSRVJFTlBrZW9vaU9IbW1nVGFBNzhGbm9MV0xObWpkYXZYNi9zN0d3ZE9IQkE0ZUhoV3IxNnRaNTU1aG1WbFpYcHNjY2VVMDVPanViTW1hTzVjK2VxVjY5ZWtxVGh3NGRyOCtiTk91ZWNjK3A5N1BxMkNRc0xhMUxOeGhpNVhIWDM1OGFQSDYvRXhFVGw1T1JJa25idDJxV0xMcnBJc2JHeFNraEkwTUNCQTV2MDNNRXVJeU5EOTk1N2I3VmxWVHR5dlhyMVVxZE9uU3JYbFpTVVZPc1ExZGVScTlscHV2TEtLM1hwcFpmV1c4ZDMzMzJuVHo3NTVJeTFKaVFrYU5Tb1VXclRwazJ0ZFZ1M2J0V21UWnYwMGtzdlNmcXhJemRyMWl5VmxaWFYyWkhic1dPSHBrNmRxcTFidDliNW1LRXFsTnNFbWc4QjNnSW1UcHlveXkrL1hDKy8vTEtXTGwycUF3Y09hTnEwYVpYRFNSTW5UcFFrNWVibWF0NjhlYnJ0dHRzMGZ2ejRzMzYramgwNzZyWFhYcXQzZlVOSDRENmZUOFlZaFlmWDNSeHV1KzAyU2RLc1diTlVXRmlveHg5L1hKTDB4UmRmNk9PUFAxWkVSSVJ1dnZsbUZSUVVxTFMwVkwvLy9lLzE2MS8vK2l4ZlRmQ2dJNGVhYUJOb1RnUjRDOW15Wll0R2p4NnQ4ZVBIYThtU0pSbzdkcXp1dlBQT1d0dGxaV1dwdExTMFNjOTE3Tmd4M1gzMzNZM2FkdGV1WFpveVpVcWQ2OGFNR1ZQbmNvL0hvNnlzTEMxY3VGQ0hEaDNTMkxGak5YbnlaTDMzM25zNmZ2eTRObTdjcUU2ZE91bVZWMTVSZm41K1pYaC85ZFZYZXU2NTU1U1ptYW5PblR0cjd0eTVHajU4K05tOVNBZWlJL2Q3OWU3ZCt5eGZUWENpVGRDNWIwNEVlQXY1N0xQUDlPcXJyMnJseXBXNjhNSUxsWkNRb0E4Ly9GQ1MxS05IRC9YcTFVc3pac3hRUWtLQ25uLysrY3I3MWZXQnFpLzBKaytlTEVscTE2NmR2RjV2dmJXVWxaVnA4dVRKdXY3NjYzWFhYWGZWdWd4aVRrNk9icjc1WnIzOTl0dTFodHRLU2txMGJOa3lwYWVuS3o0K1hsT21URkdmUG4wMFk4WU1EUm8wU0VPR0RGRm1acVk2ZGVxa3pNeE0vZUlYdjZpOGIwRkJnZWJObTZmZXZYdHIyYkpsK3ZPZi82d05HelkwOE00RmwxRHZ5TzNZc1VPU2xKYVdwaVZMbHVqZ3dZTWFPblNvNXMrZmY4YWp5V0FXNm0xQ0t1OFlyRnk1VXV2WHI5ZVJJMGQwN3JubktpRWhRWDM3OWoyN0Z4cWlDUEFXa0p1YnEvMzc5MnZhdEdrNmRPaVF4bzhmci9Ed2NLMWR1MWFTTkdIQ0JIMzc3YmVhTVdPR3NyS3lLdTlYTTFoLytPRUhYWC85OVVwS1NxcGNWdlhhdDZ0V3JWSmNYSncyYmRwVXVTd3VMcTdXNUppRzdOeTVVeTZYUy8vNjE3OXFCWGlyVnEzVXQyOWZ6Wm8xU3drSkNYcjg4Y2MxZXZSb0RSa3lSTzNhdGRNNzc3eWpyVnUzYXVqUW9kcTJiWnRtejU1ZGVkL1JvMGVycUtoSW1abVphdHUyclE0ZVBLaXlzcko2ZS9QQmlJNWN1UTBiTnVqbGwxOVdXVm1aSG56d1FTMWF0RWdMRnk0OHd6c1h2R2dUNWQvM2I5bXlSUXNXTEZELy92MjFmLzkrdFc3ZHVvRjNEaldGenA3VWo2S2pveXRua280ZlAxN3IxNi9YdUhIakd1d0oxelVKcFNhUHgxTnJWbWZWeDgzTHkxTnBhYWxHalJxbG5qMTdLanc4WEtkT25kSTMzM3lqbEpTVU9oOXo0OGFObWpwMXF0NTc3ejFObVRLbFdnMldaV241OHVWNjRZVVhsSjJkcmFTa0pDMWZ2bHlTOU5wcnIybjA2TkdhTkdtU2V2VG9vVzdkdXFsNzkrNlY5MTIyYkprMmJOaWdnUU1IS2pJeVVsSjV6enRVMEpINzBmMzMzNi9vNkdoSjVlMzFUMy82MDArcUxWalFKc3BuMEwvenpqdGF2bnk1QmcwYUpFbVYzL1hqcHlIQS9hQ2dvRUJSVVZGNjg4MDNKWlYvU092U21Ja3F4NDhmMTdYWFhsdnRBMTN4dUZMNWg3UlZxMVlhTjI2Y0JnMGFwTEZqeDJyNTh1VWFQSGh3blkrM1k4Y09wYWVuYThHQ0Jjck96dGFLRlN2MHdBTVBWTnZtalRmZTBKMTMzcW4xNjlmcndnc3YxSC8rOHgvRng4ZXJmZnYyY3JsY3V2cnFxN1ZvMFNJdFdiS2s4ajRIRGh6UUcyKzhvWFhyMXFsWHIxNUtTa3JTUC83eGo0YmZyQ0JDUis1SG5UdDNybmE3c0xCUVBwK3Yzc2xSd1lvMklSMDhlRkJlci9lTXMrUFJPQVI0Qy9qcXE2KzBmdjE2SFQxNlZBY1BIdFRVcVZOMTRzUUozWFBQUFMzeWZEVS9wSkkwZGVwVXpadzVVKzNhdGRPbVRadjArdXV2MTdyZjBhTkhOWGZ1WE0yZVBWdXRXN2ZXUXc4OXBFbVRKdW44ODgvWDdiZmZYcmxkZm42K0Jnd1lvUGo0ZU4xNjY2MTY4ODAzRlI4Zkw1ZkxKWi9QcC96OGZFblZ6MUV2S3l1VFZENEVkOTU1NTJuMTZ0VXQ4dHFkSkJRN2NoWHk4L01yVDBQS3lzcFNseTVkUWk2ODZ4S0tiYUpqeDQ2U3BQMzc5NnQvLy80TnZFTTRFd0s4QlF3YU5FaVhYSEtKMnJkdnI5dHV1MDNyMXEzVGhBa1RLbWVEVHBnd29YTElyRGtzV0xCQTMzLy92WEp5Y3JSNDhXTEZ4OGRyeG93WnV1YWFhL1RBQXcvb2ozLzhZNjBQZm1abXBoNTY2Q0ZkZGRWVmlvdUxreVIxNmRKRml4Y3YxdXpaczdWcjF5Nzk5cmUvMVRubm5LTnUzYnBwL3Z6NVdycDBxUklTRWhRVkZhVTllL1pvd0lBQldyQmdnWTRmUDY2RWhBVE5temRQZVhsNUdqOSt2SHIyN0ttSkV5ZnE0WWNmVnVmT25UVng0a1I5L3ZubnpmYWFuWUNPM0k5ZWVPRUZQZnJvb3pwNjlLaGVlKzAxalJzM3JybGZ2aVBRSnNyM005ZGNjNDBXTGx5b0o1OThVaGRmZkxIMjd0MnJ0bTNiMWhxNXdaa1I0QzBnTWpLeThqdmZxcnhlcjRxS2loUVZGYVdzckN5NVhLNWFQelg0VXlhcXpKMDdWOUhSMFhybGxWZlV2WHQzZGUvZVhSRVJFZnJsTDMrcFJZc1dLVGMzVjg4OTk1eFdybHlwelpzM2EvcjA2ZXJidDY5V3JseXBsU3RYYXZMa3labzVjMmExeHh3OGVMQmVmLzExUGZiWVk3cmxsbHMwWnN3WWxaU1VLRDA5WFNOSGp0UUhIM3lnWThlTzZmUFBQOWZNbVRQVnVuVnJMVnUyVEczYXROR3p6ejZyUng5OVZDNlhTN2ZlZXFzZWZ2aGhQZnp3dzVXUFhYR0tUS2lnSS9majZVK1hYMzY1NHVMaVZGSlNvbC85NmxlYVBuMTZzNzF1SjZGTmxMZUpoUXNYYXVuU3BabzVjNllLQ2dyVXMyZlBrSjNVMkJRRWVBdTc2YWFiSkVuanhvM1QzcjE3bFphV3BpZWVlRUp2di8yMmR1M2FWZTJjeUpvVFZlcFNNVXdtU1U4Ly9YU3Q5WHYyN0ZIUG5qMTF3dzAzYU15WU1YSzVYQm94WW9UMjdObWoxcTFiS3o4L1g5dTJiZFBTcFVzMWJOaXdPcCtqZCsvZVdyMTZ0ZjcrOTcrcnVMaFluVHQzMXJ4NTh4UVZGU1dwL0h1OGl5KytXQU1HREZCTVRJd3N5NUpVL3F0UGE5ZXVyUndpQzNWMDVNbzdjaFh0dXVxUlc2aWlUWlMzaVRadDJtak9uRG1hTTJkT0U5NU5vQjV1dDl1NDNXNkR3RkR4NytIVXR2REtLNjhZWTR4NTY2MjN6TzdkdTgzcTFhdk5mLy83WC9QMDAwK2J5Wk1ubXhkZmZQRW5QZDZ4WThmT1dOT2lSWXZNdDk5K2F6WnUzR2k4WG0vbDh0MjdkNXVzckN4eitQQmhjODg5OTVqazVPUXpQby9YNnpVYk5td3c2OWF0TTF1MmJER25UcDJxdFkzSDR6RStuNi9hc3NPSEQ1dmk0dUtmOUpvYXk4NjIwRnp0d1JqYVJIT3h1ejNZeWJLN2dFQlYwU0FhYzFTTWxsZHhpa3hxYXFyZjJ5eHRJYkRZMlJZazJrT2dzYnM5MklscG9BQUFPQkFCRGdDQUF4SGdBQUE0RUFFT0FJQURFZUFBQURnUUFRNEFnQU1SNEFBQU9CQUJEZ0NBQS9GVHFnMm9lbzFkQUFBQ0JRRmVEMk5Nb21WWm8reXVBejh5eGlUYStmeDA1bEFWN1FGMkk4RHJrWmFXTnRydUdwcER4YzgraHVMUEREWVhPbk9CeDg3T0hPMGg4TmpkdWJjTE8vVWdSNENqQW0wQlZibmQ3blJKZzN3K1gweDZlbnE2M2ZYZ3AyTVNHd0FBRGtTQUF3RGdRQVE0QUFBT1JJQURBT0JBQkRnQUFBNUVnQU1BNEVBRU9BQUFEa1NBQXdEZ1FBUTRBQUFPUklBREFPQkFCRGdBQUE1RWdBTUE0RUFFT0FBQURzVGxSRU9FMisxKzB1NGFBQUROaHdBUGZtVXEvM2VPdDdzUUJBYTMyMTFrZHcwSUNKRjJGNENtSWNDRG5ESG1Sc3V5cnJhN0RnU0VpazRjTzI1SWtpekxPaEFXRm5iQTdqcHdkaXk3Q3dEZ0gyNjMyMGhTcTFhdHVyWnUzZnFFM2ZYQWZvbUppU1dTZkhiWGdiUERFVGdRWW9xTGk0dVRrNU1aUmdjY2psbm9BQUE0RUFFT2hKaUlpSWd3dTJzQTBIUUVPQkJpdkY3dk9YYlhBS0RwQ0hBZ3hQaDh2aks3YXdEUWRBUTRBQUFPUklBREFPQkFuQWNPQktHWW1KZ0xYUzdYV3pVV2p6REdTRktLWlZtVnA1R0ZoNGMva3B5Yy9LVmZDd1RRWkp3SERnU2hWcTFhdWNyS3lrYlVzM3JvNlNDWEpCVVZGYkVmQUJ5SUkzQWdTTVhHeGhZWVk5bzBzRmxaYW1wcUs3OFVCS0JaOFIwNEVMdzJOYlNCTVNiZEg0VUFhSDRFT0JDa0xNdDZ0S0Z0SWlJaUh2TkhMUUNhSDBQb1FCQnp1OTJuSkVYVnRjNnlMSy9INDJrbHlkUzFIa0JnNHdnY0NHS1daVzJ0YjUweFpwY0liOEN4Q0hBZ2lEVXdqUDZrditvQTBQd1lRZ2VDbk52dExwWVVVV094THpVMU5Wd2NnUU9PeFJFNEVQeVM2MWoydFFodndORUljQ0RJZWIzZXVUV1h1Vnl1cCsyb0JVRHpZUWdkQ0FGdXQ3dFVQLzd5b2prOWZPNnpzU1FBVGNRUk9CQWEwcXJjemhiaERUZ2VBUTZFaGljcWJoaGpYclN6RUFETmd5RjBJRFJZc2JHeHBjWVlsMlZaa1I2UHA5VHVnZ0EwRFZjaEFrS0RNY2JzdEN5ckkrRU5CQWVPd0lFV0Voc2JlNFV4Wm9hay9wSXVrZFRCNXBJQ3hmZkdtSzh0eTByemVyM0x0bS9mL3JYZEJRRk9SSUFEeld6dzRNRTlYUzdYRzVKRzJsMkxBeGhKYXkzTCtwOGVqK2VFM2NVQVRrS0FBODBvTmpiMkNra2ZHbU02UlVkSDZ6ZS8rWTJHRFJ1bUhqMTZxRjI3ZG5hWFp6dGpqSTRkTzZiczdHd2xKaWJxM1hmZlZXRmhvU3pMMnVueitYNlZscGFXWlhlTmdGTVE0RUF6Y2J2ZHZWVit1bGJiY2VQR2FjNmNPWXFJcVBrTHBxanF4SWtUZXZUUlI1V1NraUxMc3ZhRmg0ZkhKQ2NuNTlsZEYrQUVZWFlYQUFTRDNyMTdSMFpHUm02VWRPRmRkOTJsUng1NVJPSGh6QkZ0U0ZSVWxHNjQ0UWJ0M2J0WDMzNzdiVWVmejNkeFRrN08zK3l1QzNBQ3pnTUhta0g3OXUxL0s4bnRkcnMxZS9ac1dSYURXNDNWcWxVclBmWFVVK3JXclpza1RYQzczVGZiWFJQZ0JCeUJBMDAwY09EQW40V0ZoYTF6dVZ4dFZxeFlvUTRkbUd6K1UwVkVST2lpaXk3U3h4OS9MRWw5Y25KeVhyVzdKaURRY1FRT05GRllXTmc5eHBqenhvNGRxKzdkdTl0ZGptTmRlZVdWdXZUU1N5VnB5SkFoUTY2enV4NGcwQkhnUUJOWmxqVkpraVpPbkdoM0tZNW1XWmJ1dU9NT1NaSXg1ZzZieXdFQ0hnRU9ORUZNVEV3M1NjUFBQZmRjOWUzYjErNXlIRy9FaUJHeUxFdkdtSEczMzM0N1gvRUJaMENBQTAzZ2NybkdTTkx3NGNQbGNnWCt4OG5yOVNvK1BsNCtYL1dMa1JVV0Z1ckpKNTlVY1hHeFRaV1ZpNDZPVnI5Ky9TU3AwNzU5K3diWldnd1E0RGpQQldnQ1k4d2dTWDQvK243Ly9mZTFZTUdDUm0vdjhYZ2tTWWNQSDFaeWNuS3R6c2FxVmF0VVhGeXN5TWpJWnEzemJGeDIyV1hhdVhObnhYdWJhbmM5UUtBaXdJR21HU2hKdlhyMTh1dVR4c1hGNlpaYmJwRWtEUnMyVEZ1MmJGSHIxcTByMTllMVRKS3lzN05yMVhybzBDR3RXYk5HcTFhdGtzL24wL1RwMC9YTU04L292UFBPYS9rWFVvZUxMcnFvNHVaQVd3b0FISUlBQjVxbXB5Uy96ejYzTEV0aFlUOStSZXh5dWFyOVhkZXlhZE9tYWRldVhiSXNTMWRmZmJWT25UcWxsSlFVelo4L1g1TW5UNjQ0RDF0eGNYRjY5dGxuOVplLy9NVS9MNmFHaWpwMCtyMEZVRGNDSEdpYURwTFV0bTFidSt0bzBPdXZ2Njc0K0hoZGNjVVZHak5taks2Ly9ubzk4OHd6U2tsSmtkZnIxV2VmZmFhVEowK3FvS0JBZVhsNTJyNTl1d1lOOHYvWDBGWGVTMDZvQjg2QUFBZWFwb01rdFduVHh1NDZHbVhQbmoyNjU1NTdkT1RJRVhYcjFrM1hYWGVkK3ZUcG81Ly8vT2M2Nzd6ekZCMGRyUTRkT21qRGhnMzY2MS8vcXVlZmY5N3ZOVlo1TDgveCs1TUREa0tBQTAzams4cXZzdVZQc2JHeDFmNGVNV0pFclcycUxydnZ2dnMwWmNvVS9mREREN3JnZ2d1MGVmTm1YWExKSlJveVpJaUdEQmxTNjc0MzNuaWpycjMyMnVZdnZCR3F6SkQzMmxJQTRCQUVPTkEwSnlSMUxpZ284T3VWeHlwbWxaZVVsR2o0OE9INjZxdXZxbjNmSFJzYnE2MWJ0MVliR2RpK2ZidmF0V3VuL1B4OEpTVWxWWFlDWW1OajFibHo1MnFQZi96NGNTVWxKZm5obGRSV1dGaFljWlByZ3dOblFJQURUV0JaMW5GalRPZTh2RHgxN05qUjc4Ly8vZmZmcTMzNzlyVW1zTlZsMEtCQnV1bW1tM1QzM1hjclB6OWZEejc0b0tUeTN5SC81Sk5QcW0wN2ZQandGcW0zTVU2ZVBGbHg4N2h0UlFBT0VQaS9QQUVFTUdQTWZ5WHB3SUVEdGp6L2wxOStxZjc5K3pkNisrblRwNnRyMTY0cUtTblJOOTk4MDRLVm5iM3M3R3hKUDc2M0FPcEdnQU5OWUl6SmtLVE16RXkvUC9lK2ZmdjA0b3N2YXRLa1NZMit6L3Z2djYvang0OXJ4b3dadXYvKys3VnYzNzRXclBEc1ZPbFlaTmhaQnhEb0dFSUhtc0RsY3FVWlkvVHZmLy9icjgvN3dRY2ZhUEhpeGJydnZ2dDAxVlZYTmVvK3ExZXYxdHExYS9YU1N5K3BjK2ZPR2pod29IcjE2cVhTMGxMRnhjVzFjTVdOdDNQblRrbVNaVm5wTnBjQ0FBaFdnd2NQUHNmdGRwZU9HREhDbEphV0duOUpTa295cWFtcDlhNWZzV0tGS1NrcHFiYnNpeSsrTUVlUEhxMjE3WU1QUHRpb1pmNXc0TUFCNDNhN2pkdnQva2FTWmZlL0x3QWdpTG5kN28xdXQ5c2tKU1haRW5yQjVLMjMzcW9JOE1WMi83c0NnWTd2d0lHbVd5V1ZYeEFFWjgvcjlXck5taldTSkdQTTJ6YVhBd1E4QWh4b292YnQyNitSbEptVWxPVDM3OEtEeVNlZmZLS2NuQnhKMnBpV2xyYk43bnFBUUVlQUEwMlVtSmhZWmxuV0FrbDY0b2tuZE9yVUtidExjcHpEaHc5cjBhSkZGVDluOTVTdHhRQU8wZkN2UHdCb1VFNU9Uc2I1NTU4ZmMrTEVpVXYzNzkrdmtTTkhOdXJIVlZEK3EyKy8rOTN2ZFBEZ1FjdXlyUCtWbXByNmh0MDFBVTdBRVRqUVBFeGtaT1EweTdMMi8vT2YvOVRNbVROMTZOQWh1MnNLZUx0Mzc5YTBhZE1xVGgzYkt1bHhtMHNDSElQVE5JQm1OSERnd0orSGg0ZC9KR21ReStYU0RUZmNvR0hEaHFsSGp4NXEzNzY5M2VYWnpoaWozTnhjWldkbkt6RXhVVjk4OFVYRnFvK0tpNHNuN2R5NU05L08rZ0FuSWNDQlpuYlZWVmUxTzNYcTFKOGwzU3NweXU1NkF0d3hZOHppM3IxNy8zbmR1blZjZlF6NENRaHdvSVZjY2NVVlhVcExTKzgyeHZTekxLdVBaVmtkN0s0cEVCaGp2cE8wMTdLczlLS2lvcFVjZFFN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nSUR4L3dFWFFqanFrakEzR2dBQUFBQkpSVTVFcmtKZ2dnPT0iLAogICAiVHlwZSIgOiAiZmxvdyIsCiAgICJWZXJzaW9uIiA6ICIiCn0K"/>
    </extobj>
    <extobj name="ECB019B1-382A-4266-B25C-5B523AA43C14-4">
      <extobjdata type="ECB019B1-382A-4266-B25C-5B523AA43C14" data="ewogICAiRmlsZUlkIiA6ICI4NDM5NTE1Mzc4NyIsCiAgICJHcm91cElkIiA6ICI0OTg2Mjc1MzQiLAogICAiSW1hZ2UiIDogImlWQk9SdzBLR2dvQUFBQU5TVWhFVWdBQUExWUFBQUs3Q0FZQUFBRHg4UjZEQUFBQUNYQklXWE1BQUFzVEFBQUxFd0VBbXB3WUFBQWdBRWxFUVZSNG5PemRlWHhVOWIzLzhmZDNFa0pZRWhZWExJdElpRVVJSnVZTVZIR3BRUUZKY0dNd0Zia29na0JyVzl0N3IvWGVhdHVmV3kyMlY2clNhaFVSdDE1UmtVRkJDSUpvdUxSRmhDUWs3TmVBN0VMWnNwQ1FiZWI3K3dObWJzSWF5RExKNVBWOFBIeVErWjR6NTN4eUV2RzgvWHpuZXlR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VMR2hMcUFjSktTa2hKWlZGUjB0ekVtWFpMYldudVJwTmFocnFzWktEZkc3SmVVSmVtRG1KaVlEekl6TTZ0Q1hSUUFBQUJRV3dTcittRWN4NWtzNlplU0xndHhMZUZnbTZRcDJkblpyMG15SWE0RkFBQUFPQ3VDVlIzRng4ZTNqbzJOblNGcHJDVDE2ZE5INmVucGlvK1AxNldYWHFvT0hUcUV1TUttcjdDd1VEdDI3RkIrZnI1bXo1NnR6WnMzQnphOVUxUlVOQ2svUDc4OGxQVUJBQUFBWjBPd3FnTzMyOTNXV3J0STBnMFhYSENCSG4vOGNWMTc3YlV5aHN0NnZxeTErc2MvL3FFbm4zeFNCdzhlbEtUbHhwamhXVmxacGFHdURRQUFBRGdkVjZnTGFNNzhmditMa203bzNidTMzbjc3YlYxMzNYV0Vxam95eHVpNjY2N1RXMis5cGQ2OWUwdlNEZGJhRjBKZEZ3QUFBSEFtcElEejVIYTd4MWhyLy92Q0N5L1VlKys5cDA2ZE9vVzZwTEJ6K1BCaDNYMzMzVHA0OEtDc3RXTnljbkptaGJvbUFBQUE0RlRvV0oySDY2NjdMc1phKzJkampKNTY2aWxDVlFQcDFLbVRubjc2YVVtU01lYWw2NjY3TGliRUpRRUFBQUNuUkxBNkQyVmxaVCtSMU9tMjIyN1QxVmRmSGVweXd0clZWMSt0MjI2N1RaSTZsWmFXL2pqVTlRQUFBQUNuUXJBNlI0bUppZTJzdFE4YlkzVC8vZmVIdXB3VzRmNzc3NWN4UnNhWWh4TVRFOXVGdWg0QUFBRGdSQVNyY3hRWkdYbW5wQXRUVWxMVXMyZlBVSmZUSWx4MjJXVktTVW1ScEl0YXRXcDFSNGpMQVFBQUFFNUNzRHAzSXlWcCtQRGhvYTZqUmFsMnZVZUdzZzRBQUFEZ1ZBaFc1MkRRb0VGdEpLVkdSa1pxMEtCQm9TNm5SUmswYUpBaUlpSmtyVTA5L25NQUFBQUFtZ3lDMVRtb3FLaTRSbExiNU9Sa3RXdkhSMzBhVTd0MjdaU2NuQ3hKN1Nvcksxa3hCQUFBQUUwS3dlcmNKRXJTRlZkY0VlbzY2c1RuOCtueHh4K1gzKyt2TVY1YVdxb25ubmhDNWVYbElhcnN6QUxYM1ZxYkdPSlNBQUFBZ0JvaVExMUFjeEs0b1krTGl3dDFLWktrano3NktQaWNwOXJJeXNxU0pPM2R1MWNyVjY2VXkxVXpWLy8xcjM5VmVYbTVXcmR1WGE5MTFwZHExNTFnQlFBQUFEUlhqdU44NlRpT3pjdkxzMDJCMysrM1ZWVlZ0cXFxeWpxT1k0dUxpNE92VHpVV3NHTEZDdnZnZ3cvV09OYnUzYnZ0NE1HRDdlN2R1NjNQNTdQang0KzMrL2Z2Yit4djZZenk4dktzNHpqV2Nad1ZvZjVkQUFBQUFLcWpZM1Z1THBTa3pwMDdoN29PU1pJeFJoRVJFY0hYTHBlcnh1dFRqWTBmUDE0Yk5teVFNVWJYWDMrOWpoNDlxbFdyVnVtcHA1N1MyTEZqMWJWclYwblNIWGZjb2VlZWUwN1BQdnRzNDN3enRkQ3BVNmZBbHhlR3NnNEFBQURnUkFTcmM5TkJVck5ldU9LTk45N1E0NDgvcnF1dnZscERodzdWc0dIRDlJYy8vRUdyVnEyU3orZlRGMTk4b2VMaVlwV1VsS2lvcUVpNXVibEtTa29LZGRtU2FsejNEcUdzQXdBQUFEZ1J3ZXJjeEVwUzI3WnRRMTFIbld6ZXZGa1RKa3pRdm4zNzFMVnJWdzBaTWtTWFgzNjV1bmZ2cmdzdnZGQ2RPM2RXaHc0ZE5HL2VQTDMrK3V1YU5tMWFxRXVXUkxBQ0FBQkEwMFd3YXNiY2JuZU4xemZjY01OSisxUWZteng1c3U2OTkxNGRQSGhRbDE1NnFaWXVYYXJ2ZnZlN0dqQmdnQVlNR0hEU2UxTlRVM1h6elRmWGYrRUFBQUJBbUNGWW5ac2lTUmVXbHBZcUtpb3ExTFVFVi9tcnFLalFvRUdEOU5WWFg5WDRQSlhiN2RieTVjdHJkTmh5YzNNVkV4T2pJMGVPYU1XS0ZjRnc1bmE3ZGZIRkY5YzRma0ZCZ1Zhc2FEcnJSSlNVbEFTK0xBeGxIUUFBQU1DSkNGYm5wbERTaFNVbEplcllzV09vYXduYXYzKy9ZbU5qVDFxNDRsU1NrcEtVbHBhbWNlUEc2Y2lSSS9yWGYvMVhTVkpVVkpReU1qSnE3RHRvMEtBR3FmZDhFYXdBQUFEUVZQR0E0SE56UUpJT0hUb1U2anBxK1BMTEw1V1FrRkRyL1NkT25LaExMcmxFRlJVVit1YWJieHF3c3ZwMStQRGh3SmNIUWxrSEFBQUFjQ0tDMWJsWkw2bEpoWkd0VzdmcUwzLzVpKzY1NTU1YXYrZWpqejVTUVVHQmZ2U2pIK25CQngvVTFxMWJHN0RDK2hPbzB4aXpQc1NsQUFBQUFEVXdGZkFjR0dQeXJMVk5Kb2g4L1BISCt1TWYvNmpKa3lmcnV1dXVxOVY3WnMyYXBROCsrRUN2dnZxcUxyNzRZaVVtSmlvdUxrNlZsWlc2NDQ0N0dyaml1cWwyM2ZOQ1dRY0FBQUJ3SW9MVnVjbVRwRTJiTm9XNkRrbFNseTVkOU1JTEx5ZzVPZm1VMnlkUG5xeFdyVnJWR0x2c3NzczBZOFlNWFhEQkJaS2tmdjM2U1RxMmV1RHp6ejlmWTk5Lys3ZC9hNENxejEvZ3VodGpDRllBQUFCb1VreW9DMmhPQmcwYTFLYTh2SHgvWkdSa3U4OC8vN3haUHlpNHVTa3BLZEhnd1lQbDgvbEtZbU5qTDh6TXpDd0xkVTBBQUFCQUFKK3hPZ2NyVnF3NEttbFJWVlZWazFxR3ZDVllzV0tGZkQ2ZmpERVpoQ29BQUFBME5RU3JjemRYa2hZdFdoVHFPbHFVYXRkN2JpanJBQUFBQUU2RllIV09xcXFxUHBKMElETXpVOXUzYnc5MU9TM0N0bTNibEptWktVbjdLeXNyUHc1eE9RQUFBTUJKQ0ZibktDOHZyOFFZTTlWYXF6ZmZmRFBVNWJRSWI3NzVwcXkxc3RaT3pjdkxLem43T3dBQUFJREdSYkE2RDlIUjBTOUpPanh2M2p5dFhMa3kxT1dFdFpVclYycisvUG1TZExodDI3WXZoN29lQUFBQTRGUllGZkE4SlNjbjMyT01lZmVDQ3k3USsrKy9yMDZkT29XNnBMQno2TkFoalI0OVdnY1BIcFMxOXA2Y25KejNRbDBUQUFBQWNDb1JvUzZndWRxN2QrKzZTeTY1cFB2Um8wZWR2Ly85NzdyKyt1c1ZFeE1UNnJMQ3hyZmZmcXVmL09RbjJyTm5qeVM5bHBPVE15WFVOUUVBQUFDbncxVEFPbkM1WEQrWHRIekxsaTBhTjI2Yy92NzN2OHRhRytxeW1qVnJyZjcrOTc5cjNMaHgycnAxcXlRdE44YjhhNmpyQWdBQUFNNkVxWUIxRkI4ZjN6bzJObmFHcExHUzFLZFBINlducDZ0Mzc5N3EyYk9uT25Ub0VPSUttNzdDd2tKdDM3NWRXN1pzMGV6WnM3VjU4K2JBcG5lS2lvb201ZWZubDRleVBnQUFBT0JzQ0ZiMXd6aU9NMG5TbzVJdUMzRXQ0V0NicENuWjJkbXZTYUlGQ0FBQWdDYVBZRldQVWxKU0lvdUxpMzlnclUyWDVKWjBrYVRvRUpmVkhKUkoyaThweXhnek95WW01b1BNek15cVVCY0ZBQUFBQUNkeEhNYzZqa01IQ0FBQUFLaG5MRjRCQUFBQUFIVkVzQUlBQUFDQU9pSllBUUFBQUVBZEVhd0FBQUFBb0k0SVZnQUFBQUJRUndRckFBQUFBS2dqZ2hVQUFBQUExQkhCQ2dBQUFBRHFpR0FGQUFBQUFIVkVzQUlBQUFDQU9pSllBUUFBQUVBZEVhd0FBQUFBb0k0SVZnQUFBQUJRUndRckFBQUFBS2dqZ2hVQUFBQUExQkhCQ2dBQUFBRHFpR0FGQUFBQUFIVkVzQUlBQUFDQU9pSllBUUFBQUVBZEVhd0FBQUFBb0k0SVZnQUFBQUJRUndRckFBQUFBS2dqZ2hVQUFBQUExQkhCQ2dBQUFBRHFpR0FGQUFBQUFIVmtRbDBBR2taaVltTDN5TWpJWDU4dy9NUGpmNzVhZmJDcXF1cTNlWGw1dXhxbk1nQUFBQ0Q4RUt6Q1ZIcDZla1IrZnY1dVkweVhNKzFucmQwWEh4L2ZiZmJzMmI3R3FnMEFBQUFJTnhHaExnQU5ZOE9HRGJaYnQyNjlKUTA0eTY3dkxGMjY5SlBHcUFrQUFBQUlWM3pHS296NS9mNDV0ZGl0TnZzQUFBQUFPQU9DVlJoenVWekxyTFdIenJETHdRNGRPaXhydElJQUFBQ0FNRVd3Q21OWldWbVZ4cGlQejdETHg1bVptVldOVmhBQUFBQVFwZ2hXWWM0WWM5cXBmaTZYaTJtQUFBQUFRRDBnV0lXNXdzTEN6eVFWbldKVFVVRkJ3ZExHcmdjQUFBQUlSd1NyTUplZm4xOXVyVDNWcW4vejgvUHp5eHU5SUFBQUFDQU1FYXhhZ05OTUIyUWFJQUFBQUZCUENGWXRnREZta2FUU2FrT2x4cGhQUTFVUEFBQUFFRzRJVmkxQVZsWldxYVNNd0d0anpNTGpZd0FBQUFEcUFjR3FoYkRXQnFmKzFmTEJ3UUFBQUFCcWlXRFZRa1JGUlMwSWZOMjJiZHNGWjlvWEFBQUFBSEFhanVQTWR4eG5YcWpyQUFBQUFNSk5aS2dMUUtPYVk0eXhvUzRDQUFBQUNEY20xQVUwTnNkeC9rUFM3ME5kQjVvSGEyMW1UazdPNEZEWEFRQUFnS2F0cFgzR3lrajZhYWlMUVBOaGpFa0pkUTBBQUFCbytsclVWRURIY2E2VzFLTkxseTVhc0dDQmpHbHhEVHZVMHRTcFUvWHV1KzlLMHZPaHJnVUFBQUJOWDR2cVdCbGowaVZwNk5DaGhDcWNsdC92MTJlZmZTWkpzdGJPRG5FNUFBQUFhQVphVXJBeTF0cDBTUm95WkVpb2EwRVR0bmJ0V3Yzem4vK1VNV1pYVGs3T3lsRFhBd0FBZ0thdnhRU3I2dE1BKy9mdkgrcHkwSVNkMEszeWg3WWFBQUFBTkFjdEpsZ3hEUkMxd1RSQUFBQUFuSStXRXF4Y1RBTkViUVNtQVVyYXlUUkFBQUFBMUZhTENGYU80M3hQVEFORUxRUzZWWkkrRk5NQUFRQUFVRXN0SWxneERSQzF3VFJBQUFBQW5LK1dFS3lZQm9oYVlSb2dBQUFBemxmWUJ5dW1BYUsybUFZSUFBQ0E4eFgyd1VyU0Q2UmozU3FtQWVKMC9INi9saTVkR25qNVFTaHJBUUFBUVBNVDdzSEtKZWt1NmRqbnE0RFRXYnQycmZidDJ5ZEpPN096czVrR0NBQUFnSE1TMXNHS2FZRG54dWZ6NmVEQmc1S2t5c3JLRUZmVHVFNllCbWhEV0FvQUFBQ2FvYkFPVm1xRzB3Qm56SmloanovK3VNYVl0VmEvK01VdnRITGw2UnNwWldWbGV2dnR0MVZhV25yZTU5NjVjNmZ1dSs4K1ZWUlU2TjU3NzlWSEgzMVVZM3R1YnE3V3JWdDMwdnVtVDU5KzN1ZHNDcGdHQ0FBQWdMb0s1MkRWTEtjQjV1WGw2YkxMTHFzeDl2enp6K3VDQ3k3UWh4OStxUDM3OTUveWZhMWF0ZExPblR2MUgvL3hIL0w3ejIvZGhlam9hUG45ZmtWRlJlbmxsMS9XcWxXcmRPVElFVW5Id3Njenp6eWp5TWhJU2RJOTk5d1QvT2UxMTE2cjhmcTk5OTQ3ci9PSEN0TUFBUUFBVUZlUm9TNmdvU1FuSjErdFpqUU44TDMzM3BQWDY5WE9uVHUxYTljdVJVWkdhdGFzV2ZyREgvNmdxcW9xL2VwWHY5SzMzMzZyUng5OVZJODk5cGppNHVKcXZEOGlJa0tQUHZxb2Z2U2pIMm4yN05tNisrNjdUM3N1djkrdndZTUhuelJ1clZWcGFhbHV2UEhHNE5pSUVTUDAvdnZ2YS9YcTFVcEtTbEtmUG4zMDVaZGZhdGFzV2NGOWJyenh4aHF2bTV2QU5FQmp6R3d4RFJBQUFBRG5JV3lEVmVDaHdNMWxHdURvMGFOMTVaVlhhdnIwNlhyeHhSZTFhOWN1alI4L1htVmxaY0h0a25UbzBDSDkrdGUvMWwxMzNTV1B4MVBqR0M2WFMybHBhWHJoaFJlVW1wcXEyTmpZVTU3TFdxc2pSNDRvS3l1cnh2alJvMGQxODgwM2E5bXlaVFhHQ3dzTE5XdldMTDM2NnF2NjlOTlBOVy9lUEZWVlZlbWxsMTZTSkpXV2x1cWVlKzRKN3YvMjIyK3JWYXRXZGJzZ2phVDZORUFlQ2d3QUFJRHpGYTdCcWxsT0ExeTJiSmtHRHg0c2o4ZWo1NTkvWHNPSEQ5ZVlNV05PMm0vNzl1Mm5YVnhpeFlvVmF0V3FsZjc2MTcvcXh6Lys4VG1kUHpvNldwV1ZsZkw3L1hLNVhNck16RlRmdm4yVmtaR2hmZnYyYWVMRWlTb29LTkRNbVRQVnRXdFhYWC85OVpLYWQ4ZUthWUFBQUFDb0QyRVpySnJiTk1DQUw3NzRRak5tek5EYmI3K3RuajE3YXVyVXFaby9mNzRrcVVlUEhvcUxpOU9QZnZRalRaMDZWZE9tVFR2cC9VVkZSZnJiMy82bVAvM3BUM3I0NFlkMTMzMzNxWDM3OXFjOVgvVXBmNUswWk1rU2RlalFRWWNQSDFiNzl1MzE1Sk5QNnBWWFhsRjZlcnJ1dlBOT3ZmTEtLK3JYcjUvMjdObWpoeDkrT1BpK3JsMjcxdWhZU1dvMlFZdHBnQUFBQUtnUFlibDRSWE9iQmlnZG0rSzNZOGNPalI4L1hudjI3SkhINDlIZXZYczFhOVlzelpvMVM5dTJiZFBubjM4dTZWakg2bFErK09BRHVkMXVPWTZqYTYrOVZ1Kzg4ODRwOS9QNWZHcmR1cldXTFZ1bVpjdVc2WXN2dmxCcGFhbWlvcUxVcFVzWDdkMjdWL1BuejFmZnZuM1ZwMDhmdFd2WFRpdFdyRkJ4Y2JGdXYvMTJPWTZqV2JObXllZnpuZlJQVEV4TXN3bFZUQU1FQUFCQWZRbkhZT1dxSHF5YWk4NmRPMnZseXBYeWVyM3EycldydkY2dnlzcktORzdjT0kwYk4rNnM3ejkwNkpEZWVlY2RQZkRBQTVLa0gvN3doNW8xYTVaMjc5NTkwcjRsSlNXS2lZa0p2aTRySzFPYk5tMGtTVDE3OXRUYXRXdjE2cXV2NmljLytZa2thZVBHalhyaWlTZTBhOWN1M1g3NzdYcjIyV2NsU1FjT0hOQUhIM3lnNjYrL1hoOTg4SUUrK09BRGZmUE5OM1crRm8xbDNicDFnV21BTzVnR0NBQUFnTG9JdTZtQXljbkpWMXRydXplM2FZQW5LaWtwVVhSMHRONTY2eTFKMGc5KzhJUFQ3bXV0MWROUFA2M3JyNzllU1VsSmtxUkxMNzFVSTBlT0RFN25jN24rTDBQdjM3OWZGMTEwVWZCMVVWRlJNR2dsSmlicVQzLzZrMUpUVTVXUWtLREt5a3AxNjlaTnp6enpqSHIzN3EwZVBYb0VsMXdQdkRjek0xTS8rOW5QNnZYN2J3eExsaXlSSkJsamVDZ3dBQUFBNmlUc09sYlZ1MVhWdzBSVDk5VlhYK21Ydi95bEprNmNxTjI3ZCt2KysrOVhRVUdCSmt5WW9Ba1RKcHp4dlgvKzg1LzE5ZGRmNnovLzh6OXJqRC80NElNNmNPQ0FubnZ1dVJyalc3WnNVVnhjbkNvcUtpUWRlM2JXZDc3ekhVbkhGckNvcUtqUVF3ODlKRW1hTW1XS05tellvQ0ZEaHFobno1N2F0V3VYbGk5Zkhqelc4dVhMZGZqd1lTMWF0S2pPMTZBeE1RMFFBQUFBT0QyWDIrM2U2VGlPemMzTnRjMUpXVm1aUFh6NHNQWDVmSGJreUpIV1dtdlQwOU9EMjZ0L2ZmdnR0MXRycmEycXFySi8rTU1mYkVwS2lzM1B6ei9sY2ZQejgrMzN2Lzk5KzV2Zi9NWWVPWExFV212dEUwODhZVC84OEVQN3lDT1AyR3V1dWNhbXBLVFk1Y3VYMjIzYnR0a2hRNGJZY2VQRzJYbno1bGxyclgzd3dRZnR2SG56N0xoeDQreVFJVVBzK1BIajdjc3Z2Mnl0dGZhRER6NndJMGFNc0Y5OTlaVjk1SkZIN0lRSkUrektsU3ZyLytJMGdOemNYT3M0am5VY1o3dWs1dkZCUEFBQUFLQXhKQ2NuRDNJY3g2YW1wbHFmenhmcWUvZnpWajFZVlZWVjJTTkhqdGg3NzczWGJ0dTJ6ZTdZc2NNT0d6Yk1XbXZ0SC8vNFI1dVdsbmJhVUJXd2J0MDZPM1RvVUR0dDJqUmJXRmhvVTFKUzdNR0RCNjIxMWxaV1ZscHJyZDJ6WjQ4ZE1XS0VuVDkvdnQyNmRhc2RNV0tFemMzTnRjT0dEYk1IRGh5d216WnRDbDdUQlFzVzJIdnV1Y2VPR1RQR2J0eTRNWGllek14TW01cWFhbDk3N2JWNnZ5YjE3Ym5ubnJPTzQxaTMyejAxMUwrM0FBQUFRSlBpT003emp1UFlxVk9uaHZxK3ZVNEN3ZVNkZDk2eG16WnRzck5temJKZmYvMjEvZDN2Zm1mSGpoMXIvL0tYdjFocnJTMHNMTFFGQlFXMU91Ymh3NGR0WldXbHpjbkpzYzg4ODh4SjI5ZXNXV1BmZWVlZDRPdk16RXc3ZlBodys5UlRUNTIwNzlkZmYyM1hyRmx6eXZNVUZoWTIrVzZoeitlenFhbXBnV0IxZGFoL2J3RUFBTkQ4aGRNVUtKZmI3ZDV1cmUzK3hodHZLREV4TWRUMU5GaytuMDhSRVJHaExpTms4dkx5Tkg3OGVPbllhb0NYaVlVckFBQUFVRWZOWjNXSHN3aVgxUUFiUTBzT1ZSS3JBUUlBQUtEK2hVMndNc2I4UUdwK3F3R2ljVlZmRFZEU0I2R3NCUUFBQU9FalhCS0l5eGh6bDlTOEhncU14bGY5b2NCWldWbGZoYm9lQUFBQWhJZXdDRlpYWFhYVk5Vd0RSRzE4OXRsbmtvTFBybUlhSUFBQUFPcEZXQVFybDh2VkxCOEtqTWJsOS91RHdjcmxjdkZRWUFBQUFOU2JjRWdoVEFORXJUQU5FQUFBQUEybDJRY3JwZ0dpdHBnR0NBQUFnSWJTN0lNVjB3QlJHMHdEQkFBQVFFTnE3a25FSlNrWXJJRFRZUm9nQUFBQUdsS3pEbFpYWFhYVk5aSzZNUTBRWjhNMFFBQUFBRFNrWmgyc21BYUkybUFhSUFBQUFCcWFDWFVCZGVGMnUzZGFhN3VIdWc0MEd6dXlzN012RXgwckFBQUExTE5tM2VieCsvMzVvYTRCemNwTElsUUJBQUFBcUF2SGNhempPQVFMQUFBQW9KNDE2NDRWQUFBQUFEUUZCQ3NBQUFBQXFDT0NGUUFBQUFEVUVjRUtBQUFBQU9xSVlBVUFBQUFBZFVTd0FnQUFBSUE2SWxnQkFBQUFRQjBSckFBQUFBQ2dqZ2hXQUFBQUFGQkhCQ3NBQUFBQXFDT0NGUUFBQUFEVUVjRUtBQUFBQU9xSVlBVUFBQUFBZFVTd0FnQUFBSUE2SWxnQkFBQUFRQjBSckFBQUFBQ2dqZ2hXQUFBQUFGQkhCQ3NBQUFBQXFDT0NGUUFBQUFEVUVjRUtBQUFBQU9xSVlBVUFBQUFBZFVTd0FnQUFBSUE2SWxnQkFBQUFRQjBSckFBQUFBQ2dqZ2hXQUFBQUFGQkhCQ3NBQUFBQXFDT0NGUUFBQUFEVUVjRUtBQUFBQU9xSVlBVUFBQUFBZFdSQ1hRQWFSbUppWXZmSXlNaGZuekQ4dytOL3ZscDlzS3FxNnJkNWVYbTdHcWN5QUFBQUlQd1FyTUpVZW5wNlJINSsvbTVqVEpjejdXZXQzUmNmSDk5dDl1elp2c2FxRFFBQUFBZzNFYUV1QUExanc0WU50bHUzYnIwbERUakxydThzWGJyMGs4YW9DUUFBQUFoWGZNWXFqUG45L2ptMTJLMDIrd0FBQUFBNEE0SlZHSE81WE11c3RZZk9zTXZCRGgwNkxHdTBnZ0FBQUlBd1JiQUtZMWxaV1pYR21JL1BzTXZIbVptWlZZMVdFQUFBQUJDbUNGWmh6aGh6MnFsK0xwZUxhWUFBQUFCQVBTQlloYm5Dd3NMUEpCV2RZbE5SUVVIQjBzYXVCd0FBQUFoSEJLc3dsNStmWDI2dFBkV3FmL1B6OC9QTEc3MGdBQUFBSUF3UnJGcUEwMHdIWkJvZ0FBQUFVRThJVmkyQU1XYVJwTkpxUTZYR21FOURWUThBQUFBUWJnaFdMVUJXVmxhcHBJekFhMlBNd3VOakFBQUFBT29Cd2FxRnNOWUdwLzdWOHNIQkFBQUFBR3FKWU5WQ1JFVkZMUWg4M2JadDJ3Vm4yaGNBQUFBQWNCcU80OHgzSEdkZXFPc0FBQUFBd2sxa3FBdEFvNXBqakxHaExnSUFBQUFJTnliVUJhQlJ1QnpIR1NycEhVa1g2ZGdEZzMrUW5aMjlSSkkvcEpVQkFBQUFZWUJnRmNhU2s1TzdHbVBHUzVvbzZiSlQ3TEpOMGd4anpNeXNyS3h2RzdNMkFBQUFJSndRck1KTWVucDZSSDUrL2pCanpHUkp0MG1La0tSdTNicko0L0hvMm11djFULys4UTk1dlY3dDNyMDc4RGFmcFBuVzJ1bng4ZkdMWjgrZTdRdFIrUUFBQUVDelJMQUtFMGxKU2QwaUl5TW5XR3NuU3JwVWtpSWpJNVdTa2lLUHg2T0JBd2ZLNWZxL1JTRDlmcjlXclZvbHI5ZXJMNzc0UWo1Zk1FdnRNTWJNcUtxcW1wbWJtN3Y3NURNQkFBQUFPQkhCcWhsTFQwK1AyTHAxNjNCcjdXUkp0K3I0OHZrOWV2VFF5SkVqZGR0dHQ2bHo1ODVuUGM2aFE0YzBmLzU4ZWIxZTdkcTFLekRzTThaOFlveVozcXRYcjAvcFlnRUFBQUNuUjdCcWhnWU9ITmpENS9OTmtQU0FwQjdTc2U3VVRUZmRKSS9ISTdmYlhhTTdWVnQrdjE5WldWbnllcjM2L1BQUFZWVlZGZGkwMHhnem83S3ljbVplWHQ2dU14MERBQUFBYUlrSVZzMUVTa3BLWkZGUlVhcWt5WkxTZEx3N2RlbWxsOHJqOGVqV1cyOVZwMDZkNnUxOGh3OGYxaWVmZkNLdjE2c2RPM1lFaHYyU0ZraWFIaHNidXlnek03UHE5RWNBQUFBQVdnNkNWUlBuZHJzdjlmdjlEeGhqSHBEVVRaSmF0V3FsbTIrK1dSNlBSNDdqeUppRyt6RmFhNVdkblMydjE2dWxTNWVxc3JKU2ttU00yV1d0ZmYzNGlvSTd6bklZQUFBQUlLd1JySnFnbEpTVXlJS0NnaEhHbU1uR21GUWQvem4xN05rejJKM3EyTEZqbzlkVlVGQVE3R0p0Mzc0OU1PeVhsR0d0bmQ2aFE0ZUZkTEVBQUFEUUVoR3NtcERrNU9TZUxwZHJvclYyZ3FTdWtoUVZGUlhzVGlVbkp6ZG9kNnEyckxYS3lja0pkckVxS2lvQ20vWllhMStYOUhwT1RzNzJNeHdDQUFBQUNDdWh2MHR2NGR4dWR5dHI3YTJTSmtrYXJ1TS9rMTY5ZXNuajhXakVpQkhxMEtGRFNHczhrOExDUWkxWXNFQno1c3pSdG0zYkFzTlcwaUpqekhSSkM3S3lzaXBEVm1BejA2NWR1eUZSVVZGZERoOCsvTjhuYklwUXpYOWY2UXdDQUFBMElRU3JFRWxNVE93VkdSazVVZElFU1pkSXg3cFRRNGNPbGNmalVWSlNVcFBvVHRXV3RWYTV1Ym55ZXIxYXNtUko5UzdXdDVKbSt2MytHV3ZXck5rV3VncWJoeDQ5ZXJ4Y1dscTZzbnYzN2k5V1ZsYnVrcVJXclZyMUxpa3ArU0l5TXJLckpMVnAwNlpmVGs1T1ZHZ3JCUUFBUUhYTjU4NDlETGpkN2xaK3YvOTJZOHdrU2NOMC9Qckh4Y1ZwMUtoUlNrdExVMnhzYkdpTHJBZEZSVVZhdUhDaDVzeVpvNjFidHdhR3JhVEZrcVliWStiVHhUb2wwNzkvLzIvV3JWdDNkVkpTMHViYzNOeU9rblRsbFZmdVdydDJiZmZBVGllK0JnQUFRT2hGaHJxQWxtRGd3SUZ4VlZWVmsveCsvM2hqVEJmcFdIZHEyTEJoOG5nOFNreE1iRmJkcWJPSmpZM1Y2TkdqZGZmZGR5c3ZMMDllcjFlTEZ5ODJGUlVWdDBpNnhlLzM3MHRPVHA0WkdSazVZOVdxVlZ2UGVzQVdvbjM3OWpjWVl5SWw3UXQxTFFBQUFEZzM0WE0zMzhRa0pDUkVSVWRIMytIMyt5Y1pZNFlHeG52MzdxMVJvMFlwTlRVMUxMcFR0VlZVVktTTWpBek5tVE5IVzdac0NZNWJhNWRJbWw1UlVURnYvZnIxRmFjL1F2aUxpNHY3c0YyN2R0ZXNYYnUyZTFKU1VrRjVlZmsyU1dyZHVuV2Zzckt5SEdOTVc0bXBnQUFBQUUwUndhcWVPWTRUcjJNTFVZeVhkSkVrdFc3ZFdyZmNjb3M4SG8vNjkrOGZWdDJwYzJXdDFicDE2K1QxZXZYcHA1K3F2THc4c09tZnhwZzNyTFV6c3JPejgwTlpZeWkwYTljdU1TNHVMa09TRFFTcndGVEEyTmpZVzRxS2lqNE43TnU1YytmMFE0Y096UTVac1FBQUFEaEp5NzNEcjBjSkNRbFJyVnUzdmxQU1pFazNCOFl2di94eWpSbzFTc09IRDFkTVRFem9DbXlpaW91THRXalJJczJaTTBkZmYvMTE5VTFMSlUwdkx5Ly9xS1Ywc1RwMzdqekJHRlBWdFd2WDN3V0NWV0R4aXFLaW9xVVhYbmpoaExLeXNpMlMxS1pObXl2MjdObno2TDU5KzU0UGJkVUFBQUFJSUZqVlFWSlMwbmNqSWlJbVNycGZ4N3RUMGRIUkdqNTh1RHdlai9yMTY5ZWl1MU8xWmEzVit2WHJnMTJzc3JLeXdLYjlrdDcwKy8ydnJWbXo1dXN6SENJY1JFc3FDeXhNVWIxakpVbng4ZkZMOC9QemgwdHlYWFhWVlljMmI5NTg4OUdqUjc4TVhia0FBQUNvanJ2K2N4UWZIOTg2SmlabXBERm1zcVRCZ2ZFK2Zmckk0L0VvTlRWVjdkcTFDMkdGemR1UkkwZTBhTkVpZWIxZWJkNjh1ZnFtTDZ5MTA0dUxpK2ZtNStlWG4rNzl6ZDNwZ2xXM2J0MStWMVJVOUkvSXlNajJsMXh5eVg5dTNMZ3hPWlIxQWdBQW9DYUNWUzBOR0RDZ2o4L25tMlNNdVYvU0JaTFVwazJiWUhlcWI5KytkS2Zxa2JWV0d6WnNDSGF4amg0OUd0aDAwRnI3WmtSRXhHdXJWNi9lZktaak5FZlZnMVZnS21CRlJjWHVuVHQzL3JSWHIxN3ZSa1JFeE96WXNXTmljWEh4MzBKZEt3QUFBUDRQU2VBTVVsSlNvb3VMaXozVzJzbVNiZ3lNOSszYlZ4NlBSOE9IRDFmYnRtMURXR0hMVUZKU0V1eGliZHEwcWZxbVpjYVk2VEV4TWQ3TXpNeXkwNzIvT1RsZHgwcFNURUpDUXJiUDV5dll0R25UWUVsSFFpZ21yazhBQUNBQVNVUkJWRlVqQUFBQVRrYXdPZ1hIY2ZwS21tU3RIV2VNNlN4SmJkdTJWV3BxcWthT0hLbStmZnMyeUhsOVBwOEtDZ3Awd1FVWHFMS3lVcTFhdFdxUTh6Um5HemR1bE5mcjFhSkZpMVJhV2lwSnN0WWVNc2E4SmVtMTdPenNqYUd0c0c1T0VheE1URXpNaUI0OWV2elhnUU1IWG91SWlHaDd3UVVYVE5xL2YvOEwrL2J0bXlHcE9OUTFBd0FBQUVHREJnMXE0empPV01keC9zZHhIQnY0Wit6WXNYYnUzTG0ycEtURU5yUnZ2dm5HcHFXbDJmTHljbnYzM1hmYnVYUG4xdGkrWnMwYXUzYnQycFBlOStxcnJ6WjRiVTFOU1VtSjlYcTlkdXpZc2JiNnordjR6Mi9zb0VHRDJvVDZkK3A4WEg3NTVaOGQvL09MNDBNeHZYcjFlcTlObXpiWEJQYUppb3JxMTcxNzk5OUxJbmtEQUFBMEVTMitZNVdVbEpRUUVSRXhTZEo5a2pwSng3cFRhV2xwOG5nODZ0T25UNlBWc25mdlhvMGZQMTRaR1JrNmRPaVFwazZkcWtjZmZWVHQyN2VYMysvWDZOR2o5ZFJUVCttS0s2N1FQZmZjRTN4ZmZuNis0dVBqZzYvdnVPTU9qUjQ5dXRiblBYandvS1pNbWFJdnYveFNVVkZSdXV1dXUvVGdndzhHUHpQbTkvdjE0b3N2YXQ2OGViTFd5dVB4NktHSEhqcmxaOHJlZSs4OXZmdnV1OXE3ZDY5Njl1eXBSeDU1Uk4vNzN2ZnFjRlhPYnRPbVRabzdkNjRXTGx3WTdHSkpPaXpwYld2dDlKeWNuQTBOV2dBQUFBQmF2QllackFZTkd0U21yS3dzWGRKa1k4eDFnZkdFaEFTTkdqVktRNGNPYmREUFR2bjlmZzBlUFBpa2NXdXRTa3RMVDFwVjhQMzMzOWZxMWF1Vm01dXJ4eDU3VEN0WHJ0UTExd1FiR0xyeHhodTFiTm15azQ1MzVNZ1JsWlNVcUV1WExtZXM1Nzc3N3ROM3Z2TWQvZXBYdjFKaFlhRisvdk9mYTh5WU1icnJycnNrU1crKythYm16NSt2bDE1NlNhV2xwWm84ZWJKKyt0T2Y2czQ3N3p6cFdDKy8vTEp1dXVrbWRlblNSZSsvLzc1bXpacWx4WXNYcTNYcjFyVzZOblZSV2xxcXhZc1h5K3YxYXYzNjljRnhhKzNmSlUyUGpvNmV2V0xGaXFPblB3SUFBQUNBc3hvd1lFQi90OXM5elhHY3c0R3BZemZjY0lOOTl0bG43ZWJObXh0dEdsdFZWWlYxSE9lazhkTFNVanRvMEtDVHhnc0tDdXlZTVdOc2NYR3h6Y2pJc0E4KytLQmR2bnk1SFQxNnRCMDllclFkTUdCQThPdlJvMGZiaW9vS2E2MjErL2J0czBPSERyWFRwazJ6eGNYRnA2eGwrL2J0MW5FYysrMjMzd2JIRmkxYVpQL2xYLzRsK0RvdExjM09uejgvK1ByUGYvNnpuVGh4NGxtL3o2TkhqMXJIY2V5ZVBYdk91bTk5MjdScGs1MHlaWXE5NFlZYnFrOFRQT3gydTZjTkdEQ2dmNmgvRndFQUFCQmVJa05kUUdOd0hHZWtKSy9mN3crT1hYbmxsUm8xYXBTR0RCbWlObTJheHNkeG9xT2pWVmxaS2IvZkw1ZkxwY3pNVFBYdDIxY1pHUm5hdDIrZkprNmNxSUtDQXMyY09WTmR1M2JWOWRkZkwrbFl4MnJXckZrbkhlL2lpeS9XaHg5K3FKa3paeW85UFYxang0NVZlbnE2b3FLaWd2dVVseDk3SkZUMWFYMmRPblhTbGkxYkpCMmJKcmgzNzE1ZGVlV1Z3ZTM5K3ZYVDdObXp6L3I5ckZ5NVVwZGNjc2xaTzJZTm9VK2ZQdnJsTDMrcG4vLzg1MXF5WkltOFhxL1dybDNiMFZyN2tMWDJJY2R4Sk1tVG5aMDl0OUdMQXdBQVFOaHBFVk1CSGNjNUlpazR2KzYzdi8ydFVsTlRRMWFQeitmVDk3NzNQYlZ2Mzc3RytKSWxTNVNXbHFiMzMzOWY3ZHUzMS9EaHcvWEtLNitvZS9mdXFxeXMxQ3V2dktKKy9mcXBhOWV1bWpwMTZoblBjV0xRMnJkdm4xNTk5VlZsWldYcG9ZY2UwcEFoUTRLMTNISEhIWEs3M2ZyRkwzNmhzckl5L2IvLzkvLzAxVmRmNmF1dnZsSitmcjdHakJtanpNeE14Y1RFU0pKeWNuSTBjZUpFclZxMVNpNlg2NVRuejhySzBxT1BQcW9wVTZiSTdYYWY3NldxVndzWEx0UnZmdk9iNmtNbCtyL2ZDNzhrVzVzL3JiWFdHT09YWksyMWZtT01EV3d6eGxocnJWK1NOY2I0cmJXblBNWnA5anVYODUxdXYxcWR6Ky8zbi9LWXhoaDdwbTFuT2taZy9QZ3gvTmJhN0RWcjFueGNMejg4QUFDQUpxNUZkS3drM1N0cGpvNEh5Vi8vK3RkNjc3MzNncCtuYXV5T2xjL25VK3ZXcllPZmkvTDcvYnI2NnFzVkZSV2xMbDI2YU8vZXZkcTRjYVA2OXUwYlhEd2pJeU5EeGNYRnV2MzIyK1gzK3pWcjFpejk0QWMvT09uWUhUdDIxUFRwMDA5NTN2YnQyOHRhcThMQ3d1QllSRVNFWG5qaEJUM3p6RE1hTW1TSXVuWHJwclMwTksxWnMwWVJFUkh5K1h5U1ZDTkF1Vnl1TXo0TWVmLysvWHI0NFlmMTNIUFBoVHhVSFQxNk5QaTVxM1hyMWxYZlpIWHM5OEo3L0hYZ0c0dzQyekdyZis4blhvZGorZWprcjA5VTIvM09kcjdUN1hlMjg1M3VtR2ZiZGk3SE1NWlVpWlVMQVFCQUM5RWlndFh4NlY2dUFRTUc5UGY1ZkpPTU1mZXRXN2V1NDdwMTYvVGNjODhwTFMxTkkwZU9iTFFWQUV0S1NvTGRIMGtxS3lzTGhydWVQWHRxN2RxMWV2MzExL1hDQ3k5SU92YnNwaWVlZUVKWFhIR0Zici85ZGwxenpUVjY3TEhIZE9EQUFYMysrZWVhTm0yYWZ2YXpuMG1TaGc0ZFd1TmNXN1pzMGR0dnY2M1ZxMWRyekpneG1qMTc5a2tMU2NUSHgrdU5OOTRJdnA0N2Q2NTY5dXdwU1lxTmpaVWtGUllXQmhmVktDZ29VTWVPSFUvYnJWcXpabzNpNHVJMFlNQ0E4NzVHZGJWNTgyWjV2VjVsWkdTb3BLUWtNRnhnclgwN0lpTGl0ZFdyVndkU2xrdVNTVTlQTjF1M2JuV1ZsWldaaXk2NnlGVmVYbTVLU2twY1BwL1B0Ry9mM2xWVlZXVXFLaXBjN2R1M054VVZGUzYvMzIraW9xSmNmci9mVkZWVnVmeCt2N0hXbWxhdFdybjhmci94K1h5dTFxMWJHNS9QNS9MNy9TWXlNdEpsclRWK3YvK2sxNUdSa2Nidjk3dXN0Y1phYXlJaUlrNjVyZnE0Sk9OeXVRTHZjVVZFUkFUSHJiVTF0a2t5eHBqQU5wZkw1VExXV3RlWjlqdnhQU2Z1R3pqR0dmWjdVaTNrN3hjQUFBQ3BoZDM0SEwrWi92bWdRWU4rV1ZaV2RwY3habkpKU2NuMXMyZlAxdXpaczVXUWtDQ1B4Nk5odzRZMTZLcUErL2Z2MTBVWFhSUjhYVlJVRkF4YWlZbUordE9mL3FUVTFGUWxKQ1Nvc3JKUzNicDEwelBQUEtQZXZYdXJSNDhlaW95TXJQSGV6TXpNWUxDcWJ0ZXVYWHJvb1lkMDMzMzM2VmUvK2xXTnoxYWR5WklsUy9UOTczOWZrdFMxYTFmRnhNUm93NFlONnRxMXF5UnB3NFlONnQvLzlPcy9YSDMxMWZydWQ3OWJxM1BWcDlPdENpanBiOWJhNmRIUjBSK2VZbFZBSzhrZS84eVlyN0ZxRFhlTzR6d1o2aG9BQUFBYVU0c0tWZ0hIYjY3ZmtmUk9jbkp5UDJQTUpFbmoxcTlmMzJuOSt2V2FPblZxc0l0MXhSVlgxUHY1dDJ6Wm9yaTRPRlZVVkNncUtrcDVlWG42em5lK0krbllBaFlWRlJWNjZLR0hKRWxUcGt6UnNHSEROR1RJRVBuOWZ1M1lzVU03ZCs3VURUZmNJRWxhdm55NURoOCtyRVdMRm1uNDhPRTF6blB4eFJmcm80OCtPbXVneXMzTlZWeGNuS3kxZXVlZGQ3UjE2MVpObVRKRjByRnBmN2ZkZHB0bXpweXBxNjY2U2tWRlJmSjZ2WHJxcWFmTytQMnRXN2RPOTk1NzczbGZvM094YWRPbVlIZnFoT2RZdldXdGZZM25XQUVBQUtDaHRZakZLMm9qSlNVbHVxaW9hSlNreVpLK0h4anYyN2V2Um8wYXBWdHV1YVhldWxoUFB2bWsrdmZ2cjVVclYycjU4dVdLam83VzAwOC9yUjQ5ZW1qaXhJbnExcTJiUm8wYXBkdHV1MDAvL3ZHUGxacWFxamx6NW1qMzd0M3EwYU9IQmc0Y3FBY2ZmRkN6WjgvV1cyKzlwY2NmZjF5elo4L1d3WU1IOWNNZi9qRDRRTjZQUHZwSXYvLzk3MDladzVJbFM0S0xaMHliTmkyNHlwL2I3ZGJERHorc0hqMTZCUGN0THkvWE04ODhvNlZMbHlvbUprWVRKMDRNUHVQcVZGNS8vWFZsWkdUb3d3OC9ySmZyZFNxbHBhVmF0R2lSdkY2dk5tN2NXSDNULzBpYUhoc2JPeWN6TTdPc3dRckFHVG1PWXlVcE96dWJ2Mk1BQUFCYUtyZmJmWVhiN1o2YW5KeDhNUEFNcE91dnY5Nys5cmUvdFJzMmJEai9oeXRaYXdzTEMyMUtTb285ZVBDZ3RkYmF5c3BLYTYyMWUvYnNzU05HakxEejU4KzNXN2R1dFNOR2pMQzV1YmwyMkxCaDlzQ0JBM2JUcGszVzUvTlphNjFkc0dDQnZlZWVlK3lZTVdQc3hvMGJnOGZPek15MHFhbXA5clhYWHF0VGpVM1ordlhyN2ROUFAyMnZ1KzY2NnMrbk91QjJ1NmU2M2U3NmJ5L2l2QVIrTnFHdUF3QUFvTEh3ZjVQUElDVWxKYnF3c0hDa3BNbkdtSlRBK0JWWFhDR1B4NlBodzRjSEYzU29yVFZyMW1qaHdvVjY3TEhIYW96bjV1WnE3ZHExR2p0MnJDUnAyYkpsZXZiWlozWHR0ZGVldUVTNDh2UHpWVkpTb3FTa3BKT09YMVJVcEczYnRpa3hNZkdjNm1yS1NrcEtsSkdSSWEvWHE4MmJOd2ZIcmJXWmtxWjM2TkJoTHQycHBvV09GUUFBYUdtNDZhbWxBUU1HOVBINy9STWwzUy9wUWtscTA2YU5icm5sRm5rOEh2WHIxKytNeTExWDUvUDVGQkZ4MWxXOVd6UnJyVFpzMkNDdjE2dEZpeGFwckN5WW13NUlldFBsY3MxWXZYcjE1ak1jQWlGRXNBSUFBQzBOTnozbktENCt2blZzYk95ZE92WlpySnNDNDMzNjlBbDJzVTU4OEM5cTc4aVJJOEh1MVAvKzcvOVczL1M1cE9sRlJVVWY1ZWZubDRlb1BOUVN3UW9BQUxRMDNQVFV3VlZYWFhXNXkrV2FLR204cEl1a1k2djZCYnBZQ1FrSnRlNWl0V1RXV3ExYnQwNWVyMWVMRnkrdTNwM2FMK2tOdjk4L1k4MmFOVitIc0VTY1FYeDhmT3RPblRwMXFqN204L20rbGFTSWlJanZWQjgvZlBqd1lZSXhBQUFJUjl6MTE0T0VoSVNvNk9qb082eTFreVVOQ1l4ZmZ2bmw4bmc4U2sxTnJmRkFZQnhUWEZ3YzdFNTkvWFdOM1BTWk1XWjZXVm5aeCt2WHI2OElWWDJvbllFREIxN2k4L24yNk94L24vZ2pJaUs2clZxMWFtOWoxQVVBQU5DWUNGYjF6TzEyOTVZMHlWbzdYdExGa3RTNmRXc05HelpNSG85SFYxNTVaWXZ1WWxscnRYYnQybUIzcXJ3ODJMejRwN1YycHN2bG1wR1ZsYlVsbERYaTNEbU9reW5weHJQc3RpdzdPenVsNGFzQkFBQm9mQzMzRHIrQkpTUWtSRVZGUmQxKy9PSER3d0xqdlh2M2xzZmpVVnBhbW1KalkwTllZZU1xS2lyU3dvVUw1ZlY2dFdWTGpkeTAyRm83dmFLaVlqN2RxZVlyT1RuNUlXUE10TFBzOWxCMmR2YWZHNlVnQUFDQVJrYXdhZ1FEQnc2TXE2cXFtaWhwZ2pHbWl5UkZSVVVGdTFpSmlZbGgyY1d5MWlvdkx5L1luYXFvQ09hbXZaSm1Sa1JFdkw1cTFhcXRJU3dSOVNRcEthbGJSRVRFcmpQdDQvUDV1dWZtNXU1dXJKb0FBQUFhVS9qZHpUZGhicmU3bGJYMk5rbVRKTjJpNDljL0xpNU9IbzlISTBhTUNJc3VWbEZSa1JZc1dDQ3YxNnV0VzRPNXlVcjZWTkowWTh3bldWbFpsYUdyRUEzQmNad1ZrcTQ1emVZVjJkbloxelptUFFBQUFJMkpZQlVpVjExMTFXWEhWeFNjSU9rNzByRXUxcEFoUStUeGVIVFZWVmMxcXk2V3RWWnIxcXlSMSt2Vlo1OTlWcjA3OWEweDVuV2Z6L2Y2bWpWcnRvV3dSRFF3dDl2OUMydnRmNTFxbXpIbUYxbFpXVk1idXlZQUFJREcwbnp1M01PVTIrMXVKV21FMysrZlpJeEoxZkdmeVdXWFhTYVB4Nk5iYjcxVkhUcDBDRzJSWjFCWVdLaFBQdmxFWHE5WDI3WnRDd3hiYTIyR3RYWjZ4NDRkRjJSbVpsYUZzRVEwa3NURXhGNlJrWkdubk5wWlZWVVZsNWVYOTAxajF3UUFBTkJZQ0ZaTlNISnljazlKRHhoakhwRFVWWkphdFdxbG0yKytXUjZQUjQ3ak5Ja3VsclZXMmRuWjhucTlXcnAwcVNvcmc3UDZkbHRyWDVjME15Y25aM3NJUzBTSU9JNlRMU241aE9IczdPeHNkeWpxQVFBQWFDeWh2MHZIU1ZKU1VpSUxDd3ZUakRHVEphVktja2xTejU0OWcxMnNqaDA3Tm5wZEJRVUZ3ZTdVOXUzQjNPU1h0RkRTOU5qWTJBeTZVeTJiNHppL2t2VGJFNFovbFoyZC9idFExQU1BQU5CWUNGWk5uTnZ0dnRSYU84RVk4NEMxdHJ0MHJJdDEwMDAzeWVQeHlPMTJOMmdYeTFxcnJLd3NlYjFlZmY3NTU4SHVsREZtbDdWMlJrUkV4TXhWcTFidGJMQUMwS3k0M2U0cnJMVWJxNCs1WEs0clZxOWV2VGxVTlFFQUFEUUdnbFV6a1pLU0VsbFVWRFJjMG1SSkkzUzhpM1hwcFpkcTVNaVJ1dlhXVzlXNWMrZDZPOStoUTRmMHlTZWZhTzdjdWRxeFkwZGcyQy9wRTJQTTlMaTR1RVd6WjgvMjFkc0pFVFljeDFrdnFaOGtHV1BXWjJWbDlROXhTUUFBQUEyT1lOVU1KU1ltZG0vVnF0VUVhKzFFU1Qwa0tUSXlVb01IRDViSDQ5R0FBUVBrY3JuTytiaCt2MStyVjYrVzErdlZGMTk4b2FxcTRLeStIY2FZR1pXVmxXL2s1ZVdkOFZsRlFISnk4bFBHbU45SWtyWDJxWnljbk1kRFhSTUFBRUJESTFnMVkrbnA2UkhmZlBQTkxkYmF5ZGJhV3lWRlNGTDM3dDAxY3VSSTNYNzc3YlhxWWgwNmRFano1czNUM0xsenRXdFhNRGY1Sk0yMzFrNlBqNDlmVEhjS3RaV2NuSnhrakZsei9HVlNkbloyWGtnTEFnQUFhQVFFcXpDUmxKVFV6ZVZ5alRmR1RKSjBxWFNzaTVXU2tpS1B4Nk9CQXdmVzZHTDUvWDZ0V3JVcTJKM3krWUs1YWJ1MWRvYU9yZXkzcDlHL0VZUUQ0empPMTVKc2RuYjJkM1hzNGRBQUFBQmhqV0FWWnRMVDB5TzJiTmt5Vk1jK2kzVzdqbmV4dW5YcnBwRWpSK3JhYTYvVlAvN3hEODJkTzFlN2QrOE92TTBuYVo2azZiMTc5MTVDZHdwMTVUak83NDB4TmlzcjY1ZWhyZ1VBQUtBeEVLekNtTnZ0L282MWRyeWtTWkl1TzhVdTJ5Uzlab3g1SXlzcjY5dkdyQTFoeWVVNHpsQnI3VnZHbUM3VzJoSmp6S2pzN093bE9yYndDUUFBUU5naVdMVU1McmZiUGNSYUczZ3VWb1l4Wm5wV1Z0Wm40b1lYZFpTY25OelZHRE5lMGtTZFBzRFBNTWJNSk1BREFJQndSYkJxUVJ6SHNaS1VuWjNOengxMWtwNmVIcEdmbnovcytFT3NiMU8xS2FjZWp5YzQ1ZFRyOVo0NDVaUUZVUUFBUUZqaUJyc0ZJVmlocnBLU2tycEZSa1lHbHZxdnl5SXBPNHd4TTZxcXFtYm01dWJ1UHZsTUFBQUF6UXMzMkMwSXdRcm5JejA5UFdMcjFxM0RqMDhsdlZYSEgwN2RvMGNQalJ3NVVyZmRkbHV0bC9XZlAzKyt2RjV2aldYOWpUR2ZHR09tOStyVjYxTzZXQUFBb0xuaUJyc0ZJVmpoWEF3Y09MQ0h6K2ViSU9rQlZYc1E5VTAzM1NTUHh5TzMyMzNlRDZMT3lzcVMxK3ZWNTU5L1h2MUIxRHVQUDRoNkpnK2lCZ0FBelEwMzJDMEl3UXBuazVLU0VsbFVWSlNxWTh2MXArbDRkK3JTU3krVngrUFJyYmZlcWs2ZE90WGIrUTRmUHF4UFB2bEVYcTlYTzNic0NBejdKUzJRTkQwMk5uWlJabVptMWVtUEFBQUEwRFJ3ZzkyQ0VLeHdPbTYzKzFLLzMvK0FNZVlCU2Qwa3FWV3JWcnI1NXB2bDhYamtPSTZNYWJoZkcydXRzck96NWZWNnRYVHBVbFZXVmtxU2pERzdyTFd2SDE5UmNNZFpEZ01BQUJBeTNHQzNJQVFyVkplU2toSlpVRkF3d2hnejJSaVRxdU4vSC9UczJUUFluZXJZc1dPajExVlFVQkRzWW0zZnZqMHc3SmVVWWEyZDNxRkRoNFYwc1FBQVFGUEREWFlMUXJDQ0pDVW5KL2QwdVZ3VHJiVVRKSFdWcEtpb3FHQjNLams1dVVHN1U3VmxyVlZPVGs2d2kxVlJVUkhZdE1kYSs3cWsxM055Y3JhZjRSQUFBQUNOSnZSM1QyZzBCS3VXeSsxMnQ3TFczaXBwa3FUaE92N3ZmcTlldmVUeGVEUml4QWgxNk5BaHBEV2VTV0Zob1JZc1dLQTVjK1pvMjdadGdXRXJhWkV4WnJxa0JWbFpXWlVoSzdDWmF0ZXUzWkNvcUtndWh3OGYvdThUTmtXbzVuOGY2QkFDQUhBVzNHQzNJQVNybGljeE1iRlhaR1RrUkVrVEpGMGlIZXRPRFIwNlZCNlBSMGxKU1UyaU8xVmIxbHJsNXViSzYvVnF5WklsMWJ0WTMwcWE2ZmY3WjZ4WnMyWmI2Q3BzWG5yMDZQRnlhV25weXU3ZHU3OVlXVm01UzVKYXRXclZ1NlNrNUl2SXlNaXVrdFNtVFp0K09UazVVYUd0RkFDQXBxLzUzRkdoemdoV0xZUGI3VzdsOS90dk44Wk1ralJNeC84OWo0dUwwNmhSbzVTV2xxYlkyTmpRRmxrUGlvcUt0SERoUXMyWk0wZGJ0MjROREZ0Sml5Vk5OOGJNcDR0MVJxWi8vLzdmckZ1Mzd1cWtwS1ROdWJtNUhTWHB5aXV2M0xWMjdkcnVnWjFPZkEwQUFFNHRNdFFGQUtnZkF3Y09qS3VxcXByazkvdkhHMk82U01lNlU4T0dEWlBINDFGaVltS3o2azZkVFd4c3JFYVBIcTI3Nzc1YmVYbDU4bnE5V3J4NHNhbW9xTGhGMGkxK3YzOWZjbkx5ek1qSXlCbXJWcTNhZXRZRHRqRHQyN2Uvd1JnVEtXbGZxR3NCQUNBY2hNOWRGczZLamxYNFNVaElpSXFPanI3RDcvZFBNc1lNRFl6Mzd0MWJvMGFOVW1wcWFsaDBwMnFycUtoSUdSa1ptak5uanJaczJSSWN0OVl1a1RTOW9xSmkzdnIxNnl0T2Y0U1dJeTR1N3NOMjdkcGRzM2J0MnU1SlNVa0Y1ZVhsMnlTcGRldldmY3JLeW5LTU1XMGxwZ0lDQUZCYjNHQzNJQVNyOE9FNFRyeU9MVVF4WHRKRmt0UzZkV3ZkY3NzdDhuZzg2dCsvZjFoMXA4NlZ0VmJyMXEyVDErdlZwNTkrcXZMeThzQ21meHBqM3JEV3pzak96czRQWlkyaDFLNWR1OFM0dUxnTVNUWVFyQUpUQVdOalkyOHBLaXI2TkxCdjU4NmQwdzhkT2pRN1pNVUNBTkJNdE53N3J4YUlZTlc4SlNRa1JMVnUzZnBPU1pNbDNSd1l2L3p5eXpWcTFDZ05IejVjTVRFeG9TdXdpU291THRhaVJZczBaODRjZmYzMTE5VTNMWlUwdmJ5OC9LT1cxc1hxM0xuekJHTk1WZGV1WFg4WENGYUJ4U3VLaW9xV1huamhoUlBLeXNxMlNGS2JObTJ1MkxObno2UDc5dTE3UHJSVkF3RFF0SEdEM1lJUXJKcW5wS1NrNzBaRVJFeVVkTCtPZDZlaW82TTFmUGh3ZVR3ZTlldlhyMFYzcDJyTFdxdjE2OWNIdTFobFpXV0JUZnNsdmVuMysxOWJzMmJOMTJjNFJEaUpsbFFXV0ppaWVzZEtrdUxqNDVmbTUrY1BsK1M2NnFxckRtM2V2UG5tbzBlUGZobTZjZ0VBYVBwWXZBSm9ndUxqNDF2SHhNU01OTVpNbGpRNE1ONm5UeDk1UEI2bHBxYXFYYnQySWF5dytUSEdxSC8vL3VyZnY3LysvZC8vWFlzV0xaTFg2OVhtelpzdmt2U0l5K1Y2eEhHY0w2eTEwNHVMaStmbTUrZVhuL1dnelZmWm1UWWVQWHAwWlV4TXpDMlJrWkh0eTh2TC81ZFFCUURBMmZHL3VWc1FPbFpOMzRBQkEvcjRmTDVKeHBqN0pWMGdTVzNhdEFsMnAvcjI3VXQzcWg1WmE3Vmh3NFpnRit2bzBhT0JUUWV0dFc5R1JFUzh0bnIxNnMyaHJMRWhWZTlZQmFZQ1ZsUlU3TjY1YytkUGUvWHE5VzVFUkVUTWpoMDdKaFlYRi84dDFMVUNBTkRVMGJFQ1Fpd2xKU1c2dUxqWVk2MmQ3UGY3Ynd3RXA3NTkrOHJqOFdqNDhPRnEyN1p0aUtzTVQ4WVlKU1FrS0NFaG9VWVhhOU9tVFJjWVl4NzIrLzBQTzQ2enpCZ3pQU1lteHB1Wm1YbkdUazl6dG1IRGh2N1ZYc1pFUkVSMDlQbDhCY1hGeFd0Q1ZoUUFBTTBJd1FvSUVjZHgra3FhVkZoWU9NNFkwMW1TMnJadHE5VFVWSTBjT1ZKOSsvWnRrUFA2ZkQ0VkZCVG9nZ3N1VUdWbHBWcTFhdFVnNTJsdTJyVnJwMUdqUm1uVXFGSGF1SEdqdkY2dkZpMWFwTkxTMGh1dHRUY1dGaFllY2h6bkxVbXZaV2RuYnd4MXZRM0V4TVRFak9qUm84ZC83ZCsvL3k4UkVSRnQrL2Z2djM3Ly92MHY3TnUzYjRhazRsQVhDQUFBRUhLTzQ5akFkRUNFeHFCQmc5bzRqalBXY1p6L0NmdzhITWV4WThlT3RYUG56clVsSlNXMm9YM3p6VGMyTFMzTmxwZVgyN3Z2dnR2T25UdTN4dlkxYTliWXRXdlhudlMrVjE5OXRjRnJhMnBLU2txczErdTFZOGVPdGRWL1hzZC9mbU1IRFJyVUp0Uy9VM1Z4K2VXWGYzYjh6eStPRDhYMDZ0WHJ2VFp0Mmx3VDJDY3FLcXBmOSs3ZGZ5K0pCQTRBd0Jud1lZMFdoTTlZaFU1U1VsSkNSRVRFSkVuM1Nlb2tIZXRPcGFXbHllUHhxRStmUG8xV3k5NjllelYrL0hobFpHVG8wS0ZEbWpwMXFoNTk5RkcxYjk5ZWZyOWZvMGVQMWxOUFBhVXJycmhDOTl4elQvQjkrZm41aW8rUEQ3Nis0NDQ3TkhyMDZGcWZkL1BtelhyeHhSZVZsNWNuYTYzY2JyY2VlZVFSOWVqUlE1TGs5L3YxNG9zdmF0NjhlYkxXeXVQeDZLR0hIanJsWjhyZWUrODl2ZnZ1dTlxN2Q2OTY5dXlwUng1NVJOLzczdmZxY0ZYT2J0T21UWm83ZDY0V0xseW8wdExTd1BCaFNXOWJhNmZuNU9Sc2FOQUNBQUJBazhZTmRndENzR3BjZ3dZTmFsTldWcFl1YWJJeDVyckFlRUpDZ2thTkdxV2hRNGMyNkdlbi9INi9CZzhlZk5LNHRWYWxwYVVuclNyNC92dnZhL1hxMWNyTnpkVmpqejJtbFN0WDZwcHJnbzBMM1hqampWcTJiTmxKeHp0eTVJaEtTa3JVcFV1WDA5WlNXbHFxRVNOR2FOU29VUm8zYnB5cXFxcjB4ei8rVVJzMmJOQ2NPWE1rU1crKythYm16NSt2bDE1NlNhV2xwWm84ZWJKKyt0T2Y2czQ3N3p6cGVDKy8vTEp1dXVrbWRlblNSZSsvLzc1bXpacWx4WXNYcTNYcjFyVytQdWVydExSVWl4Y3ZsdGZyMWZyMTY0UGoxdHEvUzVvZUhSMDllOFdLRlVkUGZ3UUFBQUEwYTB3RmJCd0RCZ3pvNzNhN3B6bU9jemh3elcrNDRRYjc3TFBQMnMyYk56ZmFOTGFxcWlyck9NNUo0NldscFhiUW9FRW5qUmNVRk5neFk4Ylk0dUppbTVHUllSOTg4RUc3ZlBseU8zcjBhRHQ2OUdnN1lNQ0E0TmVqUjQrMkZSVVYxbHByOSszYlo0Y09IV3FuVFp0bWk0dUxUMW5MNXMyYnJlTTQ5dkRodzhHeEw3LzgwbDU5OWRYVzcvZGJhNjFOUzB1ejgrZlBEMjcvODUvL2JDZE9uSGpXNy9QbzBhUFdjUnk3WjgrZXMrNWIzelp0Mm1TblRKbGliN2poaHVyVEJBKzczZTVwQXdZTTZILzIzeFlBQUFBME93U3JodVU0enNnVFBvZGp4NDBiWitmTm0yZExTMHNiL2FiL2RNSEs3L2ZiQVFNR1dKL1BaNjIxOW9zdnZyQjc5KzYxYjd6eGhyMzU1cHZ0M1hmZmJXKzU1UmE3ZS9mdUd1LzcvdmUvZjlwekZSWVcydWVmZjk0T0h6N2Mvdld2ZjdYbDVlVTF0bGRVVk5nNzdyakRQdlhVVTdhOHZOd2VPblRJVHB3NDBUNzU1SlBXV21zUEhEaGdIY2V4MjdadEM3N244ODgvdHpmZWVPTlp2OC9NekV5YmxwWVcvSDVDb2JTMDFINzg4Y2QyM0xoeEozNFd5enFPTXpMVXY1dkEvMmZ2M3VPaUxQUC84Yit1ZXdZWUZKQTB4VkMwVU9Nd0Nzd01wRzc2bFJLUmc0ZTRpZGJjVHBiU285MnN6eWUzUjJXMlc1cWZ0azEzTzN4c0N3K2RmcHYxUlcvTkE2Q20wYmFmOXR2S0RLQ0FrRUtlendjWUJPYkEzTmZ2RDVqN0E4cEpoUmxnM3M5L2NxN3JudnQrejh3VmM3M25mZC9YVFFnaHBPZlJLV0VlaEU0RjdGbDZ2ZjRxQU9YOHVqZmZmQlBKeWNsdWk4ZmhjT0NlZSs2Qm41OWZxL1k5ZS9ZZ0pTVUZYMy85TmZ6OC9KQ1VsSVNQUHZvSUkwZU9oTjF1eDBjZmZZVEl5RWdFQndkajllclZIUjVqNDhhTnJSNmZPM2NPSDMvOE1ZeEdJeFl2WG95RWhJUldmYSs4OGdwT25EaUIrdnA2ekowN0Z5Kzg4QUxVYWpVcUtpb3dmLzU4NU9mbnc5L2ZId0JRV0ZpSWhRc1hZdi8rL1JBRW9jM2pHNDFHdlBMS0szanJyYmRnTUJodTVtM3Fkams1T1hqdHRkZGFOdFhoZjhlRkRJQzM4ZC9yMmpqbk1tT3M1V1BPR0pNQmNNYVl6RGxYK2hoam5IUGVabC9MWTF6YjErSVlISURjOGhnZEhmL2F2bzZPMy9JWWpERlpsdVcyOXROUm44d1k0OWYyT1ovVDNDZHp6azFGUlVYZmROc0hTUWdoaE53Z1dtNmRrTzd6S0lETmFQN0JZdG15WmZqcXE2K1U2Nmw4ZlYyN2dKekQ0WUNQajQ5eVhaUXN5NWc0Y1NLOHZiMFJGQlNFczJmUDR0Q2hRNGlJaUZBV3o4ak56VVZ0YlMzbXpKa0RXWmF4Y2VOR1BQVFFROWZ0T3pBd0VGbFpXVzBlMTgvUEQ1eHoxTlRVdEdyLzhjY2ZjZmp3WWZ6bU43L0JMNy84Z2gwN2RpQStQaDczM0hNUEhBNEhBTFJLb0FSQjZQQm15QmN1WE1DU0pVdXdhdFVxdHlkVkRRME55blZYSlNVbExiczRtc2FGMVB6WStRSlZuZTN6NjNQUDB3QUFJQUJKUkVGVTJ0ZmU4bkZUM29JMkgxL2IxOTUyblIzalJ2bzZPdjYxY2JlM24xdnRZNHcxZ2xZdUpJUVE0a2FVV0JIU1RVd20weFlBUW14czdIaUh3N0dJTWZaWVNVbEpZRWxKQ1ZhdFdvV1VsQlNrcGFXNWJBWEF1cm82cGZvREFCYUxSVW51Um84ZWpZTUhEMkw5K3ZWNDk5MTNBUUNIRGgzQzY2Ky9qdkR3Y015Wk13ZVRKazNDMHFWTGNmSGlSZXpidHcvdnYvOCtubnZ1T1FEQWpCa3pXaDJyc3JJU24zLytPUW9LQ2pCLy9ueGtaMmUzV2tpaXRyWVc3N3p6RHBZdlg2NVVzZjc2MTc5aTVjcVYrT2FiYnhBUUVBQUFxS21wVVJiVnFLNnVSbUJnWUx2VnFxS2lJb1NHaGlJMk5yWTczcTZiVWxGUkFVbVNrSnViaTdxNk9tZHpOZWY4YzVWS3RiYWdvTUNaWlFrQVdFWkdCcXVxcWhJc0Znc2JPblNvWUxWYVdWMWRuZUJ3T0ZoZ1lDQ3pXQ3lDdytGZ3ZyNitnc1BoWUhhN1hYQTRITXpIeDBlUVpabkpzc3djRG9mZzQrUERHaHNiQmM0NTgvTHlFbVJaWnB4ejVuQTRCQzh2THliTHNzQTVaeXFWU3VDY0s0L1ZhdlVOOXdGZ2dpQUluSFBXOHQrY2M0RnozcXFQY3k0SWduQmRIK2ZjdVorMm51ZDhyR3pIR0JPYys3djJHTzMwdlFINlBpT0VFT0ptOUVWRVNEZHJua3cvUDNueTVKY3RGc3VEakxITXVycTZLZG5aMmNqT3pvWldxNFVvaWtoTVRPelJWUUV2WExpQW9VT0hLby9OWnJPU2FFVkZSZUdERHo1QWNuSXl0Rm90N0hZN1Jvd1lnWlVyVjJMTW1ERUlDUW1CV3ExdTlkejgvSHdsc1dycDVNbVRXTHg0TVI1NzdERzgrdXFyOFBiMnZtNmIwNmRQdzJxMXRxb3NUWmt5QlgvLys5OGh5ektDZzRQaDcrK1Bzckl5QkFjSEF3REt5c293Zm56NzZ6OU1uRGdSZDk5OTk0Mi9NYmVvdlZVQkFmeVRjNTZsMFdnMnRiRXFJQWZBczdPekFjRGhxbGc5aFY2dmY4UGRNUkJDQ0NHVVdCSFNRNW9uMTE4QStFS24wMFV5eGhZQmVMeTB0UFMyMHRKU3JGNjlXcWxpaFllSGQvdnhLeXNyRVJvYUNwdk5CbTl2Ynh3NGNBQjMzSEVIQUVDajBjQm1zMkh4NHNVQWdMZmVlZ3VKaVlsSVNFaUFMTXM0ZnZ3NFRwdzRnYWxUcHdJQWZ2amhCMXk1Y2dWNWVYbElTa3BxZFp4aHc0Wmg2OWF0YlNaVVRxTkdqVUpBUUFEV3JWdUhwNTkrR2xhckZYLy8rOStoMSt1Vml0VHMyYk94WWNNR3hNVEV3R3cyUTVJa0xGKyt2TVBYVjFKU2drY2ZmZlNXM3FldUtpOHZWNnBUMTl6SDZqUE8rVnE2anhVaGhCRGkyV2dSQXc5Q2kxZTRYM3g4dk1ac05xY0R5QVR3ZjV6dEVSRVJTRTlQeDh5Wk03dXRpdlhHRzI5Zy9QangrT21ubi9ERER6OUFvOUZneFlvVkNBa0p3Y0tGQ3pGaXhBaWtwNmRqOXV6WitPMXZmNHZrNUdSczNyd1pwMDZkUWtoSUNPTGk0dkRNTTg4Z096c2JuMzMyR2Y3NHh6OGlPenNibHk1ZHd0TlBQNjNja0hmcjFxMTQrKzIzMjR4aHo1NDl5dUlaQnc4ZXhEdnZ2SU9LaWdvTUdEQUFreVpOd3U5Ly8zc01HVElFQUdDMVdyRnk1VXJzM2JzWC92NytXTGh3SVI1ODhNRjJYOS82OWV1Um01dUxUWnMyZGN2NzFaYjYrbnJrNWVWQmtpUWNPblNvWmRjL0FHUUZCQVJzenMvUHQvUllBS1JMNkc4YklZUVFRbHlLbGx2dlhRd0dRN2pCWUZpdDAra3VPVCtiS1ZPbThEZmZmSk9YbFpYZDZJcmZyZFRVMVBENCtIaCs2ZElsempubmRydWRjODc1NmRPbmVXcHFLdCsrZlR1dnFxcmlxYW1wdkxpNG1DY21KdktMRnkveTh2SnlaZG55blR0MzhvY2ZmcGpQbnorZkh6cDBTTmwzZm40K1QwNU81bXZYcnIybEdIdXowdEpTdm1MRkNuN3Z2ZmUyWERiOW9zRmdXRzB3R0xxL3ZFaHVDZjF0STRRUTBodlFyM3NlaEg3VjdaM2k0K00xTlRVMWFRQXlHV1B4enZidzhIQ0lvb2lrcENSbFFZZXVLaW9xUWs1T0RwWXVYZHFxdmJpNEdBY1BIc1Fqanp3Q0FQaisrKy94cHovOUNiLzYxYSt1WFNJY1I0NGNRVjFkSGFLam82L2J2OWxzeHRHalJ4RVZGWFZEY2ZWbWRYVjF5TTNOaFNSSnFLaW9VTm81NS9rQXNnWU5HclNGcWxPOUUvMXRJNFFRMGh2UWw1QUhvY2xIN3hjYkd4c215L0pDQUU4QXVCMEFmSDE5TVhQbVRJaWlpTWpJeUE2WElHL0o0WEJBcGVwMFZXK1B4amxIV1ZrWkpFbENYbDRlTEJZbGI3b0k0Rk5CRU5ZVkZCUlVkTEFMMGd2UTN6WkNDQ0c5QVgwSmVSQ2FmUFFkWThlTzlRa0lDSGdBVGRkaTNlOXNEd3NMVTZwWTE5NzRsM1RkMWF0WGxlclV6ei8vM0xKckg0QXNzOW04OWNpUkkxWTNoVWR1RVAxdEk0UVEwaHZRbDVBSG9jbEgzeFFURXpOT0VJU0ZBQllBR0FvMHJlcm5yR0pwdGRvdVY3RThHZWNjSlNVbGtDUUp1M2Z2YmxtZHVnRGdFMW1XMXhVVkZSMTJZNGlrQzhhT0hldHoyMjIzM2RheXplRnduQUVBbFVwMVI4djJLMWV1WEtFRW1SQkNpS3ZRYk15RFVHTFZ0Mm0xV20rTlJqT1hjNTRKSU1IWlBtN2NPSWlpaU9UazVGWTNCQ1pOYW10cmxlclU0Y090OHFadkdXTlpGb3ZsbTlMU1VwdTc0aU0zSmk0dWJyakQ0VGlOenIrL1pKVktOV0wvL3YxblhSRVhJWVFRUWhOc0QwS0pWZjloTUJqR0FGakVPVjhBWUJnQStQajRJREV4RWFJb1lzS0VDUjVkeGVLYzQrREJnMHAxeW1wVmloYm5PZWNiQkVGWVp6UWFLOTBaSTdsNWVyMCtIOEMwVGpiNzNtUXl4ZmQ4TklRUVFrZ1R6NTE1ZVNCS3JQb2ZyVmJyN2UzdFBhZjU1c09KenZZeFk4WkFGRVdrcEtRZ0lDREFqUkc2bHRsc1JrNU9EaVJKUW1WbHE3eHBOK2M4eTJhemJhZnFWTituMCtrV004YmU3MlN6eFNhVDZiOWRFaEFoaEJBQ1NxdzhDaVZXL1Z0Y1hGeG9ZMlBqUWdCUE1zYUNBTURiMjF1cFlrVkZSZlhMS2hibkhBY09IRkNxVXphYmtqZWRCYkJCcFZLdDM3OS9mNVViUXlUZExEbzZlb1JLcFRyWjBUWU9oMk5rY1hIeEtWZkZSQWdoaFBTL1dSWnBGeVZXbnNGZ01IaHh6bWNEV0FSZ0pwci9QdzhORFlVb2lraE5UZTBYVlN5ejJZeWRPM2RDa2lSVVZTbDVFd2V3QzBBV1kyeUgwV2kwdXk5QzBwUDBldjIvQUV4cXAvdGZKcFBwVjY2TWh4QkNDS0VKdGdlaHhNcnp4TVRFM05tOG91Q1RBTzRBbXFwWUNRa0pFRVVSTVRFeGZhcUt4VGxIVVZFUkpFbkN0OTkrMjdJNmRZWXh0dDdoY0t3dktpbzY2c1lRaVlzWURJYmZjODdmYWF1UE1mWjdvOUc0MnRVeEVVSUk4V3g5WjBaRmJoa2xWcDdMWURCNEFVaVZaWGtSWXl3WnpmL3YzM25ublJCRkViTm16Y0tnUVlQY0cyUUhhbXBxc0dQSERraVNoS05IanpxYk9lYzhsM09lRlJnWXVETS9QNy9SalNFU0Y0dUtpcnBMclZhM2VZcG5ZMk5qNklFREIzNXhkVXlFRUVJOEcwMndQUWdsVmdRQWREcmRhQUJQTWNhZUFoQU1BRjVlWHBnK2ZUcEVVWVJlcis4VlZTek9PVXdtRXlSSnd0NjllMkczSzJmMW5lS2Nyd2V3b2JDdzhKZ2JReVJ1cHRmclRRQjAxelNiVENhVHdSM3hFRUlJOFd4cWR3ZEFDSEd0NW1Ua0QvSHg4Y3RyYW1wU0dHT1pkcnM5T1M4dlQ4akx5OFBvMGFPVktsWmdZS0RMNDZ1dXJsYXFVOGVPS1htVERDQUhRRlpBUUVBdVZhZElzODI0UHJIYTdJNUFDQ0dFRVBmL0xFMWNoaXBXcEQwR2cyRVU1L3hKeHRoVG5QT1JRRk1WNi83Nzc0Y29pakFZREQxYXhlS2N3MmcwUXBJazdOdTNUNmxPTWNaT2NzN1hxVlNxRGZ2Mzd6L1JZd0dRUHNsZ01JUnp6ZysxYkJNRUlieWdvS0RDWFRFUlFnanhYRFRCOWlDVVdKSE94TWZIcTgxbWN4S0FUQUNwQUFRQUdEVnFGTkxTMGpCcjFpd01Iank0MjQ1MytmSmw3Tml4QTF1MmJNSHg0OGVkelRLQUhZeXhyTkRRMEx6czdHeEh0eDJROUR0NnZiNFVRQ1FBTU1aS2pVYmplRGVIUkFnaHhFUFJCTnVEVUdKRmJrUlVWTlJJTHkrdkp6bm5Dd0dFQUlCYXJjWjk5OTBIVVJRUkd4c0xRUkJ1ZUwreUxLT2dvQUNTSk9HNzc3NURZNk55VnQ5eHh0ZzZ1OTMreVlFREJ6cThSeEVoVGpxZGJqbGo3RFVBNEp3dkx5d3MvS083WXlLRUVPS1phSUx0UVNpeElqY2pJeU5EOWNzdnY4emtuR2R5em1jQlVBSEF5SkVqa1phV2hqbHo1blNwaW5YNThtVnMyN1lOVzdac3djbVRTdDdrQUxDZGM1NDFkdXpZM1ZTZElqZEtwOU5GTThhS21oOUdtMHltQTI0TmlCQkNpTWVpQ2JZSG9jU0szS3JvNk9nUmdpQXNZSXd0QWpBS2FLcGl4Y2ZIUXhSRnhNWEZ0YXBpeWJLTS9mdjNLOVVwaDBQSm00NXh6dGVoYVdXLzB5NS9JYVEvWVhxOS9qQUFiaktaN2tiVFRhSUpJWVFRbDZNSnRnZWh4SXAwbDR5TURGVmxaZVVNTkYyTE5RZk5WYXdSSTBZZ0xTME52L3JWci9Eamp6OWl5NVl0T0hYcWxQTnBEZ0RiQUdTTkdUTm1EMVduU0hmUjYvVnZNOGE0MFdoODJkMnhFRUlJOFZ3MHdmWWdsRmlSbm1Bd0dPN2duQzhBc0FqQW5XMXNjaFRBV3NiWUowYWo4WXdyWXlQOW5xRFg2MmR3enI5a2pBMEdZQWJ3a01sazJvT21SVkFJSVlRUWw2RUp0Z2VoeElyME1NRmdNQ1J3empNQkpBUElaWXhsR1kzR2IwR1RYTktOZERwZE1HTnNBWUNGYUQrWlg4Y1kyMERKUENHRUVGZWhDYllIb2NTS3VBcU5OZExkTWpJeVZFZU9IRWxrakdVQ21JMFdwNStLb3FpY2ZpcEowcldubjlMaUtJUVFRbHlDSmowZWhDYTd4RlZvckpIdUVoMGRQVUt0Vmp1WC9iK1ZCVk9PTThiV05UWTJiaWd1TGo1MS9aRUlJWVNRVzBPVEhnOUNrMTNpS2pUV3lLM0l5TWhRVlZWVkpUV2ZWam9MelRlcURna0pRVnBhR21iUG50M2xKZjYzYjk4T1NaSmFMZkhQR052QkdNdTY2NjY3ZGxFVml4QkNTSGVoU1k4SG9ja3VjUlVhYStSbXhNWEZoVGdjamljQlBJVVdONlcrLy83N0lZb2lEQWJEVGQrVTJtZzBRcElrN051M3IrVk5xVTgwMzVSNkE5MlVtaEJDeUsyaVNZOEhvY2t1Y1JVYWE2U3I0dVBqMVdhek9SbE5TL2Vub0xrNk5XclVLSWlpaUZtelp1RzIyMjdydHVOZHVYSUZPM2JzZ0NSSk9INzh1TE5aQnJBVFFGWkFRRUJlZm41K1kvdDdJSVFRUXRwR2t4NFBRcE5kNGlvMDFraG5EQWJES0ZtV24yS01QUVZnQkFCNGVYbGgrdlRwRUVVUmVyMGVqUFhjOE9HY3cyUXlRWklrN04yN0YzYTdIUURBR0R2Sk9WL2Z2S0xnOFU1MlF3Z2hoQ2hvMHVOQmFMSkxYSVhHR21sTGZIeTh1cnE2T3BVeGxza1lTMGJ6ZDlEbzBhT1Y2bFJnWUtETDQ2cXVybGFxV01lT0hYTTJ5d0J5T2VkWmd3WU55cUVxRmlHRWtNN1FwTWVEMEdTWHVBcU5OZEtTVHFjYkxRakNRczc1a3dDQ0FjRGIyMXVwVHVsMHVoNnRUblVWNXh5RmhZVktGY3Rtc3ptN1RuUE8xd05ZWDFoWWVLeURYWkJyREJ3NE1NSGIyenZveXBVcmY3K21TNFhXY3hCS1hBa2hmWjc3djhtSXk5QmtsN2dLalRWaU1CaThPT2V6QUN3Q2tJVG03NXU3N3JvTG9pZ2lOVFVWZ3dZTmNtdU1IYW1wcWNIT25UdXhlZk5tSEQxNjFObk1BZVF4eHJJQTdEUWFqWGEzQmRoSGhJU0VmRmhmWC8vVHlKRWozN1BiN1NjQndNdkxhMHhkWGQxM2FyVTZHQUI4ZlgwakN3c0x2ZDBiS1NHRTNEcWE5SGdRbXV3U1Y2R3g1cm1pb3FMdVVxdlZDd0U4Q1dBNDBGU2RtakZqQmtSUlJIUjBkSytvVG5VVjV4ekZ4Y1dRSkFsNzl1eHBXY1U2QTJDRExNdnJpb3FLanJvdndsNk5qUjgvL3BlU2twS0owZEhSRmNYRnhZRUFNR0hDaEpNSER4NGM2ZHpvMnNlRUVOSlhxZDBkQUNHRWtMN05ZREI0eWJJOGh6RzJDRUFpbW4rMEN3ME5SWHA2T2xKU1VoQVFFT0RlSUc4U1l3d3hNVEdJaVluQjczLy9lK1RrNUdEejVzMm9xcXE2QThDcmdpQXMxZXYxdXdGa01jYTJVeFhyZi9uNStVMWxqS2tCbkhOM0xJUVE0Z3FVV0JGQ0NMa3BjWEZ4b1kyTmpZdGtXVjdBR0FzQ21xcFRpWW1KRUVVUlVWRlJmYW82MVptQWdBRE1temNQdi83MXIzSGd3QUZJa29UZHUzY3ptODAyRThCTVdaYlA2WFM2RFdxMWV0MysvZnVyM0IydnV3MGJOdXk1bG8vRHc4T0xBRUFRaENGaFlXRS9Nc1lHQUlCYXJSN21qdmdJSWFTN1VXSkZDQ0dreTdSYXJiZEdvNWtyeS9JaWg4TXh3NWs0alJrekJ1bnA2VWhPVHU2ejFhbXVZb3doT2pvYTBkSFJXTEprQ1hKemM3RjU4MlpVVmxZR0FYakY0WEM4b3RQcDlnRElzdGxzMjBwTFMyMmQ3Yk8vR1Rod1lOVEFnUU1ubyttNk5BQkFlWGw1REFBRUJBVE1OSnZOdTV6dGd3Y1B6bkJEaUlRUTB1MzZ6MCtKcEZOMDNRdHhGUnByL1k5ZXJ4K0xwb1VvRmdBWUNnQStQajZZT1hNbVJGSEUrUEhqKzFWMTZrWnh6bEZTVWdKSmtyQnIxeTVZclZabjEzbkcyQ2VjODNVbWsrbUlPMk4wcGNHREJ6L0pHR3NNRGc3K3I0TUhENDZNam82dWRpNWVZVGFiOTk1KysrMVBXaXlXU2dEdzlmVU5QMzM2OUN2bnpwMzdxM3VqSm9TUVcwTVZLMElJSVczU2FyWGVQajQrRHdESUJERGQyVDV1M0Rpa3A2Y2pLU2tKL3Y3KzdndXdGMkdNWWNLRUNaZ3dZUUplZU9FRjVPWGxZZlBtelRoOCtQQXd6dmxMQUY3UzYvVjdBV1JacmRhdC9iMktkZm55NVM4QldJS0RnLy9MMlZaV1ZqYmUrVytOUmpQK3lKRWpTUUNFbUppWXkyYXorVi91aUpNUVFyb1RKVlo5VkZoWVdINUZSVVc4dStNZ2hQUS8wZEhSZDZ0VXFvVUFua0J6ZFVxajBTQXBLUW1pS0NJeU10S2pxMU9kOGZmM1IwWkdCaDU4OEVHVWxwWXFWU3lMeFRJZHdIUWZINThMZXIzK1UxbVcxeFlWRlIxMmQ3dzl4TkpSWjBORHcwLysvdjR6MVdxMW45VnEvYm1ob2VIL3VTb3dRZ2pwS2ZUTjJBZEVSa2FXWE51bTBXaTBGb3VsOU5wMldaYXQ1ZVhsaHJiMlE2ZG5FVmVoc2RiM2pCMDcxc2ZmM3orTk1aWUo0RDVuZTFoWUdFUlJSSEp5TWdZT0hPakdDUHUycTFldklpOHZENUlrb2FLaW9tWFhkNXp6ck5yYTJpMUhqaHl4dHZmOHZzcTVsSHJMVXdGdE50dXBFeWRPUEh2WFhYZDlxVktwL0k4ZlA3Nnd0cmIybis2T2xSQkNiaFZWclBxQWxxZFBPT24xZXQ1V095R0UzSWpZMk5nd2g4T3hpREgyQklBaEFPRHI2NnRVcHlJaUlxZzYxUTM4L1B6dzRJTVBJajA5SFdWbFpVb1ZxNkdoNFQ3RzJIMEJBUUdYZERyZHB5cVZhbTFCUVVGRjUzdnNlNjc1enZKWHFWU0JEb2VqdXJhMnRzaHRRUkZDU0RlaWI4cytRcWZUV1JvYUdzcmI2eDh3WUVDVXlXUVNPdG9IVlJHSXE5Qlk2OTNpNCtNMXRiVzFJdWM4RThBMFozdEVSQVJFVVVSU1VoSUdEQmpneGdnOVExMWRuVkxGS2k5djllZjllOFpZbHIrL3Y1U2ZuOS9oS1hXOVhjdUtWZk1OZ3BtL3YzOXFTRWpJT3hjdlhseXJVcWtHREJreVpOR0ZDeGZlUFhmdTNEb0F0ZTZPbVJCQ2JoWlZyUHFXUm5jSFFBanB1L1I2ZlFTQVJUVTFOWTh6eGdZRHdJQUJBNUNjbkl5MHREUkVSRVQweUhFZERnZXFxNnN4Wk1nUTJPMTJlSGw1OWNoeCtwcUJBd2NpUFQwZDZlbnBPSFRvRUNSSlFsNWVIdXJyNjZkeHpxZlYxTlJjMXV2MW53RllhektaRHJrNzNwdGhzVmpLQWFDK3ZyNnd1Y252OXR0dmYrU1hYMzVaNEx5dTZ0S2xTOUt3WWNNZVJ5ZlhaUkZDU0c5SHZ5YjNFVHFkemxKWVdLaTUyWDZBcWdqRWRXaXM5UjZUSjAvMnRWcXQ2V2hhMlcrcXN6MHlNaExwNmVsSVRFenM4ZXJVMGFOSDhidmYvUTVidG16Qlk0ODlobm56NXVHQkJ4NVErb3VMaTZGU3FUQitmT3V6bTdPeXNwQ1ptZG1qc2ZVMjlmWDEyTFZyRnlSSlFsbFpXY3V1SHdCaytmajRiUDdYdi83VjRLYndDQ0dFZElBcVZuMUllSGg0UVh0OWpERnZWOFpDQ09uZG9xT2p0U3FWYXBIVmFuME13RzFBVTNVcUpTVUZvaWdpTEN6TVpiRm9OQnJJc2d4dmIyOTgrT0dIV0wxNk5SSVNFdURuNXdkWmxyRnk1VW9zWDc0Y0FQRHd3dzhyenp0eTVBaSsrKzQ3NWZIY3VYTXhiOTY4TGgvWFlMaCtIWitBZ0FCbG43SXM0NzMzM3NPMmJkdkFPWWNvaWxpOGVIR2IxNVI5OWRWWCtQTExMM0gyN0ZtTUhqMGFMNzc0SXU2NTU1NHV4OUpWQXdZTVFGcGFHdExTMGxCZVhvNHRXN1lnSnljSDlmWDFVd0ZNdFZxdDcrdjErczg1NTFtRmhZVmxuZTZRRUVLSXk5Q3Z5WDBFVmF4SVgwSmp6VDBtVDU3c2E3RllNZ0JrTXNidWRiWnJ0VnFrcDZkanhvd1pQVnFka21VWjk5MTMzM1h0bkhQVTE5ZGZ0NnJnMTE5L2pZS0NBaFFYRjJQcDBxWDQ2YWVmTUduU0pLVi8yclJwK1A3Nzc2L2IzOVdyVjFGWFY0ZWdvS0FiaXU5UGYvb1RBT0RsbDE4R0FIejY2YWZZdm4wNzFxeFpnL3I2ZW1SbVp1TFpaNTl0VlUxeit2REREM0gvL2ZjaktDZ0lYMy85TlRadTNJamR1M2ZEeDhmbmhtSzRHZlgxOWRpOWV6Y2tTVUpwNmY4dUJzczUveDhBV1JxTkpwdXFXSVFRNG41VXNlcERxR0pGQ0dsTGJHenNlTTU1cHRWcWZaUXhGZ2cwWGIrVG1wcUt0TFEwM0gzMzNTNkpnM09PcTFldndtZzB0bXB2YUdqQTlPblRyMHVTYW1wcXNISGpSbno4OGNmWXRXc1h0bTNiaHNiR1JxeFpzd1pBVTBMUnNvTDErZWVmdzh2TEMvWDE5WGowMFVjeGUvWnNMRml3QUg1K2ZwM0daclBac0d2WEx2ejNmLyszMHBhZG5ZMW5ubmtHdzRjUEJ3Q2twYVZoNTg2ZGJTWld2LzN0YjVWL1AvSEVFMWk3ZGkwdVg3Nk1PKzY0b3d2dnpLMFpNR0FBSG5qZ0FUend3QU9vcUtoUXFsaDFkWFgzQXJqWGFyVytaekFZdm1DTVpSVVVGRngzZXc1Q0NDR3VRWWxWTHpkNDhPQ0hoZzhmL2dmR21MY2dDQjFXcEp6M3U2SmwyQW54REhxOVBnMkFKTXV5MGpaaHdnU2twNmNqSVNFQnZyNis3Z3V1QlkxR0E3dmREbG1XSVFnQzh2UHpFUkVSZ2R6Y1hKdzdkdzRMRnk1RWRYVTFObXpZZ09EZ1lFeVpNZ1ZBVThWcTQ4YU4xKzF2MkxCaDJMUnBFelpzMklDTWpBdzg4c2dqeU1qSWdMZDMrNzh2NWVmblkralFvZEJxdFFDQVM1Y3U0ZXpaczVnd1lZS3lUV1JrSkxLenN6dDlQVC85OUJPR0R4OSt3eFd6N2hBV0ZvYVhYMzRaenovL1BQYnMyUU5Ka25EdzRNRkF6dmxpenZsaXZWNFBBS0xKWk5yaTh1QUlJY1REMFdrNmZRZno5L2RQRFFvS2V1N01tVE12MXRYVkZRTVlQRzdjdU0yMXRiWGYxZGJXYnF1cnErdndYaUIwZWhaeEZScHJycUhYNjY4Q1VNNnZlL1BOTjVHY25PeTJlQndPQis2NTU1N3JLa2g3OXV4QlNrb0t2djc2YS9qNStTRXBLUWtmZmZRUlJvNGNDYnZkam84KytnaVJrWkVJRGc3RzZ0V3JPenpHdFluV3VYUG44UEhISDhOb05HTHg0c1ZJU0VobzgzbS8rOTN2TUduU0pEejY2S01BZ0lxS0NzeWZQeC81K2ZudzkvY0hBQlFXRm1MaHdvWFl2MzgvQktIdHUxY1lqVWE4OHNvcmVPdXR0OXE4aHNzZGNuSnk4TnBycjdWc3FzUC9qZ3NaQU8vS2Z6bm5uREVtQStDY2M1a3h4cDE5akRIT09aY0JjTWFZekRsdmN4K2RiTmVWNDNVWVYyZkhrMlc1elgyMnMxMlg5dUZzWjR4eHVlbFhqSDhVRmhidTdZN1BqaERTdjFERnFnOElDZ3A2NWZiYmIzL1NhclZXblQ5Ly9xOTFkWFVIbXJzdUh6dDI3SmtoUTRha2p4bzE2ak9WU3VWLzhlTEZUODZlUGJ2Q3JRRVRRbHpsVVFDYjBmd2oyYkpseS9EVlYxOHAxMU81dW1MbGNEamc0K09qblBJbnl6SW1UcHdJYjI5dkJBVUY0ZXpac3poMDZCQWlJaUtVeFROeWMzTlJXMXVMT1hQbVFKWmxiTnk0RVE4OTlOQjErdzRNREVSV1ZsYWJ4L1h6OHdQbkhEVTFOVzMybnp0M0RrYWpVVmtnd3hrcmdGWUpsQ0FJSGQ0TStjS0ZDMWl5WkFsV3JWcmw5cVNxb2FGQnVlNnFwS1RWMlg4Y1RlTkNhbjdzZklHcXp2Ylo4clZmK3o0MDVVZlgvL3RhWGQydXMrTzF0MTFueDJ0dm54MXRkeVA3WUl5Qk1YWVNRRWk3UVJGQ1BCWWxWbjFBWTJQanljckt5Z1NMeFhMczJqNmJ6VlorNXN5WmxXZk9uRm5wN2UydDFXZzBJOTBSSXlIRTlacFA5eEppWTJQSE94eU9SWXl4eDBwS1NnSkxTa3F3YXRVcXBLU2tJQzB0eldVckFOYlYxU25WSHdDd1dDeEtjamQ2OUdnY1BIZ1E2OWV2eDd2dnZnc0FPSFRvRUY1Ly9YV0VoNGRqenB3NW1EUnBFcFl1WFlxTEZ5OWkzNzU5ZVAvOTkvSGNjODhCQUdiTW1OSHFXSldWbGZqODg4OVJVRkNBK2ZQbkl6czd1OTJGSkhiczJJR0pFeWRpeUpBaFNsdEFRQUNBcHV1OG5JdHFWRmRYSXpBd3NOMXFWVkZSRVVKRFF4RWJHM3N6YjArM3FLaW9nQ1JKeU0zTlJWMWRuYk81bW5QK3VVcWxXdHZpR2lzQkFNdkl5R0JWVlZXQ3hXSmhRNGNPRmF4V0s2dXJxeE1jRGdmejgvTVRHaHNibWMxbUUvejgvSmpOWmhOa1dXYmUzdDZDTE11c3NiRlJrR1daY2M2Wmw1ZVhJTXN5Y3pnY2dvK1BEM000SElJc3kweXRWZ3VjY3liTDhuV1AxV28xazJWWjRKd3psVW9sY001WlIzMnlMQXNBbUNBSXptMEZsVXFsdE11eUxLaFVLc1k1RnpqbkRBQmpqQWtBR09kY0VBUkI2V3U1ai9hMmEzN2NhdHVXZlMyZjAzeThZTWJZTTdJczA0M1lDQ0Z0b3NTcUQ3aDA2ZElYWGRuT1pyT1YybXkyMHM2M0pJVDBKODJUNmVjblQ1Nzhzc1ZpZVpBeGxsbFhWemNsT3pzYjJkblowR3ExRUVXeHgrOVpkZUhDQlF3ZE9sUjViRGFibFVRcktpb0tIM3p3QVpLVGs2SFZhbUczMnpGaXhBaXNYTGtTWThhTVFVaElDTlJxZGF2bjV1Zm5LNGxWU3lkUG5zVGl4WXZ4MkdPUDRkVlhYKzN3MmlvQTJMNTlPNTU5OXRsV2JjSEJ3ZkQzOTBkWldSbUNnNE1CQUdWbFpkZmRTNnVsaVJNbnVtd2hrSmJhV3hVUXdEODU1MWthaldaVEc2c0NjZ0M4K1pveGg2dGk3Yy9pNHVLR094eU9aOXdkQnlHazk2TEVpaEJDK29ubXlmVVhBTDdRNlhTUmpMRkZBQjR2TFMyOXJiUzBGS3RYcjFhcVdPSGg0ZDErL01yS1NvU0doc0ptczhIYjJ4c0hEaHhRVnMzVGFEU3cyV3hZdkhneEFPQ3R0OTVDWW1JaUVoSVNJTXN5amg4L2poTW5UbURxMUtaN0dQL3d3dys0Y3VVSzh2THlrSlNVMU9vNHc0WU53OWF0V3p0TnFBREFaREtocHFZRzA2Wk5hOVV1Q0FKbXo1Nk5EUnMySUNZbUJtYXpHWklrdFRwZHNLM1hWMUpTb2x5bjFkUEt5OHVWNmxSOWZiMnorUXFBenpqbmEraytWb1FRMHJ0UVlrVUlJZjFRODZUN1ArUGo0MTh4bTgzcEFETHI2K3YvejZaTm03QnAweVpFUkVRZ1BUMGRNMmZPN0xZcTFyLy8vVzlFUjBkajJiSmwrT0dISDZEUmFMQml4UW9jTzNZTWE5YXNnVmFyeFQvKzhRL01uajBiWjgrZXhZVUxGL0RFRTAvZzFLbFRDQWtKUVZ4Y0hLWk9uWXBubm5rR2YvdmIzL0RuUC84WnpxcmJ5cFVybGVQazVPVGc3YmZmYmpPR1BYdjJ0Rm84WTl1MmJVaEtTb0tYMS9WbmJ6Mzc3TE5ZdVhJbDVzNmRDMzkvZnp6OTlOT1lQSGx5dTYvUFpESWhOemUzUnhPcit2cDY1T1hsUVpJa0hEcDBxR1hYUHdCa0JRUUViTTdQejdmMFdBQ0VFRUlJNlp4ZXIrZk8xZG9JNlVrMDFub25nOEVRYmpBWVZ1dDB1a3ZPejJqS2xDbjh6VGZmNUdWbFpmeFcxTlRVOFBqNGVIN3AwaVhPT2VkMnU1MXp6dm5wMDZkNWFtb3EzNzU5TzYrcXF1S3BxYW04dUxpWUp5WW04b3NYTC9MeThuTHVjRGc0NTV6djNMbVRQL3p3dzN6Ky9QbjgwS0ZEeXI3ejgvTjVjbkl5WDd0MjdTM0YySnVWbHBieUZTdFc4SHZ2dlpjN1B4dTlYbi9SWURDc05oZ00zVjllSkRjc0xpNXV1RjZ2NXpxZDdxeTdZeUdFOUU1VXNTS0VFQTloTkJyTEFTeUpqNDkvdGFhbUpnMU5WYXg0U1pJZ1NSTEN3OE1oaWlLU2twS1VCUjI2cXFxcUNqTm16TURnd1lNQlFMbGU2dno1ODVnM2J4NW16Wm9GQUhqeHhSZngwa3N2WWNxVUtSZ3laRWlyQlNYdXZ2dHV2UFRTUzRpT2ptNjE3Mm5UcGtHbjArSG8wYU0zL2RwN283cTZPdVRtNWtLU0pGUlVWQ2p0blBOOEFGbURCZzNhUXRVcFFnanBPK2dlTXg2RTdpMlpNU1E4QUFBZ0FFbEVRVlJFWElYR1d0OFJHeHNiSnN2eVFnQlBBTGdkQUh4OWZURno1a3lJb29qSXlNZ09sN3R1eWVGd1FLWHFkRlZ2ajhZNVIxbFpHU1JKUWw1ZUhpd1dKVys2Q09CVFFSRFdGUlFVVkhTd0MrSW16WXRYbk9HY255c3NMQnp1N25nSUliMFBWYXdJSWNTRE5VL2lYeHc3ZHV5eWdJQ0FCd0JrTmpRMDNMOTE2MVpzM2JvVllXRmhTaFhyMmh2L1hvdVNxdlpkdlhwVnFVNzkvUFBQTGJ2MkFjZ3ltODFianh3NVluVlRlSVFRUXJvQi9acnNRYWlLUUZ5RnhscmZGaE1UTTA0UWhJVUFGZ0FZQ2pTdDZ1ZXNZbW0xMmk1WHNUd1o1eHdsSlNXUUpBbTdkKzl1V1oyNkFPQVRXWmJYRlJVVkhYWmppS1FEa3lkUDltMXNiQnprZkN3SXdqQzczVjRNNElKS3BZcHF1YTBzeTVlTVJxUGQ1VUVTUW5vVittYjBJRFRaSmE1Q1k2MS8wR3ExM2hxTlppN25QQk5BZ3JOOTNMaHhFRVVSeWNuSnJXNElUSnJVMXRZcTFhbkRoMXZsVGQ4eXhySXNGc3MzcGFXbE5uZkZSN29tT2pwYXExS3BTanJmRXZXTXNhRkdvN0crODAwSklmMFpUWG84Q0UxMmlhdlFXT3QvREFiREdBQ0xPT2NMQUF3REFCOGZIeVFtSmtJVVJVeVlNTUdqcTFpY2N4dzhlRkNwVGxtdHlsbDk1em5uR3dSQldHYzBHaXZkR1NPNVlVeXYxeDhDRU5iaFJveHRNaHFOR1M2S2lSRFNpOUUxVm9RUVFqclZuQlM4ck5WcS8rRHQ3VDJITWJiSWFyVW1idCsrSGR1M2I4ZVlNV01naWlKU1VsSVFFQkRnN25CZHhtdzJJeWNuQjVJa29iS3lWZDYwbTNPZVpiUFp0bE4xcXMvaUFEWURXTnJSUnJJc2IzWk5PSVNRM3M1emYxNzBRRlJGSUs1Q1k4MHp4TVhGaFRZMk5pNEU4Q1JqTEFnQXZMMjlsU3BXVkZSVXY2eGljYzV4NE1BQnBUcGxzeWw1MDFrQUcxUXExZnI5Ky9kWHVURkUwazBNQm9PZWMyN3NZQk9ycjYvdjBQLzVuLytwZFZsUWhKQmVxLzk5NDVGMjBXU1h1QXFOTmM5aU1CaThPT2V6QVN3Q01CUE4zeTJob2FFUVJSR3BxYW45b29wbE5wdXhjK2RPU0pLRXFpb2xiK0lBZGdISVlvenRvQVVNK2gybTErdXJBTnpaVHY4Mms4azAxNFh4RUVKNk1acjBlQkNhN0JKWG9iSG11V0ppWXU1c1hsSHdTUUIzQUUxVnJJU0VCSWlpaUppWW1ENVZ4ZUtjbzZpb0NKSWs0ZHR2djIxWm5UckRHRnZ2Y0RqV0Z4VVZIWFZqaUtTSDZYUzZWWXl4SlczMWNjNGZMeXdzL056Vk1SRkNlcWUrOCsxR2JobE5kb21yMEZnakJvUEJDMENxTE11TEdHUEphUDYrdWZQT095R0tJbWJObW9WQmd3WjF2Qk0zcXFtcHdZNGRPeUJKRW80ZVBlcHM1cHp6WE01NVZtQmc0TTc4L1B4R040WklYRVNuMDAxbWpQM1lScGZkYnJjSEhUeDQ4SXJMZ3lLRTlFbzA2ZkVnTk5rbHJrSmpqYlNrMCtsR0EzaUtNZllVZ0dBQThQTHl3dlRwMHlHS0l2UjZmYStvWW5IT1lUS1pJRWtTOXU3ZEM3dGRPYXZ2Rk9kOFBZQU5oWVdGeDl3WUluRVBRYS9YbjBEejJHMGh6MlF5SmJzaklFSkk3MFNyQWhKQ0NPbFJ6Y25JSCtMajQ1ZlgxTlNrTU1ZeTdYWjdjbDVlbnBDWGw0ZlJvMGNyVmF6QXdFQ1h4MWRkWGExVXA0NGRVL0ltR1VBT2dLeUFnSUJjcWs1NU5CbUFCT0RabG8yTU1Wb05rQkRTaXZ0L0lpUXVRMVVFNGlvMDFraG5EQWJES003NWs0eXhwempuSTRHbUt0Yjk5OThQVVJSaE1CaDZ0SXJGT1lmUmFJUWtTZGkzYjU5U25XS01uZVNjcjFPcFZCdjI3OTkvb3NjQ0lIMUtiR3hzdkN6TDM3Vm9jakRHaGh1TnhvdHVDNG9RMHV2UXBNZUQwR1NYdUFxTk5kSlY4Zkh4YXJQWm5BUWdFMEFxQUFFQVJvMGFoYlMwTk15YU5RdURCdy91dHVOZHZud1pPM2Jzd0pZdFczRDgrSEZuc3d4Z0IyTXNLelEwTkM4N085dlJiUWNrL1VKR1JvYXFzckx5SElBaHpVMzdUQ2JUZEhmR1JBanBmV2pTNDBGb3NrdGNoY1lhdVJsUlVWRWp2Ynk4bnVTY0x3UVFBZ0JxdFJyMzNYY2ZSRkZFYkd3c0JFRzQ0ZjNLc295Q2dnSklrb1R2dnZzT2pZM0tXWDNIR1dQcjdIYjdKd2NPSERqWmZhK0U5RWQ2dmY3L0EvQWJBR0NNL2M1b05IN281cEFJSWIwTVhXTkZDQ0drVjJoT2JwWm5aR1NzL09XWFgyWnl6ak1iR3h0bjdkbXpSN1Zueng2TUhEa1NhV2xwbUROblRwZXFXSmN2WDhhMmJkdXdaY3NXbkR5cDVFME9BTnM1NTFsang0N2RUZFVwMGxVT2gyT3pTcVg2VGZQRExXNE5oaERTSzlHdnlSNkVxZ2pFVldpc2tlNFNIUjA5UWhDRUJZeXhSUUJHQVUxVnJQajRlSWlpaUxpNHVGWlZMRm1Xc1gvL2ZxVTY1WEFvZWRNeHp2azZOSzNzZDlybEw0VDBlVnF0MXR2SHgrY2NnQktUeVRUVjNmRVFRbm9mbXZSNEVKcnNFbGVoc1VhNlcvTTFMalBRZEMzV0hBQXFBQmd4WWdUUzB0THdxMS85Q2ovKytDTzJiTm1DVTZkT09aL21BTEFOUU5hWU1XUDJVSFdLM0NxRHdmQVo1N3pRWkRLOTYrNVlDQ0c5RDAxNlBBaE5kb21yMEZnalBjbGdNTnpCT1Y4QVlCR0FPOXZZNUNpQXRZeXhUNHhHNHhsWHhrYjZKVUd2MTgvZ25IL0dHQXZpbkY5bGpEMW9NcG4yb0duaEUwSUlBVUNKbFVlaHlTNXhGUnByeEVVRWc4R1F3RG5QQkpBTUlKY3hsbVUwR3I4RlRYakpMZExwZE1HTXNRVUFGcUw5Qkg0ZFkyd0RKZkNFRUlBU0s0OUNrMTNpS2pUV2lDdlJlQ1BkSlNNalEzWGt5SkZFeGxnbWdObG9jY3FwS0lyS0thZVNKRjE3eWlrdGlFSUlvY1RLazlEa2c3Z0tqVFhpU2pUZXlLMktqbzRlb1Zhcm5VdjkzOG9pS2NjWlkrc2FHeHMzRkJjWG43citTSVNRL295V1d5ZUVFRUtJeDhuSXlGQlZWVlVsTlo5S09vdHpMZ0JBU0VnSTB0TFNNSHYyN0hhWDlSY0VBUk1uVHNURWlSTngrZkpsYk4rK0haSWs0ZVRKazZNNDU4dFZLdFVmRFFiRERzWlkxbDEzM2JXTHFsaUVlQWI2ZGMrRDBLKzY1R2FFaFlYbFYxUlV4Ti9JYzJpc0VWZWk4VVp1UkZ4Y1hJakQ0WGdTd0ZOb2NTUHErKysvSDZJb3dtQXczUFNOcUkxR0l5Ukp3cjU5KzFyZWlQcEU4NDJvTjlDTnFBbnAzNmhpUlFoUlJFWkdsbHpicHRGb3RHMjF5N0pzTFM4dk43Z21Na0lJdVhueDhmRnFzOW1jRENEVDRYQ2tBQkFBWU5Tb1VSQkZFYk5temNKdHQ5MTJTOGNRQkFGeGNYR0lpNHZEbFN0WHNHUEhEa2lTaE9QSGo0ZHd6dDlRcTlWLzFPdjFPd0ZrQlFRRTVPWG41emQydWxOQ1NKOUN2KzU1RVBwVmw5d012VjdQYjNUTTBGZ2pya1RqamJUSFlEQ01rbVg1S2NiWVV3QkdBSUNYbHhlbVQ1OE9VUlNoMSt2QldNOE5HODQ1VENZVEpFbkMzcjE3WWJmYkFRQ01zWk9jOC9YTkt3b2U3N0VBQ0NFdVJWOUNIb1FtSDZRcmREcWRwYUdob2J5OS9nRURCa1NaVEtZT3o1T2hzVVpjaWNZYmFTaytQbDVkWFYyZHloakxaSXdsbzNtdU0zcjBhS1U2RlJnWTZQSzRxcXVybFNyV3NXUEhuTTB5Z0Z6T2VkYWdRWU55cUlyVmZRWU9ISmpnN2UwZGRPWEtsYjlmMDZWQzYva3Z2ZWVrMjlDcGdJU1F0dEFYRFNHa1Q5SHBkS01GUVZob05wdWZGQVFoR0FDOHZiMlY2cFJPcCt2UjZsUm5BZ01EOGNnamorQTN2L2tOQ2dzTG5WVXN3V2F6cFRMR1VzMW04Mm1kVHJjZXdQckN3c0pqbmU2UWRHanc0TUZpZlgzOVQ5SFIwZFYydS8wa0FIaDVlWTJwcTZ2N1RxMVdCd09BcjY5dlpHRmhvYmQ3SXlYOUNTVldoSkRybEplWHg3YlhwOVBwTEs2TWhSQkMybU13R0x3NDU3TUFMQUtReERsbkFIRFhYWGRCRkVXa3BxWmkwS0JCN2czeUdvd3g2UFY2NlBWNnZQamlpOWk1Y3ljMmI5Nk1vMGVQQmpQR1hnT3dUSy9YNXpIR3NnRHNOQnFOZG5mSDNBZXhRWU1HcFp3NGNlS05rU05Ib3F5c2JEd0FUSmd3NGVTUkkwZFNuQnRObURDQkZoTWgzWW9TSzBMSWRjTER3d3ZhNjJPTTBhOTdoQkMzaW9xS3VrdXRWaS9rbkQ4SllEalFWSjJhTVdNR1JGRkVkSFMwVzZ0VFhUVm8wQ0RNbno4ZkR6LzhNSXFMaXlGSkV2YnMyY05zTmxzeTV6d1p3Qm05WHI5Qmx1VjFSVVZGUjkwZGIxL2g1K2MzbFRHbUJuRE8zYkVRejBLSkZTSGtPbFN4SW9UME5nYUR3VXVXNVRtTXNVVUFFdEY4blV4b2FDalMwOU9Sa3BLQ2dJQUE5d1o1a3hoamlJbUpRVXhNREg3Lys5OGpKeWNIbXpkdlJsVlYxUjBBWGhVRVlhbGVyOThOSUlzeHRwMnFXQjBiTm16WWN5MGZoNGVIRndHQUlBaER3c0xDZm1TTURRQUF0Vm85ekIzeGtmNkxFaXRDeUhXb1lrVUk2UzNpNHVKQ0d4c2JGOG15dklBeEZnUTBWYWNTRXhNaGlpS2lvcUw2UkhXcXF3SUNBakJ2M2p6OCt0ZS94b0VEQnlCSkVuYnYzczFzTnR0TUFETmxXVDZuMCtrMnFOWHFkZnYzNzY5eWQ3eTl6Y0NCQTZNR0RodzRHUUIzdHBXWGw4Y0FRRUJBd0V5ejJiekwyVDU0OE9BTU40UkkrakZLckFnaEFJREJnd2MvTkh6NDhEOHd4cndGUWRCMHRLM3p2bGJPODlZSklhUTdhYlZhYjQxR00xZVc1VVVPaDJPR00zRWFNMllNMHRQVGtaeWMzR2VyVTEzRkdFTjBkRFNpbzZPeFpNa1M1T2JtWXZQbXphaXNyQXdDOElyRDRYaEZwOVB0QVpCbHM5bTJsWmFXMnR3ZGMyL2c0K01UZS9yMDZWZUNnNFAveTlubS9NNHltODE3UTBORE4xa3Nsa29BOFBYMURmZnk4aHA1N3R5NXY3b3JYdEsvVUdKRkNBRUFYTDU4K2Y5ZXZuejUvd0pnL3Y3K3FVRkJRYytkT1hQbXhicTZ1bUlBZzhlTkc3ZTV0cmIydTlyYTJtMTFkWFZGN282WEVOTC82UFg2c1doYWlHSUI1M3dvWXd3K1BqNllPWE1tUkZIRStQSGorMVYxcXFzQ0FnTHc2MS8vR2c4OTlCQktTa29nU1JKMjdkb0ZxOVU2QThBTUh4K2Y4d2FENFJQTytUcVR5WFRFM2ZHNjArWExsNzhFWUdtWldMWDhFVkNqMFl3L2N1UklFZ0FoSmlibXN0bHMvcGM3NGlUOUV5VldoQkJGVUZEUUs3ZmZmdnVUVnF1MTZ2ejU4Myt0cTZzNzBOeDErZGl4WTg4TUdUSWtmZFNvVVorcFZDci9peGN2Zm5MMjdOa1ZiZzJZRU5MbmFiVmFieDhmbndjQVpBS1k3bXdmTjI0YzB0UFRrWlNVQkg5L2YvY0YySXN3eGpCaHdnUk1tREFCTDd6d0F2THk4ckI1ODJZY1BueDRHT2Y4SlFBdjZmWDZ2UUN5ckZiclZnK3RZblY0SFhCRFE4TlAvdjcrTTlWcXRaL1ZhdjI1b2FIaC83a3FNTkwvVVdKRkNGRTBOamFlckt5c1RMQllMTmZkUThWbXM1V2ZPWE5tNVpreloxWjZlM3RyTlJyTlNIZkVTQWpwSDZLam8rOVdxVlFMQVR3QllDZ0FhRFFhSkNVbFFSUkZSRVpHZW1SMXFxdjgvZjJSa1pHQkJ4OThFS1dscFVvVnkyS3hUQWN3M2NmSDU0SmVyLzlVbHVXMVJVVkZoOTBkcnpzNVR3VzAyV3luVHB3NDhleGRkOTMxcFVxbDhqOSsvUGhDZDhkRytoZEtyQWdoaWt1WExuM1JsZTFzTmx1cHpXWXI3ZWw0Q0NIOXk5aXhZMzM4L2YzVEdHT1pBTzV6dG9lRmhVRVVSU1FuSjJQZ3dJRnVqTER2WVl4aC9QanhHRDkrdkZMRmtpUUpGUlVWUXdHOEtBakNpM3E5L2p2T2VWWnRiZTJXSTBlT1dOMGRzNnRkY3oyd3YwcWxDblE0SE5XMXRiVjBXanZwVnBSWUVVSUlJYVJIeGNiR2hqa2Nqa1dNc1NjQURBRUFYMTlmcFRvVkVSRkIxYWx1NE9mbmh3Y2ZmQkRwNmVrb0t5dFRxbGdORFEzM01jYnVDd2dJdUtUVDZUNVZxVlJyQ3dvS0t0d2RyNHN4ZjMvLzFKQ1FrSGN1WExqd041VktOV0Q4K1BHbEZ5NWNlUGZjdVhQckFOUzZPMERTOTFGaVJRZ2hoSkJ1Rng4ZnI2bXRyUlU1NTVteUxFOXpKazRSRVJFUVJSRkpTVWtZTUdDQW02UHNueGhqMEdxMTBHcTFyYXBZNWVYbFF4aGpTMlJaWHFMWDY3OW5qR1g1Ky90TCtmbjUvZTcraEJhTHBSd0E2dXZyQzV1Yi9HNi8vZlpIZnZubGx3WE82Nm91WGJva0RSczI3SEYwY2wwV0lWMUZQdzk1RUwxZXp3SEFaRExSNTA1NkZJMDE0a28wM25vWHZWNGZBV0FSNS94eHh0aGdBQmd3WUFDU2s1T1JscGFHaUlpSUhqbXV3K0ZBZFhVMWhnd1pBcnZkRGk4dnJ4NDVUbDkyNk5BaFNKS0V2THc4MU5mWEF3QTQ1NWNaWTU4QldHc3ltUTY1TjBKQytqYjZFdklnTlBrZ3JrSmpqYmdTalRmM216eDVzcS9WYWsxSDA4cCtVNTN0a1pHUlNFOVBSMkppWW85WHA0NGVQWXJmL2U1MzJMSmxDeDU3N0RITW16Y1BEenp3Z05KZlhGd01sVXFGOGVOYjMzNHZLeXNMbVptWlBScGJiMU5mWDQ5ZHUzWkJraVNVbFpXMTdQb0JRSmFQajgvbWYvM3JYdzF1Q28rUVBvdE9CU1NFRUVMSVRZbU9qdGFxVktwRlZxdjFNUUMzQVUzVnFaU1VGSWlpaUxDd01KZkZvdEZvSU1zeXZMMjk4ZUdISDJMMTZ0VklTRWlBbjU4ZlpGbkd5cFVyc1h6NWNnREF3dzgvckR6dnlKRWorTzY3NzVUSGMrZk94Yng1ODI3bzJJY1BIOGJxMWF0eDRNQUJlSHQ3WTlteVpVaElTQUFBeUxLTTk5NTdEOXUyYlFQbkhLSW9ZdkhpeFcxZVUvYlZWMS9oeXkrL3hObXpaekY2OUdpOCtPS0x1T2VlZTI3bTdlalFnQUVEa0phV2hyUzBOSlNYbDJQTGxpM0l5Y2xCZlgzOVZBQlRyVmJyKzNxOS9uUE9lVlpoWVdGWnB6c2toQUNnaXBWSG9WOTFpYXZRV0NPdVJPUE50U1pQbnV4cnNWZ3lBR1F5eHU1MXRtdTFXcVNucDJQR2pCazlXcDJTWlJuMzNYZmZkZTJjYzlUWDExKzNxdURYWDMrTmdvSUNGQmNYWStuU3BmanBwNTh3YWRJa3BYL2F0R240L3Z2dnI5dmYxYXRYVVZkWGg2Q2dvQTdqT1hueUpCNTk5RkU4L3ZqamVPaWhoM0QxNmxWWXJWYUVoSVFBQUQ3OTlGTnMzNzRkYTlhc1FYMTlQVEl6TS9Ic3M4KzJxcVk1ZmZqaGg3ai8vdnNSRkJTRXI3LytHaHMzYnNUdTNidmg0K1BUcGZmbVZ0VFgxMlAzN3QyUUpBbWxwZis3NkN2bi9IOEFaR2swbW15cVloSFNNZm9TOGlBMCtTQ3VRbU9OdUJLTk45ZUlqWTBkenpuUDVKdy9DaUFRQUFZT0hJalUxRlNrcGFYaDdydnZka2tjRG9jRDk5eHpENHhHWTZ2MmhvWUdUSjgrSFQvKytHT3I5cHFhR3Z6MnQ3L0Z4eDkvakgvKzg1L1l0bTBiNXMrZmp6VnIxZ0JvcWxpTkhUdFcyZjd6enorSGw1Y1h6cDgvajBjZWVRU3paOC9HZ2dVTDRPZm4xMlk4UzVjdWhVcWx3b29WYmQ4dlBUVTFGYzg4OHd4bXpab0ZBRml6WmcyS2lvcXdkdTNhRGwrbnhXTEJ2ZmZlaXgwN2R1Q09PKzdvK0UzcFpoVVZGVW9WcTY2dXp0bGN6Umo3Z2pHV1ZWQlFVT0xTZ0FqcEkraFVRRUlJSVlTMFM2L1hwd0dRWkZsVzJpWk1tSUQwOUhRa0pDVEExOWZYZmNHMW9ORm9ZTGZiSWNzeUJFRkFmbjQrSWlJaWtKdWJpM1Buem1IaHdvV29ycTdHaGcwYkVCd2NqQ2xUcGdCb3FsaHQzTGp4dXYwTkd6WU1telp0d29ZTkc1Q1JrWUZISG5rRUdSa1o4UGIyVnJaeE9Cekl6OC9IZSsrOTEyWk1seTVkd3Rtelp6Rmh3Z1NsTFRJeUV0bloyWjIrbnA5KytnbkRody92dEdMV0U4TEN3dkR5eXkvaitlZWZ4NTQ5ZXlCSkVnNGVQQmpJT1YvTU9WK3MxK3NCUURTWlRGdGNIaHdodlJnbFZvUVFRZ2pwU0tzYmg3LzU1cHRJVGs1MlZ5eUthZE9tdFhxOFo4OGVEQm8wQ0ZldVhJR2ZueC9lZU9NTmZQVFJSOGpJeU1BRER6eUFqejc2Q0pHUmtUaDkralNXTEZtaVBDODRPTGpWTlZjQWxFUXJJQ0FBLy9FZi80R0hIMzRZSDMvOE1USXlNckI0OFdMbCtxbVRKMC9DYXJYaTNMbHptRHQzTHM2ZlB3K2RUb2ZYWDM4ZHc0WU53OFdMRndFQWd3Y1BWdllkR0JpSTJ0cGFKUUZzaTlGb3hNcVZLL0hXVzIrMXU0MHIrUHI2WXM2Y09aZ3padzV5Y25MdzJtdXZ0ZXorUXEvWE84KzdsQUh3THZ5WGM4NWx4bGliMnpER09PZGMyYmE5UHNhWXpEbFgrcTk1bnN3NTU0d3h1YTNqZGRUWHh2RTZqWk14SnN1eXpKMzdhYWZ2MnVPMTJlZHNaNHh4V1pabHpybXBxS2pvbTI3NU1JbExVR0pGQ0NHRWtJNDhDbUF6bWk4ZldMWnNHYjc2Nml2bGVpcFhWNndjRGdkOGZIeVU2NkprV2NiRWlSUGg3ZTJOb0tBZ25EMTdGb2NPSFVKRVJJU3llRVp1Ymk1cWEyc3haODRjeUxLTWpSczM0cUdISHJwdTM0R0JnY2pLeW1yenVINStmdUNjbzZhbVJtbHpuaVpYWEZ5TUw3NzRBbmE3SFMrOTlCTGVlT01OckZtekJnNkhBd0JhSlVlQ0lIUjRNK1FMRnk1Z3laSWxXTFZxRlF3R3d3MitPOTJyb2FGQnVlNnFwS1RWMlg4Y1RlTkNhbjdzZklHcXp2YlowV3R2eW1NNjc3dDJ1MnNmdHp6R3RjZnJxTzltWTJtNW40NzZydDJ1c3o3R1dDTUF1bTlBSDBLSkZTR0VFRUxhMVh5Nmx4QWJHenZlNFhBc1lvdzlWbEpTRWxoU1VvSlZxMVloSlNVRmFXbHBMbHNCc0s2dUR2Nysvc3BqaThXaUpIZWpSNC9Hd1lNSHNYNzllcno3N3JzQW11N2Q5UHJycnlNOFBCeHo1c3pCcEVtVHNIVHBVbHk4ZUJINzl1M0QrKysvaitlZWV3NEFNR1BHakZiSHFxeXN4T2VmZjQ2Q2dnTE1uejhmMmRuWnJSYVNjQjczNmFlZlJrQkFBQURnaVNlZXdILys1MzlDbG1XbHJhYW1SbGxVbzdxNkdvR0JnZTFXb29xS2loQWFHb3JZMk5oYmZxOXVWa1ZGQlNSSlFtNXVicXRyckRqbm42dFVxclV0cnJFU0FMQ01qQXhXVlZVbFdDd1dOblRvVU1GcXRiSzZ1anJCNFhBd1B6OC9vYkd4a2Rsc05zSFB6NDg1SEE1bXQ5c0ZoOFBCZkh4OEJGbVdXV05qbzhBNVoxNWVYb0lzeTh6aGNBZytQajdNK1cvT09WT3IxUUxubkRrY0RzSEx5NHZKc2l4d3pwbEtwUkk0NTR4enptUlpGdFJxOVhWOXNpd0xBSmdnQ01xMkxaNG5jTTViOWltUEFiQnIrd0F3eHBpelR4QUVRWGxPZTMzWHRqZnZzNk0rZ1hQK0JtaWUzdWZRQjBZSUlZU1FUalZQcHArZlBIbnl5eGFMNVVIR1dHWmRYZDJVN094c1pHZG5RNnZWUWhURkhyOW4xWVVMRnpCMDZGRGxzZGxzVmhLdHFLZ29mUERCQjBoT1RvWldxNFhkYnNlSUVTT3djdVZLakJrekJpRWhJVkNyMWEyZW01K2ZyeVJXTFowOGVSS0xGeS9HWTQ4OWhsZGZmYlhWdFZWT0lTRWhHREJnQUs1ZXZZcmJiNzhkUUZQbHdjZkhCNElnSURnNEdQNysvaWdySzBOd2NEQUFvS3lzN0xwN2FiVTBjZUpFbHkwRTBsSjdxd0lDK0NmblBFdWowV3hxWTFWQURvQTNYelBtY0ZXc25rQ3YxNy9oN2hqSWphUEVpaEJDQ0NGZDFqeTUvZ0xBRnpxZExwSXh0Z2pBNDZXbHBiZVZscFppOWVyVlNoVXJQRHk4MjQ5ZldWbUowTkJRMkd3MmVIdDc0OENCQThxcWVScU5CamFiRFlzWEx3WUF2UFhXVzBoTVRFUkNRZ0prV2NieDQ4ZHg0c1FKVEozYWRBL2pIMzc0QVZldVhFRmVYaDZTa3BKYUhXZllzR0hZdW5Wcm13bVZrMXF0eHB3NWMvQ1h2L3dGeTVjdmg5MXV4N3AxNjVScjBBUkJ3T3paczdGaHd3YkV4TVRBYkRaRGtpVGxmbHJ0dmI2U2toSTgrdWlqdC9RK2RWVjVlYmxTbmFxdnIzYzJYd0h3R2VkOExkM0hpcEN1bzhTS0VFSUlJVGVsZWRMOW4vSHg4YStZemVaMEFKbjE5ZlgvWjlPbVRkaTBhUk1pSWlLUW5wNk9tVE5uZGxzVjY5Ly8vamVpbzZPeGJOa3kvUERERDlCb05GaXhZZ1dPSFR1R05XdldRS3ZWNGgvLytBZG16NTZOczJmUDRzS0ZDM2ppaVNkdzZ0UXBoSVNFSUM0dURsT25Uc1V6enp5RHYvM3RiL2p6bi84TVo5VnQ1Y3FWeW5GeWNuTHc5dHR2dHhuRG5qMTdsT1hYbjMvK2VmejV6My9HN05tem9WS3BNSFBtVEx6d3dndkt0czgrK3l4V3JseUp1WFBud3QvZkgwOC8vVFFtVDU3Yzd1c3ptVXpJemMzdDBjU3F2cjRlZVhsNWtDUUpodzRkYXRuMUR3QlpBUUVCbS9Qejh5MDlGZ0FoaFBSMWVyMmVPKy8zUWtoUG9yRkdYSW5HVys5aU1CakNEUWJEYXAxT2Q4bjUyVXlaTW9XLytlYWJ2S3lzak4rS21wb2FIaDhmenk5ZHVzUTU1OXh1dDNQT09UOTkralJQVFUzbDI3ZHY1MVZWVlR3MU5aVVhGeGZ6eE1SRWZ2SGlSVjVlWHM0ZERnZm5uUE9kTzNmeWh4OSttTStmUDU4Zk9uUkkyWGQrZmo1UFRrN21hOWV1dmFVWWU3UFMwbEsrWXNVS2Z1Kzk5M0xuWjZQWDZ5OGFESWJWQm9PaCs4dUw1S2JSMzdXK2lTcFdoQkJDQ09rMlJxT3hITUNTK1BqNFYydHFhdExRVk1XS2x5UUpraVFoUER3Y29pZ2lLU2xKV2RDaHE2cXFxakJqeGd4bCtYTG45VkxuejUvSHZIbnpsSnZ3dnZqaWkzanBwWmN3WmNvVURCa3lCRU9HREZIMmNmZmRkK09sbDE1Q2RIUjBxMzFQbXpZTk9wME9SNDhldmVuWDNodlYxZFVoTnpjWGtpU2hvcUpDYWVlYzV3UElHalJvMEJhcVRoSFNQZWd1OVI3RStjdUh5V1NpejUzMEtCcHJ4SlZvdlBWK3NiR3hZYklzTHdUd0JJRGJnYVlWOVdiT25BbFJGQkVaR2RuaDB0Y3RPUndPcUZTZHJ1cnQwVGpuS0Nzcmd5Ukp5TXZMZzhXaTVFMFhBWHdxQ01LNmdvS0NpZzUyUWR5TS9xNzFUVlN4SW9RUVFraVBhcDdFdnpoMjdOaGxBUUVCRHdESWJHaG91SC9yMXEzWXVuVXJ3c0xDbENxVzg5cWw5bEJTMWI2clY2OHExYW1mZi82NVpkYytBRmxtczNucmtTTkhyRzRLajVCK2p4SXJRZ2doaExoRTg2VCthd0JmeDhURWpCTUVZU0dBQlJVVkZVUGZldXN0L1BXdmYxV3FXRnF0dHN0VkxFL0dPVWRKU1Fra1NjTHUzYnRiVnFjdUFQaEVsdVYxUlVWRmg5MFlJaUVlZ3hJclFnZ2hoTGhjODJUL0phMVcrNXBHbzVuTE9jKzBXQ3dKMzN6ekRiNzU1aHVNR3pjT29pZ2lPVG01MVEyQlNaUGEybHFsT25YNGNLdTg2VnZHV0piRll2bW10TFRVNXE3NENQRkVsRmdSUWdnaHhHMmFKLy9aQUxJTkJzTVlBSXM0NXdzT0h6NDg3TzIzMzhhNzc3Nkx4TVJFaUtLSUNSTW1lSFFWaTNPT2d3Y1BLdFVwcTFVNXErODg1M3lESUFqcmpFWmpwVHRqSk1TVFVXSkZDQ0dFa0Y2aE9TbDRXYXZWL3NIYjIzc09ZMnlSMVdwTjNMNTlPN1p2MzQ0eFk4WkFGRVdrcEtRZ0lDREEzZUc2ak5sc1JrNU9EaVJKUW1WbHE3eHBOK2M4eTJhemJhZnFGQ0h1UjRrVklZUVFRbnFWNWlSaEU0Qk5jWEZ4b1kyTmpRc0JQRmxaV1JuMHpqdnY0TDMzM2xPcVdGRlJVZjJ5aXNVNXg0RURCNVRxbE0ybTVFMW5BV3hRcVZUcjkrL2ZYK1hHRUFraDE2REVpaEJDQ0NHOVZuUHlzTlJnTVB5UmN6NGJ3Q0tielRaeng0NGRiTWVPSFFnTkRZVW9pa2hOVGUwWFZTeXoyWXlkTzNkQ2tpUlVWU2w1RXdld0MwQVdZMnlIMFdpMHV5OUNRa2g3S0xFaWhCQkNTSy9YbkV4SUFLU1ltSmc3bTFjVWZMS3FxdXFPVmF0VzRmMzMzMGRDUWdKRVVVUk1URXlmcW1KeHpsRlVWQVJKa3ZEdHQ5KzJyRTZkWVl5dGR6Z2M2NHVLaW82Nk1VUkNTQmRRWWtVSUlZU1FQcVU1eVZobU1CamVBSkFxeS9JaW04MlduSk9UdzNKeWNuRG5uWGRDRkVYTW1qVUxnd1lOY25PMDdhdXBxY0dPSFRzZ1NSS09IajNxYk9hYzgxek9lVlpnWU9ETy9QejhSamVHU0FpNUFaUllFVUlJSWFSUGFxNWliUVd3VmFmVGpRYndGR1BzcWFOSGp3Yi81Uzkvd1FjZmZJRHAwNmRERkVYbzlmcGVVY1hpbk1Oa01rR1NKT3pkdXhkMnUzSlczeW5PK1hvQUd3b0xDNCs1TVVSQ3lFMml4SW9RUWdnaGZWNXpNdktIK1BqNDVUVTFOU21Nc1V5NzNaNmNsNWNuNU9YbFlmVG8wVW9WS3pBdzBPWHhWVmRYSzlXcFk4ZVV2RWtHa0FNZ0t5QWdJSmVxVTRUMGJaUllFVUlJNlhYQ3dzTHlLeW9xNHQwZEIvbi8yN3YzNkNqcSsvL2pyMWxpREZHQ1FUQ2hwVUZDTkZRdU5oc29CdXBwd0dwRkVFMFFoR29GdFVWcnJUOTd2Rkt0ZU91UFZ1VkFGWDdsVUZvdnRCU0pRaUZZOEl1RVdFUkUyS1RFU3FFbklLRmdXalFKbHlhR3plNStmbjlBOGsyRVFNZ2tNM3Q1UHM3aG5Pek03UGhLZUJ2eW1zOW1OdktjS0NlckpLM0t6czVPTThiY1lWblduUlVWRlgzbXpKbWplZlBtYWZUbzBjclB6MWQyZG5hbnJtSVpZK1R6K2JSOCtYSVZGUlUxclN4QkRyNEFBQ0FBU1VSQlZFNVpsclhmR0xPb1M1Y3V2OSs2ZGV1L09pMEFBRWRSckFBQXJycnNzc3YrL3VWdENRa0pBMCsxUFJRS0hkdTVjMmUyTThrUTZYdyszejVKVCtibTVqNTc1TWlSYXlWTmIyaG9HUHYyMjI5NzNuNzdiYVdscFNrdkwwL2p4bzFUang0OU91eS9XMTFkcmRXclYydkZpaFhhdDI5ZjQrYVFwTldXWlMxTVQwOWZXMUJRRU95dy95Q0FzT0QraTQzaEdLL1hheVNwcEtTRXYzZDBLbVlOZG5tOVh0UFcrV0hlY0RhR0RCblM1NXh6enJuREdQTURTVitUcExpNE9JMGFOVXI1K2ZrYU9uU29QQjdQV1o4M0ZBcHAyN1p0V3I1OHVUWnMyS0JBb09sVmZmc3N5MXJVME5Ed2NsbFoyZjZPKzB3UXpmaStGcGxZc1FJQXVDNHJLNnYraXkrKzJObjR1SzZ1YnZ1QUFRUCsxdmc0TVRGeFNFbEp5ZG4vdEF0OHlZbHk4L1RFaVJOLzhja25uM3pYR0RNOUVBaU1XN2R1WFpkMTY5YXBUNTgreXN2TDAvang0OXUwaWxWZFhhMVZxMVpweFlvVjJyKy9xVGNGSlJVYVl4Wm1aR1Q4RDZ0VFFHeWdXQUVBd2dXL3VBL0huQ2c3ZjVIMGw4c3Z2L3lySG8vbmRzdXlmcmgvLy82MGwxNTZTYi81elcrVW01dXIvUHg4RFJzMnJNVXFWaWdVMHRhdFc1dFdwNExCcHQ1VVlZeFpwT04zOXZ0VWtrcExTNTMrMUFDNGhHSUZBQWdMTzNmdUhOcmF2cXlzckhvbnN5QzJiTisrL1lDa1p5ZE9uRGhyOSs3ZFYwdWFIZ2dFeHIvenpqdGQzbm5uSFgzMXExOVZYbDZlUm93WW9mZmZmMThyVnF6UWdRTUhHcDhlMVBHYlpTenMzNy8vT2xhbmdOaEZzUUlBaElVQkF3WnNhMjJmWlZueFRtWkJiRHBSaXRaS1dwdWRuZDNiR0hPN3BCOGVPSERnNG5uejVtbmV2SG5ORDk4cjZiZVdaYjNzOC9rcUphbWtwTVR4ekFEQ0I4VUtBQkFXV0xGQ09EbFJsdjZ2cEY5bVoyZC94eGd6WGRJWVNXc3N5MXJvOC9uZTBmRTcvUUdBSklvVkFDQk1zR0tGTUJYeStYei80L1Y2MzVha2twS1NtOXdPQkNBOFVhd0FBSzdwMGFQSHBOVFUxQ2NzeTRyM2VEd0pwenUyOFgydGR1ellNY2laZEFBQXRCM0ZDZ0RnbXVycTZtWFYxZFhMSkZuZHVuVWJtNUtTY2w5bFplVkR0YlcxMnlYMXVPU1NTOTQ4ZXZUb2hxTkhqNjZxcmEzOTI1bk9Cd0NBVzNoUEVBQ0FxMUpTVW1ZTUhEandueWtwS1Q4NWVQRGduTnJhMnJJVHU2b3JLaXArWkZsV01DMHQ3ZFZCZ3didFNVMU4vYm1yWVFFQWFBVXJWZ0FBVndVQ2dmMjdkKy8rVG4xOWZjV1g5L245L3AyVmxaVy9xS3lzL0VWOGZQekFoSVNFUG01a0JBRGdUQ2hXQUFCWFZWVlZMVzdMY1g2Ly8yTy8zLzl4WitjQkFLQTllQ2tnQUFBQUFOaEVzUUlBQUFBQW15aFdBQUFBQUdBVHhRb0FBQUFBYktKWUFRQUFBSUJORkNzQUFBQUFzSWxpQlFBQUFBQTJVYXdBQUFBQXdDYUtGUUFBQUFEWVJMRUNBQUFBQUpzb1ZnQUFBQUJnRThVS0FBQUFBR3lpV0FFQUFBQ0FUUlFyQUFBQUFMQ0pZZ1VBQUFBQU5sR3NBQUFBQU1BbWloVUFBSWc1bVptWnhXNW5BQkJkNHR3T0FBQUEwSmt1dSt5eXYzOTVXMEpDd3NCVGJRK0ZRc2QyN3R5WjdVd3lBTkdFWWdVQUFLTGFqaDA3Qm4xNW05ZnJOYWZhRGdEdFJiRUNBQUJSTHlzcnEvNkxMNzdZMmZpNHJxNXUrNEFCQS83VytEZ3hNWEZJU1VrSnZ5SUJvTjBvVmdBQUlGWUUzQTRBSUhwUnJBQUFRRXpZdVhQbjBOYjJaV1ZsMVR1WkJVRDBvVmdCQUlDWU1HREFnRzJ0N2JNc0s5N0pMQUNpRDhVS0FBREVCRmFzQUhRbWloVUFBSWdKckZnQjZFd1VLd0FBRUxWNjlPZ3hLVFUxOVFuTHN1STlIay9DNlk1dGZGOHJic01Pb0Qwb1ZnQUFJR3BWVjFjdnE2NnVYaWJKNnRhdDI5aVVsSlQ3S2lzckg2cXRyZDB1cWNjbGwxenk1dEdqUnpjY1BYcDBWVzF0N2QvT2RENEFhQTN2MXdBQUFLSmFTa3JLaklFREIvNHpKU1hsSndjUEhweFRXMXRiZG1KWGRVVkZ4WThzeXdxbXBhVzlPbWpRb0QycHFhay9kelVzZ0lqRmloVUFBSWhxZ1VCZy8rN2R1NzlUWDE5ZjhlVjlmcjkvWjJWbDVTOHFLeXQvRVI4ZlB6QWhJYUdQR3hrQlJENktGUUFBaUdwVlZWV0wyM0tjMysvLzJPLzNmOXpaZVFCRUoxNEtDQUFBQUFBMlVhd0FBQUFBd0NhS0ZRQUFBQURZUkxFQ0FBQUFBSnNvVmdBQUFBQmdFOFVLQUFBQUFHeWlXQUVBQUFDQVRSUXJBQUFBQUxDSllnVUFBQUFBTmxHc0FBQUFBTUFtaWhVQUFBQUEyRVN4QWdBQUFBQ2JLRllBQUFBQVlCUEZDZ0FBQUFCc29sZ0JBQUFBZ0UwVUt3QUFBQUN3aVdJRkFBQUFBRFpSckFBQUFBREFKb29WQUFBQUFOaEVzUUlBQUFBQW15aFdBQUFBQUdBVHhRb0FBQUFBYktKWUFRQUFBSUJORkNzQUFBQUFzQ25PN1FBQUlsdEdSc2E1eWNuSnljMjNCWU5CU2RLd1ljTlNtMit2cWFtcEtTOHZQK1pnUEVRWjVnMU9ZTTRBdEFmRkNvQXR5Y25KeWNGZzhGTkoxcGYzQllQQnltWVBROG5KeVYrVjlHL0h3aUhxTUc5d0FuTUdKdzBaTXFSUFhGemM0NmZhNS9WNkZ6Ui9IQWdFbmkwcks5dnZUREtjTFY0S0NNQ1dyVnUzL2x2U1g5dHc2TVlUeHdMdHhyekJDY3dabkpTWm1WbHBqTGxSMGwzTi9qUnEybWFNdVRFek03UHlWT2RBZUdERktrcHg5UU5PTXNhOGFWbld0ODl3MkJ1T2hFSFVZOTdnQk9ZTVRpa29LQWhtWjJldk1NYmNmWVpEbHhjVUZBUWRDWVYyWWNVcVNuSDFBMDRLaFVMTHozUk1NQmhjNFVRV1JEL21EVTVnenVDa1VDajBaaHNPYThzeGNCSEZLa29WRkJRRVBSNVBXNzdoYy9VRHRtM2Z2djJBcEE5T2M4am1FOGNBdGpGdmNBSnpCaWQ1UEo1M2pUSFZwem1rcW52Mzd1ODZGZ2p0UXJHS1lsejlnSk1zeTJwMWxrNjNEMmdQNWcxT1lNN2dGSi9QMTJCWjFzclRITEt5dUxnNDRGZ2d0QXZGS29weDlRTk9hbWhvYVBXSGpJYUdoak8rcEFZNEc4d2JuTUNjd1Vtbksrc2VqNGNpSHdFb1ZsR01xeDl3VWxsWjJTZVNTayt4cStURVBxRERNRzl3QW5NR0p4MCtmUGdkU1VkT3NldklvVU9IMWp1ZEIyZVBZaFhsdVBvQmg1MXFwcGd6ZEJibURVNWd6dUNJOHZMeVk4YVkxYWZZVmNpYlVFY0dpbFdVNCtvSG5IU3FJaytCUjJkaDN1QUU1Z3hPYXVXQ09QTVdJU2hXVVk2ckgzQ1N6K2ZiS1dsSDQyUExzajdldG0zYkxoY2pJWW94YjNBQ2N3WW5XWmExVmxKZHMwMTFsbVc5N1ZZZW5CMktWUXpnNmdlY1pJeHBtcTAyM3BrU2FEZm1EVTVnenVBVW44OVhKMmxONDJQTHN2NXlZaHNpQU1VcUJuRDFBdzVyK3FHRDJ4SERBY3dibk1DY3dURVUrY2hGc1lvQlhQMkFrMHBMUzhzazdaWlVYbEpTOHBIYmVSRGRtRGM0Z1RtRGsrTGo0OTlxL0RneE1mR3QweDJMOEJMbmRnQTR3eGp6cG1WWkV5U3VmcURUR1VsdldwWmxUbndNZENibURVNWd6dUNZTFZ1MkhQRjZ2YXNsbVUyYk5oMTFPdy9ham1JVkkrTGo0OTlxYUdpUXhOVVBkRDZQeC9ObUlCRGdodzg0Z25tREU1Z3pPS3l4eUNPQ1dHNEhnSE84WG0raEpGTlNVakxlN1N3NHZheXNyQzJXWlgzVDdSeXh5aGhUWEZwYU9zcnRIRTVpNXR3Vkt6UEhuTGtyVnVaTVl0YmNGa3V6MWh3clZyR0ZxeDhSZ244TTNHVlpWcTdiR1p6R3pMa3JWbWFPT1hOWHJNeVp4S3k1TFpabXJUbUsxVm1LOUNzZ3hoaDV2ZDVYM003UlhyRjJCY1RuODdrZEllWmtaMmU3SGNGVnpKenpZbkhtbURQbnhlS2NTY3lhRzJKMTFpVHVDbmpXSXJsVVJZTll2UUlDQUFDQThNYUtWVHR4QmNSNXNYd0ZCQUFBQU9HTkZTc0FBQUFBc0lsaUJRQUFBQUEyVWF3QUFBQUF3Q2FLRlFBQUFBRFlSTEVDQUFBQUFKc29WZ0FBQUFCZ0U4VUtBQUFBQUd5aVdBRUFBQUNBVFJRckFBQUFBTENKWWdVQUFBQUFObEdzZ0Jpd2FORWlyVnk1c3NVMlk0d2VmUEJCYmRteTVZelBQM3IwcUI1KytPSE9pb2NveE15aHN6RmpjQm96aHpPaFdBRXhvS3lzVEJkZmZIR0xiWFBtek5HRkYxNm9OOTU0UTU5OTlsbUxmWDYvLzZUSDY5ZXZQKzB4cDlQUTBLQng0OFlwRkFycHR0dHVVMlZscFQ3NjZDTmxaMmNyT3p0Ync0WU4wOVNwVTdWMzc5NFd6NXM1YzZaZWUrMDFMVm15Ukk4Ly9uaWIvM3R3WHpqT1hQTjlpeGN2MXBRcFV6Uml4QWhkY2NVVnlzdkwwODZkT3lVeGQ1RWlIR2VzK2ZlMW9VT0hhdFNvVWJybm5udFVWRlIwMHZPWnM4Z1Q3alBYK0dmU3BFbE56MkhPbkVXeEFxTFkwcVZMTlduU0pHM2R1bFZQUGZXVUprMmFwR0F3cUZtelpxbTJ0bGFQUFBLSTdyLy9mczJZTVVONzl1eHBlbDVPVG80T0hUcDAybk8zNVpoR216ZHZWa1pHaGlvckszWG8wQ0gxN3QyN2FkL0dqUnUxWWNNR3BhYW02dWMvLzNtTDUvbDhQbDE5OWRYYXRtMmJ2dnZkNzU3Rlp3NjNoUHZNMWRmWDY2Njc3bEpSVVpFZWZQQkJGUmNYcTZpb1NJOCsrcWk2ZHUwcWlia0xkK0UrWTlMeDcydGJ0MjdWOHVYTGRlT05OK3FsbDE3U2swOCtxVkFvMUhRTWN4WTVJbVhtZkQ2ZmZENmZsaTFiMXJTZE9YTlduTnNCY0h4cHVWZXZYcnJoaGh1YXRobGo5TkJERDJuaXhJa2FQbno0YVo5LzlPaFJQZlBNTTNydXVlYzZPeW9pek9USmt6VjQ4R0F0WExoUXYvNzFyN1YvLzM3ZGZ2dnRxcSt2YjlvdlNkWFYxWHI4OGNkMTAwMDNLVDgvdjhOekZCVVZhZGl3WVNvcUt0TFFvVU5QMm4vKytlZHJ3b1FKdXVlZWV4UUtoZVR4ZUZSWldhbGV2WG9wSlNWRmUvYnMwUlZYWE5IaHVkRHh3bjNtNXMyYnAyUEhqdW5sbDE5V2ZIeThKQ2srUHI3cCt5eHpGLzdDZmNZYVdaYWw1T1JrWFhQTk5icmlpaXQweXkyM2FObXlaWm84ZVRKekZtRWlaZWErakRsekhzVXFESlNWbGVuT08rOXNzYTM1MG5KNmVycDY5ZXJWdE0vdjl6ZjlRTkQ0K0ZSTHk4MlBPWjJHaGdibDVlVnAxYXBWbWpadG1uNzFxMStwZCsvZTJyaHhvKzYvLzM0OThNQUQrdDczdnRkMC9NeVpNOVcvZjMvRnhjVnB4NDRkZXZiWlo5dnphY01oNzc3N3JrYU5HcVg4L0h6Tm1UTkgxMTU3Yll1L3owWVZGUlZxYUdqb2xBeFBQdm5rR1kvNTczLy9xMTY5ZXNuak9iNlEzcnQzYjczODhzdVNwRC8vK2MrZGtndWRJMXhuTGhBSWFPWEtsWHJtbVdkYS9mN0kzRVdHY0oyeDFpUWxKZW1XVzI3Um0yKytxY21USnpObkVTalNaazdpKzVrYktGWXVXcnAwcVpZdlg2NS8vZXRmMnI5L3YrTGk0dlNuUC8xSnp6MzNuQUtCZ0I1NzdERlZWbFpxeG93Wit0blBmcWIwOUhSSng1ZU4xNjlmcndzdXVLRFZjN2ZsbUVhdExTMFhGaGFxVDU4K0tpd3NiUEhOdytmejZlNjc3OWJ6enordnZMdzhtMThGZExZTkd6Wm8wYUpGZXUyMTE5UzNiMS9ObmoxYmhZV0ZrcVN2ZmUxclNrOVAxOTEzMzYzWnMyZnJ4UmRmYkhyZW1ERmpUanBYVGs1T3AyU3NycTdXNHNXTE5YWHExRTQ1UDV3VnJqTzNiOTgrMWRYVmFmRGd3UjEyVHJnalhHZnNkQzY1NUJMdDNidTNhVlVla1NVU1p3N09vMWk1S0p5WGxvOGNPYUsvL3ZXdm1qTm5qdTY3N3o3dDJyVkxtWm1aTEN0SG1PcnFhdTNidDArMzMzNjdQdjMwVStYbjV5c3VMcTdwOWRlVEprM1MzcjE3ZGZmZGQ2dWlvcUxwZVQ2ZnI4VjVxcXFxZE0wMTEyano1czFOMjdLenN6c2s0NVZYWGlsSlNrdExVMUpTRWo5MFJMaHducm5HcThoeGNmelRGOG5DZWNaT0p4QUlxRXVYTG54L2kwQ1JNSE9OLzVaSzBwUXBVL1RnZ3c5MnlIbHhkdmpYeFdYaHVyUzhaczBhOWV2WFR6azVPUm8yYkpnS0N3dVZtWm5Kc25LRTZkR2pSOU10WVBQejg3VjgrWEtOSHovK2pDdERiWGtwcWMvbk82dTdHYlZtNDhhTjZ0cTFxeW9yS3pWMzdseXRYNzllczJmUHRuMWV1Q09jWjY1Mzc5NnlMRXZsNWVXZCtnTTBPbGM0ejlqcGZQVFJSeG93WUVDbm5CdWRLeEptYnVQR2pVcE1UTFI5SHRqRFpST1hiZGl3UWFOR2paSWs5ZTNiVng5ODhJR21USm1pS1ZPbTZPR0hIOWFDQlFza1NiTm56MVpHUmtiVDg4YU1HYU9jbkJ6bDVPUm8zTGh4a3RUMHVDT1dtQXNMQ3pWMjdGaEowdGl4WTdWMjdWb0ZBZ0hiNTRXN2FtdHJsWkNRb0ZkZmZWV3Z2dnBxcThlMTVTNUZodzRkNnJDWE0xaVdwYTk4NVN1NitlYWI5ZTY3NzdhNGN4WWlXempOWEZKU2tvWVBIMzdhSElnODRUUmpyZm5zczgvMCt1dXZhOHFVS1IxK2JqZ3ZFbVlPN21ERnlrWGh1clM4ZS9kdTdkcTFTM1BuenBVa2pSNDlXck5temRKNzc3Mm4zTnpjZHA4WHp2dnd3dysxZlBseWZmNzU1enB3NElDbVRadW13NGNQNjQ0NzduQTdXZ3ZHR0gzNjZhZjZ3eC8rb01zdnY1eVh5a1N3Y0orNVJ4NTVSTGZmZnJzZWZ2aGhUWjgrWGYzNjlWTnRiYTE4UHAvUzB0TFV2MzkvdHlQaURNSjl4aG9aWTFSVFU2TVBQdmhBOCtmUDE5aXhZN25kZFlTS2xKbUQreWhXTGdyWHBlVlZxMWJKR0tNSkV5WTBiVHQyN0pnS0N3c3BWaEhtOHNzdjE2V1hYcXFrcENUZGROTk5LaWdvMEtSSmsvVDczLzllMHZIeTN2ejlMdHpRK0xyd3BLUWtqUnc1OHFUM3NrSmtDZmVaUzB0TDB4Ly8rRWN0WExoUTk5NTdyNnFxcXRTMWExZGRldW1sekY2RUNQY1prNDUvWDdNc1MwbEpTUm8wYUpBZWUrd3hqUmd4d3RWTWFMOUltYm5taW91TDFhMWJONWZTeEM2S1ZSaHB2clFzcWNVN1p6ZlhsanYrSFRwMFNGZGRkZFZKcTF0bkVnd0d0V2JOR2ozd3dBUDY5cmUvM2JTOXJLeE1NMmZPVkUxTmpaS1RrOC9xbkhEUHVlZWVxM1BQUGZlazdjRmdVUFgxOVVwSVNGQkZSWVU4SGsvVFRWTWFkZmFkakFZUEhuelc4NG53Rjg0ejF5ZzFOVlZQUFBGRWg1OFh6Z2puR2VQN1duUmk1dEJXRkNzWGhlUFM4dnZ2djYvRGh3OXIzTGh4TGE1MHBLU2s2SVVYWHRDYU5XdE9lWE1OaEwvcnJydE9ralIrL0hpVmw1ZXJ0TFJVVHp6eGhKWXNXYUlkTzNhMHVIVitXNzVKTjVaM29EWE1IRG9iTXdhbk1YTkFCL0o2dmNicjlacU9VRjlmYjJwcWFrd3dHRFI1ZVhuR0dHTW1UcHpZdEwvNXgrUEhqMi82Mk92MW1wcWFtcWJIbjMvKytVbVphbXBxMnBYem9ZY2VNai81eVU5T3VXL1dyRmxtOHVUSlozM09qdEw0dFhkN0JwelFrWE9Hc3hOTGM5WWNNK2VlV0pvNTVzdzlzVFJuRXJQbXBsaWJ0ZVpZc1hKUk9DNHRQL2ZjYzYzdWUvVFJSMjJmSHdBQUFJaEdGS3N3d2RJeUFBQUFFTGtvVm1IaUJ6LzRnU1RwMWx0dmxTUmxabVpLa21iTW1OR3U4MTF3d1FYOE1pTUFBQURnRU40c0JnQUFBQUJzb2xnQkFBQUFnRTBVS3dBQUFBQ3dpV0lGQUFBQUFEWlJyQUFBQUFEQUpvb1ZBQUFBQU5oRXNRSUFBQUFBbXloV0FBQUFBR0FUeFFvQUFBQUFiSXB6T3dDQTFtVm5aN3NkQVRHR21ZTVRtRE00aFZtRGsxaXhBc0tRTWFiWTdReXhMQmEvL3JINE9ZZVRXUG42eDhybkdhNWk2ZXNmUzU5ck9JclZyNy9sZG9CSTQvVjZqZHNaWWwxSlNRbHpHK1lhL3ovaDd3cE9ZTjdnQksvWHUwRFNYY2FZSDVXV2xpNXdPdytpMTdCaHcxS0R3V0NsTWVZL3BhV2xxVzduUWR1eFluV1dZcldCaHd1Ky9nQUFBQWhIL0k3VldTb3RMUjNsZG9iMjRxb3VBQUFBMERsWXNRSUFBQUFBbXloV0FBQUFBR0FUeFFvQUFBQUFiS0pZQVFBQUFJQk5GQ3NBQUFBQXNJbGlCUUFBQUFBMlVhd0FBQUFBd0NhS0ZRQUFBQURZUkxFQ0FBQUFBSnNvVmdBQUFBQmdFOFVLQUFBQUFHeWlXQUVBQUFDQVRSUXJBQUFBQUxDSllnVUFBQUFBTmxHc0FBQUFBTUFtaWhVQUFBQUEyRVN4QWdBQUFBQ2JLRllBQUFBQVlCUEZDZ0FBQUFCc29sZ0JBQUFBZ0UwVUt3QUFBQUN3aVdJRkFBQUFBRFpSckFBQUFBREFKc3Z0QUhDTzErczFibWNBZ001aWpOa2tLZUIyRGtRbnk3SytmZUxEdHlSdGN6TUxvbDZxcEx1TU1mOHBMUzFOZFRzTTJpN083UUJ3ampHbTJMS3NYTGR6QUVCbnNDeHJwTnNaRUJQR252Z0RkQ3FQeDlQZ2RnYWNIVmFzQUhTNHJLeXM3MWlXOVMyM2N5Qm16SlFrWTh3QlNlVXVaMEYwcTVQME44dXkvRzRIUWZRenhyeGRXbHE2MmUwY2FEdUtGUUFnb2pWN21mTlRKU1VsVDdxWkJRQVF1N2g1QlFBQUFBRFlSTEVDQUFBQUFKc29WZ0FBQUFCZ0U4VUtBQUFBQUd5aVdBRUFBQUNBVGR3VkVBQVFNUVlOR2pTa2E5ZXV6eGxqbWk0TWhrS2hxeVhKNC9Ic2tiUzdjWHN3R0h5MnRMVDByeTdFQkFERUlONGdHQUFRTWJwMjdkb3JHQXgrOTFUN1FxRlF1cVQweHNjZWo2ZE9Fc1VLQU9BSVhnb0lBSWdZVzdkdVhTL0puUEZBU1pabHplM2tPQUFBTktGWUFRQWl6WjQySEJQczE2L2Z4azVQQWdEQUNSUXJBRUJFQ1FhRDk1L3BHR1BNdW9LQ2dxQVRlUUFBa0NoV0FJQUlzMzM3OXRVNnc4c0JQUjdQSElmaUFBQWdpV0lGQUloQWxtVWRPTTN1a0tRTlRtVUJBRUNpV0FFQUlwRGY3MyswdFgzQllIQ1R6K2RyY0RJUEFBQVVLd0JBeFBub280LythTXlwWHczWXBVdVg1eDJPQXdBQXhRb0FFTEgrYzRwdEppa3BhWjNqU1FBQU1ZOWlCUUNJU0pabFBmUGxiUjZQeDFkY1hGenZSaDRBUUd5aldBRUFJbEpKU2NuOEwyOExCb08vY2lNTEFBQVVLd0JBSkt0cS9pQVlESzV4S3dnQUlMWlJyQUFBRWNzWU03Zlp4OGZLeXNwcTNjd0RBSWhkRkNzQVFNUXFMUzJkMWV6aGROZUNBQUJpSHNVS0FCREpncElPU3pJZWoyZWwyMkVBQUxITGNqc0FBQ0M4NWVibXhoMDVjdVJteTdJbVNzbzJ4dlNTZEs3YnVTTEFNY3V5UHBQa2s3U3NXN2R1eTRxTGl3TnVod0lBZEE2S0ZRQ2dOWmJYNjUwdTZWRkpGN3VjSlJyc2xUU3JwS1RrdDVKTy9lN0dBSUNJUmJFQ0FKd2tJeVBqM0tTa3BFV1NicFdrek14TVRadzRVUmtaR1VwTFMxUDM3dDFkVGhqK0RoOCtySDM3OXFtOHZGd0ZCUVhhdFd0WDQ2N0ZSNDRjK1dGNWVma3hOL01CQURvV3hRb0EwRUoyZG5haU1XYXRwQ3N2dlBCQ3padzVVeU5HakpCbDhVOUdleGxqOVA3NzcrdXBwNTVTVlZXVkpHMjBMT3Rhbjg5WDUzWTJBRURINE9ZVkFJQVdRcUhRcnlWZDJiOS9mNzMyMm1zYU9YSWtwY29teTdJMGN1Ukl2ZnJxcStyZnY3OGtYZG44VnZFQWdNakh2NVFBZ0NiWjJkbmZNOGI4c1dmUG5scTZkS21TazVQZGpoUjFhbXBxZFBQTk42dXFxa3JHbU8rVmxwYit5ZTFNQUFEN1dMRUNBRWlTUm80YzJjMFlNOCt5TEQzOTlOT1VxazZTbkp5c1o1NTVScEprV2RiOGtTTkhkbk01RWdDZ0ExQ3NBQUNTcFByNitoOUxTcjcrK3VzMWZQaHd0K05FdGVIRGgrdjY2NitYcE9TNnVycDczTTREQUxDUFlnVUEwSkFoUTg0enhqeGdXWmFtVFp2bWRweVlNRzNhTkZtV0pjdXlIaGd5Wk1oNWJ1Y0JBTmhEc1FJQUtDNHU3a1pKUFhOemM5VzNiMSszNDhTRWl5KytXTG01dVpMVTY1eHp6cm5CNVRnQUFKc29WZ0FBU2NxVHBHdXZ2ZGJ0SERHbDJkYzd6ODBjQUFEN0tGWUFFT055Y25LNlNob1RGeGVubkp3Y3QrUEVsSnljSEhYcDBrWEdtREVuL2g0QUFCR0tZZ1VBTWM3djkxOGhLVEVySzB2bm5jZXYrampwdlBQT1UxWldsaVNkMTlEUXdCMURBQ0NDVWF3QUFFTWthY0NBQVc3bmFHSDkrdldhUDMvK1Nkdno4L01WQ29YYWRJNUlXSUZyL0xvYlk0YTRIQVVBWUVPYzJ3RUFBTzVxL0lFK1BUM2Q3U2hOakRGYXRHaVJIbnJvb1pQMlZWUlV5QmpUWXR1WU1XTk9lUjYvMzMvS2ZVODk5WlMrK2MxdmRreFltNXA5M1NsV0FCREJLRllBZ0lHUzFLOWZQN2R6TkhucnJiZVVucDZ1YjN6akc5cTdkNi91dU9PT0Z2dXZ2dnJxRm8rTGlvcE9lWjZjbkJ5dFdiT20wM0oyaE1aaVpZd1o2SElVQUlBTkZDc0FRRTlKNnRHamg5czVKRW1IRGgzU3l5Ky9ySVVMRjJyeDRzWGFzV05IaStLVW5aMnRkZXZXcVV1WExpNm03RGpKeWNtTkgvWjBNd2NBd0I2S0ZRQ2d1NlN3dVhIRjZ0V3JkZkRnUWQxNTU1MDZmUGl3bGk1ZDJxYm41ZVRrNktLTExtcXhyYUdoUVRmYzhMOXZFWFhnd0FGdDI3YXRRL1BhMWV6cjN0M05IQUFBZXloV0FJQWtTVXBNVEhRN2h5UnB3b1FKdXVHR0cvVG9vNC9xKzkvL3ZsSlNValI2OU9nV3h6Ui9LZUQ4K2ZQMTlhOS9YWkswY3VYS0ZzZmw1T1MwMkJhT043T2dXQUZBZEtCWUFRRENTdGV1WFZWUVVLQnp6amxIRXlaTWtOVDY3MUFCQUJBdUtGWUFnQ09TZXRiVjFTaytQdDd0TE5xelo0OW16NTZ0ckt3czNYYmJiVXBNVE5TQ0JRdGF2Zk5mODV0VGpCczNydW5qSTBlT3lPLzM2NnFycmxMWHJzZmZlOWZ2OTNkdStIYW9yYTF0L1BDd216a0FBUFpRckFBQWh5WDFySzJ0MVFVWFhPQjJGcDEvL3ZtNjlkWmJsWjZlcnZUMGRQWHQyMWVTZFBEZ1FmbDh2aGJIRGhzMnJPbmpGMTU0UVNOSGpwUWt2ZmZlZTFxNGNLSCs4WTkvS0NNalEwOC8vYlJTVWxLMGFkTW01ejZSTnFKWUFVQjA0QTJDQVFDZlMxSjFkYlhiT1NSSkYxMTBrZTY5OTE1ZGQ5MTFTazlQMXovLytjODJQVy9reUpHcXE2dlRyRm16dEdUSkVyMzAwa3VLaTR2VEk0ODhvcC8rOUtkNjk5MTNtNHBYT0ttcHFXbjg4SE0zY3dBQTdLRllBUUErbHFSUFB2bkU3UnlTanI4VThIZS8rNTN1dWVjZWpSNDlXblBuemozamMveCt2OTU0NHcxTm1USkZhV2xwbWo5L3ZycDNQMzR2aVBUMGRMMzQ0b3Rhc21TSjdydnZQcFdWbFhYMnAzQlc5dXpaSTBteUxPdGpsNk1BQUd6Z3BZQUFFT01zeXlvenhqVDlnTysyaW9vS1ZWZFg2K2FiYjlZdmYvbExKU1VsTmUzNzh1OVpoVUloQlFJQjNYYmJiUm84ZUxBV0xWcWtYcjE2blhUT25qMTdhc0dDQlZxOWVyV2VmUEpKUGYvODgrcmZ2MytuZnk1dDBlenJIbDZORHdBQUFFRGJaV2Ruai9KNnZlYXV1KzR5NGV5RER6NDRhZHVISDM1b2pESEc3L2VmOGprdnZ2aGlwMmJxQ05PblR6ZGVyOWNNSFRvMDErMVpBQUMwbitWMkFBQ0F1M0p5Y3JvZU8zYnNzN2k0dVBPS2lvckM1bzJDWTBGdGJhMUdqUnFsWURCWW01U1UxTE80dUxqZTdVd0FnUGJoZDZ3QUlNWnQzcno1QzBsckE0R0FObS9lN0hhY21MSjU4MllGZzBGWmxyV0dVZ1VBa1kxaUJRQ1FwQldTdEhidFdyZHp4SlJtWCs4VmJ1WUFBTmhIc1FJQUtCQUkvRm5TNThYRnhhcW9xSEE3VGt6WXUzZXZpb3VMSmVtemhvYUdsUzdIQVFEWVJMRUNBS2lzckt6V3Nxelp4aGk5OHNvcmJzZUpDYSs4OG9xTU1UTEd6QzRySzZzOTh6TUFBT0dNWWdVQWtDUWxKQ1RNbDFTemF0VXFiZG15eGUwNFVXM0xsaTBxTEN5VXBKckV4TVQvNTNZZUFJQjkzQlVRQU5Ba0t5dHJpbVZaU3k2ODhFSzkvdnJyU2s1T2RqdFMxS211cnRia3laTlZWVlVsWTh5VTB0TFNwVzVuQWdEWTE4WHRBQUNBOFBIdmYvLzc3Nm1wcVgyKytPSUw3NlpObS9TdGIzMUwzYnAxY3p0VzFLaXNyTlNQZi94amZmcnBwNUwwMjlMUzBsbHVad0lBZEF4ZUNnZ0FhTUhqOGZ3ZlNSdDM3OTZ0cVZPbmF0T21UVExHdUIwcm9obGp0R25USmsyZE9sVjc5dXlScEkyV1pkM3ZkaTRBUU1maHBZQUFnSk5rWkdTY201U1V0RWpTclpLVW1abXBpUk1ucW4vLy91cmJ0Nis2ZCsvdWNzTHdkL2p3WVZWVVZHajM3dDBxS0NqUXJsMjdHbmN0UG5Ma3lBL0x5OHVQdVprUEFOQ3hLRllBZ05aWVhxLzNoNUptU0xyWTVTelJZSytrV1NVbEpiK1Z4QklnQUVRWmloVUE0TFJ5YzNQampoNDlPc2tZTTFGU3RxUmVraEpjamhVSjZpVjlKc2xuV1ZaQnQyN2RsaFVYRndmY0RnVUFBQUFBQUFBQUFBQUFBQUFBQUFBQUFBQUFBQUFBQUFBQUFBQUFBQUFBQUFBQUFBQUFBQUFBQUFBQUFBQUFBQUFBQUFBQUFBQUFBQUFBQUFBQUFBQUFBQUFBQUFBQUFBQUFBQUFBQUFBQUFBQUFBQUFBQUFBQUFBQUFFMTVWT1FBQUFOMUpSRUZV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zT0gvQS9NZG1odHAvYXpqQUFBQUFFbEZUa1N1UW1DQyIsCiAgICJUeXBlIiA6ICJmbG93IiwKICAgIlZlcnNpb24iIDogIiIKfQo="/>
    </extobj>
    <extobj name="ECB019B1-382A-4266-B25C-5B523AA43C14-5">
      <extobjdata type="ECB019B1-382A-4266-B25C-5B523AA43C14" data="ewogICAiRmlsZUlkIiA6ICI4NTAzMjc3NDA0NSIsCiAgICJHcm91cElkIiA6ICI0OTg2Mjc1MzQiLAogICAiSW1hZ2UiIDogImlWQk9SdzBLR2dvQUFBQU5TVWhFVWdBQUE3b0FBQVh6Q0FZQUFBRDZnMFh6QUFBQUNYQklXWE1BQUFzVEFBQUxFd0VBbXB3WUFBQWdBRWxFUVZSNG5PemRlMWhWWmQ3LzhjL2FuQlJUSkMxOU1yWEVVc2ZHWkcwcnlSa2xJL0tRbFJCbHpsU1dodzVtalpZZEpyTXB4OHBmMmpSTlRhV2xhYVVsSTFybUVaMUhPMmhOQVlubnhHTWVRMVR3QVRudSsvZUg3ajJnZ0tEQWhzMzdkVjFjd2IzdXRkYVhyYzl6emNmN3UrNGxBU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0FhbUo1dXdCZkVoa1o2WitWbFhXWFpWbHhrcHpHbUlza0JYbTdyam9nejdLc2RFbEprdVkyYnR4NDdxcFZxd3E5WFJRQUFBQ0F1b21nV3pVczI3WkhTSHBHMG1WZXJzVVg3SkwwU25KeThqUkp4c3UxQUFBQUFLaGpDTHJucVgzNzlrRk5talI1WDlJZkphbERodzZLaTR0VCsvYnQxYVpORzRXRWhIaTV3dG92TXpOVGUvYnNVVnBhbXVMajQ3VjE2MWIzb1kreXNyS0dwNldsNVhtelBnQUFBQUIxQzBIM1BEaWR6bUJqekZKSnYyL1dySmxlZU9FRlhYLzk5YklzUHRaelpZelJtalZyOU9LTEx5b2pJME9TdnJZc3EwOVNVbEtPdDJzREFBQUFVRGM0dkYxQVhlWnl1ZjR1NmZkaFlXR2FOV3VXZXZUb1FjZzlUNVpscVVlUEhwbzVjNmJDd3NJazZmZkdtRGU4WFJjQUFBQ0F1b05VZG82Y1R1ZGdZOHduelpzMzE2ZWZmcXJRMEZCdmwrUnpqaDQ5cXJ2dXVrc1pHUmt5eGd4T1NVbVo0KzJhQUFBQUFOUityT2llZ3g0OWVqUTJ4cnhsV1paZWV1a2xRbTQxQ1EwTjFZUUpFeVJKbG1XOTNhTkhqOFplTGdrQUFBQkFIVURRUFFlNXVia2pKWVVPR0RCQTExMTNuYmZMOFduWFhYZWRCZ3dZSUVtaE9UazVqM2k3SGdBQUFBQzFIMEcza3JwMDZkTElHUE9FWlZrYU1tU0l0OHVwRjRZTUdTTExzbVJaMWhOZHVuUnA1TzE2QUFBQUFOUnVCTjFLOHZmM3YxMVM4OGpJU0xWdDI5YmI1ZFFMbDExMm1TSWpJeVhwb29DQWdOdThYQTRBQUFDQVdvNmdXM2tESmFsUG56N2VycU5lS2ZaNUQvUm1IUUFBQUFCcVA0SnVKVVJFUkRTVTFOZmYzMThSRVJIZUxxZGVpWWlJa0orZm40d3hmVS85T1FBQUFBQkFxUWk2bFpDZm45OWRVbkI0ZUxnYU5hcmJqNG9lTzNaTVdWbFpwUjdidTNldkNnb0thcmlpOGpWcTFFamg0ZUdTMUtpZ29JQWR3QUFBQUFDVXlkL2JCZFF4WFNTcFk4ZU9YaTJpc0xCUWUvZnVyZlI1bDExMm1lZjdqei8rV0wvODhvc21UWnBVWWs1T1RvNkdEQm1pQng5OFVIRnhjZWRiYXBYcTJMR2pmdnp4UnhsanVraGE1ZTE2QUFBQUFOUk9CTjFLT0JXdzFLNWRPNi9XY2VEQUFjWEd4bGI2dktTa0pNLzNlL2Z1TFJGODNXYk9uS21XTFZ0NnJyOS8vMzVkY3NrbDUxeHJWU3IydVhmeFpoMEFBQUFBNEROczIvN090bTJUbXBwcWFvdWRPM2NhMjdaTlhsNWVxZU9ueTg3T05vY1BIelp4Y1hGbTd0eTU1dkRodytidzRjUEdHR04yNzk1dGZ2ZTczNWt0VzdZWVk0elp0bTJidWVHR0c4eUJBd2VxL3hlcGdOVFVWR1BidHJGdGU2MjMveTRBQUFBQXFMMTRScmR5bWt2U2hSZGU2TzA2enRrLy8vbFBSVWRIYS92MjdYcjExVmNWSFIydDZPaG9GUllXNm9VWFh0Qzk5OTZyRGgwNlNKTGF0Mit2Mk5oWXZmamlpMTZ1K3FUUTBGRDN0ODI5V1FjQUFBQ0EybzNXNWNvSmtWU25ONko2OHNrbk5YRGdRQTBaTWtTclY2L1c5dTNiTldMRUNFMllNRUdwcWFuS3lzclNnZ1VMbEoyZHJlenNiRGtjSi84dFpNbVNKZXJidDY5WGF5LzJ1WWQ0c3c0QUFBQUF0UnRCdDNLYVNGSndjTEMzNnpndjY5ZXYxOVZYWHkySHc2RURCdzdva2tzdTBjMDMzNnpmL3ZhM2F0bXlwVUpEUTNYaGhSY3FKQ1JFd2NIQmlvK1AxN3Z2dnF1YmI3N1pFM3k5Z2FBTEFBQUFvQ0lJdW5XUTArazhZNnlzOS9vV24vdnNzOC9xamp2dVVFcEtpcnAzN3k1SjJySmxpenAwNktEcnI3Kyt6UHZkZHR0dGlvcUs4bXJJQlFBQUFJQ0tJdWhXVHBhazVqazVPUW9NRFBSYUVmUG16Zk44djN2M2JvMFpNMGJ4OGZFbGd1aStmZnYwMkdPUGxaamJyRmt6U2RJUFAveWdIajE2U0pLKy9mWmJ4Y1hGNmRDaFErclhyMStaOXl5K1k3TzNaR2RudTcvTjlHWWRBQUFBQUdvM2dtN2xaRXBxbnAyZHJhWk5tM3F0aU9LdkJjckl5RkJ3Y0hDWnJ6d3E3UlZDRHozMGtQN3lsNzlveDQ0ZCt2bm5uOVd6WjArZE9IRkNrclIyYmNrTmpROGNPS0NZbUpncXEvMThFSFFCQUFBQVZBUkJ0M0lPU3dvN2N1U0lXclZxNWUxYUpFazdkKzZzOUh0dWI3MzFWaGxqTkdIQ0JQWHMyVk5ObWpUeEJOM1RWNm9EQWdLcXJOYnpkZlRvVWZlM2g3MVpCd0FBQUlEYWpZY3VLMmVqZERKYzFoYkxseTlYMTY1ZEszMWU4K2JORlJBUW9LKy8vbHJ6NTgrdmhzcXEzbzRkT3lSSmxtVnQ5SElwQUFBQUFHb3hnbTRsV0phVkt2MDNjSG5iekpremxaS1Nvcmk0dUVxZHQydlhMbzBmUDE0VEowN1V5SkVqOWZMTEwydjM3dDNWVkdYVktmYTVwM3F6RGdBQUFBQzFHNjNMbFpNcW5keXAySnV5czdQMXhodHZhUDc4K1JvN2RxemF0MjlmNFhPM2J0MnFKNTU0UWs4Ly9iUjY5KzR0U2JycXFxdlV1blZyU2FYdjZGeGJ1RDkzOXo4NEFBQUFBRUJwQ0xxVkVCZ1krRjFlWGw1MlNrcEtvK3pzN09MdmRhMVJzMmJOMHJKbHkvVHl5eThyT2pxNlV1YzJidHhZa3laTlV1Zk9uVDFqM2JwMVUxWldsbTYvL1hZOS8venpKZVpuWm1icTdiZmZycEs2ejBkMmRyWlNVbElrS2Z1Q0N5NzR6dHYxQUFBQUFJRFBzRzM3WDdadG04VEVST010UlVWRjV2RGh3K1hPS1N3c05BY1BIcXloaXFwZlltS2lzVzNiT0ozT2VHLy9IUUFBQUFCUXUvR01idVhObDZTbFM1ZDZyUUNIdytGNUoyNVovUHo4MUtKRml4cXFxUG9WKzd6cnhzNVpBQUFBQUx5R29GdEpoWVdGQ3lRZFhyVnFWWjNZd01rWDdOcTFTNnRXclpLazlJS0Nncys5WEE0QUFBQ0FXbzZnVzBtcHFhblpsbVZOTWNib3d3OC85SFk1OWNLSEgzNG9ZNHlNTVZOU1UxT3p2VjBQQUFBQWdOcU5vSHNPR2pSbzhMYWtvMTk4OFlXKy8vNTdiNWZqMDc3Ly9uc3RYTGhRa280R0J3Zi8wOXYxQUFBQUFLajlMRzhYVUZlRmg0ZmZiVm5XN0diTm11bXp6ejVUYUdpb3QwdnlPVWVPSE5HZ1FZT1VrWkVoWTh6ZEtTa3BuM3E3SmdBQUFBQzFuNSszQzZpckRoNDh1S0ZseTVhWG5qaHh3djcyMjIvMXU5LzlUbzBiTi9aMldUN2p3SUVER2pseXBQYnYzeTlKMDFKU1VsN3hkazBBQUFBQTZnWmFsOCtEdytGNFhOTFgyN2R2MTMzMzNhZHZ2LzFXeGhodmwxV25HV1AwN2JmZjZyNzc3dE9PSFRzazZXdkxzdjdrN2JvQUFBQUExQjIwTHArbjl1M2JCelZwMHVSOVNYK1VwQTRkT2lndUxrNWhZV0ZxMjdhdFFrSkN2RnhoN1plWm1hbmR1M2RyKy9idGlvK1AxOWF0VzkySFBzckt5aHFlbHBhVzU4MzZBQUFBQU5RdEJOMnFZZG0yUFZ6U3M1SXU4M0l0dm1DWHBGZVNrNU9uU1dLSkhBQUFBRUNsRUhTclVHUmtwUC94NDhmdk5NYkVTWEpLdWtoU0F5K1hWUmZrU2txWGxHUlpWbnpqeG8zbnJscTFxdERiUlFFQUFBQUFham5idG8xdDI2eVFBZ0FBQVBCcGJFWUZBQUFBQVBBcEJGMEFBQUFBZ0U4aDZBSUFBQUFBZkFwQkZ3QUFBQURnVXdpNkFBQUFBQUNmUXRBRkFBQUFBUGdVZ2k0QUFBQUF3S2NRZEFFQUFBQUFQc1h5ZGdHb0hsMjZkTG5VMzk5LzNHbkRENTc2NzN2RkJ3c0xDLythbXBxNnQyWXFBd0FBQUlEcVJkRDFVWEZ4Y1g1cGFXbjdMTXRxVWQ0OFk4eWg5dTNidDRxUGp5K3FxZG9BQUFBQW9EcjVlYnNBVkk5Tm16YVpWcTFhaFVucWRwYXBINjFjdWZMTG1xZ0pBQUFBQUdvQ3orajZNSmZMTmE4QzB5b3lCd0FBQUFEcURJS3VEM000SEt1Tk1VZkttWklSRWhLeXVzWUtBZ0FBQUlBYVFORDFZVWxKU1FXV1pYMWV6cFRQVjYxYVZWaGpCUUVBQUFCQURTRG8rampMc3Nwc1RYWTRITFF0QXdBQUFQQTVCRjBmbDVtWnVVSlNWaW1Ic280ZE83YXlwdXNCQUFBQWdPcEcwUFZ4YVdscGVjYVkwblpWWHBpV2xwWlg0d1VCQUFBQVFEVWo2TllEWmJRdjA3WU1BQUFBd0NjUmRPc0J5N0tXU3NvcE5wUmpXZFl5YjlVREFBQUFBTldKb0ZzUEpDVWw1VWhhNHY3WnNxekZwOFlBQUFBQXdPY1FkT3NKWTR5blZkbmxjdEcyREFBQUFNQm5FWFRyaWNEQXdFWHU3NE9EZ3hlVk54Y0FBQUFBZ0RyQnR1MkZ0bTEvNGUwNkFBQUFBS0E2K1h1N0FOU29lWlpsR1c4WEFRQUFBQURWeWZKMkFUWE50dTJuSkUzeWRoMm9HNHd4cTFKU1VtN3dkaDBBQUFBQUtxNitQYU5yU1hyVTIwV2c3ckFzSzlMYk5RQUFBQUNvbkhyVnVtemI5bldTV3JkbzBVS0xGaTJTWmRXN0JXMVUwSlFwVXpSNzlteEorcHUzYXdFQUFBQlFPZlZxUmRleXJEaEp1dW1tbXdpNUtKUEw1ZEtLRlNza1NjYVllQytYQXdBQUFLQ1M2bFBRdFl3eGNaSVVGUlhsN1ZwUWk2MWZ2MTYvL3ZxckxNdmFtNUtTOHIyMzZ3RUFBQUJRT2ZVbTZCWnZXNzdxcXF1OFhRNXFzZE5XYzEzZXJRWUFBQUJBWmRXYm9FdmJNaXFDdG1VQUFBQ2c3cXN2UWRkQjJ6SXF3dDIyTE9rWDJwWUJBQUNBdXFsZUJGM2J0cThWYmN1b0FQZHFycVIvaWJabEFBQUFvRTZxRjBHWHRtVlVCRzNMQUFBQWdHK29EMEdYdG1WVUNHM0xBQUFBZ0cvdythQkwyeklxaXJabEFBQUF3RGY0Zk5DVmRLZDBjaldYdG1XVXhlVnlhZVhLbGU0ZjUzcXpGZ0FBQUFEbng5ZURya1BTSGRMSjUzT0JzcXhmdjE2SERoMlNwRitTazVOcFd3WUFBQURxTUo4T3VsWFJ0cHlhbXFyLy9PYy9wUjVidjM2OVB2amdBN2xjWis5eU5jWW9QVDI5UXZmTXpjM1ZtMisrcWJ5OHZFclZXbHg2ZXJxU2twTE9HSGU1WFBybW0yK1VtWmxaN3ZsRlJVWGF2bjM3R2VPN2R1M1NnUU1IenJtdTJ1cTB0bVhqeFZJQUFBQUFuQ2VmRHJxcWdyYmwxYXRYYSt2V3JXZU1wNmVuYTh5WU1ab3hZNGJtemoxN3ArdXlaY3NVR3h1cmpSczNublZ1WUdDZzFxMWJwOWRmZjkwejVuUTZ5LzNhdEdtVFo2N0w1ZEl6enp4VGF0Q05qNC9YSzYrOG9vWU5HNTV4Yk9QR2pYcnh4UmVWazVPalk4ZU82YzQ3NzVRa2Zmenh4NTVydmZ6eXkxcTBhTkZaZjRlNmhMWmxBQUFBd0xmNGU3dUFhbFFsYmN2YnRtM1RBdzg4VUdMczJMRmpHamx5cEs2NTVob05HelpNdzRZTmt6RkdkOTk5ZDVuWDZkT25qL2J1M2F1eFk4ZnFzODgrVStQR2pjc3UzT0hReElrVGRkZGRkNmxYcjE2Ni92cnJ0WGp4NG5McmJOYXNtZWY3U1pNbWFmdjI3ZHF6WjQ4V0xGaWdnSUFBU1ZKa1pLUVdMRmlna0pBUVJVZEhLeVFreEhQT3E2KytxZzRkT3VqSWtTT2FPSEdpeG93WkkrbGsrUDM4ODg4Vkd4dXIvUHg4YmQ2OFdTKzg4RUs1dGRRMXRDMERBQUFBcUJQQ3c4TWpiTnMyZmZ2Mk5TNlh5NXlMbmoxN0dxZlRhWHIyN09uNVdyWnNtYm45OXR2Tlk0ODladkx5OG93eHhtelpzc1hjZlBQTjVwbG5uakVaR1JubFh2UGhoeDgyRXlkT3JORDlGeTVjYUw3NjZxc0sxMXRRVUdDZWUrNDVjOWRkZDVuMDlIU1RtSmhvaGc0ZGFnb0tDb3d4eGp6eXlDUG1yYmZlTXNZWU0yblNKTE5reVpJenJwR1hsMmNLQ2dyTTRjT0hqVzNicHFpb3lCdzhlTkFZWTh5cVZhdU1iZHRuZkEwZlByekNOZFpHa3lkUE5yWnRHNmZUT2NYYmYyOEJBQUFBbkQrZjNZYll0dTNYSlkzK3d4Lys0Rm1kckt6OSsvZHIvUGp4ZXYvOTl5Vko4K2ZQMSt1dnY2NndzRER0MnJWTERzZC9PNy96OHZMVXExY3ZmZlhWVjNyb29ZZjB4ei8rc2RSci91TWYvOUNzV2JQMDJXZWZxVjI3ZHVkVVYzbFdyRmloYTYrOVZzT0dEWk1rSFQ5KzNMTjZYRmhZS0gvL2s0djRSVVZGTXNib1gvLzZsK2YzaUlpSThGeW5zTEJRTHBkTGdZR0JucnBuenB5cDd0Mjc2dzkvK0lNazZiWFhYdFBCZ3djMVpVcmR6WWN1bDB1MzNIS0xlMFUzSWprNStUdHYxd1FBQUFBQXBYSFl0cjNIdG0yVG1wcDZ6aXQ5aXhjdk5tKzk5WmE1OWRaYmpUSEdKQ1ltbW1uVHBwbWlvcUl5ei9ucXE2L01saTFieWp3ZUd4dHJvcUtpekRQUFBGUG1uTXpNVEhQMDZGRno5T2hSVTFSVVZPb3FhbWxmN2hYbXZMdzhZOXYyV1g4LzI3Wk5ZV0hoR2VQZmYvKzlpWXFLTXJadG0rWExseHRqakZtL2ZyMnhiZHU4L2ZiYm5ubGp4b3d4a3lkUE5zYWNYSDIyYmR0ODk5MTNudU96WnMweXYvdmQ3OHorL2Z2UFdrdFpEaDQ4YUxwMTYyWm16SmhSWW56SGpoM0d0bTN6elRmZm5QTzFqVEhtcDU5K2NuOStlK1RELy9BREFBQUExQ2MrK1l4dWVIajRkVHJQM1pZbEtTa3BTVkZSVWZyNDQ0OGxuZHpVS2k0dVR2UG16ZlBNV2JKa2lkTFMwdFMrZlh0SjB1VEprL1g1NTUrWGVyMk5HemRxMTY1ZGV1Kzk5L1RJSTQ5bzkrN2RhdHUyN1JuekJnOGU3Tm5aZU42OGVaN25jdzhmUHF6Nzc3OWZmL25MWCtSME9zODR6NzM2NmxiV3FuSlpUcHc0b2VuVHAydmh3b1Y2NnFtbjlNd3p6MmorL1BuYXVuV3JObS9lckFzdnZMREVUc3hwYVducTBhT0hKT21XVzI3UmtpVkw5UHJycjJ2T25EazZjdVNJcGs2ZHF0R2pSK3QvL3VkL0tsVkhjUzFhdEZEMzd0MjFmUGx5RFJreXhETythTkVpdFdqUm9zUXE5TGx3Nzdac1dWYTgyRzBaQUFBQVFHMWwyL2JydG0yYktWT21uTmRxMysyMzMyNXljbkpNOSs3ZFBXTTllL1k4NC92aVk5MjZkU3Z6ZXVQR2pUT1BQdnFvTWNhWXA1OSsydno1ejM4dTkvNjJiWnVkTzNkNmZuN2xsVmZNaUJFampESEduRGh4d3F4Y3ViTFU4ODVsUlRjN085djA3OS9mUFBYVVV5WWpJOFB6akc1ZVhwNFpNMmFNK2U2Nzc4eml4WXZOalRmZWFJcUtpc3lSSTBlTWJkdm01NTkvOWx4djM3NTlwa2VQSG1iZXZIbm16My8rczNua2tVZk9Xa05GckZpeHd0aTJiWGJ0Mm1XTU1jYmxjcG4rL2Z1YmQ5NTU1N3l1VzFSVVpQcjI3ZXRlMGUzdTdiKzNBQUFBQUtxR0w2N29PaXpMaWpQR0tDb3E2cnd1ZFBEZ1FmWHUzVnY1K2ZtS2lJaFE5Kzdubm9WMjd0eXBwVXVYNnEyMzNwSWtEUjgrWElNR0RkTGd3WVBWdVhQbnM1Ni9mZnQyZmZIRkYvcm9vNDhrblh3bStJMDMzbEJXVnBadXYvMzJVcytweklwdWNIQ3czbm5uSGJWdTNWby8vZlNUeG84ZnIzLy8rOThLREF6MFBJTjc3Tmd4WldabWF0MjZkZHF6WjQrYU4yK3VzTEF3enpVdXVlUVNqUnc1VW4vLys5OGxxVUt2WGFxSVhyMTZLVFEwVkltSmlSbzJiSmhTVWxKMDZOQWgzWGJiYmVkMTNRMGJOcmlmemQzRGJzc0FBQUNBNy9DNW9Cc2VIbjZkTWViUzgyMWJscVMxYTlkS09ybEprL3Y3WHIxNmVkNHZtNU9UVTZIckdHUDB5aXV2eU9sMDZycnJycE1raFlXRmFjQ0FBWm80Y2FKbXpacmwyU1NxTkM2WFN4TW5UdFNnUVlNOHdiSkpreVlhUDM2OEhudnNNVjF4eFJXbGh1WDgvUHlLLzdLUzdyenpUaGxqVkZoWUtJZkRvVDU5K2tnNnVYSFZOOTk4bzZaTm02cEhqeDc2N0xQUHRHL2ZQa1ZIUjVmWWtNdGRWMjV1cmhvMWF1UjVyZEg1OHZmM1YvLysvYlY4K1hJTkd6Wk1TNVlzMGJYWFhudGVMZEdTbEppWUtFbXlMT3Rmb20wWkFBQUFRRzFWVlczTHhYWHYzdDNzMjdmUGJOaXc0WnhhbDZkTm0yWWlJaUk4cmJkdVI0NGNNVGZjY0VPWnRicGJsMTkvL1hWajI3YUpqWTAxQXdZTU1MMTY5VExkdW5VejExOS92ZW5kdTdjWk1HQ0FPWDc4dU9lODRxM0wzMzc3cmVmMVFtNzUrZm5tMjIrL0xYVXpxdkhqeDV0aHc0WjVOdHphc21XTHVlZWVlenpIZi9ycEorTjBPczIxMTE1cjl1M2JWK0xjQXdjT21KNDllNW9GQ3hhWXdZTUhtekZqeHBUNmU1MkxuVHQzR3R1MnphWk5tMHhrWktSSlRFdzhyK3ZSdGd3QUFBRDRMbDliMGEyeXRtVkpldkRCQi9YTEw3OG9QejlmbzBlUDlxd1FWMlpGOThzdnY5Uzc3NzZyOGVQSG43SHhWR2hvcU1hTkc2ZXhZOGZxa2tzdTBhQkJnenpIZHUvZTdibEhkSFMwMnJadHExYXRXaWswTkZTaG9hRUtDUWxSWUdDZ2lvcUtORzdjT0IwNmRFZ1hYSENCcEpPYlVpVWxKYW13c0ZDalJvM1NWMTk5VldMRk9Dc3JTNk5HalZKU1VsS0plakl6TTVXUmthSDkrL2RyeG93WjZ0dTNyMTU2NlNVOStPQ0RuamtoSVNFS0NBalFCUmRjb0tDZ0lNKzR5K1hTK1BIamRjVVZWK2pXVzI5VldGaVloZ3dab2tXTEZxbC8vLzVsZmo0N2R1elFRdzg5cEprelo1YTdRbnZaWlpmcDZxdXYxcVJKaytUbjU2ZGV2WHFWOTdHZkZXM0xBQUFBQU9xRThQRHdDTnUyVGQrK2ZjdDlCVkJGYmRteXBVS2JVZTNkdTljejVsN1JkYmxjNXNNUFB6Uk9wOVA4ODUvL0xQYytiNzMxbHJGdDI3eisrdXNtTnpmWHJGbXp4a1JHUnBxeFk4ZWF2bjM3bWtXTEZwbU1qSXd5ZjZlaW9pTHpmLy8zZnlZL1A5OUVSVVY1dmlJakkwMjNidDFLakVWRlJaa2JiN3pSMkxaZFltemh3b1dlNiszY3VkT01HREhDMkxadEJnNGNhSTRkTzJhTU9iblpWUC8rL2Mzamp6OXU0dUxpVEV4TWpPZDMvL0RERDgyMTExNXIwdExTUE5lWk1HR0NpWXlNTkwvKyttdVp2M3Q4Zkx5Smk0c3I5L054Ky96enp6MmYwL21hUEhteXNXM2JPSjNPdXZzU1lBQUFBQUNsOHFrVlhjdXk3cFJPdmdibzlHZEh6MFdIRGgxS0hYZTVYQ29zTEpReEp4L3J6TW5KMGY3OSszWG8wQ0UxYk5oUWt2VHV1Ky9xZ3c4KzBLT1BQbHJpdFRpbEdUbHlwSXFLaWpSejVrd0ZCUVZwOCtiTmV2VFJSeFViRzZ2bHk1ZHIrdlRwR2o5K3ZJd3hjamdjQ2dnSVVFQkFnQndPaDNKemM1V2ZuNitBZ0FBdFdiTEU4OXpwbmoxN05HSENCSFhzMkZGUFBQRkVpZnRsWkdRb09qcmFNOWZ0Nk5Hait1Njc3N1JreVJMdDJMRkRZOGFNMGFaTm16UnExQ2lOSGoxYVR6MzFsR3piMW9RSkUzVDgrSEdOSERsU2d3Y1AxdWpSbzNYZmZmZnB2dnZ1SzNHOWNlUEdhZHk0Y2VYKzd1dldyZE1OTjl4UTdoeTNTeTY1UkpMSzNIeXJvbHd1bDFhdVhPbitzV3AyekFJQUFBQ0FhdUJ3T3AyLzJMWnQxcTFiZDk0cmZzVVZYOUdOaW9veU8zYnNNTEd4c1diaXhJbkdHR09HRGgxcSt2VHBZMjY3N1RZemUvWnNZNHd4UjQ4ZU5XdldyS25VZmI3Ly9udFRVRkJRNG5sYnQ0S0NBcE9abVdtT0hEbGkwdFBUemFGRGg4eWhRNGRNZW5xNnljaklNSm1abWNhWWs4L2ZEaDgrM1BUdjM5L01taldyMUZWZzk2dURpanQ2OUtqcDBhT0hlZVNSUjh3WFgzeGhjbk56UGNkKy9mVlhNMkRBQUROanhnempjcms4NHprNU9lYWxsMTQ2cjlmOERCZ3d3R3pac3FWQ2M1OSsrbWt6ZE9qUWM3NlgyN3AxNjl6UDV1NldaSG43THk0QUFBQUFsS3FxMjVicnN1enM3SE02THo4L3Y4eGplWGw1NTFyT2VVdE5UVFZ6NTg0MTNicDFNei8rK09ONVg0KzJaUUFBQU1DMytVenJjbFczTGRkbHdjSEI1M1JlZWE4RENnd01QTmR5enR1RER6Nm9DeTY0UU9QSGo1ZlQ2VHl2YTlHMkRBQUFBUGcrWHdtNkRzdXk3akJWdE5zeWFwYzFhOVpVMmJXSzc3YWNsSlQwbnlxN01BQUFBSUJhd3llV1BydDI3ZHJkR0hOcGl4WXRQSzhBQWtxellzVUtTWkl4Smw2UzhXNDFBQUFBQUtxRFR3UmRoOE1SSjlHMmpQSzVYQzVQMEhVNEhQRmVMZ2NBQUFCQU5mR0ZWT2l3TE9zT1NiUXRvMXkwTFFNQUFBRDFRNTBQdXJRdG82Sm9Xd1lBQUFEcWh6b2ZkR2xiUmtYUXRnd0FBQURVSDNVOUdUb2tlWUl1VUJiYWxnRUFBSUQ2bzA0SDNhNWR1M2FYMUlxMlpad05iY3NBQUFCQS9WR25neTV0eTZnSTJwWUJBQUNBK3NYeWRnSG53K2wwL21LTXVkVGJkYURPMkpPY25IeVpXTkVGQUFBQWZGcWRYZ1oxdVZ4cDNxNEJkY3JiSXVRQ0FBQUFnTyt3YmR2WXRrM1FBd0FBQU9EVDZ2U0tMZ0FBQUFBQXB5UG9BZ0FBQUFCOENrRVhBQUFBQU9CVENMb0FBQUFBQUo5QzBBVUFBQUFBK0JTQ0xnQUFBQURBcHhCMEFRQUFBQUEraGFBTEFBQUFBUEFwQkYwQUFBQUFnRThoNkFJQUFBQUFmQXBCRndBQUFBRGdVd2k2QUFBQUFBQ2ZRdEFGQUFBQUFQZ1VnaTRBQUFBQXdLZFkzaTRBMWFOTGx5NlgrdnY3anp0dCtNRlQvMzJ2K0dCaFllRmZVMU5UOTlaTVpRQUFBQUJRdlFpNlBpb3VMczR2TFMxdG4yVlpMY3FiWjR3NTFMNTkrMWJ4OGZGRk5WVWJBQUFBQUZRblAyOFhnT3F4YWRNbTA2cFZxekJKM2M0eTlhT1ZLMWQrV1JNMUFRQUFBRUJONEJsZEgrWnl1ZVpWWUZwRjVnQUFBQUJBblVIUTlXRU9oMk8xTWVaSU9WTXlRa0pDVnRkWVFRQUFBQUJRQXdpNlBpd3BLYW5Bc3F6UHk1bnkrYXBWcXdwcnJDQUFBQUFBcUFFRVhSOW5XVmFacmNrT2g0TzJaUUFBQUFBK2g2RHI0ekl6TTFkSXlpcmxVTmF4WThkVzFuUTlBQUFBQUZEZENMbytMaTB0TGM4WVU5cXV5Z3ZUMHRMeWFyd2dBQUFBQUtobUJOMTZvSXoyWmRxV0FRQUFBUGdrZ200OVlGbldVa2s1eFlaeUxNdGE1cTE2QUFBQUFLQTZFWFRyZ2FTa3BCeEpTOXcvVzVhMStOUVlBQUFBQVBnY2dtNDlZWXp4dENxN1hDN2FsZ0VBQUFENExJSnVQUkVZR0xqSS9YMXdjUENpOHVZQ0FBQUFBRkFuMkxhOTBMYnRMN3hkQndBQUFBQlVKMzl2RjRBYU5jK3lMT1B0SWdBQUFBQ2dPbG5lTHFDbTJiYjlsS1JKM3E0RGRZTXhabFZLU3NvTjNxNERBQUFBUU1YVnQyZDBMVW1QZXJzSTFCMldaVVY2dXdZQUFBQUFsVk92V3BkdDI3NU9VdXNXTFZwbzBhSkZzcXg2dDZDTkNwb3laWXBtejU0dFNYL3pkaTBBQUFBQUtxZGVyZWhhbGhVblNUZmRkQk1oRjJWeXVWeGFzV0tGSk1rWUUrL2xjZ0FBQUFCVVVuMEt1cFl4Sms2U29xS2l2RjBMYXJIMTY5ZnIxMTkvbFdWWmUxTlNVcjczZGowQUFBQUFLcWZlQk4zaWJjdFhYWFdWdDh0QkxYYmFhcTdMdTlVQUFBQUFxS3g2RTNScFcwWkYwTFlNQUFBQTFIMzFKZWc2YUZ0R1JiamJsaVg5UXRzeUFBQUFVRGZWaTZCcjIvYTFvbTBaRmVCZXpaWDBMOUcyREFBQUFOUko5U0xvMHJhTWlxQnRHUUFBQVBBTjlTSG8wcmFNQ3FGdEdRQUFBUEFOUGg5MGFWdEdSZEcyREFBQUFQZ0dudys2a3U2VVRxN20wcmFNc3JoY0xxMWN1ZEw5NDF4djFnSUFBQURnL1BoNjBIVkl1a002K1h3dVVKYjE2OWZyMEtGRGt2Ukxjbkl5YmNzQUFBQkFIZWJUUWJlNjJwWlRVMVAxbi8vOHA5Umo2OWV2MXdjZmZDQ1g2K3lkcjhZWXBhZW5WK2lldWJtNWV2UE5ONVdYbDFlcFdvdExUMDlYVWxMU0dlTXVsMHZmZlBPTk1qTXp5ejEvNmRLbFdyTm16Um5qaVltSlpYNGVkY1ZwYmN2R2k2VUFBQUFBT0U4K0hYUlZUVzNMcTFldjF0YXRXODhZVDA5UDE1Z3hZelJqeGd6Tm5YdjI3dGRseTVZcE5qWldHemR1UE92Y3dNQkFyVnUzVHErLy9ycG56T2wwbHZ1MWFkTW16MXlYeTZWbm5ubW0xS0FiSHgrdlYxNTVSUTBiTml6ei9wbVptWm93WVlLQ2dvSktqT2ZsNWVubGwxOCtZN3d1b1cwWkFBQUE4QzMrM2k2Z0dsVmIyL0syYmR2MHdBTVBsQmc3ZHV5WVJvSXV2bDhBQUNBQVNVUkJWSTRjcVd1dXVVYkRoZzNUc0dIRFpJelIzWGZmWGVaMSt2VHBvNzE3OTJyczJMSDY3TFBQMUxoeDR6TG5PaHdPVFp3NFVYZmRkWmQ2OWVxbDY2Ky9Yb3NYTHk2M3ptYk5tbm0rbnpScGtyWnYzNjQ5ZS9ab3dZSUZDZ2dJa0NSRlJrWnF3WUlGQ2drSlVYUjB0RUpDUWp6bnZQcnFxK3JVcVpNazZZTVBQbEJ1YnE1R2pCaFI0aDdEaGcxVFZsYldHWitISlAzblAvK1JuNTlmdVRYV0JyUXRBd0FBQUtnVHdzUERJMnpiTm4zNzlqVXVsOHRVbFo0OWV4cW4wMmw2OXV6cCtWcTJiSm01L2ZiYnpXT1BQV2J5OHZLTU1jWnMyYkxGM0h6enplYVpaNTR4R1JrWjVWN3o0WWNmTmhNblRxelEvUmN1WEdpKyt1cXJDdGRiVUZCZ25udnVPWFBYWFhlWjlQUjBrNWlZYUlZT0hXb0tDZ3FNTWNZODhzZ2o1cTIzM2pMR0dETnAwaVN6Wk1tU002NnhZY01HMDZOSEQ1T1dsbVkrL1BCRE0yZk9IR09NTWNlUEh6YzMzbmlqV2J0MnJWbThlTEY1OWRWWEsxeFhiVEo1OG1SajI3WnhPcDFUdlAzM0ZnQUFBTUQ1ODlrVlhjdXlQTy9PcmNxMjVUbHo1bWo4K1BGNi8vMzNKVW56NTgvWGhBa1RGQllXcG5YcjFxbFBuejZldVhsNWViSXNTN2ZlZXFzZWV1Z2gvZkdQZnl6MW1wMDZkZEtzV2JNMGFOQWd0V3ZYcnR6NzMzTExMWldxMTkvZlg1R1JrWHJxcWFjMGJOZ3dTZEx4NDhjMWVQQmdTVkpoWWFIUzA5TzFldlZxRlJVVjZidnZ2bE4wZExRY2pwTmQ3WWNQSDliVFR6K3RCeDU0UUdGaFlTb29LTkN3WWNNVUVSR2gyYk5ucTBPSER1cmV2YnN5TWpMMHQ3LzlUUjA2ZE5EdHQ5OWVxUnE5cVhqYnNqRW0zc3ZsQUFBQUFLZ0N2aHAwcTYxdGVkMjZkUW9QRDlkdHQ5Mm16ei8vWEkwYk45Wjk5OTJuQng1NHdCTU9UL2YxMTEvcjRvc3ZMdk9hcTFldlZ0T21UVFZ0MmpTOThzb3JwYzdKeXNyeWJIRFZwRWtUWFhQTk5SV3FkKzNhdFlxS2lsSitmcjYyYjk5ZTZqTzZ4VG1kVGhuejM3MllUcHc0b1Y2OWV1bisrKy9YeG8wYk5YbnlaUDM5NzM5WDY5YXRsWnVicStlZWUwN1N5VGJwbTI2NlNiMTY5VHJqbXN1V0xkT2NPWE8wYmRzMnVWd3VYWEhGRmJyMzNuc1ZGUlhsbWJOaXhRbzkvZlRUbWo1OXVqNzU1Qk90V2JOR0FRRUI2dGV2bi83MHB6OTVXcTJyR20zTEFBQUFnTy94eWFBYkhoNStuYXBodDJWSlNrcEtVbFJVbEQ3KytHTkpKMWVNNCtMaU5HL2VQTStjSlV1V0tDMHRUZTNidDVja1RaNDhXWjkvL25tcDE5dTRjYU4yN2RxbDk5NTdUNDg4OG9oMjc5NnR0bTNibmpGdjhPREJPbkRnZ0NScDNyeDVudWR6RHg4K3JQdnZ2MTkvK2N0ZjVIUTZ6emd2TURDd3hNOWxyU3FYcFhYcjFobzdkcXhjTHBkZWZmVlZkZS9lM1hPZkYxOThzY1RjVHovOVZIRnhjUW9ORGZXTXpaZ3hRKys4ODQ2R0RoMnFaNTk5VnNZWUxWMjZWRTgvL2JTZWYvNzVNMVovSjA2Y3FIdnV1VWNQUC95d2twS1NOSG55WkZtV3BTZWZmTEpTZFZlVWU3ZGx5N0xpeFc3TEFBQUFnRS93eWFCYlhXM0wwc21nKzhRVFQ1UVkrL1hYWDdWNjlXcEo4cXhvRGgwNjFETzJmLy8rTXEvMzZhZWZLaUlpUWs2blV6ZmNjSU9tVHAycWlSTW5uakh2eXkrL2xDUlB5R3pSb29Xa2swRXlQRHhjL2ZyMVUyNXVydGFzV2FQZXZYdVhlVDkzUUM5TGFXRlprcVpQbjY1Tm16YnB6VGZmTEhPT0pNWEd4bnErWDdac21hWk9uYXI3Nzc5ZkR6NzRvR2U4WThlT1NrOVAxenZ2dkhORzBMMzc3cnMxWU1BQVNkTGxsMSt1M2J0M2EvNzgrUm85ZW5TVmIyeEYyeklBQUFEZ20zd3g2RG9zeTRvenhwUm9qYTBxQnc4ZVZPL2V2WldmbjYrSWlBaDE3OTc5bksrMWMrZE9MVjI2VkcrOTlaWWthZmp3NFJvMGFKQUdEeDZzenAwN24vWDg3ZHUzNjRzdnZ0QkhIMzBrNmVRendXKzg4WWF5c3JMS2ZFNjJzaXU2MHNuMjUvZmVlMCtTRkJvYXFxKy8vbHI3OSs5WHk1WXRTN1JyLy83M3Y5Y25uM3lpTm0zYVNEclo1cDJmbjE5cThJNklpTkRTcFV1Vm5wNnVpeTY2eURNZUhoNWVZbDduenAwMWUvWnNwYWVucTJYTGxwV3V2VHdiTm14d3R5M3ZvVzBaQUFBQThCMCs5eDdkOFBEdzY0d3hsMVpIMjdKME12U3RYYnRXZ1lHQldydDJyZjcydDc5Smt1Njg4MDdkZWVlZHlzbkpxZEIxakRGNjVaVlg1SFE2ZGQxMTEwbVN3c0xDTkdEQUFFMmNPRkdGaFlYbG51OXl1VFJ4NGtRTkdqUklZV0Zoa2s0K3V6dCsvSGo5di8vMy84cDhOMjkrZm42NVg2ZmJ0R21Ubm5ycUtkMTU1NTJlc2VEZ1lMMzAwa3VLajQ5WGNIQ3c1MHVTR2pSbzRQblovVXh4ZWF2cXA2L1NudjZjYzI1dXJpUlZ5M3Q2RXhNVEpVbVdaZjFMdEMwREFBQUFQc1BuVm5TTHR5Mlh0VGxVVmRtL2Y3K09IajBxU1pvN2Q2NGtsYm9aVTJrKytPQURiZGl3UVhQbXpDa3hQbXJVS01YR3h1ck5OOS9VbURGanlqei83My8vdTlhdFc2ZXNyQ3l0V0xGQ1dWbFp5czdPVm1CZ29CbzJiS2hubjMxV3MyZlAxZ1VYWEZEaXZMbHo1MnJObWpXNjl0cHI1ZS8vM3ovK2dvSUMvZkRERHhvMWFsU0orVUZCUWVyWHI1L2k0dUwwNmFlZmVzWWZmL3h4UGZyb280cU9qbGFyVnExS3JiRmp4NDd5OC9QVDZ0V3JkZVdWVjVZNDl2MzMzNnRObXphNjhNSUxTNHh2MjdiTnN5SXNTV3ZXckZHclZxMUtQUGRiRldoYkJnQUFBSHlYcndYZGFtMWJ6cy9QMTZoUm8vVExMNzhvUHo5Zm8wZVA5cXdhdTFjOEs3S2krK1dYWCtyZGQ5L1YrUEhqejloNEtqUTBWT1BHamRQWXNXTjF5U1dYYU5DZ1FaNWp1M2Z2OXR3ak9qcGFiZHUyOVlUQTBOQlFoWVNFS0RBd1VFVkZSUm8zYnB3T0hUcmtDYnFCZ1lGS1NrcFNZV0doUm8wYXBhKysrcXBFME0zS3l0S29VYVBPMkpVNUxDeE16enp6ak9mZWJrNm5VNy8vL2UrMVljT0dNb051czJiTmRNODk5MmphdEdtU1R2NGpnREZHeTVjdjE3Smx5elJseXBtdnJYM3p6VGZsY0RqVXBrMGJKU1ltYXVYS2xYcmhoUmZPK3BsV0ZtM0xBQUFBZ08veXFhQmIzVzNMZ1lHQkdqTm1qTnEwYWFQZXZYdnJzODgrazNSeTU5N1RWM1JuejU1OXh2bkdHTTJhTlV2LytNYy9OSFRvVU4xNjY2MmwzcWQzNzk1NjRJRUg5TnBycituQWdRTjY1SkZIbEp5Y3JELy8rYys2OGNZYjllU1RUK3JSUng5VlpHU2ttalp0ZXNiS3RaK2ZueVpPbktnVEowNm9vS0JBL2ZyMTh4d3JMQ3lVdytFNDR4bGU5eXVGaXIrTzZmSEhIOWN0dDl4U1p1dnhxNisrZXRaVjgxR2pScWxWcTFhYU8zZXVwaytmTG45L2YxMTExVlY2NTUxM1N0M1U2dkhISDllTUdUUDA4ODgvcTBXTEZucnV1ZWZLL0p6T0IyM0xBQUFBZ08veXFhQnJXZGFkVXZXMkxYZm8wS0hVY1pmTHBjTENRazlnek1uSjBmNzkrM1hvMENFMWJOaFFrdlR1dSsvcWd3OCswS09QUHFvaFE0YVVlNStSSTBlcXFLaElNMmZPVkZCUWtEWnYzcXhISDMxVXNiR3hXcjU4dWFaUG42N3g0OGZMR0NPSHc2R0FnQUFGQkFUSTRYQW9OemRYK2ZuNUNnZ0kwSklsU3p5aGJzK2VQWm93WVlJNmR1eDR4czdSR1JrWmlvNk85c3l0Q0lmRG9YMzc5c25oY09qSWtTT1M1UGxkaTR1SmlWRk1URXlGcm5uRkZWZG8xcXhaRmE3aFhCUnZXNVkwdDFwdkJnQUFBS0RHK1ZMUWRWaVdkVWQxdFMyWEp6QXdVTHQzNzliWXNXUFZwMDhmU2RLa1NaTzBiOTgrQlFVRjZlR0hINVowOHRVNVhidDJWVVJFUklXdSs5aGpqNmw3OSs2eWJWdTV1Ym1lTnVUbzZHaEZSMGVyc0xCUU9UazVLaW9xVWxGUmtXZnpKNGZESVlmRElYOS9melZwMGtRRkJRVWFPWEtrOXUvZnI3dnV1a3QvK01NZnF1eDMvL2pqanpWMzdsdzVIQTVGUmtaNlhudFVteFZ2VzA1S1N2cVB0K3NCQUFBQWdGS0ZoNGRIMkxadCt2YnRhNHFLaWd4S3lzN09QcS96aTRxS3pPSERoMHM5NW5LNXp2c3pUMHhNTkxadG16MTc5cHpYZFNwaTh1VEp4clp0NDNRNnozeElHQUFBQUVDZDV6TXJ1alhSdGx5WHVWLy9jNjRjRG9lYU5XdFc2akhMc3NwOWhWQnRRdHN5QUFBQTRQdDhKZWg2clcwWlZTTXFLdXFNSForckEyM0xBQUFBZ08vemlhWFBybDI3ZGpmVnVOc3lmTWVLRlNza2VkNmR5MjdMQUFBQWdBL3lpYURyY0RqaUpOcVdVVDZYeStVSnVnNkhJOTdMNVFBQUFBQ29KcjZRQ2gyV1pkMGhpYlpsbEl1MlpRQUFBS0IrcVBOQmw3WmxWQlJ0eXdBQUFFRDlVT2VETG0zTHFBamFsZ0VBQUlENm82NG5RNGNrVDlBRnlrTGJNZ0FBQUZCLzFPbWcyN1ZyMSs2U1d0RzJqTE9oYlJrQUFBQ29QK3AwMEtWdEdSVkIyeklBQUFCUXYxamVMdUI4T0ozT1g0d3hsM3E3RHRRWmU1S1RreThUSzdvQUFBQ0FUNnZUeTZBdWx5dk4yeldnVG5sYmhGd0FBQUFBOEIyMmJSdmJ0Z2w2QUFBQUFIeGFuVjdSQlFBQUFBRGdkQVJkQUFBQUFJQlBJZWdDQUFBQUFId0tRUmNBQUFBQTRGTUl1Z0FBQUFBQW4wTFFCUUFBQUFENEZJSXVBQUFBQU1DbkVIUUJBQUFBQUQ2Rm9Bc0FBQUFBOENrRVhRQUFBQUNBVHlIb0FnQUFBQUI4Q2tFWEFBQUFBT0JUQ0xvQUFBQUFBSjlDMEFVQUFBQUErQlRMMndXZ2VuVHAwdVZTZjMvL2NhY05QM2pxdis4Vkh5d3NMUHhyYW1ycTNwcXBEQUFBQUFDcUYwSFhSOFhGeGZtbHBhWHRzeXlyUlhuempER0gycmR2M3lvK1ByNm9wbW9EQUFBQWdPcms1KzBDVUQwMmJkcGtXclZxRlNhcDIxbW1mclJ5NWNvdmE2SW1BQUFBQUtnSlBLUHJ3MXd1MTd3S1RLdklIQUFBQUFDb013aTZQc3poY0t3Mnhod3BaMHBHU0VqSTZob3JDQUFBQUFCcUFFSFhoeVVsSlJWWWx2VjVPVk0rWDdWcVZXR05GUVFBQUFBQU5ZQ2c2K01zeXlxek5kbmhjTkMyREFBQUFNRG5FSFI5WEdabTVncEpXYVVjeWpwMjdOakttcTRIQUFBQUFLb2JRZGZIcGFXbDVSbGpTdHRWZVdGYVdscGVqUmNFQUFBQUFOV01vRnNQbE5HK1ROc3lBQUFBQUo5RTBLMEhMTXRhS2ltbjJGQ09aVm5MdkZVUEFBQUFBRlFuZ200OWtKU1VsQ05waWZ0bnk3SVdueG9EQUFBQUFKOUQwSzBuakRHZVZtV1h5MFhiTWdBQUFBQ2ZSZEN0SndJREF4ZTV2dzhPRGw1VTNsd0FBQUFBQU9vRTI3WVgycmI5aGJmckFBQUFBSURxNU8vdEFsQ2o1bG1XWmJ4ZEJBQUFBQUJVSjh2YkJhQkdPR3pidmtuU1I1SXVrcFFsNmM3azVPUkVTUzZ2VmdZQUFBQUFWWXlnNjhQQ3c4TXZzU3pyZmtuREpGMVd5cFJka3Q2M0xHdDZVbExTZ1pxc0RRQUFBQUNxQzBIWHg4VEZ4Zm1scGFWRlc1WTFRdElBU1g2UzFLcFZLOFhFeE9qNjY2L1htalZybEpDUW9IMzc5cmxQSzVLMDBCZ3p0WDM3OXN2ajQrT0x2RlErQUFBQUFKdzNncTZQdVBycXExdjUrL3MvWUl3WkpxbU5KUG43K3lzeU1sSXhNVEc2NXBwcjVIRDhkNU50bDh1bEgzNzRRUWtKQ2ZyZi8vMWZGUlY1c3UwZXk3TGVMeXdzbkw1dTNicDlaOTRKQUFBQUFHbzNnbTRkRmhjWDU3ZGp4NDQreHBnUmttN1JxZGRGdFc3ZFdnTUhEdFNBQVFOMDRZVVhudlU2UjQ0YzBjS0ZDNVdRa0tDOWUvZTZoNHNzeS9yU3NxeXBsMTkrK1RKV2VRRUFBQURVRlFUZE91aWFhNjVwWFZSVTlJQ2tvWkphU3lkWGIzdjM3cTJZbUJnNW5jNFNxN2NWNVhLNWxKU1VwSVNFQlAzNzMvOVdZV0doKzlBdmxtVzlYMUJRTUQwMU5YVnZlZGNBQUFBQUFHOGo2TllSa1pHUi9sbFpXWDBsalpEVVQ2ZFdiOXUwYWFPWW1CamRjc3N0Q2cwTnJiTDdIVDE2VkY5KythVVNFaEswWjg4ZTk3QkwwaUpKVTVzMGFiSjAxYXBWaFdWZkFRQUFBQUM4ZzZCYnl6bWR6all1bDJ1b1pWbERKYldTcElDQUFOMTQ0NDJLaVltUmJkdXlyT3I3WXpUR0tEazVXUWtKQ1ZxNWNxVUtDZ29rU1pabDdUWEdmSEJxeCtZOVo3a01BQUFBQU5RWWdtNHRGQmtaNlgvczJMSCtsbVdOc0N5cnIwNzlPYlZ0MjlhemV0dTBhZE1hcit2WXNXT2VWZDdkdTNlN2gxMlNsaGhqcG9hRWhDeG1sZmZjQlFjSGQydlFvRUdYSTBlT1RQZDJMUUFBQUVCZFJ0Q3RSY0xEdzlzNkhJNWh4cGdISkYwaVNZR0JnWjdWMi9EdzhHcGR2YTBvWTR4U1VsSThxN3o1K2ZudVEvdU5NUjlJK2lBbEpXVjNPWmRBS1ZxMmJQbVVKSFB4eFJjL2ZmcXhRNGNPL2JWbHk1Wi9LVDYyYnQyNm12L1hEZ0FBQUtBTzhINXFxdWVjVG1lQU1lWVdTY01sOWRHcFA1UExMNzljTVRFeDZ0Ky92MEpDUXJ4YVkza3lNek8xYU5FaXpaczNUN3QyN1hJUEcwbExMY3VhS21sUlVsSlNnZGNLckVQYXRXdjNSVVpHeGx0aFlXSExObS9lZk9tSkV5Y09TZkt6YlRzM09UbTUrUCt0TnJCdCs4UnBZd0FBQUFCTzhmZDJBZlZWbHk1ZEx2ZjM5M2V2M3JhVVRxN2UzblRUVFlxSmlkSFZWMTlkSzFadnp5WWtKRVNEQncvVzNYZmZyWFhyMWlraElVR0ppWWxXZm41K1gyTk1YMGtIYk51ZTduSzUzdi9wcDU5MmVidmVXaXlvU1pNbXZYZnMyREZFa2s2Y09GRWtpVFp3QUFBQTRCd1FkR3VRMCtrTWNMbGN0MXFXTlZ4U3RFNnQzclpyMTA2eHNiSHExNitmbWpScDR0MGl6NUZsV2VyYXRhdTZkdTJxSjU5OFVvc1hMOWE4ZWZPMFk4ZU8vNUgwbk1QaCtMTnQyOHNsVGJVc2F5R3J2Q1dGaG9aR094eU9ScEtPZUxzV0FBQUFvSzZyL1V1R1B1Q2FhNjVwVjFoWU9GelMvWlpsdFpCT3J0NUdSMGNySmlaR1hicDBxUk9ydDVWbGpGRnFhcW9TRWhLMGZQbHl6N084eHBoRGtxYjcrL3UvLzhNUFArendicFcxUTd0MjdSS2FObTA2TURrNTJiSnQyeFFWRldYcFpBdTQvUHo4UWc0ZVBQanFSUmRkOUxCN3ZwK2ZYd2l0eXdBQUFFRHArQi9LMWFSejU4NkJEUm8wdU0zbGNnMjNMT3NtOTNoWVdKaGlZMlBWdDIvZk9ydDZleTZ5c3JLMFpNa1N6WnMzVDl1M2IvZU1HMk1TSlUzTno4Ly9ZdVBHamZsbFg4RjNOV3pZc0hXN2R1MFNnNEtDT3JpRGJuSnk4djlJT25ocVNnTkp1YWVkYyttSkV5ZjIxbml4QUFBQVFCMUEwSzFpdG0yMzE4bU5wZTZYZEpFa0JRVUY2ZWFiYjFaTVRJeXV1dW9xbjF5OXJTaGpqRFpzMktDRWhBUXRXN1pNZVhsNTdrTy9XcFkxd3hqemZuSnljcG8zYTZ4cGwxNTY2UnVGaFlYN0w3bmtra21sQmQwR0RScGNmdVdWVi81dytubXBxYW10Sk9XZFBnNEFBQURVZC9VM2NWV2h6cDA3QndZRkJkMHVhWVNrRzkzalYxeHhoV0pqWTlXblR4ODFidHpZZXdYV1VzZVBIOWZTcFVzMWI5NDhiZHUycmZpaGxaS201dVhsTGFnUHE3eVhYbnJwcEwxNzkwNnliVHVqdE5ibExWdTJYTk84ZWZNaCtmbjUrOVBUMDkrV2RNRnZmL3ZidFBYcjE3ZjBidVVBQUFCQTdVVFFQUTlYWDMzMWxYNStmc01rRGRHcDFkc0dEUnFvVDU4K2lvbUowVzkrODV0NnZYcGJVY1lZYmR5NDBiUEttNXZyNmRKTmwvU2h5K1dhOXROUFAyMHI1eEoxbmI4azJiWmRVRWJyc3BvMmJYcGIwNlpONzl5MWE5Y2ZHamR1ZkV2ejVzM3YzYmx6NTUxZXF4Z0FBQUNveFVoaGxkUytmZnVneG8wYkQ3UXNhNFNrRzl6akhUcDBVRXhNalByMjdhdEdqUnA1c2NLNjdmLys3LyswZE9sU0pTUWthT3ZXcmNVUC9hOHhadXJ4NDhmbnA2V2wrV0s3cm45NVFWY25WM0czcmwrLy9vcDI3ZHJOUEhMa3lKeGp4NDRsZUt0WUFBQUFvRFlqNkZaUXQyN2RPaFFWRlEyM0xHdUlwR2FTMUxCaFE4L3FiYWRPblZpOXJVTEdHRzNhdE1tenludml4QW4zb1F4anpJZCtmbjdUZnZ6eHg2M2xYYU9PS1JGMGk3Y3U1K2ZuNzltOGVYT1gxcTFiditWd09KbzBhdFRJdVduVHB0OUtjbm0zWkFBQUFLQjJJcG1WSXpJeXNzSHg0OGRqakRFakpQVnlqM2ZxMUVreE1USHEwNmVQZ29PRHZWaGgvWkNkbmUxWjVkMnlaVXZ4UTZzdHk1cmF1SEhqaEZXclZ1V1dkWDRkY2JZVlhUVnIxdXlldG0zYnp2cjExMS8vdm5mdjNqOTVxVTRBQUFDZzFpUG9sc0syN1U2U2hodGo3ck1zNjBKSkNnNE9WdCsrZlRWdzRFQjE2dFRKeXhYV1g1czNiMVpDUW9LV0xsMnFuSndjU1pJeDVvaGxXVE1sVFV0T1R0N3MzUXJQV1ZsQnQ5R0ZGMTdZdjNuejVnKzVYQzV6Nk5DaHY3Um8wZUlwZjMvL0ZvY09IZnJiMGFOSDUzaTdjQUFBQUtDMkllaWVFaEVSMFRBdkx5OVdKM2RPL3IxNy9EZS8rWTFpWTJNVkhSM3RNNnUzSzFhczBOTlBQNjBGQ3hhb2RldldWWHJ1Z2dVTE5HL2VQS1dscGNuUHowOWR1blRSNk5HamRjVVZWMVJWK1pLa25Kd2NMVnUyVEFrSkNkcTBhVlB4UTE5TG1ob1VGRFJ2N2RxMUo4bzR2VFp5aElXRmZiRjkrL1piMnJWcjk2OGRPM1lNazNRc0tDaW93OFVYWC96NDRjT0haNTQ0Y2VKNzkrUkdqUnJkNk9mbjF5QXJLMnVSRjJzR0FBQUFhcVY2SDNTdnZ2cnF6bjUrZnNNbDNTc3BWRHE1ZXR1dlh6L0Z4TVNvUTRjTzNpMndHbFJuMEgzcXFhZlVxMWN2ZGV6WVVlbnA2WHJqalRkMDVNZ1JMVjY4V1A3Ky9sWDFLNVN3WmNzV3paOC9YNHNYTC9hczhrbzZLbW1XTVdacVNrcktwbkpPQndBQUFPQmpxaWQ1MUhJUkVSRU5jM056NHlTTnNDeXJoM3U4YytmT2lvMk4xVTAzM2VRenE3YzE3ZFZYWDVYRDRaQWtoWVdGNlk5Ly9LTmVlT0VGSFRseVJCZGZmSEcxM0xOang0NTY5dGxuOWZqamoydjU4dVZLU0VqUXhvMGJReVU5YmxuVzQrSGg0ZDlLbXRxZ1FZUDRPcmJLQ3dBQUFPQWMxS3NWM1c3ZHVsMWxqQmxoakxsSFVsTkphdFNva2ZyMzc2K0JBd2ZxeWl1dnJORjZsaTFicGpsejVtamJ0bTF5dVZ5NjRvb3JkTys5OXlvcUtzb3p4NzJDT24zNmRIM3l5U2RhczJhTkFnSUMxSzlmUC8zcFQzOVNRRUJBbGRaMFBxdTlwM081WFByVG4vNmtqSXdNZmZMSkoxVlVZY1ZzM2JyVnM4cWJuWjN0SGo1bVdkWkhsbVZOL2ZISEh6ZlVhRUVBQUFBQWFreTlDTHEyYlErVVZPS2RvNy85N1c4Vkd4dXJxS2dvTld6WXNNWnJtakZqaHQ1NTV4ME5IVHBVa1pHUk1zWm82ZEtsK3VpamovVDg4OC9yOXR0dmwvVGY0QmtXRnFaNzdybEhWMTExbFpLU2tqUjU4bVRkY2NjZGV2TEpKejNYaklpSUtQTithOWV1clZCZFZSVjBzN096OWR4enoybnYzcjE2KysyMzFhSkZpM08rMXZrNGNlS0VFaE1UbFpDUW9QWHIxNTkrT0NZNU9YbStOK29DQUFBQVVIM3FTK3Z5UjhWLytPdGYvNnErZmZ0NnF4WmxaV1ZwNnRTcHV2LysrL1hnZ3c5Nnh0M1B0Yjd6emp1ZW9PdDI5OTEzYThDQUFaS2t5eSsvWEx0Mzc5YjgrZk0xZXZSbytmbjVTWkxtektrZEcvRG01K2RyeElnUkNnb0swb2NmZnFnTExyakFhN1UwYk5oUXQ5NTZxMjY5OVZZdFhyeFl6ei8vZlBIREg5bTIzYWpZejZiWTEray9WM3JjR0dNa3liS3NDbzI3eDA0ZHI2bHhUOTNHR0ZPc3B2TWVOOFo4bDVLUzhrTHBmeklBQUFCQTlha3ZRZmNlU2ZOMGFnVjczTGh4K3ZUVFR6M1A0OWIwaXU3R2pSdVZuNSt2M3IxN24zRXNJaUpDUzVjdVZYcDZ1aTY2NkNMUGVIaDRlSWw1blR0MzF1elpzNVdlbnE2V0xWdEtraTY3N0xKenJzbTlHdXh5dVNSSmNYRnhzcXlUQy80VlhRMTIrL0hISDdWbHl4Wjk5TkZIWGcyNTBza1ZYZmR6dXhzMmxPaFdOanI1OTZMNFNyK2xLdXh5Y0g5K0ZSMlhwRk1adU1iSHk2dnJYTWN0eTRxV1JOQUZBQUJBamFzWFFmZFVlNnFqVzdkdVZ4VVZGUTIzTE92ZURSczJOTjJ3WVlNbVQ1NnNmdjM2YWVEQWdUVzJ3N0k3VEpZWGVOeXJ0Rzd1RFo3Y2NuTnpKVWxCUVVHZXNXdXV1YWJNNi8zd3d3L2wxdVJlRGY3dXUrLzAybXV2NlkwMzN2QUU2TXBxM3J5NU9uWHFwR2JObXAzVCtWVmg2OWF0U2toSTBKSWxTMG84bzJ1TW1lWG41emV0MkRPNjduQnJ4Y1hGV2VucDZaWWtIVDkrM01yTnpiWHk4dktzU3krOTFNckx5N01rS1Q4LzN5b29LTENLaW9xc3BrMmJXb1dGaFpZa0ZSWVdXa1ZGUlZaUlVaRjF3UVVYV0VWRlJaWWtGUlVWV1M2WHl5b3FLcklhTm14b3VWd3VTNUpjTHBmbC9qTEdXSklVRkJSVVlzdzkxejN1SG5QUER3Z0lzSXd4bmkvMy9OUEgzZlA5L2YzUEdEUEdXSlVabDJUNStmbWRkVnpTMHFyL1V3VUFBQUFxcGw0RVhiZFQ0ZWJ4aUlpSVozSnpjKyt3TEd0RWRuYjI3K0xqNHhVZkg2L09uVHNySmlhbTJ0K1oyN0ZqUi9uNStXbjE2dFZuYklEMS9mZmZxMDJiTnJyd3dndExqRy9idGsxdDJyVHgvTHhtelJxMWF0VktvYUdobnJINCtQaHpyc205R3B5V2xpWkphdFdxMVRrL28zdmxsVmZxNDQ4L1B1ZGF6bFZPVGs3eFhaZUxIL3JHR0RPMVFZTUcveXBqMTJVanlaVDErYmsvRTFTY2JkdmVMZ0VBQUFEMVdMMEt1bTZud3M1SGtqNEtEdy8valdWWnd5WGR0M0hqeHRDTkd6ZHF5cFFwbmxYZWpoMDdWdm45bXpWcnBudnV1VWZUcGsyVEpQWHExVXZHR0MxZnZsekxsaTNUbENsVHpqam56VGZmbE1QaFVKczJiWlNZbUtpVksxZnFoUmRLZG9XZVQrdHlWZHF6WjQ5ZWZ2bGx2Zm5tbXdvTURLejIrMjNac3NXemVudmFlM1JuR21PbThSNWRBQUFBb0g2cEY3c3VWMFJrWkdTRHJLeXNXRWtqSlBWMGozZnExRW14c2JHNitlYWJxM3lWTnlFaFFYUG56dFh1M2J2bDcrK3ZxNjY2U3NPR0RaUFQ2ZlRNY2UrQy9OcHJyK25ERHovVXp6Ly9yQll0V3VpKysrNVRURXhNbGRaVFZUWnYzcXpISDM5YzgrZlBWNk5HamM1K3dqbkl5Y25SMHFWTGxaQ1FvTTJiTnhjLzlKV2txVTJhTkptM2F0V3EzR3E1T2M3S3RtMGpTY25KeWZ6L0dBQUFBTlE0L2tkb0taeE9aMGRKdzEwdTF4RExzaTZVcE9EZ1lQWHAwMGN4TVRIcTFLbFRqZFZTbGUrMTlRV2JObTFTUWtLQ2xpNWRxaE1uUEYzSUdaWmx6WlEwTFNrcGFZc1h5OE1wQkYwQUFBQjRVNzFzWFQ2YlUySHBpY2pJeU9jeU16TUhTaHFSazVNVG1aQ1FvSVNFQkhYczJGRXhNVEhxMDZkUHRhMVk0cit5czdPMVpNa1NKU1FrYU92V3JaNXhZOHdxU1ZORFFrTG1zM29MQUFBQXdJMmdXNDVUNFdtT3BEbmR1blhyNEhLNWhra2FzbVhMbHVZdi8zLzI3ajBvcWpQUEgvLzc2VzVvTHVHcVJpT0NDbDdBUnFCUFM4MmEyV3lJVjBEamhJUGtNcE5rWWd6dXpzNXZLc2trMld6R1pMUGZxZGw4WitxYlZMS3B5YWErYURDWlRDYXpZemd3VVJHdk1Uczc1cHVGYmk2S1lrUzhoRndNSTNLUlcwT2Y1L2NIZEE5cUJGVG9CdnI5cXJJcS9aelRwei9JU1hzKy9YNzZPUys5aEZkZmZSV3JWNitHcXFwWXRHalJrS3NvMC9XUlVsNlczcnBYbVFid0Z3QnZHd3lHclJVVkZTZUdPQVFSRVJFUkVma3BOcm9qTk5CVVBUTnYzcnpudzhQRDd3R3dxYXVyYTFsSlNRbEtTa3F3Y09GQ1Q4cnI2M3ZIVG1TWExsM3lwTGVmZmZiWjRFMEhBUlMwdGJXVjFOZlg5L2lvUENJaUlpSWltZ0FZUWQ2RXRMUzArUWFENFRFQUd3Qk1BNENnb0NCUHltdXhXSmp5am9DVUVrZVBIb1dtYWRpN2QrL2c5TFlKd0RaZDE3ZFdWVldkOUdHSk5JUjU4K2Fab3diZjV3cUF5K1g2Q2dDTVJ1TnRnOGN2WHJ4NGtSOVVFQkVSRWRGWVl4YzJDaXdXUzJCUVVORDNwSlNiQUt4d2o4K2ZQeCtxcWlJckt3dGhZV0UrckhCOGFtOXY5NlMzSjA5ZTFzZnVGMElVZEhkMy83RzJ0dGJwcS9wb1pOTFQwMmU0WEs0dk1mejdpVzQwR21QS3k4dS85a1pkUkVSRVJPUy8yT2lPTXB2TmxnQWdYMHE1QWNDdEFHQTJtN0ZxMVNxb3FvckZpeGY3ZGNvcnBjU1JJMGM4NlcxUGp5ZmMrMFpLV1dnd0dMYmE3ZlpUdnF5UnJwK2lLSWNBM0RuTWJoODdISTZNc2ErR2lJaUlpUHlkLzNaY1k4eGlzUVFHQmdhdUUwTGtBMWpsSGs5SVNJQ3Fxc2pPemtaNGVMZ1BLL1N1dHJZMmxKYVdRdE0wWXZ6Rk1BQUFJQUJKUkVGVW5EcDFXUis3VjBwWjRIUTZkekM5bmJpc1Z1dFBoQkN2RDdQYlR4d094Nis5VWhBUkVSRVIrVFUydWw2UW5wNGUzOWZYOXhpQVI0VVEwd0VnTUREUWsvS21wS1JNeXBSWFNvbWFtaHBQZXV0MGV2cllyd0VVR28zR3Q4ckx5eHQ4V0NLTmt0VFUxQmlqMGRnNDFENHVsMnRXZFhYMUY5NnFpWWlJaUlqODErVHJyc1l4bTgwV0lLVzhHMEErZ05VWStQdVBqNCtIcXFwWXMyYk5wRWg1MjlyYXNHdlhMbWlhaG9ZR1R4OHJBZXdCVUNDRTJHbTMyM3Q5VnlHTkJVVlJQZ0h3TjlmWS9JbkQ0YmpkbS9VUUVSRVJrZjlpbytzamFXbHBjd1pXYkg0VXdHMUFmOHE3WXNVS3FLcUt0TFMwQ1pYeVNpbFJWVlVGVGRPd2YvLyt3ZW50VjBLSXQxd3UxMXRWVlZWbmZGZ2lqVEdiemZhMGxQTC9mTnMySWNUVGRydjlGVy9YUkVSRVJFVCthZUowVXBPVXpXWUxBTEJHMS9WOElVUVdCbjRuYytiTWdhcXFXTHQyTFNJaUlueGI1QkJhVzF1eGMrZE9hSnFHTTJmT3VJZWxsSEszbExJZ01qSnkxNkZEaC9wOFdDSjVTVXBLeWx5VHlmU3RVOUg3K3ZyaWEycHFUbnU3SmlJaUlpTHlUMngweHhHcjFUb2J3RVloeEVZQU13RWdJQ0FBeTVjdmg2cXFVQlJsWEtTOFVrbzRIQTVvbW9ZREJ3Nmd0OWN6Qy9rTEtlVmJBQW9yS3l2UCtyQkU4aEZGVVJ3QXJGY01PeHdPaDgwWDlSQVJFUkdSZi9KOTEwUlh5Y2pJTUxXMnRtWUxJVFlCeUFKZ0FJRFpzMmQ3VXQ3SXlFaXYxOVhTMHVKSmI4K2U5ZlN4T29CU0FBWGg0ZUc3bWQ3Nk4wVlJOZ1A0eFJYRG14ME94MHUrcUllSWlJaUkvQk1iM1hIT1pyUEZTU2tmRlVKc2xGTE9BdnBUM21YTGxrRlZWZGhzdGpGTmVhV1VzTnZ0MERRTkJ3OGU5S1MzUW9oR0tlVldvOUZZV0Y1ZS92bVlGVUFUaXMxbVM1UlNIaDg4WmpBWUVpc3FLazc0cWlZaUlpSWk4ajlzZENlSWpJd01VMXRiV3lhQVRRRFdZQ0Rsall1TFEwNU9EdGF1WFl2bzZPaFJlNzNtNW1iczNMa1R4Y1hGT0hmdW5IdFlCN0JUQ0ZFUUh4OWZ0bjM3ZHRlb3ZTQk5Hb3FpMUFKWUJBQkNpRnE3M1o3czQ1S0lpSWlJeU0rdzBaMkFVbEpTWmdVRUJEd3FwWHdNUUN3QW1Fd20zSFhYWFZCVkZVdVdMSUhCWUxqdTQrcTZqb3FLQ21pYWhvOCsrZ2g5Zlo1WnlPZUVFRnQ3ZTN1MzFkVFVESG12VkNLcjFmcHpJY1FMQUNDbC9IbGxaZVdMdnE2SmlJaUlpUHdMRzkwSkxDOHZ6M2o2OU9uVlVzcE5Vc3ExQUl3QU1HdldMT1RrNUdEZHVuVWpTbm1ibTV2eDRZY2Zvcmk0R0kyTm5qN1dCV0NIbExKZzNyeDVlNW5lMGtoWnJkWlVJVVRWd01OVWg4TlI0OU9DaUlpSWlNanZzTkdkSkZKVFUyTU1Cc01HSVVRK2dEaWdQK1hOeU1pQXFxcElUMCsvTE9YVmRSM2w1ZVdlOU5ibDh2U3haNldVVzlHL2N2S1hYdjlCYURJUWlxSjhBVUE2SEk1WkFLU3ZDeUlpSWlJaS84SkdkNUxKeThzem5qcDFhaVg2djh1N0RnTXBiMHhNREhKeWNuRDc3YmZqOE9IREtDNHV4aGRmZk9GK21ndkFod0FLRWhJUzlqRzlwWnVsS01xdmhCRFNicmYvczY5cklTSWlJaUwvdzBaM0VyUFpiTGRKS1RjQXlBY3c1MXQyT1FOZ2l4QmltOTF1LzhxYnRkR2taRkFVWmFXVThoMGh4SFFwWlljUUl0ZmhjT3hELzBKbVJFUkVSRVJld1ViWFB4aHNOdHNLS2FYN3ZyeTdoUkFGZHJ0OVA5aUEwRTJ5V3EwemhSQWJBRHlHYTMrZ3NsVUlVY2dQVklpSWlJaklHOWpvK2hGRlVTUUFPQndPL3Q3cHB1VGw1Um5yNit0WENTRTJBYmdiZzZiSXE2cnFtU0t2YWRxVlUrUzV3QmtSRVJFUmpUazJQSDZFalM3ZHJOVFUxQmlUeWVTK3RkWE5MSHAyVGdpeHRhK3ZyN0M2dXZxTHExK0ppSWlJaU9qR3NlSHhJMngwNlViazVlVVpHeG9hTWdlbXZxOEZZQUNBMk5oWTVPVGs0TzY3N3g3eGJheDI3TmdCVGRNdXU0MlZFR0tuRUtKZzd0eTVlNWp5RWhFUkVkRm9ZTVBqUjlqbzB2VklUMCtQZGJsY2p3TFlDQ0FXNkU5dmx5MWJCbFZWWWJQWkxrdHZSMHJYZGRqdGRtaWFob01IRDZLdnI4Kzk2WE1oeE5iZTN0N0NtcHFheHFHT1FVUkVSRVEwRkRZOGZvU05MZzBuSXlQRDFOYldsb1grMjFObFl5QzlqWXVMZzZxcVdMdDJMYUtpb2tidDlTNWV2SWlkTzNkQzB6U2NPM2ZPUGF3RDJBV2dJRHc4dk96UW9VTjkxejRDRVJFUkVkSFYyUEQ0RVRhNmRDMDJteTFPMS9XTlFvaU5BR0lBSUNBZ0FNdVhMNGVxcWxBVUJVS00zV2tqcFlURDRZQ21hVGh3NEFCNmUzc0JBRUtJUmlubFd3TXJOcDhiNWpCRVJFUkVSQURZNlBvVk5ybzBXRVpHaHFtbHBXV05FR0tURUNJTEErOEhzMmZQOXFTM2taR1JYcStycGFYRmsvS2VQWHZXUGF3RDJDMmxMSWlJaUNobHludnpRa0pDbGdRRkJhVTBOemNYK3JvV0lpSWlvdEhHaHNlUHNORWxBTEJhcmJNTkJzTmpVc3BIQWN3RWdNREFRRTk2YTdWYXh6UzlIU2twSlNvckt6MHByOVBwZEcvNlVrcjVGb0MzS2lzcnp3NXhDQnJDakJrei9nbUF2UFhXVzUrOWN0djU4K2QvTVdQR2pIOGRQRlpkWGUzOVR6MklpSWlJYnBEdnIyYkphOWpvK2krYnpSWWdwVndMSUI5QUpnYiszNTg3ZHk1VVZjV2FOV3NRRVJIaDB4cUgwdHJhaWwyN2RxR29xQWhuenB4eEQwc0FaVUtJQWdDNzdIWjdyODhLbklEaTQrTS92SERod3E4VEVoTDJIRDkrZkZaWFY5ZDVBRVpGVWJxdmVJOElVaFNsaSs4YlJFUkVOSkdZZkYwQUVZMmRsSlNVdVNhVHlaM2V6Z0Q2MDl1VksxZENWVldrcHFhT2kvUjJPQkVSRWZqKzk3K1BCeDU0QU5YVjFkQTBEZnYyN1JOT3B6TkxTcGtGNEN0RlVRcDFYZDlhVlZWMXh0ZjFUZ0RtOFBEd1pRME5EWThBUUZkWGx3c0FwNE1URVJIUnBNRkdsMmlTc2Rsc0FicXVyeE5DNUFOWWhZSDBOajQrSHJtNXVjak96a1o0ZUxodmk3eEJRZ2lrcGFVaExTME5Uei85TkVwTFMxRlVWSVNHaG9iYkFHdzJHQXcvVXhSbEw0QUNJY1FPcHJ6Zkxpb3FhcFhCWUFnRjBPenJXb2lJaUlqR3d2aVBjbWpVY09yeTVKYWVuaDdmMTllWEQyQ0RFR0k2MEovZXJscTFDcXFxSWlVbFpVS2t0OWRMU29tYW1ocG9tb2E5ZS9kNnZzc3JwVHdQb05Ca01tMHRMeTl2OEcyVjQwdDhmTHdXR1JtWjQzQTRoS0lvMHVWeXRhRi9LamlNUm1QRTExOS8vY3RwMDZiOXlMMi8wV2lNNFBzR0VSRVJUU1M4Y1BFamJIUW5INHZGRWhnVUZQUTlYZGZ6aFJBcjNlTUpDUW5JemMxRlZsYldoRTF2YjBSYld4dDI3OTZOb3FJaW5EcDF5ak11cGR3SG9NRHBkSDVZVzF2cnZQWVJKci9nNE9EWStQajRmV2F6ZWFHNzBYVTRITGNCK0hwZ2x5QUEzVmM4WjFaWFYxZWoxNHNsSWlJaXVrRnNlUHdJRzkzSlExR1VlZWhmV0dvRGdHa0FZRGFic1hyMWFxaXFpdVRrNUVtWjNvNlVsQkpIang2RnBtbllzMmNQZW5wNjNKdStFVUpzazFKdWRUZ2M5YjZzMFZkbXpacjFXbDlmMzVjelo4NzgxYmMxdWtGQlFYTVhMRmhRZnVYemFtcHFZZ0QwWERsT1JFUkVOQjc1NzVXd0gyS2pPN0ZaTEpaQXM5bDhENEJOQUphN3grZlBuNC9jM0Z4a1ptWWlMQ3pNZHdXT1UrM3Q3U2dySzBOUlVSRk9uanc1ZU5NQkFBVTlQVDBsL3BUeXpwbzE2MWVOalkyL1VoVGx3cmROWGE2cnEwdWZPblhxSTA2bjg4dW1wcVkzQU55eWVQSGkraU5IanN6d2JlVkVSRVJFSThmRnFJakd1ZFRVMUFWR28vRXhBSTlnSUwwTkNncENabVltVkZYRm9rV0wvRHE5SFU1WVdCank4dkt3ZnYxNjFOYldlbExlN3U3dTVRQ1dtODNtSmtWUjN0WjFmVXRWVmRYSllRODR3VFUyTm02K2NxeTZ1bm9oL2pwMUdSMGRIZjhUR1JsNWIxTlQweHRoWVdFWmx5NWQraSt2RmtsRVJFUjBrOWpvRW8xRDgrYk5NNGVGaGVVSUlUWUJ1TXM5dm5EaFFxaXFpcXlzTElTR2h2cXd3b2xIQ0lIazVHUWtKeWZqcHovOUtjckt5cUJwR2s2Y09ERU53RE1HZytFWlJWRStrbElXdExlM0Y5ZlgxMC9XYWJwOUdPYTl2NldsNVVCc2JPeC9BQWlaTm0zYUQ1dWJtOS8zVG1sRVJFUkVvNE14a0IvaDFPWHhiOG1TSlF0ZExsZStFT0lSQUZNQUlEZzQySlBlSmlVbE1iMGRSVkpLSER0MnpKUHlkblYxdVRkZGtGSytiVFFhdDFSVVZKendaWTFqeEtRb1N1KzNUVjEyT3AzbmpoOC9uaEliRy90cmc4RVFIaG9hYWp0MjdOaGlBTHB2U3lZaUlpSWFPU2E2UkQ2V2taRVIxTjdlcmtvcE4rbTZmcWU3a1UxS1NvS3Fxc2pNekVSSVNJaVBxNXljaEJDd1dDeXdXQ3lYcGJ4MWRYVlRoQkJQNmJyK2xLSW9Id3NoQ3NMQ3dyUkRodzUxRDMvVWllZktxY3NBME5uWitlbnMyYk4vODgwMzMvdzcyT1FTRVJIUkJNTm95STh3MFIxZkZFVkpBcEF2cGZ5aEVDSWFBRUpDUXBDVmxZV2NuQndrSlNYNXVFTC9kZno0Y1dpYWhyS3lNblIyZGdJQXBKVE5Rb2gzQUd4eE9CekhmVnZoVGJzczBSMjA2bkpvZEhUMG1xbFRwLzZEcnV2eS9QbnovenA5K3ZSL01wbE0wOCtmUC8vcXhZc1hPWVdaaUlpSUpnUTJQSDZFamE3dkxWMjZOTGlucHljWC9Tc24zK0VlWDdSb0VYSnpjN0ZxMWFwSm1kN3UzNzhmeno3N0xFcEtTaEFiRzN2RCs1V1VsS0NvcUFqMTlmVXdHbzFJU1VuQmswOCtpZm56NTQ5SjNaMmRuZGl6Wnc4MFRjT3hZOGNHYi9vVGdBS3oyVnoweVNlZmRGM2o2ZU9aSVNFaDRjTlRwMDZ0alkrUC82Q2hvZUV4QUMxbXMzbmhyYmZlK3ZoZi92S1hkN3E2dWo1MTd4d2FHcnJjYURRR3RiVzE3ZkpoelVSRVJFUWp4cW5MUkY2UW1wcHFNUnFOK1QwOVBROERpQUw2MDl2czdHeW9xb3FGQ3hmNnVNS0o0ZkRodzdqLy92dVJtSmlJcHFZbXZQYmFhL2p4ajMrTTB0SlNtRXlqLzNZV0VoS0NuSndjNU9Ua29LNnVEc1hGeFNndExVVm5aK2NkQU83bzZlbDVYVkdVMzBncEN5b3JLNDhOZThEeFF6OTE2dFJhQUdob2FGanZIdXpwNlRueCtlZWYvK09WTzNkMGRCendabkZFUkVSRU40dU5MdEVZV2JwMGFYQjNkM2NlZ0UxQ2lPKzZ4eTBXQzNKemM3Rnk1Y3BKbWQ2T3BWLys4cGN3R0F3QWdJU0VCRHo0NElONDhjVVgwZHpjakZ0dnZYVk1YenN4TVJIUFBmY2NIbi84Y2V6ZHV4ZWFwcUcydGpZS3dPTkNpTWV0VnV1ZkFSUUVCUVZ0bjZBcEx4RVJFZEdrd1Ntc2ZvUlRsNzFqeVpJbHlWTEtUVkxLaHdCRUFrQm9hQ2pXckZtRG5Kd2NMRml3d0dlMTdkbXpCKysvL3o1T25qd0pYZGN4Zi81OFBQend3MWl4WW9WbkgvZjA0Y0xDUXJ6MzNuczRmUGd3QWdJQ2tKMmRqU2VlZUFJQkFRRStxMzh3WGRmeHhCTlA0TUtGQzNqdnZmZDhVc09KRXljOEtXOUhSNGQ3dUVVSThhNFFvcUNpb3VLb1R3b2pJaUlpOG5Oc2VQd0lHOTJ4cFNoS0RnQnQ4TmppeFl1Um01dUxGU3RXSURnNDJFZVY5ZHUyYlJ2ZWZQTk5iTnk0RVJrWkdaQlNvcXlzRE8rKyt5NWVlT0VGM0hQUFBRRCsydWdtSkNUZ29ZY2VRbkp5TXV4Mk8xNSsrV1dzWDc4ZVR6Lzl0T2VZUzVjdXZlYnJmZkxKSjJQMnMzUjBkR0R6NXMxb2JHekVHMis4Z2VuVHA0L1phNDFFVjFjWDl1M2JCMDNUY09USWtTczNxdzZIbzlnWGRSRVJFUkg1SzA1ZEpobzk3dzUrOEl0Zi9BSlpXVm0rcXVVeWJXMXRLQ2dvd0lZTkcvRDNmLy8zbm5IM2QxM2ZmUE5OVDZQcjlzQUREK0R1dSs4R0FNeWRPeGRuejU1RmNYRXhubnp5U1JpTlJnREErKzk3ZnhGZXA5T0pUWnMyd1d3MjQrMjMzOFl0dDl6aTlScXVGQndjakhYcjFtSGR1blVvTFMzRkN5KzhNSGp6dTRxaWhBNTZMQWY5dWZMeERZMUpLYVVRWXFqeHk1N3ZIcE5TWG5WTUlZUWM0VGpjeHhvMGpzR3ZNVEIrVmUzdThVRTFlNTUveGMvaWVmNXdQNk9VOHY5VlZsYStDQ0lpSWlLdzBTVWFUUThCS01MQVRJbm5uMzhldi8vOTd6M2Z4L1Zsb2x0Yld3dW4wNGxseTVaZHRXM3AwcVVvS3l0RFUxTVRwazJiNWhtM1dxMlg3V2V4V1BDNzMvME9UVTFObURGakJnQmd6cHc1TjFSUGVucjZaWS9MeTh0SC9OeUtpZ3JVMWRYaDNYZmZIUmROTHRDZjZMcS90M3YwNkdXemxTWDZ6NHZCU2IvQUtNK21jZDk3ZWFUamYrMC9SNzV0dE1hSHFtdW9iY09OQ3lGV0FXQ2pTMFJFUkFEWTZCS05tb0hwcVlZbFM1WWt1MXl1ZkNIRXcwZVBIbzA4ZXZRb1huNzVaV1JuWnlNbko4Y25LeXpydWc1ZzZBYkRuZEs2dVJkOWN1dnU3Z1lBbU0xbXo5aVZEZXRnUXpXdjI3ZHZ2M2F4dzVnNmRTcVNrcEl3WmNxVUd6N0dhRGx4NGdRMFRjUHUzYnN2KzQ2dWxQSTNScU54eTZEdjZMcWJXNUdYbHllYW1wb0VBTFMzdDR2dTdtN1IwOU1qWnMyYUpRQ2dwNmRIT0oxTzBkdmJLMXd1bHdDQXlNaEkwZGZYSi9yNitqeGpMcGRMM0hMTExjTGxjZ21YeXlWMFhmZU1Cd2NIQzEzWFBXUHUvNVpTQ3JQWmZOV1lleit6Mlh6Wm1KUlNBRUJBUUlDUVVucit1SjgvZUJ3QTNQOXRNcG11R2h0dS9NcXhnYjh2R0kzR3ExNGJnQmc4RHFCc3RIKzNSRVJFTkxHeDBTVWFaUVBOemVOTGx5Nzk1Kzd1N3ZWQ2lFMGRIUjEvdTMzN2RtemZ2aDBXaXdXcXFucjFucm1KaVlrd0dvMzQrT09QcjFvTTY5TlBQMFZjWEJ5aW82TXZHejk1OGlUaTR1SThqdzhmUG95WW1CaEVSVVY1eG02MFliM1JKQmdBRml4WWdOLys5cmMzL1B5YjFkblpPWGpWNWNHYi9sdEtXUkFVRlBUQk5WWmRsZ0RrdGY3TzZ1dnJ4NkJhLzZBb2lxOUxJQ0lpb25HR2pTN1JHQmxvZHQ0RjhLN1ZhbDBraE1nSDhNUGEydHFvMnRwYXZQTEtLNTZVTnpFeGNVeHJtVEpsQ2g1NjZDRnMyYklGQUhEbm5YZENTb205ZS9kaXo1NDllT1dWVjY1Nnp1dXZ2dzZEd1lDNHVEanMyN2NQQnc0Y3dJc3ZYajR6OUdZYTFodDE3dHc1dlBUU1Mzajk5ZGNSR0Jqb3RkZXRxNnZ6cExlZG5aM3U0WXNBM3BGU2JwbGc5OUVsSWlJaW10VFk2Qko1d1VBVDlHUkdSc1p6YlcxdHVRQTJkWFoyL3QwSEgzeUFEejc0QUVsSlNjak56Y1hxMWF2SExPWDl5VTkrZ3BpWUdQemhEMzlBWVdFaFRDWVRrcE9UOGVhYmI4Sm1zMTIxLytPUFA0NXQyN2Joczg4K3cvVHAwN0Y1ODJhc1c3ZHVUR3E3SGgwZEhXaG9hRUJ2YisrWU43cWRuWjBvS3l1RHBtazRmdno0NEUzL0JhQWdQRHk4Nk5DaFE5MWpXZ1FSRVJFUlhUZmVac2FQOFBaQzQ0dk5aa3NFa0svcitpTkNpR2dBQ0FrSlFXWm1KbFJWUlZKU2trL3FjdDllcUtTa0JMR3hzVDZwd2RlT0hUc0dUZE5RVmxhR3JpN1BMT1FMUW9oM0FHeXgyKzExUGl5UHJzRDNOaUlpSXJvU0UxMGlIeGxvbHA3S3lNalkzTnJhbW9QK2xEZEQwelJvbW9iRXhFU29xb3JNekV5RWhvWU9kemk2U1IwZEhkaTllemMwVGNPSkV5Yzg0MUxLUXdBS0lpSWlpcG5lRWhFUkVVME1iSFNKZkd5Z2VYb2Z3UHRMbGl4WnFPdjZZd0FlcWF1cm0vclNTeS9oMVZkZnhlclZxNkdxS2hZdFdqVGt5c2wwZmFTVWw2VzM3cFdsQWZ3RndOc0dnMkZyUlVYRmlTRU9RVVJFUkVUakVCdGRvbkZrb0tsNlp0NjhlYytIaDRmZkEyQlRWMWZYc3BLU0VwU1VsR0Rod29XZWxIZTgzRU4ySXJwMDZaSW52ZjNzczg4R2J6b0lvS0N0cmEya3ZyNit4MGZsRVJFUkVkRk5ZalRrUi9nOXRva3BMUzF0dnNGZ2VBekFCZ0RUQUNBb0tNaVQ4bG9zRnFhOEl5Q2x4TkdqUjZGcEd2YnUzVHM0dlcwQ3NFM1g5YTFWVlZVbmZWZ2lqY0M4ZWZQTVVZUHZjUVhBNVhKOUJRQkdvL0cyd2VNWEwxNjh5QThzaUlpSS9CT3ZqdjBJRzkySnpXS3hCQVlGQlgxUFNya0p3QXIzK1B6NTg2R3FLckt5c2hBV0Z1YkRDc2VuOXZaMlQzcDc4dVJsZmV4K0lVUkJkM2YzSDJ0cmE1Mitxbyt1VDNwNitneVh5L1VsaHYvM1N6Y2FqVEhsNWVWZmU2TXVJaUlpR2wvWThQZ1JOcnFUaDgxbVN3Q1FMNlhjQU9CV0FEQ2J6VmkxYWhWVVZjWGl4WXY5T3VXVlV1TElrU09lOUxhbnh4UHFmU09sTERRWURGdnRkdnNwWDlaSU4wNVJsRU1BN2h4bXQ0OGREa2ZHMkZkRFJFUkU0NUgvWGduN0lUYTZrNC9GWWdrTURBeGNKNFRJQjdES1BaNlFrQUJWVlpHZG5ZM3c4SEFmVnVoZGJXMXRLQzB0aGFacE9IWHFzajUycjVTeXdPbDA3bUI2Ty9GWnJkYWZDQ0ZlSDJhM256Z2NqbDk3cFNBaUlpSWFkOWp3K0JFMnVwTmJlbnA2ZkY5ZjMyTUFIaFZDVEFlQXdNQkFUOHFia3BJeUtWTmVLU1ZxYW1vODZhM1Q2ZWxqdndaUWFEUWEzeW92TDIvd1lZazB5bEpUVTJPTVJtUGpVUHU0WEs1WjFkWFZYM2lySmlJaUlocGZKdDlWTDEwVEcxMy9ZTFBaQXFTVWR3UElCN0FhQS8rZng4ZkhRMVZWckZtelpsS2t2RzF0YmRpMWF4YzBUVU5EZzZlUGxRRDJBQ2dRUXV5MDIrMjl2cXVReHBLaUtKOEErSnRyYlA3RTRYRGM3czE2aUlpSWFIeGh3K05IMk9qNm43UzB0RGtES3pZL0N1QTJvRC9sWGJGaUJWUlZSVnBhMm9SS2VhV1VxS3FxZ3FacDJMOS8vK0QwOWlzaHhGc3VsK3V0cXFxcU16NHNrYnpFWnJNOUxhWDhQOSsyVFFqeHROMXVmOFhiTlJFUkVkSDRNWEd1Y09tbXNkSDFYemFiTFFEQUdsM1g4NFVRV1JqNGYzL09uRGxRVlJWcjE2NUZSRVNFYjRzY1FtdHJLM2J1M0FsTjAzRG16Qm4zc0pSUzdwWlNGa1JHUnU0NmRPaFFudzlMSkM5TFNVbVphektadm5WS2VsOWZYM3hOVGMxcGI5ZEVSRVJFNHdjYkhqL0NScGNBd0dxMXpnYXdVUWl4RWNCTUFBZ0lDTUR5NWN1aHFpb1VSUmtYS2ErVUVnNkhBNXFtNGNDQkEranQ5Y3hDL2tKSytSYUF3c3JLeXJNK0xKRjhURkVVQndEckZjTU9oOE5oODBVOVJFUkVOSDZZZkYwQUVYblhRSFA0THhrWkdUOXZiVzNORmtKczZ1M3R6U29yS3pPVWxaVmg5dXpabnBRM01qTFM2L1cxdExSNDB0dXpaejE5ckE2Z0ZFQkJlSGo0YnFhM05LQUlWemU2UmI0b2hJaUlpTVlYMzhjMjVEVk1kT2xhYkRaYm5KVHlVU0hFUmlubExLQS81VjIyYkJsVVZZWE5aaHZUbEZkS0NidmREazNUY1BEZ1FVOTZLNFJvbEZKdU5ScU5oZVhsNVorUFdRRTBJZGxzdGtRcDVmSEJZd2FESWJHaW91S0VyMm9pSWlLaThZRU5qeDlobzB2RHljaklNTFcxdFdVQzJBUmdEUUFEQU1URnhTRW5Kd2RyMTY1RmRIVDBxTDFlYzNNemR1N2NpZUxpWXB3N2Q4NDlyQVBZS1lRb2lJK1BMOXUrZmJ0cjFGNlFKaDFGVVdvQkxBSUFJVVN0M1c1UDluRkpSRVJFTkE2dzRmRWpiSFRwZXFTa3BNd0tDQWg0VkVyNUdJQllBRENaVExqcnJydWdxaXFXTEZrQ2c4RnczY2ZWZFIwVkZSWFFOQTBmZmZRUit2bzhzNURQQ1NHMjl2YjJicXVwcVJueUhxbEVibGFyOWVkQ2lCY0FRRXI1ODhyS3loZDlYUk1SRVJINUhoc2VQOEpHbDI1RVhsNmU4ZlRwMDZ1bGxKdWtsR3NCR0FGZzFxeFp5TW5Kd2JwMTYwYVU4alkzTitQRER6OUVjWEV4R2hzOWZhd0x3QTRwWmNHOGVmUDJNcjJsNjJXMVdsT0ZFRlVERDFNZERrZU5Ud3NpSWlLaWNZRU5qeDlobzBzM0t6VTFOY1pnTUd3UVF1UURpQVA2VTk2TWpBeW9xb3IwOVBUTFVsNWQxMUZlWHU1SmIxMHVUeDk3VmtxNUZmMHJKMy9wOVIrRUpoT2hLTW9YQUtURDRaZ0ZRUHE2SUNJaUl2STlOangraEkwdWpaYTh2RHpqcVZPblZxTC91N3pyTUpEeXhzVEVJQ2NuQjdmZmZqc09IejZNNHVKaWZQSEZGKzZudVFCOENLQWdJU0ZoSDlOYkdpMktvdnhLQ0NIdGR2cy8rN29XSWlJaUdoL1k4UGdSTnJvMEZtdzIyMjFTeWcwQThnSE0rWlpkemdEWUlvVFlacmZidi9KbWJUVHBHUlJGV1NtbC9KMFFJaHBBRzRCN0hRN0hQdlF2YWtaRVJFUitpZzJQSDJHalMyUE1ZTFBaVmtncE53SElBckJiQ0ZGZ3Q5djNnMDBIalNLcjFUcFRDTEVCd0dPNDlvY3JXNFVRaGZ4d2hZaUl5RCt4NGZFamJIVEpXM2l1MFdqTHk4c3oxdGZYcnhKQ2JBSndOd1pObDFkVjFUTmRYdE8wSzZmTGM3RXpJaUlpUDhTTFVEL0M1b084aGVjYWpaYlUxTlFZazhua3ZzM1Z6U3lBZGs0SXNiV3ZyNit3dXJyNmk2dGZpWWlJaUNZVFhvVDZFVFlmNUMwODEraG01T1hsR1JzYUdqSUhwc0d2QldBQWdOallXT1RrNU9EdXUrOGU4UzJ0ZHV6WUFVM1RMcnVsbFJCaXB4Q2lZTzdjdVh1WThoSVJFVTFPdkFqMUkydyt5RnQ0cnRHTlNFOVBqM1c1WEk4QzJBZ2dGdWhQYjVjdFd3WlZWV0d6MlM1TGIwZEsxM1hZN1hab21vYURCdytpcjYvUHZlbHpJY1RXM3Q3ZXdwcWFtc2FoamtGRVJFUVRDeTlDL1FpYkQvSVdubXMwVWhrWkdhYTJ0cllzOU4rcUtoc0Q2VzFjWEJ4VVZjWGF0V3NSRlJVMWFxOTM4ZUpGN055NUU1cW00ZHk1Yys1aEhjQXVBQVhoNGVGbGh3NGQ2cnYyRVlpSWlHZ2k0RVdvSDJIelFkN0NjNDJHWTdQWjRuUmQzeWlFMkFnZ0JnQUNBZ0t3ZlBseXFLb0tSVkVneE5pZFBsSktPQndPYUpxR0F3Y09vTGUzRndBZ2hHaVVVcjQxc0dMenVXRU9RME1JQ1FsWkVoUVVsTkxjM0Z6bzYxcUlpTWovOENMVWo3RDVJRy9odVViZkppTWp3OVRTMHJKR0NMRkpDSkdGZ1grRFpzK2U3VWx2SXlNanZWNVhTMHVMSitVOWUvYXNlMWdIc0Z0S1dSQVJFVkhLbFBmNnpaZ3g0NThBeUZ0dnZmWFpLN2VkUDMvK0Z6Tm16UGpYd1dQVjFkWGUvK1VURWRHa3hZdFFQOExtZzd5RjV4b05aclZhWnhzTWhzZWtsSThDbUFrQWdZR0JudlRXYXJXT2FYbzdVbEpLVkZaV2VsSmVwOVBwM3ZTbGxQSXRBRzlWVmxhZUhlSVFORWg4ZlB5SEZ5NWMrSFZDUXNLZTQ4ZVB6K3JxNmpvUHdLZ29TdmNWN3cxQmlxSjA4ZjJDaUloR2s4blhCUkFSMGVSanM5a0NwSlJyQWVRRHlKUlNDZ0NZTzNjdVZGWEZtalZyRUJFUjRkc2lyeUNFZ0tJb1VCUUZ6enp6REhidDJvV2lvaUtjT1hObXBoRGlCUURQSzRwU0pvUW9BTERMYnJmMytycm1jY3djSGg2K3JLR2g0UkVBNk9ycWNnRmdLazVFUkY3RFJwZUlpRVpOU2tyS1hKUEo1RTV2WndEOTZlM0tsU3VocWlwU1UxUEhSWG83bklpSUNIei8rOS9IQXc4OGdPcnFhbWlhaG4zNzlnbW4wNWtscGN3QzhKV2lLSVc2cm0rdHFxbzY0K3Q2eDV1b3FLaFZCb01oRkVDenIyc2hJaUwveEVhWGlJaHVpczFtQzlCMWZaMFFJaC9BS2d4OExTWStQaDY1dWJuSXpzNUdlSGk0YjR1OFFVSUlwS1dsSVMwdERVOC8vVFJLUzB0UlZGU0Vob2FHMndCc05oZ01QMU1VWlMrQUFpSEVEcWE4L2FLaW9qWU1mcHlhbW5vQ2dIUS9uamx6NXYrZU5tM2FqN3hlR0JFUitRMDJ1a1JFZEVQUzA5UGorL3I2OG5WZDN5Q0VtQTcwcDdlclZxMkNxcXBJU1VtWkVPbnRTSVdIaCtQKysrL0hmZmZkaDVxYUdtaWFocjE3OXdxbjA3a2F3R3BkMTg5YnJkWkNrOG0wdGJ5OHZNSFg5ZnBLY0hCd2JIQnc4S0xCWTlYVjFRc0JmRDN3TUFoQTk1ZGZmdm5jb09mTThtS0pSRVRrQjlqb0VoSFJpRmtzbHNDZ29LRHY2YnFlNzNLNVZyb2IyWVNFQk9UbTVpSXJLMnZDcHJjakpZUkFhbW9xVWxOVDhkUlRUMkgzN3Qwb0tpckNxVk9ucGdONHp1VnlQV2UxV3ZjQktIQTZuUi9XMXRZNmh6dm1aREpseXBTbkxseTRVRGh6NXN4ZmZkdjJvS0NnMnhZc1dGQis1WGhOVFUwTWdKNHhMNUNJaVB3Q0c5MEpLakF3TU5IcGRKNEN3R2x5UkRUbUZFV1poLzZGcFRaSUthY0pJV0EybTdGNjlXcW9xb3JrNU9SSmxkNk9WSGg0T082Nzd6N2NlKys5T0hyMEtEUk53NTQ5ZTlEVDA3TVN3RXF6MmZ5TnpXYmJKcVhjNm5BNDZuMWRyNWYwZlAzMTExc0hON3FEcHk3WDFkV2xYN2h3NGY4Nm5jNHZtNXFhM2dCd3krTEZpK3ZCSnBlSWlFWVJHOTBKS2prNStYaHRiZTM4bnA0ZWY3bmpwNjB3QUFBZ0FFbEVRVlJ3SWlJdnMxZ3NnV2F6K1I0QW13QXNkNC9Qbno4ZnVibTV5TXpNUkZoWW1POEtIRWVFRUZpOGVERVdMMTZNbi83MHB5Z3JLME5SVVJGT25qeDVxNVR5V1FEUEtvcHlBRUJCVDA5UHlXUk9lUnNiR3pkZk9YYkYxR1YwZEhUOFQyUms1TDFOVFUxdmhJV0ZaVnk2ZE9tL3ZGb2tFUkZOZW14MHg3blUxTlNXYTIxTFRFeDBBTkN2SE8vcTZqcnkyV2VmM1RHbWhSSFJwSldhbXJyQWFEUStCdUFSQU5NQUlDZ29DSm1abVZCVkZZc1dMZkxMOUhha3dzTENrSmVYaC9YcjE2TzJ0dGFUOG5aM2R5OEhzTnhzTmpjcGl2SzJydXRicXFxcVR2cTYzakhRaDJHdUwxcGFXZzdFeHNiK0I0Q1FhZE9tL2JDNXVmbDk3NVJHUkVUK2dsY3FFNVNpS1BKNkUxMUZVU1FBT0J3Ty90NXBUUEZjbTNqbXpadG5EZ3NMeXhGQ2JBSndsM3Q4NGNLRlVGVVZXVmxaQ0EwTjlXR0ZFOXVsUzVkUVZsWUdUZE53NHNTSndacytrbElXdExlM0Y5ZlgxMCttcWJzbVJWRjZIUTZIVUJSRnVseXVOZ3hNWFhZNm5lZU9IeitlRWhzYisydUR3UkFlR2hwcU8zYnMyR0o4eXdlM1JFUkVONHFKN2dRUUZCUTBaOUdpUmFkN2UzdlB1OGQ2ZTN2UEwxaXc0TC9kajRVUVJwUEpOSldOQlJGZGp5VkxsaXgwdVZ6NVFvaEhBRXdCZ09EZ1lFOTZtNVNVeFBSMkZOeHl5eTFZdjM0OWNuTnpjZXpZTVUvSzI5WFZkWmNRNHE3dzhQQUxWcXYxYmFQUnVLV2lvdUxFOEVlY1dLNmN1Z3dBbloyZG44NmVQZnMzMzN6enpiK0RUUzRSRVkweU5yb1R5SkVqUjJaY2E1dTdHZlptUFVRME1XVmtaQVMxdDdlclVzcE51cTdmNlc1a2s1S1NvS29xTWpNekVSSVM0dU1xSnljaEJDd1dDeXdXaStlN3ZKcW1vYTZ1Ym9vUTRpbGQxNTlTRk9WaklVUkJXRmlZZHVqUW9XNWYxenpLUXFPam85ZE1uVHIxSDNSZGx5ZFBudnk3NmRPbi8xTmlZdUwvbkQ5Ly90V0xGeTl5Q2pNUkVZMEtOcm9UaU1WaXVlWTBaU0VFZjVkRU5DUkZVWklBNUxlMnR2NVFDQkVOQUNFaEljakt5a0pPVGc2U2twSjhYS0YvQ1EwTlJXNXVMbkp6YzNIOCtIRm9tb2F5c2pKMGRuYmVLYVc4czdXMXRWbFJsSGNBYkhFNEhNZDlYZTkxMGx0YlczY0JRRXRMU3hHQWJnQXdtODJ6UWtORE16Ny8vUFBudXJxNlBnV0E5dmIyUDRXR2hpNDNHbzFCUHF5WGlJZ21HYzVIbXdEY2FhM1Q2VHg3clgyRUVLYUFnSUNZb2FZdTgzdVQ1QzA4MThhUHBVdVhCdmYwOU9TaWYrVmt6eUoxaXhZdFFtNXVMbGF0V2pYcDB0djkrL2ZqMldlZlJVbEpDV0pqWXdFQTU4K2Z4ejMzM0lOUFB2bGsySDBIS3lrcFFWRlJFZXJyNjJFMEdwR1Nrb0lubjN3UzgrZlBINVBhT3pzN3NXZlBIbWlhaG1QSGpnM2U5Q2NBQldhenVlaVRUejdwR3BNWEp5SWlta1NZQWs0Z1I0OGVuWE90Ylp5NlRFU0RwYWFtV294R1kzNVBUOC9EQUtLQS92UTJPenNicXFwaTRjS0ZQcTdRT3pvN08zSHMyREVzWHJ3WTBkSFI2T3ZydzZlZmZvcnZmdmU3STNyKzRjT0hjZi85OXlNeE1SRk5UVTE0N2JYWDhPTWYveGlscGFVd21VYi9uOUNRa0JEazVPUWdKeWNIZFhWMUtDNHVSbWxwS1RvN08rOEFjRWRQVDgvcmlxTDhSa3BaVUZsWmVXellBeElSRWZrcE5yb1RTSEp5OHBscmJlUFVaU0phdW5ScGNIZDNkeDZBVFVJSVR5ZG5zVmlRbTV1TGxTdFhUcnIwZGppTmpZMG9MQ3hFVzFzYjJ0dmI4ZkRERDJQYXRHbXdXQ3lJakl3Yzl2bS8vT1V2WVRBWUFBQUpDUWw0OE1FSDhlS0xMNks1dVJtMzNucnJtTmFlbUppSTU1NTdEbzgvL2pqMjd0MExUZE5RVzFzYkJlQnhJY1RqVnF2MXp3QUtnb0tDdGpQbEpTSWl1aHluRlU0QTdyUjJxR21nSTltSDAwbkpXM2l1ZWRlU0pVdVNwWlNicEpRUEFZZ0Urci8vdVdiTkd1VGs1R0RCZ2dVK3FXdlBuajE0Ly8zM2NmTGtTZWk2anZuejUrUGhoeC9HaWhVclBQdTRwdzRYRmhiaXZmZmV3K0hEaHhFUUVJRHM3R3c4OGNRVENBZ0lHSlZhZnZhem42R3hzUkYvOHpkL2czLzh4Mys4b1dQb3VvNG5ubmdDRnk1Y3dIdnZ2VGNxZFYydkV5ZE9lRkxlam80TzkzQ0xFT0pkSVVSQlJVWEZVWjhVUmtSRU5NN3dJblFjQ3c4UFh6TjM3dHozQUJpTVJtT1l5K1ZxSFdMM3kvYXBycTYrS3FwZzgwSGV3blBOT3hSRnlRR2dEUjVidkhneGNuTnpzV0xGQ2dRSEIvdW9NbURidG0xNDg4MDNzWEhqUm1Sa1pFQktpYkt5TXJ6NzdydDQ0WVVYY004OTl3RDRhNk9ia0pDQWh4NTZDTW5KeWJEYjdYajU1WmV4ZnYxNlBQMzAwNTVqTGwyNjlKcXZkK1YzYndmNzNlOStod01IRHVDTk45N0F2ZmZlaTJlZWVRWjMzSEhITmZmL05oMGRIZGk4ZVRNYUd4dnh4aHR2WVByMDZkZjEvTkhXMWRXRmZmdjJRZE0wSERseTVNck5xc1BoS1BaRlhVUkVST01GTDBJbkRtTmtaT1RhcVZPbi9zTzVjK2VlY2pxZHh3QWdKaWJtM3d3R1EzaHpjM05KUjBmSHh3RDZyblVBTmgva0xUelh2RU5SbEVzQVF0MlBmL0dMWHlBcks4dUhGZlZyYTJ2RDZ0V3I4ZkRERCtOSFAvclJaZHMyYjk2TWlvb0s3Tm16QjhCZkc5M25uMzhlT1RrNW52MWVlZVVWRkJjWDQrT1BQNGJSYUFRQW5EbHo1cHF2T1dmT25HdHV1M1RwRXRyYTJqQno1a3ljUG4wYU1URXhDQXdNSFBIUDQzUTZzV0hEQnBqTlpyeisrdXU0NVpaYlJ2eGNieWd0TGNVTEw3d3dlS2dEZzg0TEFITFFueXNmWC9lNGxGSUNnQkJpUk9QdXNZSHRYaDEzMXpXb0pzL1BjeFBqdXgwT3gydmY5cnNnSXFMeGc5L3JIT2RDUWtKczBkSFI5MFpGUmYxQTEvVkxUVTFOcnc5ZWZmbml4WXNsMGRIUjk4NlpNMmVyMFdnTWEybHAwUzVldlBodWUzdjduM3haTnhGNXhVTUFpakR3b2VYenp6K1AzLy8rOTU3djQvb3EwYTJ0cllYVDZjU3laY3V1MnJaMDZWS1VsWldocWFrSjA2Wk44NHhicmRiTDlyTllMUGpkNzM2SHBxWW16SmpSZnd2eG9aclpvZHh5eXkyZTVuVHUzTG5YL2Z5S2lnclUxZFhoM1hmZkhUZE5ibGRYbCtkN3UwZVBYalpiV2FML3ZCaWM5QXVNNGdmYjd2c3VqM1FjQUFaNllLK1BEMVhYalk1TEtWTUJzTkVsSWhybjJPaU9jOU9uVDMvRzVYSjFuejU5K3NGTGx5NTlqTDkrd2d3QTZPenNMTy9zN0N4dmJHeDhKaXdzN0x0UlVWRVBoWWFHTG1PalN6VDVEVXhQTlN4WnNpVFo1WExsQ3lFZVBucjBhT1RSbzBmeDhzc3ZJenM3R3prNU9WNWZZVm5YZFFCRE56N3VsTmJOdmVDVFczZDNOd0RBYkRaN3h0TFQwNjk1dlBMeTh1dXVjNlNtVHAyS3BLUWtUSmt5WmN4ZVk2Uk9uRGdCVGRPd2UvZnV5NzZqSzZYOGpkRm8zRExvTzdydTVsYms1ZVdKcHFZbUFRRHQ3ZTJpdTd0YjlQVDBpRm16Wm9tZW5oNEJBRTZuVS9UMjlncVh5eVVpSXlORlgxK2ZBSUMrdmo3aGNybUV5K1VTdDl4eWkzQzVYQUlBWEM2WDBIVmR1Rnd1RVJ3Y0xIUmRGd0NnNjdwdy81RlNDZ0F3bTgyWGpibjNkWSs3eDl6N0J3UUVDQ21sNTQ5Ny95dkgzZnViVEtZUmpRT0FsRko4MnpnQVlUUWFoeHdIY0p1VTh1MVIvNlVTRWRHWVlLTTd6cDArZmZyK2tlN2IzdDcrNS9iMjlqK1BaVDFFTlA0TU5EZVBMMTI2OUorN3U3dlhDeUUyZFhSMC9PMzI3ZHV4ZmZ0MldDd1dxS3JxdFh2bUppWW13bWcwNHVPUFA3NXFJYXhQUC8wVWNYRnhpSTZPdm16ODVNbVRpSXVMOHp3K2ZQZ3dZbUppRUJVVjVSbmJ2bjM3MkJaK0RRc1dMTUJ2Zi90Ym43dzIwSCtMcEVHckxnL2U5TjlTeW9LZ29LQVByckhxc2dRZ3IvWDNWbDlmUHdiVlRsN3A2ZWt6WEM2WHI4c2dJcUlSWXFOTFJEUkpERFE3N3dKNDEycTFMaEpDNUFQNFlXMXRiVlJ0YlMxZWVlVVZUOHFibUpnNFpuVk1tVElGRHozMEVMWnMyUUlBdVBQT095R2x4TjY5ZTdGbnp4Njg4c29yVnozbjlkZGZoOEZnUUZ4Y0hQYnQyNGNEQnc3Z3hSZGZ2R3lmRzUyNmZMUE9uVHVIbDE1NkNhKy8vdnAxZmJmM1p0WFYxWG5TMjg3T1R2ZndSUUR2U0NtMzhENjZSRVJFMThaR2w0aG9FaHBvZ3A3TXlNaDRycTJ0TFJmQXBzN096ci83NElNUDhNRUhIeUFwS1FtNXVibFl2WHIxbUtTOFAvbkpUeEFURTRNLy9PRVBLQ3dzaE1sa1FuSnlNdDU4ODAzWWJMYXI5bi84OGNleGJkczJmUGJaWjVnK2ZUbzJiOTZNZGV2V2pYcGRONktqb3dNTkRRM283ZTBkODBhM3M3TVRaV1ZsMERRTng0OGZIN3pwdndBVWhJZUhGeDA2ZEtoN1RJc2dJaUthQkxnaXFoL2hTcmprTFR6WHhpZWJ6WllJSUYvWDlVZUVFTkVBRUJJU2dzek1US2lxaXFTa0pLL1g1RjUxdWFTa0JMR3hzVjUvL2ZIaTJMRmowRFFOWldWbDZPcnl6RUsrSUlSNEI4QVd1OTFlNThQeUNKNnB5MTlKS2M5WFZsYk84SFU5UkVRME5DYTZSRVIrWXFCWmVpb2pJMk56YTJ0ckR2cFQzZ3hOMDZCcEdoSVRFNkdxS2pJek14RWFHanJjNGVnbWRYUjBZUGZ1M2RBMERTZE9uUENNU3lrUEFTaUlpSWdvWm5wTFJFUjBZOWpvRWhINW1ZSG02WDBBN3k5WnNtU2hydXVQQVhpa3JxNXU2a3N2dllSWFgzMFZxMWV2aHFxcVdMUm8wWkNySjlQMWtWSmVsdDY2VjVjRzhCY0FieHNNaHEwVkZSVW5oamdFRVJFUmpRQWJYU0lpUHpiUVZEMHpiOTY4NThQRHcrOEJzS21ycTJ0WlNVa0pTa3BLc0hEaFFrL0tPMTd1SVRzUlhicDB5WlBlZnZiWlo0TTNIUVJRME5iV1ZsSmZYOS9qby9LSWlJZ21IWDVNNzBmNHZVbnlGcDVyRTF0YVd0cDhnOEh3R0lBTkFLWUJRRkJRa0NmbHRWZ3NUSGxIUUVxSm8wZVBRdE0wN04yN2QzQjYyd1JnbTY3clc2dXFxazc2c0VRYXd0S2xTNFA3K3ZvaTNJOE5Cc090dmIyOTFRQ2FqRVpqeXVCOWRWMi9ZTGZiZTcxZUpCRVJYUk92VlB3SW13L3lGcDVyazRQRllna01DZ3I2bnBSeUU0QVY3dkg1OCtkRFZWVmtaV1VoTEN6TWh4V09UKzN0N1o3MDl1VEp5L3JZL1VLSWd1N3U3ai9XMXRZNmZWVWZqVXhxYXFyRmFEUWVIY0d1blVLSWFYYTd2WFA0WFltSXlGdDRFZXBIMkh5UXQvQmNtM3hzTmxzQ2dId3A1UVlBdHdLQTJXekdxbFdyb0tvcUZpOWU3TmNwcjVRU1I0NGM4YVMzUFQyZVdjamZTQ2tMRFFiRFZydmRmc3FYTmRKMUU0cWlIQWV3Y01pZGhQakFicmZuZWFrbUlpSWFJWDVIbDRpSWhqWFFwUDJ6eFdMNWw4REF3SFZDaVB5ZW5wNVZPM2Jzd0k0ZE81Q1FrQUJWVlpHZG5ZM3c4SEJmbCtzMWJXMXRLQzB0aGFacE9IWHFzajUycjVTeXdPbDA3bUI2TzJGSkFFVUFmamJVVHJxdUYzbW5IQ0lpdWg3KysvRzdIMkxLUnQ3Q2M4MC9wS2VueC9mMTlUMEc0RkVoeEhRQUNBd005S1M4S1NrcGt6TGxsVktpcHFiR2s5NDZuWjQrOW1zQWhVYWo4YTN5OHZJR0g1WklvOFJtc3lsU1N2c1F1L1FFQndkUCsvT2YvOXp1dGFLSWlHaEVKdDhWQ0YwVG13L3lGcDVyL3NWbXN3VklLZThHa0E5Z05RYitiWW1QajRlcXFsaXpaczJrU0huYjJ0cXdhOWN1YUpxR2hnWlBIeXNCN0FGUUlJVFl5UVdKSmgyaEtFb0RnRG5YMlA2aHcrSDRuaGZySVNLaUVlSkZxQjloODBIZXduUE5mNldscGMwWldMSDVVUUMzQWYwcDc0b1ZLNkNxS3RMUzBpWlV5aXVsUkZWVkZUUk53Lzc5K3dlbnQxOEpJZDV5dVZ4dlZWVlZuZkZoaVRUR3JGYnJ5MEtJcDc1dG01VHloNVdWbGIveGRrMUVSRFM4aVhPMVFUZU56UWQ1Qzg4MXN0bHNBUURXNkxxZUw0VEl3c0MvTjNQbXpJR3FxbGk3ZGkwaUlpS0dQb2dQdGJhMll1Zk9uZEEwRFdmT25IRVBTeW5sYmlsbFFXUms1SzVEaHc3MStiQkU4aEtyMWJwVUNISDRXemIxOXZiMlRqOXk1TWhGcnhkRlJFVEQ0a1dvSDJIelFkN0NjNDBHczFxdHN3RnNGRUpzQkRBVEFBSUNBckI4K1hLb3FncEZVY1pGeWl1bGhNUGhnS1pwT0hEZ0FIcDdQYk9RdjVCU3ZnV2dzTEt5OHF3UFN5VGZNQ2lLOGprR3p0MUJ5aHdPUjVZdkNpSWlvdUZ4MVdVaUlocFRBODNodjJSa1pQeTh0YlUxV3dpeHFiZTNONnVzck14UVZsYUcyYk5uZTFMZXlNaElyOWZYMHRMaVNXL1Budlgwc1RxQVVnQUY0ZUhodTVuZStqVWRnQWJnL3hzOEtJVGdhc3RFUk9PWTd6OUNKNjloeWtiZXduT05obU96MmVLa2xJOEtJVFpLS1djQi9TbnZzbVhMb0tvcWJEYmJtS2E4VWtyWTdYWm9tb2FEQnc5NjBsc2hSS09VY3F2UmFDd3NMeS8vZk13S29BbGx5WklsR2JxdWZ6Um95Q1dFbUdHMzIvL2lzNktJaUdoSXZBajFJMncreUZ0NHJ0RklaV1JrbU5yYTJqSUJiQUt3Qm9BQkFPTGk0cENUazRPMWE5Y2lPanA2MUY2dnVia1pPM2Z1UkhGeE1jNmRPK2NlMWdIc0ZFSVV4TWZIbDIzZnZ0MDFhaTlJazBKZVhwN3gxS2xUNXdGTUdSZzY2SEE0bHZ1eUppSWlHaG92UXYwSW13L3lGcDVyZENOU1VsSm1CUVFFUENxbGZBeEFMQUNZVENiY2RkZGRVRlVWUzVZc2djRmd1TzdqNnJxT2lvb0thSnFHano3NkNIMTlubG5JNTRRUVczdDdlN2ZWMU5RMGp0NVBRcE9Sb2lpL0JmQURBQkJDL05odXQvK0hqMHNpSXFJaDhEdTZSRVEwTGd3MG16L1B5OHY3dDlPblQ2K1dVbTdxNit0YnUyL2ZQdU8rZmZzd2E5WXM1T1RrWU4yNmRTTktlWnVibS9IaGh4K2l1TGdZalkyZVB0WUZZSWVVc21EZXZIbDdtZDdTU0JrTWhsMjZydjlnNEdHeFQ0c2hJcUpoTVczeEkwelp5RnQ0cnRGb1NVMU5qVEVZREJ1RUVQa0E0b0QrbERjakl3T3FxaUk5UGYyeWxGZlhkWlNYbDN2U1c1ZkwwOGVlbFZKdVJmL0t5Vjk2L1FlaENXL2h3b1Zob2FHaFh3RTQ3WEE0RnZ1NkhpSWlHaG92UXYwSW13L3lGcDVyTk5vR3ZpTzVFdjNmNVYwSHdBZ0FNVEV4eU1uSndlMjMzNDdEaHcranVMZ1lYM3p4aGZ0cExnQWZBaWhJU0VqWXgvU1dicGJOWm50SFNsbnBjRGhlODNVdFJFUTBORjZFK2hFMkgrUXRQTmRvTE5sc3R0dWtsQnNBNUFPWTh5MjduQUd3UlFpeHpXNjNmK1hOMm1oU01paUtzbEpLK1k0UVlycVU4cElRWXIzRDRkaUgvb1hNaUlob0hPSkZxQjloODBIZXduT052TVJnczlsV1NDazNBY2dDc0ZzSVVXQzMyL2VERFFqZEpLdlZPbE1Jc1FIQVk3ajJCeXBiaFJDRi9FQ0ZpR2o4NFVXb0gySHpRZDdDYzQyOGllY2JqWmE4dkR4amZYMzlLaUhFSmdCM1k5QVVlVlZWUFZQa05VMjdjb284RnpnaklocG5lRkhnUjNneFNON0NjNDI4aWVjYjNhelUxTlFZazhua3ZyWFZ6U3g2ZGs0SXNiV3ZyNit3dXJyNmk2dGZpWWlJdklXM0Z5S2lJUVVHQmlZNm5jNVRBSHA5WFFzUjBXakp5OHN6TmpRMFpBNU1mVjhycFRRQVFHeHNMSEp5Y25EMzNYZGY4elpXQm9NQjMvbk9kL0NkNzN3SHpjM04yTEZqQnpSTlEyTmpZNXlVOHVkR28vRkZtODIyVXdoUk1IZnUzRDFNZVltSXZJK2ZmdnNScGg1MEl4UkZrYlcxdGZON2VucnFyK2M1QU04MThnNmViM1E5MHRQVFkxMHUxNk1BTmdLSUJmclQyMlhMbGtGVlZkaHN0c3ZTMjVIU2RSMTJ1eDJhcHVIZ3dZUG82K3R6Yi9wY0NMRzF0N2UzY09CZTBVUkU1QVZNZElrSUFKQ2FtdHB5clcySmlZa09mTXZpUGwxZFhVYysrK3l6TzhhME1DS2ltNVNSa1dGcWEydkxBckRKNVhKbEF6QUFRRnhjSEZSVnhkcTFheEVWRlhWVHIyRXdHSkNlbm83MDlIUmN2SGdSTzNmdWhLWnBPSGZ1WEt5VThuK1pUS1lYRlVYWkJhQWdQRHk4N05DaFEzM0RIcFNJaUc0WVAvMzJJMHc5NkVZdzBhWHhqdWNiWFl2TlpvdlRkWDJqRUdJamdCZ0FDQWdJd1BMbHk2R3FLaFJGZ1JCamQ5cElLZUZ3T0tCcEdnNGNPSURlM3Y1dmdBZ2hHcVdVYncyczJIeHV6QW9nSXZKanZDandJN3dZcE9FRUJRWE5XYlJvMGVuZTN0N3oxOXBIQ0dFMG1VeFRoenFQZUs2Uk4vRjhvOEV5TWpKTUxTMHRhNFFRbTRRUVdSaTQxcGs5ZTdZbnZZMk1qUFI2WFMwdExaNlU5K3pacys1aEhjQnVLV1ZCUkVSRUtWUGV5NFdFaEN3SkNncEthVzV1THZSMUxVUTA4WERxTWhGZDVjaVJJek91dGMzZERIdXpIaUtpNFZpdDF0a0dnK0d4dHJhMlJ3MEd3MHdBQ0F3TTlLUzNWcXQxVE5QYjRVUkdSdUxCQngvRUQzN3dBMVJXVnJwVFhvUFQ2VndqaEZqVDF0YjJwZFZxZlF2QVc1V1ZsV2VIUGFBZkNBOFBYd1pBcHFTay9PWEtiZWZQbi8vRmpCa3ovblh3V0hWMXRmYy93U0NpY1l1TkxoRmR4V0t4WEhPYXNoQ0M3eHRFTkM3WWJMWUFLZVZhQVBrQU1xV1VBZ0RtenAwTFZWV3haczBhUkVSRStMYklLd2dob0NnS0ZFWEJNODg4ZzEyN2RxR29xQWhuenB5WktZUjRBY0R6aXFLVUNTRUtBT3l5MisxK3UrSjlTRWpJMzE2NGNPSFhKcE5weXZIangyZDFkWFdkQjJCVUZLWDcvUG56cjUwL2YvNjFnVjJERkVYcDhtV3RSRFQrOElLVmlLNHlWRFBMUnBlSWZDMGxKV1d1eVdSNlRFcjVLSUFaUUg5NnUzTGxTcWlxaXRUVVZKK210eU1WRVJHQjczLy8rM2pnZ1FkUVhWME5UZE93Yjk4KzRYUTZzNlNVV1FDK1VoU2xVTmYxclZWVlZXZDhYYStYbWNQRHc1YzFORFE4QWdCZFhWMHVBSnphVFVRanhndFdJcnJLMGFOSDUxeHJHNmN1RTVFdjJHeTJBRjNYMXdraDhnR3N3c0IzYitQajQ1R2JtNHZzN0d5RWg0Zjd0c2diSklSQVdsb2EwdExTOFBUVFQ2TzB0QlJGUlVWb2FHaTREY0JtZzhId00wVlI5Z0lvRUVMczhJZVVOeW9xYXBYQllBZ0YwT3pyV29ob1ltS2pTMFJYU1U1T1BuT3RiVXgwaWNpYjB0UFQ0L3Y2K3ZKMVhkOGdoSmdPOUtlM3ExYXRncXFxU0VsSm1SRHA3VWlGaDRmai92dnZ4MzMzM1llYW1ocG9tb2E5ZS9jS3A5TzVHc0JxWGRmUFc2M1dRcFBKdExXOHZMekIxL1dPbGFpb3FBMkRINmVtcHA0QUlOMlBaODZjK2IrblRadjJJNjhYUmtRVEJpOVlpZWdxVEhTSnlKY3NGa3RnVUZEUTkzUmR6M2U1WEN2ZGpXeENRZ0p5YzNPUmxaVTFZZFBia1JKQ0lEVTFGYW1wcVhqcXFhZXdlL2R1RkJVVjRkU3BVOU1CUE9keXVaNnpXcTM3QUJRNG5jNFBhMnRybmI2dWViUUVCd2ZIQmdjSEx4bzhWbDFkdlJEQTF3TVBnd0IwZi9ubGw4OE5lczRzTDVaSVJCTUFHMTBpUW5oNCtKcTVjK2UrQjhBQUFLbXBxUzFEN0g3WlBsemxrb2hHaTZJbzg5Qy9zTlFHS2VVMElRVE1aak5XcjE0TlZWV1JuSnc4cWRMYmtRb1BEOGQ5OTkySGUrKzlGMGVQSG9XbWFkaXpadzk2ZW5wV0FsaHBOcHUvc2RsczI2U1VXeDBPeDRqdmVUNWVUWmt5NWFrTEZ5NFV6cHc1ODFmZnRqMG9LT2kyQlFzV2xGODVYbE5URXdPZ1o4d0xKS0lKZ1kwdUVhR3RyVzNYb0liVkdCa1p1WGJxMUtuL2NPN2N1YWVjVHVjeEFJaUppZmszZzhFUTN0emNYTkxSMGZFeHVDZ0lFWTBDaThVU2FEYWI3d0d3Q2NCeTkvajgrZk9SbTV1THpNeE1oSVdGK2E3QWNVUUlnY1dMRjJQeDRzWDQ2VTkvaXJLeU1oUVZGZUhreVpPM1NpbWZCZkNzb2lnSEFCVDA5UFNVVE9DVXQrZnJyNy9lT3JqUkhUeDF1YTZ1THYzQ2hRdi8xK2wwZnRuVTFQUUdnRnNXTDE1Y0R6YTVSRFFJRzEwaUFnQ0VoSVRZb3FPajc0MktpdnFCcnV1WG1wcWFYbmM2blo1N09WNjhlTEVrT2pyNjNqbHo1bXcxR28xaExTMHQyc1dMRjk5dGIyLy9reS9ySnFLSktUVTFkWUhSYUh3TXdDTUFwZ0ZBVUZBUU1qTXpvYW9xRmkxYTVKZnA3VWlGaFlVaEx5OFA2OWV2UjIxdHJTZmw3ZTd1WGc1Z3VkbHNibElVNVcxZDE3ZFVWVldkOUhXOTE2T3hzWEh6bFdOWFRGMUdSMGZILzBSR1J0N2IxTlQwUmxoWVdNYWxTNWYreTZ0RkV0RzR4MGFYaUFBQTA2ZFBmOGJsY25XZlBuMzZ3VXVYTG4yTVFZdCtBRUJuWjJkNVoyZG5lV05qNHpOaFlXSGZqWXFLZWlnME5IUVpHMTBpR3FsNTgrYVp3OExDY29RUW13RGM1UjVmdUhBaFZGVkZWbFlXUWtORGZWamh4Q09FUUhKeU1wS1RrejBwcjZacE9ISGl4RFFBenhnTWhtY1VSZmxJU2xuUTN0NWVYRjlmUHhGU3p6NE1jNDNhMHRKeUlEWTI5ajhBaEV5Yk51Mkh6YzNONzN1bk5DS2FLUGhScVI5UkZFVUNnTVBoNE8rZHhoVFBOZkltbm0vajM1SWxTeGE2WEs1OEljUWpBS1lBUUhCd3NDZTlUVXBLWW5vN2lxU1VPSGJzbUNmbDdlcnFjbSs2SUtWODIyZzBicW1vcURqaHl4cEh3S1FvU3EvRDRSQ0tva2lYeTlXR2dROWduVTdudWVQSGo2ZkV4c2IrMm1Bd2hJZUdodHFPSFR1MkdJRHUyNUtKYUR4aG9rdEVSRVNqTGlNakk2aTl2VjJWVW03U2RmMU9keU9ibEpRRVZWV1JtWm1Ka0pBUUgxYzVPUWtoWUxGWVlMRllMa3Q1NitycXBnZ2hudEoxL1NsRlVUNFdRaFNFaFlWcGh3NGQ2dloxemNPNWN1b3lBSFIyZG40NmUvYnMzM3p6elRmL0RqYTVSSFFGTnJwRVJFUTBhaFJGU1FLUTM5cmEra01oUkRRQWhJU0VJQ3NyQ3prNU9VaEtTdkp4aGY0bE5EUVV1Ym01eU0zTnhmSGp4NkZwR3NyS3l0RFoyWG1ubFBMTzF0Yldaa1ZSM2dHd3hlRndIUGQxdlNNUUdoMGR2V2JxMUtuL29PdTZQSG55NU45Tm56NzlueElURS8vbi9QbnpyMTY4ZUpGVG1Ja0lBQnRkSWlJaXVrbExseTRON3VucHlVWC95c2wzQVAycDRxSkZpNUNibTR0VnExWk55dlIyLy83OWVQYlpaMUZTVW9MWTJOakx0clczdHlNN094c3Z2dmdpQUZ4elB3QW9LU2xCVVZFUjZ1dnJZVFFha1pLU2dpZWZmQkx6NTg4ZjFYcVRrcEt3ZWZObVBQbmtrOWl6Wnc4MFRjT3hZOGVpQVR3SjRFbEZVZjRFb01Cc05oZDk4c2tuWGNNY2JxenByYTJ0dXdDZ3BhV2xDRUEzQUpqTjVsbWhvYUVabjMvKytYTmRYVjJmQWtCN2UvdWZRa05EbHh1TnhpQWYxa3RFNHd3YlhTSWlJcm9ocWFtcEZxUFJtTi9UMC9Nd2dDaWdQNzNOenM2R3FxcFl1SENoanl2MG5ULys4WStJaUlqQXNtWExjUERnd1NIM1BYejRNTzYvLzM0a0ppYWlxYWtKcjczMkduNzg0eCtqdExRVUp0UG9YNnFGaElRZ0p5Y0hPVGs1cUt1clEzRnhNVXBMUzlIWjJYa0hnRHQ2ZW5wZVZ4VGxOMUxLZ3NyS3ltT2pYc0RJNktkT25Wb0xBQTBORGV2ZGd6MDlQU2MrLy96emY3eHk1NDZPamdQZUxJNkl4ajgydWtSRVJEUmlTNWN1RGU3dTdzNERzRWtJOFYzM3VNVmlRVzV1TGxhdVhEa3AwOXZyb2VzNi92TS8veFAzM1hjZkRBYkRzUHYvOHBlLzlPeVhrSkNBQng5OEVDKysrQ0thbTV0eDYvL1AzcDJIUjFYZjcvKy96eVNCc0NRU2tLSkZBUUVWQlZrbW9LSlNRYkdWeFNnUmNQbTRnQXVpbGxwS1JSR1hXclgrUUJaQnF4WVFCUlNRMEtBQ2dvQWFiSUVxVEtJc0NvcEFXRVVrUUVKQ2tzbk0rZjFCWnI0SjJaT1pPYk04SDlmRjFlU2NNek92eEhkenpuM2VyM1BPYjM3ajExbzdkT2lnY2VQRzZiSEhIdE9xVmF1VW1wcXFiZHUySlVoNnpEQ014N3AxNjdaTzBvelkyTmlVSUpqbEJZQnE0eGFIRVlRN2t5SlFHR3NJSk1aYllIVHYzcjJUYVpvalROTzhXMUlUNmZUMW53TUdETkNnUVlOMDBVVVhXVmJicDU5K3FnVUxGdWpISDMrVTIrM1doUmRlcUh2dXVVZDkrL2IxYnVOcE01NDllN2JlZi85OXJWKy9YakV4TWVyZnY3LysvT2MvS3lZbXhtZjFmUDc1NTNyMjJXZTFZc1VLeGNYRjFlaTFicmRiZi83em4zWDA2Rkc5Ly83N1BxdXBKbmJzMk9HZDVjM056ZlVzUG00WXhqekRNR1pzMnJScHF5V0ZBVUFOTUtNTEFBQXFaTGZiQjBsS2Ridi8zMDF0TDd2c010MTY2NjNxMjdldkdqUm9ZRjF4a3Q1NTV4MjkrZWFidXYvKyt6VnUzRGlacHFtVksxZnFpU2VlMERQUFBLTmJicm1sMVBZdnZmU1M3cjc3YmozODhNTnlPQnlhTkdtU0RNUFFYLy82Vis4MlBYdjJyUER6Tm16WVVHVk5DeFlzME1DQkEyc2Njbk56YzJuSGpoc0FBQ0FBU1VSQlZEVisvSGdkUEhoUS8vem5QMnYwV2wrNitPS0w5ZVNUVCtxeHh4N1Q2dFdybFpxYXFpMWJ0alF4VFhPVWFacWo3SGE3SkNXbnA2Y3ZzYXhJQUtnQ1FSY0FBRlJtWHNsdlhuenhSZlhyMTgrcVdrckp6czdXakJrek5IejRjRDMwMEVQZTVaNXJYZDk4ODgweVFmZU9PKzdRVFRmZEpFbTY0SUlMbEptWnFTVkxsbWowNk5HS2lvcVNkRHFvMXRhT0hUdVVrWkdocDU5K3VrYXZLeXdzMUlnUkkxUy9mbjI5Kys2N2F0eTRjYTFyOEpVR0RSb29LU2xKU1VsSit1U1RUL1RNTTgrVVhEM1BicmMzS3ZHOVdkZC9wbW1haG1GVXVjd3dETk0wVGI4dUsvNm42dFpVeWJJc3A5UDU4Sll0VzQ3VjdiOEdnSm9pNkFJQWdNcmNMZW5mS3I3YzZlbW5uOWJDaFF1OTErTmFPYU83YmRzMkZSWVc2cnJycml1enJtZlBubHE1Y3FXT0hEbWk1czJiZTVkMzY5YXQxSFlkTzNiVS9QbnpkZVRJRVoxenpqbVNwRFp0MnRTNnB2bno1K3VxcTY1UzY5YXRhL1M2VFpzMmFmdjI3Wm8zYjE1UWhGeEpPblhxbFBlNjNhMWJTM1VybXpvOUxsSkxMRE5VeDB2aVBNOWFybXJaNlV6cTMyVTFyYW15WlRFeE1lOUpXbGJoaHdEd0M0SXVBQUNvVUhGN3FxMTc5KzZkWEM3WGc0WmgzTE4xNjlZbVc3ZHUxYVJKazlTL2YzOE5HalRJa2pzc2U5cXB5d3NaSHA1WldvOHpidzZWbjU4dlNhcGZ2NzUzV1k4ZVBTcDh2NDBiTjFhNExpc3JTNnRXcmRMVXFWTXJMcm9DWjU5OXRpNjU1QkkxYTlhc3hxLzF0UjA3ZGlnMU5WVXJWcXdvZFkydWFacHpvNktpWnBhNFJ0Y1RibzBoUTRZWVI0NGNNWEp5Y296OC9IeWpvS0RBT08rODg0eUNnZ0tqc0xEUWNEcWRoc3ZsTXBvMGFXSVVGUlVaUlVWRmhzdmxNbHd1bDlHNGNXUHYxMjYzMjNDNVhFYURCZzBNdDl0ZDZwOXBta2I5K3ZWTGZlOTJ1NzNMUE4rYnBtbkV4TVFZcG1sNi83bmQ3akxMVE5NMG9xT2pLMXdtU1pWdEs4bUlpb3FxYk5seWNhd05XSWIvOHdFQWdDb1ZoNXZIZXZicytXUitmdjVnd3pCRzVPYm1YcE9Ta3FLVWxCUjE3TmhSeWNuSkFYMW1ib2NPSFJRVkZhVzFhOWVXdVJuV1YxOTlwVmF0V3FscDA2YWxsdi80NDQ5cTFhcVY5L3YxNjllclpjdVdTa2hJOEM1TFNVbXBWVDJMRnkvV2VlZWRweXV2dkxMR3I3M29vb3YwM252djFlcHpmU0V2TDYva1haZExydnF2YVpvelltTmpGMWR3MTJWVGtsbmU3MnpuenAxK3FqWTAyTzMyVHlVTnNMb09JRklSZEFFQVFMVVZoNTE1a3VaMTY5YnRVc013SHBSMDc3WnQyeEsyYmR1bXlaTW5lMmQ1TzNUbzROZGFtalZycHJ2dnZsc3paODZVSkYxNzdiVXlUVk9yVnEzU3A1OStxc21USjVkNXpmVHAwMld6MmRTcVZTdXRYcjFhbjMzMm1aNTc3cmxTMjlTbWRkbnBkR3J4NHNVYU9YSmtyWDZXdlh2MzZoLy8rSWVtVDUrdWV2WHExZW85YW1QNzl1M2UyZHU4dkR6UDRtT1M1cGltT2RQQzUrZ0NRSjBRZEFFQVFLMFVoNkRSdlh2M0hwZWRuWDJycEJGNWVYbS9XN3g0c1JZdlhxeExMcmxFdDk1NnEvN3doei80YlpaMzFLaFJhdG15cFJZdFdxVFpzMmNyT2pwYW5UcDEwcHR2dnFuRXhNUXkyei8yMkdONjU1MTM5TU1QUDZoRml4WWFQMzY4a3BLUzZsekhxbFdyNUhRNk5XQkE3U2J3Y25OenRXdlhMam1kVHI4SDNieThQSzFjdVZLcHFhbjYvdnZ2UzY3NlV0S00rUGo0ZjZlbHBlWDd0UWdBOERPQ0xnQUFxSlBpVVBTK3BQY1RFeE03U0hyUTdYWVArLzc3NzV1KytPS0xtakpsaW02ODhVWWxKeWZya2tzdThmbm5KeWNuS3prNXVWcmJYbmpoaFpvN2Q2N1BhMWl3WUlHU2s1TkxYZXRiRTVkY2NvbFdyVnJsNDZwSysrNjc3NVNhbXFxVksxZnExQ2x2Ri9KUnd6RG1TSnJwY0RpMis3VUFBQWdnZ2k0QUFQQ1o0ckEwcG5mdjN1TlBuRGd4U0tkbmVYdW5wcVlxTlRWVkhUcDBVSEp5c202ODhVWTFhdFNvcXJjTENUazVPZXJWcTVkdXZmVldxMHNwSXpjM1Z5dFdyRkJxYXFwMjdOamhYVzZhWnBxa0dXZWRkZFlTWm04QmhDT0NMZ0FBOExuaThMUkEwb0x1M2J0ZjdIYTdINUEwYlB2MjdXZi80eC8vME5TcFUvV0hQL3hCeWNuSnV2VFNTeXU5YzNLd2k0dUxLL1VjWDZ1WnBsbHE5dFp6WjJsSnYwcDYxMmF6emRxMGFkT09TdDRDQUVJZVFSY0FBUGhWY2FoNnZIMzc5ay9IeDhmZkltbkVxVk9ucnZ2d3d3LzE0WWNmNnVLTEwvYk84Z2JMTTJSRDBjbVRKNzJ6dHovODhFUEpWWjlMbXBHZG5mM2h6cDA3Q3l3cUR3QUNpcUFMQUFBQ29qaGtmU0RwZzY1ZHUxNW9zOWtla0RSOHg0NGR6VjkrK2VWU3M3d2RPM2IwNlN4djM3NTk1WEE0ZlBaK3djSTBUVzNkdWxXcHFhbGF0V3BWeWRuYkk1TGVjYnZkczc3NTVwc2ZMU3dSQUN4QjBBVUFBQUZYSEw2ZTZOaXg0ek94c2JFM202WTVJajgvdis5SEgzMmtqejc2U0JkZWVLR1NrNVBWcjE4L3hjWEZXVjF1ME1uSnlmSE8zdjc0WTZrY3U4WXdqQm41K2ZrZmJkdTJyZENxK2dEQWFnUmRBQUJnbWVJd2xpSXBKVEV4c1oya0IwM1RIUDdqanovK1pzS0VDWHIxMVZmMSs5Ly9Yc25KeWJyc3NzdEMrbHJldWpKTlUxdTJiUEhPM2hZVWVMdVFmekZOYzdiTlpwdmxjRGgrc3JKR0FBZ1dCRjBBQUJBVWlrUGFreDA3ZG55MlhyMTZTWVpoUEZoUVVQRDdwVXVYYXVuU3BXclhycDJTazVQVnYzOS94Y2ZIVzExdXdHUm5aK3VUVHo1UmFtcXFmdnFwVkk1ZFpacm1qTUxDd3FYTTNnSkFhUVJkQUFBUVZJcEQyMkpKaTN2MDZORzJxS2pvQVVuMy9mVFRUeTFlZWVVVlRaczJ6VHZMMjdsejU3Q2M1VFZOVTVzM2IvYk8zaFlXZW5Qc3o1Sm1SMFZGdmIxeDQ4WmRGcFlJQUVHTm9Bc0FBSUpXY1poN0tqRXg4VG5UTkcrUzlHQmhZZUVmbGkxYlppeGJ0a3h0MjdaVmNuS3lCZ3dZRUJhenZObloyVnErZkxsU1UxTzFhNWMzeDVxU1BwVTB3ekNNWlE2SHcybGRoUUFRR2dpNkFBQWc2QldIdTFSSnFWMjdkbTFUZk1mbSszYnQyblh1cEVtVE5IMzZkUFh0MjFmSnljbnEyclZyU00zeW1xYXBiNzc1UnFtcHFWcXpaazNKMmR0RGhtRzg3WEs1M3Y3bW0yLzJXRmdpQUlRY2dpNEFBQWdweGFIdjZjVEV4T2NsRFhDNzNROFdGaGIyKytTVFQ0eFBQdmxFYmRxMFVYSnlzZ1lPSEtpenpqckw0bW9yZHVMRUNTMWJ0a3lwcWFuYXMyZVBaN0ZwbXVZSzB6Um5OR25TWkhsYVdscVJoU1VDUU1naTZBSUFnazY5ZXZVNkZCWVcvaVNKRmsxVXFIaVc5ME5KSDNicjFxMjFwUHNOdzdoL3o1NDl2NTB5WllwZWUrMDFYWC85OVVwT1RwYmRiZytLV1Y3VE5KV2VucTdVMUZSOTl0bG5janE5US95QWFacHZTNXFka1pHUmFXR0pBQkFXQ0xvQWdLRFRxVk9uNzdkdDIzWmhRVUhCVHF0clFXZ29Eb2ZQOXU3ZCsrOG5UcHpvYnhqR0NLZlQyVy9seXBXMmxTdFhxblhyMXQ1WjNpWk5tZ1M4dnVQSGozdG5iek16dlRuV0xla1RTVFBpNCtOWE1Ic0xBTDVEMEFVQVdLWkxseTdISzFyWG9VT0hkSjBPQXFXY09uVnF5dzgvL05ETHI0VWhaQldIeFk4bGZaeVltTmpLTk0zN0RNTzRQek16ODd5cFU2ZnE5ZGRmMTNYWFhhZms1R1FsSmliNmRaYlhORTA1SEE2bHBxYnE4ODgvOTg3ZUdvYXgzelROV1ZGUlViTTNidHk0ejI4RkFFQUVJK2dDQUN6ejdiZmZsanUxWnJmYnplM2J0OXVaMFVWZE9CeU92WkwrMXJ0Mzd4ZXpzN052bERUQzZYUU8rUFRUVDIyZmZ2cXBXclZxcFVHREJtbmd3SUZxMnJTcHp6NDNLeXRMeTVZdDA1SWxTN1IzNzE3UFlyZWtaWVpoekdqYnR1M0tsSlFVbDg4K0VBQlFCa0VYQUdDcDJOallOcGRlZXVsdXA5TjUyTFBNNlhRZXZ1aWlpLzdyK2Q0d2pLam82T2l6MDlQVHJiL0lFaUduZUpaM21hUmxuVHQzUGk4bUp1WSswelFmMkx0MzcvblRwazNUUC8vNVQvWHAwMGZKeWNucTNyMjdiRFpialQvRDdYWnIwNlpOU2sxTjFSZGZmS0dpSW04WDhsN0RNR1k1bmM1M05tL2V2RitTSEE2SHozNDJBRUQ1Q0xvQWdLQ3daY3VXY3lwYTV3bkRnYXdINGFrNGJQNTl5SkFoTCszZXZmc1BwbW1PS0NvcUdyaDY5ZXFvMWF0WDY3enp6dE9nUVlPVWxKUlVyVm5lckt3c2Zmenh4MXF5WkluMjc5L3ZXZXlTdE5RMHpSbnQyN2RmeGV3dEFBUWVRUmNBRUJRNmR1eFlZWnV5WVJqc3IrQlR4ZUh6RTBtZmRPblNwYVhOWmh0dUdNYUQrL2Z2Yi9YYWE2L3B6VGZmVk8vZXZaV2NuS3dlUFhxVW11VjF1OTNhdUhHamQvYlc1ZkxtMkV6VE5HZnA5SjJURDBwU1JrWkdvSDgwQUlBSXVnQ0FJRkZabUNYb3dwKysvZmJiQTVKZUhESmt5TXMvL2ZUVERaSkdGQlVWSmExWnN5WnF6Wm8xYXRteXBRWU5HcVNycnJwSzY5ZXYxNUlsUzNUZ3dBSFB5MTA2ZmZPckdlM2F0VnZON0MwQUJBY09IQUFBUVdIcjFxMXRLbHBINnpJQ29UaWtycFMwTWpFeDhWelROSWRMZXZEQWdRTnRYbi85ZGIzKyt1c2xOOThqYWFaaEdPODRISTVEa3BTZW5oN3dtZ0VBNVNQb0FnQ0NRcWRPbmZaVXRJNFpYUVJhY1hqOWg2VC9MekV4c2E5cG1pTWs5Wk8wd2pDTUdRNkhZNDNLZWZ3VkFDQTRjT0FBQUFnS3pPZ2lTTGtkRHNjcXU5MytxU1NscDZjUHRyb2dBRURWQ0xvQUFFdkV4OGNQdU9DQ0M5NlhaSk9rTGwyNkhLOWs4MUxiVlBUOFhRQUFBSW1nQ3dDd1NIWjI5dklTZ1RXcVNaTW1BODgrKyt5UmUvZnVIVk5ZV1BpZEpMVnMyZklsbTgwV241V1Y5V0Z1YnU1YVNVVVZ2eU5RUGZYcTFldFFXRmo0a3lTbjFiVUFBUHlqNWs5RUJ3REFSeG8yYkpoNDNubm5UYmpzc3NzeVc3WnNPU0U3TzN0cFlXRmhwbWY5c1dQSFBqUk5NNzlObXphek9uZnUvSE9yVnExbXhNWEY5Ykt5Wm9TK1RwMDZmVisvZnYzV1Z0Y0JBUEFmWm5RQkFKWnAwYUxGNHk2WEszLzM3dDEzblR4NWNxMGtzK1Q2dkx5OGpYbDVlUnYzNzkvL2VGeGMzTlVKQ1FsM04yclU2THFjbkp6L1dGUXlRa2hsN2ZBZE9uUklWemsza3pwMTZ0U1dIMzc0Z1pNcEFCRGlDTG9BQU12czNyMzc5dXB1bTVPVHN5NG5KMmVkUCt0QmVLbm9XbTY3M1c1dTM3N2RYbEJRc0RQUU5RRUFBb09nQ3dBQXdwYm5qdDFPcC9Pd1o1blQ2VHg4MFVVWC9kZnp2V0VZVWRIUjBXZW5wNmNiMWxRSkFQQTFnaTRBQUFoN1c3WnNPYWVpZFR5K0NnRENEMEVYQUFDRXZZNGRPMWJZcG13WUJzZERBQkJtK01NT0FBRENYbVZobHFBTEFPR0hQK3dBQUNEc2JkMjZ0VTFGNjJoZEJvRHdROUFGQUFCaHIxT25UbnNxV3NlTUxnQ0VILzZ3QXdDQXNNZU1MZ0JFRm9JdUFBQUlPL0h4OFFNdXVPQ0M5eVhaSktsTGx5N0hLOW04MURZVlBYOFhBQkE2Q0xvQUFDRHNaR2RuTHk4UldLT2FOR2t5OE95enp4NjVkKy9lTVlXRmhkOUpVc3VXTFYreTJXenhXVmxaSCtibTVxNlZWR1JkeFFBQVh5TG9BZ0NBc05Td1ljUEVwazJiRGsxSVNQZy90OXQ5OHNpUkk5TUxDd3N6UGV1UEhUdjJZZE9tVFllMmFkTm1WbFJVVk56eDQ4ZFRqeDA3Tmk4bkorYy9WdFlOQUtnN2dpNEFBQWhMTFZxMGVOemxjdVh2M3IzN3JwTW5UNjZWWkpaY241ZVh0ekV2TDIvai92MzdINCtMaTdzNklTSGg3a2FOR2wxSDBBV0EwRWZRQlFBQVlXbjM3dDIzVjNmYm5KeWNkVGs1T2V2OFdROEFJSEJzVmhjQUFBQUFBSUF2TWFNYnB0cTNiMTgvSVNFaG9lUXlsOHNsU2VyUm84YzVKWmNmTzNiczJNNmRPd3NDV0I3Q0NHTU5nY1I0UXlBd3pnQWc5QkYwdzFSQ1FrS0N5K1U2S01rNGM1M0w1VHBVNGx0M1FrSkNTMGsvQjZ3NGhCWEdHZ0tKOFlaQVlKd0JRT2lqZFRsTWJkeTQ4V2RKWDFaajAvOFVid3ZVQ21NTmdjUjRReUF3emdBZzlCRjB3NWhwbXYrdXhtYUwvVjRJd2g1akRZSEVlRU1nTU00QUlMUVJkTU9ZMisxT3JXb2JsOHUxSkJDMUlMd3gxaEJJakRjRUF1TU1BRUliUVRlTWZmdnR0d2NrL2ErU1RUWVVid1BVQ1dNTmdjUjRReUF3emdBZ3RCRjB3NXhoR0JXMlhsVzJEcWdweGhvQ2lmR0dRR0NjQVVEb0l1aUdPYWZUV2VHTzJPbDBWdG1XQlZRWFl3MkJ4SGhESURET0FDQjBFWFREM09iTm0zZEx5aWhuVlhyeE9zQW5HR3NJSk1ZYkFvRnhCZ0NoaTZBYkdjbzdJMDNMRmZ5QnNZWkFZcndoRUJobkFCQ0NDTG9Sb0x6cmlHdzJHenRwK0J4akRZSEVlRU1nTU00QUlEUVJkQ09BdytIWUx1azd6L2VHWVd6YnRHblREZ3RMUXBoaXJDR1FHRzhJQk1ZWkFJUW1nbTZFS1BuZ2U3ZmJ6WmxvK0ExakRZSEVlRU1nTU00QUlQUVFkQ09IZDhmTUl4SGdaNHcxQkJMakRZSEFPQU9BRUVQUWpSQVpHUm1iSmYwa2FXZDZldm9XcSt0QitHS3NJWkFZYndnRXhoa0FoSjVvcXd0QXdKaVMvbTBZaGxuOE5lQXZqRFVFRXVNTmdjQTRBNEFRUTlDTklEYWI3ZDlGUlVYc29PRjNqRFVFRXVNTmdjQTRBNERRWWxoZFFLanAxcTNiVjRaaFhHNTFIWkhLTk0yMGpJeU1QbGJYNFcrTU0ydEZ5amdyaVRGbnJVZ1pjNHd6YTBYS09Bc1dkcnQ5bWFRQmttNUtUMDlmWm5VOVFLVGhHdDBhWWdkdExjTXdlbHRkUXlBd3pxd1ZLZU9zSk1hY3RTSmx6REhPckJVcDR3d0FKRnFYYTgzaGNGaGRRc1JKVEV5MHVvU0FZNXdGWGlTT3M1SVljNEVYaVdPT2NSWjRrVGpPQUVRMlpuUUJBQUFBQUdHRm9Bc0FBQUFBQ0NzRVhRQUFBQUJBV0NIb0FnQUFBQURDQ2tFWEFBQUFBQkJXQ0xvQUFBQUFnTEJDMEFVQUFBQUFoQldDTGdBQUFBQWdyQkIwQVFBQUFBQmhoYUFMQUFBQUFBZ3JCRjBBQUFBQVFGZ2g2QUlBQUFBQXdncEJGd0FBQUFBUVZnaTZBSUNJYy9qd1lmWHMyZFBxTWhBaGNuSnkxS3RYTDYxWnM4YnFVZ0FnWWhCMEFRQVJJeTh2VDVzMmJWS1RKazNVdEdsVEZSVVZhZDI2ZFZhWGhURDMwVWNmNmF5enp0SjExMTFuZFNrQUVER2lyUzRBQUlCQTJiOS92MmJQbnEzczdHemw1T1Rvbm52dVVmUG16ZFd4WTBjMWFkTEU2dklRaHR4dXR6NzQ0QVBkZHR0dHN0bVlYd0NBUU9FdnJzV1dMVnVtTysrOFV6MTc5bFNmUG4wMGMrWk1uNzkvWW1LaXZ2cnFLKyt5ZWZQbXFWZXZYanAwNkZDVnIxK3pabzBTRXhPMWI5KytTcmM3ZlBpd2V2VG9vWGZmZmJmVTh0MjdkeXN4TVpFWmt5QVI3T090UEl5dDBCWnNZKzZpaXk3U0cyKzhvVmF0V3FsTm16YTY1cHByTkczYXRESWhsM0VYV29KdG5KV1VscGFtWThlTzZaWmJiaW0xbkRFR0FQN0ZqSzZGNXN5Wm85ZGZmMTBQUHZpZ25uLytlZVhsNWVuQWdRTVZibC9aOVdRYk5td29kL25BZ1FPMVlzVUtUWmt5UlFzV0xGQldWcFptekppaDBhTkg2OXh6ejYzenorRFJva1VMWFhubGxWcTFhcFdHRFJ2bVhiNTgrWEsxYU5HQ2ErR0NRS2lPTjhaVzZBcldNVGQvL253ZFBueFlNMmJNME5DaFEzWFpaWmVwVjY5ZXBiWmgzSVdPWUIxbkhnc1dMTkRBZ1FNVkZ4ZFhhamxqREFEOGk2QnJrWk1uVCtwZi8vcVhoZzBicGhFalJuaVhkK25TcGNMWExGaXdvRmFmTlg3OGVBMGRPbFFmZnZpaEhBNkhPbmZ1ck9UazVGcTlWMlZ1dWVVV2pSMDdWcG1abVdyZHVyVk0wOVRLbFN1VmxKUkV1NWJGUW4yOE1iWkNUekNQdWFTa0pQWHUzVnV4c2JHYU5tMmFXclpzV2U1MmpMdmdGOHpqVEpKMjdOaWhqSXdNUGYzMDArV3VaNHdCZ1A4UWRDMnliZHMyRlJRVTZQcnJyNi8yYTlxMGFWT3J6L3J0YjMrclJ4OTlWTk9tVFpNa0xWcTBxTXJYZU00a3U5MXVTZEtRSVVOa0dJYWtpczk0WDN2dHRVcElTTkRxMWF2MXdBTVBLQ01qUTRjUEg5Yk5OOTljcTdyaE84RTgzbnIwNkZIcSs0MGJONWJaaHJFVmVvSjV6RFZ1M0ZpTkd6ZVdKRjF3d1FVVmJzZTRDMzdCUE02azA5MERWMTExbFZxM2JsM3Vlc1lZQVBnUFFkY2lCUVVGa3FUbzZPci9Kemd6RUpSVVhqZ29LVDQrWHZuNStXclVxSkZpWW1LcS9DelBHZS8vL2U5L2V1V1ZWL1RxcTYvcW5IUE9xZlExMGRIUkdqQmdnRmF0V3FVSEhuaEFLMWFzME9XWFgrN1RGbW5VVGpDUHQ1U1VsQ3ByWVd5Rm5tQWVjOVhGdUF0K3dUek9zckt5dEdyVktrMmRPclhDYlJoakFPQS9CRjJMWEhqaGhUSU1ReHMyYkZENzl1MnI5WnJxQklMeS9Qenp6NW80Y2FLZWV1b3BMVnEwU0MrOTlKSW1UNTVjNldzOFo3eDM3dHdwU1dyWnNxWE9QLy84S2o5cjBLQkJldSs5OS9UOTk5OXJ6Wm8xR2o5K2ZLMXFobThGODNpcjd1d0tZeXUwQlBPWXF3bkdYWEFMNW5HMmVQRmluWGZlZWJyeXlpc3JmVi9HR0FENEIwSFhJdWVlZTY2U2twTDA1cHR2S2lZbVJwZGZmcm1PSFR1bWZmdjJsYmt6bzBkdDJxM2NicmVlZmZaWlhYamhoVXBLU2xLN2R1MDBiTmd3TFYrK1hBTUdES2pqVDFGK2pWMjZkTkdFQ1JNVUZSV2xhNis5MXVlZmdab0xoL0hHMkFvdDRURG1QRFV4N29KWHNJNHpwOU9weFlzWGErVElrVlcrTjJNTUFQeURPeDFZYVB6NDhicjMzbnYxM252djZiYmJidE16enp6amJjUHlsWG56NXVuYmI3L1Z1SEhqWkJpR09uWHFwRnR1dVVXVEprM1NrU05IcW54OTM3NTk1WEE0cWpXYjYzSExMYmRveTVZdEdqQmdnTTlhQ0ZGM29URGVxc0xZQ2kzaE1PWWt4bDJ3QzhaeHRtclZLam1kem1xZmJHR01BUUFzWjdmYlRidmRicUppR3pkdU5PMTJ1N2xyMXk2ZnZxL25kMi8xR0FnRXhsbjUvRFcyU29xa2NWWVNZNjVpL2g1M2tUVG1JbVdjL2QvLy9aODVmZnIwYW0vUDM3YndaTGZibHhYLzNnZGFYUXNRaVdoZGhzOHRYcnhZM2JwMXEvUnVwa0J0TUxaZ0JjWWRhaUluSjBlOWV2WFNyYmZlV3UzWE1NWUF3UGNJdXZDWkxWdTJhUHYyN2Zyc3M4LzAxbHR2V1YwT3dnaGpDMVpnM0tFMjR1TGk5TkJERDFWclc4WVlBUGdQUVJjKzg5QkRENmx4NDhaNjl0bG5sWmlZYUhVNUNDT01MVmlCY1FkL1k0d0JnUDhRZE9FejY5ZXZ0N29FaENuR0ZxekF1SU8vTWNZQXdIKzQ2eklBQUFBQUlLd1FkQUVBQUFBQVlZV2dDd0FBQUFBSUt3UmRBQUFBQUVCWUllZ0NBQUFBQU1JS1FSY0FBQUFBRUZZSXVnQUFBQUNBc0VMUUJRQUFBQUNFRllJdUFBQUFBQ0NzUkZ0ZFFLaEtURXkwdWdSRUFNWVpBbzB4aDBCZ25BRUEvSTBaM1JveVRUUE42aG9pV2FUOC9pUGw1d3hXa2ZqN2o4U2ZPWmhFeXU4L1VuN09ZTVh2SHdBUWx1eDJ1Mm0zMjAycjYwRDRZNndoa0JodkNBVEdHV3JLYnJjdkt4NDNBNjJ1QlloRXpPZ0NBQUFBQU1JS1FSY0FBQUFBRUZZSXVnQUFBQUNBc0VMUUJRQUFBQUNFRllJdUFBQUFBQ0NzRUhRQkFBQUFBR0dGb0FzQUFBQUFDQ3NFWFFBQUFBQkFXSW0ydWdBQUFBQWcxSFhyMW0yd1lSaXhudTlOMDJ4cEdJWU13K2hqdDl1YmVKYTczZTZ0MzN6enpUZldWQWxFRG9JdUFBQUFVRWVHWWR3dEthbkU5NUlrMHpUL1VuSTdtODJXSkltZ0MvZ1pyY3NBQUFCQUhabW0rZS9xYkplZG5iM0szN1VBSU9nQ0FBQUFkVlpVVkxSVVVsRmwyeGlHc1dEbnpwMEZBU29KaUdpMExnTUFBSlRRczJmUEJxZE9uV3BSM3JxdVhidTJLZmw5Z3dZTkRtL1lzT0ZVUUFwRFVOdXlaY3N4dTkzK21hUS9WTFNOYVpxTEExZ1NFTkVJdW1HcVM1Y3VMYU9pb2g0dmI1M2RibisxNVBjdWwrdVZiNy85OWtCZ0trTzRhZCsrZmYyRWhJU0Vrc3RjTHBja3FVZVBIdWVVWEg3czJMRmpuTWxHWGZUczJiTnBRVUhCVmVXdHM5dnRBMHQrWDc5Ky9mVWJObXpJQ2t4bENDZHV0enZlWnJQOXBISTYzMncyMis2U20rYm01cDRyaWFBTGozK3I0cUNiWnhqR3lrQVdBMFF5Z202WVNraElPSnlkblgybnBPYmxySDZzeE5lL0pDUWsvRFZBWlNFTUpTUWtKTGhjcm9PU2pEUFh1Vnl1UXlXK2RTY2tKTFNVOUhQQWlrUFlzZGxzVGtrcGttTExXYjIweE5mNU5wdnRONEdwQ3VIbXE2KytPdHl0VzdjdkRjUG9YY1dtYXpkdjN2eExJR3BDYURCTjgwUERNTjVTK1pjSHJuQTRISG1CcmdtSVZGeWpHNmJTMHRLS0pDMnB4cVpMaXJjRmFtWGp4bzAvUy9xeUdwditwM2hib05iV3JWdVhJNms2TXlJcmk3Y0Zhc1V3ak9yY1dLaGFOeDlDNU1qSXlEaGltbWE1KzBUYWxvSEFJdWlHc2Vyc3BHMDJHenRwMUZrMTd6VEpEaDYrUWdDQjM3bGNyaXBQRnB1bVdaMFR5b2d3RlJ4L0ZUUnMySEI1d0lzQkloaEJON3g5SWVsWUpldVBtYWFaRnFCYUVNYmNibmRxVmR0VTU2QVJxQTYzMjcxTWtyT1NUWnpGMndDMVZuenZpZzJWYkxJK0l5UGpZS0RxUWVpb1lIKzNpaTRUSUxBSXVtSE00WEE0VGRQOHVKSk5Qbkk0SEpVZExBTFZVbnhBK0w5S050bkFEYy9nSzk5ODg4MXhTV3NxMldSTjhUWkFuVlRXR1ZYZFo2WWk4cFIza29TMlpTRHdDTHBocm9yMlpYYlM4Sm5LeGxvMXIzVURxcTJ5a0VFQWdhODRuYzRLdTFWTTA2eXlrd1dSNjR6OW5xdjRHYnNBQW9pZ0crYmk0K05YU3pwWnpxcWM3T3pzMVlHdUIrSEw2WFJXR0M0cU8xZ0Vhc05tczMwa3lWWE9LbGZ4T3FET05tL2V2RnRTZWptckhOOTg4ODJlQUplREVGSnl2MmNZeHZkYnRteXA3Rkl5QUg1QTBBMXphV2xwK1pMS1hLdG1HTVl5bm1jS1h5bytJTXdvWjFWNjhUckFaeHdPeDYrUzFwYXphbTN4T3NCWHlwekVvMHNGVlNtNTN6Tk5rNU52Z0FVSXVoR2d2RFkrdDl2TlRocitVTjY0WXF6Qkw4b0xHd1FRK0ZwNVR5Y29LaXBpbktFNnhrdHltNlk1emVwQ2dFaEUwSTBBTHBkcmhhUlRKUmFkY3JsYzFYa09KVkFqNVlVTUhtRUZQMW9peVN6eHZhbnFQVDhjcUxaTm16YnRNQXhqVzRsRlc3Lzk5dHNmTENzSUlhTjQvN2MySXlQamlOVzFBSkVvMnVvQzRIK2JOMi9PdGR2dEt5VU5LbDYwWXZQbXpibFcxb1R3NUhBNHR0dnQ5dThrWFNwSmhtRnMyN1JwMHc2THkwS1ljamdjaDdwMTY3YmVNSXlySmNrMHpmWHA2ZW1Icks0TDRjZnRkdi9iTUl5T3hkOXk4czVDZHJ1OXM2UjFraHBiWFV0VjNHNjNKTWx1dDV0VmJCclNUTk5NeThqSTZHTjFIY0NabU5HTkhONGRNNjE5OEtlU3JmSzB5TVBmU3Y0OTQyOGIvSVZ4RmxTR0tRUkNiaVF4REtPMzFUVUE1V0ZHTjBJWWhySE1OTDBuRkpkYldRdkMzcjhsUFNOeFFBai9NMDB6MVRDTUtaNnZyYTRINFNrOVBYMkwzVzQvS01sME9CeGJyYTRuZ3RrTXd4aGltcWJtekptalRwMDZXVjFQUkpzOGViTG16NTh2U1ZPdHJnVW9Eek82RWNMaGNKd3dUZk1UU2NzZERzY0pxK3RCK01ySXlOZ3M2WkNrZytucDZWdXNyZ2ZoTFNNakkxUFNKa2tiaTc4Ry9NRTBUWE91YVpwelZmcTZjQVJRdDI3ZHJqQk44N3h6empsSEhUdDJyUG9GOEJ1MzI2MDFhOVpJa2t6VFRMRzRIS0Jjek9oR2xuK0xIVFQ4ejVRMHp6QU1VNHczQklCaEdQOTJ1OTJNdFRBUjdOZGcydTMyY1ZiWDRDdWhkbTJsWVJoREpLbHYzNzR5RE1QcWNpTGFsaTFiOU1zdnY4Z3dqUDNwNmVsZldWMFBVQjZDcnAvWTdmYXhraVpZWFVkNTdIYjdiS3RyOEFYVE5HL0l5TWhZWTNVZFZnbjJnMEhUTkdXMzI1K3d1ZzRmT0I0ZEhkMys2NisvUG1wMUlWWUwxakZubXFZTXc1RGRidi8vcks3RlYwSXRnUGpZTUFYWkdBdFhJWFp0cGJkdCtZWWJickM2bG9oM3hteXUyOXBxZ1BJUmRQM0RrUFJIcTRzSWQ0WmhYQ01wWW9PdU9CZ01sQ1l1bDZ1SnBJZ1B1bUxNQlV5SUJSQmY0aHJNQUFqRmF5dHBXNjZlbzBlUHFxaW9TQzFhdFBBdXk4M04xY21USjBzdHF3dTMyNjNQUHZ0TUVtM0xDRzRFWFQrdzIrMVhTRHEvUllzV1dyNThPZTAxUG5UOCtISGRjTU1OY3J2ZHJ1am82TmVzcnNkQ0hBejZXVnBhbXNhTUdTTkpHUTZINHllcjZ3a0NqTGtBQ01VQTRrdUUxRnRLd3dBQUlBQkpSRUZVR2Y4TDFXc3JxOU8yUEd2V0xEVnYzbHczMzN5emQ1bHBtbnI4OGNjMVpNZ1FYWEhGRlpWK1JrNU9qbDU0NFFWTm5EalJaM1dicHFtRkN4ZHEwS0JCaW8yTnJkRnJKMDZjcURGanhpZ3FLc3E3Yk1lT0hSb3pab3htenB5cGM4ODl0OHhyeG93Wm84R0RCMnZnd0lIZVplKysrNjRTRWhKMDU1MTMxdjRIS1dITGxpMDZmUGd3YmNzSWVnUmRQeWpaV2tQSTlhMHZ2dmpDODF5Nnp5SzVsWlNEUWY5YnZYcTFKTWt3akpBNUVQUW54cHovaFdvQThTV3V3ZlMvRUwyMnNscHR5NXMzYjliOTk5OWZhdG5VcVZQVnJGa3pMVjY4V0czYnRsWHo1czI5NndvTEMxV3ZYcjFTMzN0bUtpdmFwakpPcDFPREJnM1N4eDkvckdIRGhtbkNoQWs2OTl4enRYZnZYajN6ekRPYU9IR2lqaHc1VWlxSW4ybkRoZzJTcElVTEZ5b2xKVVhidG0zenJ1dlhyNTlTVWxKMDRzUUpQZm5razk3bG8wYU5VdmZ1M2JWMTYxYnZmOSszM25wTGt2U0hQL3hCSzFhc1VGRlJrZWNrbWlTcGE5ZXVldkhGRjZ2MWM1Mkp0bVdFQ29LdTd4bW1hWHAzMVBBdHdzZHBIQXo2VjJGaG9iNzg4a3RKa1JzNHpzU1k4NzhRRFNDK3hEV1lBUkNLSWFXcUUyMExGeTVVYW1xcTl1M2JwLzM3OXlzNk9sb0xGaXpReElrVFZWUlVwUEhqeCt2UW9VTWFOMjZjbm5ycUtiVnQyMWFTMUxOblQzMzIyV2RxMHFSSmhaOWRuVzA4Tm16WW9QYnQyK3ZRb1VNNmZ2eTRkOFoxekpneHV1KysrN1I4K1hJTkhEalFHMmJMNDNhNzllYWJiMnIxNnRWYXZIaXg1czZkcTZlZmZscUdZZWhQZi9xVExybmtFcVdrcE9qVlYxOVZyMTY5MUtOSEQwbW5aNDZuVDUrdTExNTdUWHYzN2xXREJnMTA4ODAzYTlXcVZUcDU4cVIrOTd2ZjZmdnZ2OWNERHp4UTVjOVJHZHFXRVVvSXVqNVdzbTJaMWo3Zk9uNzh1RFp1M0NoSnJxaW9xQ1ZXMTJNaERnYjliUDM2OWNyTHk1T2tqUFQwOUoxVzF4TUVHSE1CRUlvQnhKZm9HdkMvVUEwcFZaMW91LzMyMjNYWlpaZHB4b3dabWpadG12YnYzNi9odzRjclB6L2Z1MTZTc3JLeTlQVFRUMnZ3NE1GS1RrNzJlWjJmZi82NWV2VG9vYzgvLzF6ZHUzZjNMbytPanRZYmI3eWhSbzBhVmZrZU5wdE5GMXh3Z2Q1Nzd6MDkrdWlqT25IaWhJWU5HeVpKS2lnbzBQSGp4elY4K0hBNW5VN3QyclhMRzNUbno1OHZtODJtcTY2NlN2WHExZE80Y2VOMDNYWFhhZWJNbVpvd1lZTGk0K1AxMUZOUHFYdjM3dXJhdFd1dGYwYmFsaEZLQ0xvK1J0dXkvOUMyZkJvSGcvN25DUnlSM2puZ3daanp2MUFOSUw1RTE0RC9oV2hJcWRhSnRyVnIxNnBQbno1S1RrN1cxS2xUZGVPTk41WjdUV3BtWnFhY1RxZGZDdjNiMy81VzRickdqVS9meCsrYWE2NnA5RDJ1dnZwcVRaaHcrcUVkdi96eWkxYXNXRkhodHYzNjlmTituWjZlcm1lZWVVWUhEaHpRc21YTDlPaWpqK3JYWDMvVnBaZGU2cDNCdnVlZWUzVHBwWmRXOThjcFY2U2ZrRU5vSWVqNmxvMjJaZi94dEMyYnBybkk0bElzeGNHZ2Z4VVdGbXJ0MnJXU0lqZHduSWt4NTM4aEdrQjhpYTZCQUFqRmtGTGRFMjFmZlBHRlpzMmFwYmx6NTZwMTY5YWFQSG15bGk1ZEtrazYvL3p6MWJadFc0MGNPVktUSjAvVzlPblR2YThyR1JZOWV2YnM2YlA2WDNycEpXLzdzTVBoMEgvLysxOUpwMjhRbFo2ZVhxcVdNeDA3ZGt3alJveW8xdWRNbmp4WmtqUjY5R2cxYTlaTXQ5eHlpeVRwdWVlZTgyN3p4aHR2bExtR3VTWTRJWWRRUTlEMUlidmRmcmxvVy9hTGttM0xNVEV4SDFwZGo0VTRHUFF6MnBiTFlNd0ZRQ2dHRUYraWE4RC9RaldrR0lZeFZLcjhSRnRXVnBiMjd0MnI0Y09INitEQmcwcE9UbFowZExRV0xUcDlYbnpvMEtIYXMyZVBSbzRjcWN6TVRPL3JIQTVIcWZjNWV2U29mdi83MzVlNmhqWXhNYkZPOVk4ZlAxNVBQdm1rTHIvOGN1K3l3c0pDTFZ5NFVCTW5UcFJwbWxxK2ZMbjY5ZXRYNnU3S3RiRjgrWEo5K2VXWCt2cnJyeXY4ZSsxWjNxVkxGMDJhTktsRzc3OTE2MVlkUG54WWt2WmxaR1JFNGdrNWhCaUNyZy9SdHV3L3RDMmZ4c0dnLzlHMlhCcGp6djlDTllENEVsMEQvaGVpWFFNMnd6QUdWM1dpclduVHB2cnFxOU0vVW5KeXNsSlRVNVdVbEtSNzc3MjMwamV2emgyVkhRNkhDZ3NMYTE1NUpaWXNXYUlMTDd4UW5UdDNsblQ2Y1hhWm1abDY5TkZIUzIyWGtKQ2dHVE5tVlBnK0pXZWpkK3pZb2FsVFR6K1ZMQ29xU3A5KytxaysvL3p6VWgyR2lZbUozdTY0MmlqeDJzV0t3Qk55Q0QwRVhkK2hiZG1QYUZzK2pZTkIvNkp0dVN6R25QK0ZhQUR4SmJvR0FpQVV1d1pxZTZJdE56ZFhzYkd4bWpObmpxVFRNN3JscWM0ZGxZOGZQNjdycjcrK3pPeHZiV1ZuWjJ2MjdObmVsbVduMDZtSEhucEl3NGNQMTVWWFhsbHFCdm5Zc1dPNjc3NzdxdlcrWThlTzFWLys4aGM5ODh3ejNtVnZ2LzIyWW1OanE3d3V1RG80SVlkUVJORDFFZHFXL1llMlpTOE9CdjJNdHVVeUdITUJFSW9CeEpmb0d2Qy9VQTBwMVdsYmxxU3Z2LzVhcWFtcCt2WFhYM1hnd0FFTkd6Wk1KMDZjcUhaSURLVHAwNmZyMkxGakdqMTZ0Q1FwSmlaR2NYRnh1dWlpaS9UODg4OXI0Y0tGYXRpd29TUnB6cHc1K3VNZi8xanVMT3kxMTE1YmFyWjN3b1FKNnRDaGd6Zm8ybXcyalI0OVdwTW1UZkpKMEtWdEdhR0lvT3M3MWZwampKcExTMHZ6dEMydm9XMlpnMEYvb20yNU5NYWMvNFZxQVBHbDZvWVoxRjZJaGhSdjIzSlZuWEpkdW5UUlJSZGRwUGo0ZUEwZVBGZ3BLU2thT25Tb1pzK2VMZW4waks3bmV0MUFLeW9xMGx0dnZhV21UWnRxL3Z6NXV2ZmVlL1duUC8xSmNYRnhaY2I3dDk5K3E5allXTjF4eHgyU1RqOGJOeTh2ei90OVNYbDVlZDY3UE45MjIyM2VtMCtWZFBubGwrc2YvL2lIVDM0T3ovNVJ0QzBqaEJCMGZjTW1hYkFrWmozOFlOV3FWWklpOXlEUWc0TkIvNkp0dVN6R25QK0ZhQUR4cFdwZGc0bTZDY1ZySzB1ZWFLdXFVNjUrL2ZxcVg3OSttZVV1bDB2NStmbUtqWTFWWm1hbWJEYWI5OW02SHY2KzYvSzc3NzZyb3FJaUxWMjZWRE5uenRRamp6eWk3T3hzUlVkSEt5WW1SdEhSMGJMWmJDb29LTkNwVTZmVXBVc1hMVml3UUwvKytxdG16SmloNjY2N3J0dzdMMTk3N2JWYXNHQkJsWi9mcGswYjVlWGxxYUNnUURFeE1iWDZHZHh1OTVtZEowQklJT2o2QUczTC9rUGJzaGNIZzM1RzIzSVpqTGtBQ01VQTRrdFdkQTNNbWpWTHpaczMxODAzMyt4ZFpwcW1Ibi84Y1EwWk1rUlhYSEZGcGEvUHljblJDeSs4b0lrVEovcTdWSjhJMWE2QjJwNW82OSsvdnlRcEtTbEpPM2Z1VkVaR2hwNTk5bG5Obno5ZjMzMzNuUVlOR3VUZHRqclgzWHF1MGEydGUrNjV4M3ZEcTFHalJtblVxRkdTVG9kd3p6L3BkS3V4WVJpS2pvNld5K1hTdEduVDFMRmp4d3F2TDY1cW5Icjg4c3N2dXUyMjIyUVlScWt4WHhPY2tFT29JdWo2UmtCblBTSnBKMDNiOG1tMGtQb2ZiY3VsRVVEOEwxUURpQzlaMFRXd2VmUG1NczhTblRwMXFwbzFhNmJGaXhlcmJkdTJhdDY4dVhmZG1YZm1MU3dzOVA1M3EyaWJZQktpSWFYYWJjdG5ldUNCQnlSSmQ5MTFseVRwNG9zdmxpU05HemV1Vm9VMGFkS2tUamVpcW1oY1JFVkZWZm80b1JkZWVLSFM5NjNvNzF6SlJ5TkowbTkvKzF2OTV6Ly9xYUxLeXRHMmpGQmxzN3FBTUJEd3R1WE5temVyVFpzMnBaYVYzRWtmT1hLazFMb3piNHRmMFU0NkdORzJmSnBWTGFTelpzM1NSeDk5VkdxWmFacjY2MS8vNm4yVVEyVnljbkkwZHV4WWY1WG5NN1F0bDJWVkFJbVV2MjFTeUFZUVg3SVpoakZZQ3N6VENoWXVYS2loUTRkcTQ4YU5ldjc1NXpWMDZGQzVYQzY5L1BMTHlzM04xUk5QUEtFLy8vblBHamR1bkhidDJ1VjlYYytlUFhYOCtQRkszN3M2MjFnbEZFT0s1MFFiblhJMTUrc1RMaVhibGlWRjlKTXZFSHFZMGEyamJ0MjZYYUVBdFMwdlhMaFFxYW1wMnJkdm4vYnYzNi9vNkdndFdMQkFFeWRPVkZGUmtjYVBINjlEaHc1cDNMaHhldXFwcDlTMmJWdEoxYnQ5Zm5XMkNiUVNiY3RGdEMzWDdzeDJYVVhLek1lR0RSdG9XeTR0b0dNdTB2NjJlWVJpQVBHbG1seUQ2UXUzMzM2N0xydnNNczJZTVVQVHBrM1QvdjM3Tlh6NGNPODFtN2ZmZnJza0tTc3JTMDgvL2JRR0R4NnM1T1JrdjlmbFQ2RjZiYVhuUk5zTk45ekEvUUVzVnZLRVhJUSsvZ3doaktCYlI0Rjh4bVNrN2FSTHRDMS9SdHR5NEE0R3BjZ0xIcDdySkdsYlBvMEE0bitoR2tCOHlZcXVnYlZyMTZwUG56NUtUazdXMUtsVGRlT05OK3JPTys4c3MxMW1acWFjVG1ldFA4ZnRkbXZ1M0xsS1RVM1Y0Y09IMWF4Wk0wMmVQRm1YWEhKSlhjcXZzUkR0R3FqMWliYmFYdjZRbjUrdlJZc1dhZkRnd2Q1SCsxVFgyMisvclR2dXVLUFMxNTA2ZGNwNzg2bFFjOFlKT2RQQ1VvQWFJK2pXVGNEYmxpTnBKMDNiOG1sV0hBeEdVdkNnYmJrc0Fvai9oV2dBOFNWTE9sVysrT0lMelpvMVMzUG56bFhyMXEwMWVmSmtMVjI2VkpKMC92bm5xMjNidGhvNWNxUW1UNTZzNmRPbmUxOVgwenZ6VHAwNlZXdlhydFVMTDd5Z2poMDdhdS9ldldyUW9JSHZmNkFxaEdMWFFOZXVYYStzYmR0eVRidVFQR0ppWXJSdjN6Nk5IVHRXMDZkUGw4MVd2U3Y3ZnZ6eFIzMzAwVWRWUHE5Mzd0eTV5c2pJMEpRcFU5U3dZVU4xNzk1ZHJWcTFLclBkb1VPSHlseGo2N0YzNzE0TkdqUkluM3p5aVZxMGFGSHVOczg5OTV6YXRXdW42T2hvZmZmZGQzcnh4UmVyOVhOVWhMWmxoRHFDYmgwRXNtM1pJMUoyMHJRdGUxbld0aHdwd1lPMjVUSUlJQUVRaWdIRWw2eTRCak1ySzB0NzkrN1Y4T0hEZGZEZ1FTVW5KeXM2T3RyN2ZOV2hRNGRxejU0OUdqbHlwREl6TTcydk8vTkdSRWVQSHRYdmYvLzdVb0VrTVRIUiszVk9UbzQrK09BRHZmSEdHK3JTcFlza2VidGVBaWxVUTRyTlpoc2kxYXh0dWJaZFNCNVJVVkVhTjI2Y1JvNGNxWlNVRk4xMjIyM2xmczZXTFZ2MHh6LyswZnQ5WGw2ZVltTmoxYnQzN3dwclc3dDJyVWFNR0tGSmt5WnA2ZEtsdXUyMjJ4UVRFNlBVMU5ReTIxYjJ0eXM2K3ZRaGUyV3p3ZzZIUXlOSGp0UXJyN3hTNnU3U3RVWGJNa0lkUWJjT0F0bTJMRVhXVHBxMjVkT3N2Q0ZIcEFTUEVtM0xJWE1nNkU4RUVQOEwxUURpUzFaY2c5bTBhVlB2VGZTU2s1T1ZtcHFxcEtRazNYdnZ2WlcrcmpyM0ZYQTRITjRibngwNGNFQXVsOHQ3dDErcmhHaElxZFdKTmw5MElkbHNOdlh2MzErdnZ2cXErdlhycC9qNCtES2ZjOWxsbDNrN2dOTFQwL1hLSzY5b3pwdzVWWTRQd3pEMCtPT1BlNzkzT3AwMWZ0U1BKK2g2L3ZkTWh3NGRVdlBtemRXaVJRdnQyclZMVjE1NVpZM2V2enkwTFNQVUVYUnJ6MllZeHBCQXpucEUwazdhRXo1TTA0eklnMEFQcTI3SUVTbkJvMlRic2lUYWxrVUFDWVFRRFNDK1pGbW5Ta201dWJtS2pZM1ZuRGx6SktuQzU1Vlc1NzRDbm1ldE9od09KU1FrU0RyZGFtcmw0K0JDTWFUVXBXM1pGMTFJR3pac1VFeE1qTjU3N3owOThzZ2pGWDdXd1lNSDljUVRUNml3c0xEQ3dMcDgrZklLVzZCalltTEtQTkZBcXQ2TWJrVkI5OXh6ejlVNzc3d2pTZnJ3dzdvM3duRkNEdUdBeHd2VlVqRGMrcjdrVHRxem95NVBkUjU3Y1B6NGNlOGYySkk3YVNzY1AzNWNYMy85dFNRVnhjYkdSbnpic2hTWVIyK1U1QWtlcWFtcCt1MXZmNnZVMUZUbDUrZnIzbnZ2clRSOFZPZFJMZzZIdzN2VERxdURSOG0yWllmRDhaTWxSUVFYeThaY1NlSDZ0ODBqRkFPSUw5VWx6TlRGMTE5L3JTZWZmRklQUFBDQURodzRvR0hEaHVuNDhlTzY3Nzc3cXJ6R3NpWmF0R2loMy8zdWQzcnBwWmYwd3c4L3lPVnlhY2VPSFRwdzRJRFBQcU1xb1JwU1BHM0x0ZW1VKytLTEw5U25UeDlKVXV2V3JmVy8vLzFQZDl4eGgrNjQ0dzZOSFR0V2I3MzFsaVJwOHVUSmF0KytmWm5YWjJkbjY3Ly8vYThtVEppZ2xKUVVuVHg1c3R6UDJiZHZueDU1NUJGbFpXVnA3ZHExV3JGaVJabC92L3p5aTB6ejlQKzEzM25uSFYxMzNYV2xRdXppeFl2TGZlK0tsa3RWQjExZjI3WnRXNlNma0VNWVlFYTNsa3EyTFZmM3BnVjE5ZlhYWHlzMU5WVy8vdnFyZHlkOTRzUUpuKzZncGRJNzZiLzk3VzlxMTY2ZGR1N2NxY2FORzZ0bHk1WSsvYXp5bEd4YjNyQmhRNWJmUHpCSVdYVXdXSjV3bmZud0hBalN0bnlhbFFFa0V2NjJTYUViUUh5cE50ZGcra0tYTGwxMDBVVVhLVDQrWG9NSEQxWktTb3FHRGgycTJiTm5TenI5ZDgzVHRWSlhMNzMwa3FaTm02WkhIbmxFdWJtNWF0T21qVjU2NlNXZnZIZDFoR2pYZ0hlbXY2WTMrS3h0RjFKSml4WXRVbUppb3V4MnU2NjY2aXJObXpkUER6LzhjS2x0TWpJeU5HYk1HSTBhTlVvdnZ2aWlCZzRjV0dWdHc0Y1AxL0RodzcxQk56TXpVeU5IanZTdS8rV1hYL1NiMy95bTFHdFdyRmhSNW4wQ0hYUTluWFdLMEJOeUNBOEUzZG9KZU51eUZEazdhZHFXVDdQcVlGQ0tqT0JSV0Zpb3RMUTB6N2UwTFlzQUVnZ2hHa0I4eWJLMjVmcjE2NnQrL2ZwbGxydGNMdVhuNXlzMk5sYVptWm15Mld6ZWF6czlhbnJ2Z1lZTkcycmN1SEVhTjI1YzNRdXZoVkRzR3FqTGliYmFYdjdna1pXVnBYbno1bm52Ti9IUVF3L3BycnZ1VWxKU1VxbDlrYzFtMDExMzNhVkJnd2JweFJkZjFMSmx5OHA5djVLWDZKeXBkZXZXM2lCYlVGQ2dQbjM2bEJ0c3p4UWRIUzNETUFJeXVjSUpPWVFMZ200dFdOVzJIQWs3YWRxV3ZTeTloaTBTZ2dkdHkyVVFRQUlnRkFPSUx3VkxwMHIvL3YwbFNVbEpTZHE1YzZjeU1qTDA3TFBQYXY3OCtmcnV1KzlLM2JIMnpIc1BsTWZUcVJJTVFqV2sxS1Z0K1V6VjdVS1NUajluOTRVWFh0QTExMXpqdlZkRXExYXROR2pRSUQzLy9QTjY2NjIzdk9HeVM1Y3UzbTFxNDh4cmV2UHo4MVZRVUtEcnI3KysxUDBHbGl4Wm90alkyRkt2clZldm50YXZYMS9yejY0SjJwWVJMZ2k2dFZEeUdaT0JhbHMrVTdqdXBFdTBMYStoYmRtNmc4RklDQjYwTFpkbTlaanpDTmUvYlZMb0JoQmY4bVdZcVlzSEhuaEFrblRYWFhkSmt2YytBYlg5TzlTa1NaTnFqY2RBQ05HUVlwUGtIUnMxVlpjdXBOZGZmMTAvL3ZpajVzK2ZYMnI1d3c4L3JEdnZ2Rk9USmszUzJMRmp5MzF0VGUrY1hGUlVwRmRmZmRVNzNoNTc3REU1blU2ZGM4NDVldmJaWnl0OTdZa1RKL1RPTys5bytQRGhPdXVzczJyMHVUVlZZditZb2dnOElZZndRZEN0dWFDNFcyUzQ3cVJMdEMxSGRDdHBzQndNU3VFWlBMamJjbG5CTXViQzlXK2JGTElCeEpkcWZRMG1xaThVcjYzczJyWHJsWkphMXZaRVcyMjZrRnd1bDZaTW1hSlBQdmxFczJiTkt2TTRvZGpZV0wzeXlpdTY3Nzc3ZFBMa1NUM3h4Qk5xMUtoUnFXM0t1M095VkxaMU9UOC9YMFZGUmJyenpqdjF5Q09QNklJTEx0QXJyN3lpN094c3padzVVNk5HamRKcnI3Mm1oeDkrdU1KcmNILysrV2N0V2JKRS9mcjE4MnZRZGJ2ZEhJc2hiQkIwYXlnWTdyWWNybWhiOWdxcWc4RndEQjRiTm14UWJtNnVSTnV5UjFDTnVYQVZpZ0hFbDRLbGF5Q2NoV3JYUU1rVGJiWHBsS3RORjlMMDZkT1ZscGFtV2JObXFWMjdkdVcrYjd0MjdmVEdHMjlvOU9qUm1qMTd0a2FOR2xWaERiLzg4b3VjVHFjT0hqeW9ldlhxbGZvNXZ2dnVPNTE3N3JsNjhza25sWm1acWNHREI2dFZxMWFhTm0yYW9xT2pOV1hLRlAzOTczL1gwS0ZEbFpTVXBOdHZ2NzFNNi9MRkYxOWM4Z1N0MzNCQ0R1R0VvRnREd2RDMkhLNW9XejZOZzBIL28yMjVOTWFjLzRWcUFQR2xZT2thQ0djaEdsTHExTFo4cHVwMklkMS8vLzI2Nzc3N3Fwd2Q3ZGl4b3hZdFdxVEdqUnRYdXQxLy8vdGZ2Zi8rKzZwWHI1NGVmZlRSVW1QY2JyZHIwYUpGTWd4RDY5YXQwMS8rOGhmMTd0M2J1NzVCZ3daNitlV1g5ZTIzMytyTEw3OHNON1FIQ20zTENDY0UzWm9KaXJibGNFV3J6R2tjRFBvWGJjdGxNZWI4TDBRRGlDLzVOTXlnZktFWVV1cmF0bnltNm5ZaG5kbXFYSm55SHBsM1ptZFNjbkt5a3BPVEszd1B6d3p0bURGakt0eW1yamU3cWl2YWxoRnVtSktzQVdZOS9PZkVpUk8wTFovR3dhQ2YvZTkvLy9PMExhZlR0aXlKTVJjUW9SaEFmTW5YWVFabGhXcElxV3ZiTW55SEUzSUlOL3hGcVFIK0dQdlBGMTk4UWR1eU9CZ01CTStCWUhIZ2lIaU1PZjhMMVFEaVMrdy8vUzlFUXdvbjJvSklwSitRUS9oaGIxTjlOc013Qmt2OE1mYUhTRDhJOU9CZzBMOW9XeTZMTWVkL0lScEFmSWt3RXdDaEdGSTQwUlk4VE5Qa1dBeGhoNk9hYXFKdDJYOW9XL2JpWU5EUGFGc3VnekVYQUtFWVFIeUpNT04vb2RvMXdJbTI0TEYxNjlaSVB5R0hNTVROcUtxSlA4YitROXZ5YVJ3TStoOXR5NlV4NXZ3dlZBT0lMN0gvOUw5UTdScnczT0R6L2ZmZjEvdnZ2MjkxT1ZEa25wQkRlR0tQVXozTWV2aFJpV2RMUnVRak56dzRHUFF2MnBiTFlzejVYNmdHRUI5aS94a0FvZG8xNEhhN2QxcGRBMG81S2VsZHE0c0FmSVVaM1dwZzFzTi9Tcll0MTY5Zi95T3I2N0VRQjROK1J0dHlHWXk1QUFqVkFPSXI3RC85TDVTdnJjekl5T2hqZFEzK1pMZmJOMGxLTkUyelIwWkd4aWFyNndFaURhZndxNEZaRC8raGJmazBEZ2I5NzR6QUVmRVljLzRYeWdIRVY5aC8raC9YVmdKQStaalJyUWF1SVFrSTJwYkZ3YUMvRkJZV0tpMHR6Zk50UkFhT016SG0vSThBd3Y0emtDSzFhd0FBS2tMUXJRYTMyNzNUTUl6enJLNGpqQjF3T3AyUmZMZGxEZ1lEaDdibFlveTV3SW5rQU1MK00yQzR0aElBemtEUXJZWnd1WWJFYnJlYmtwU2VubTVZWFF0SzQyQXdJTnltYWI1aGRSSEJnakVYTUJFZFFNSmwveWxKZHJ2OUxVa1BtYWI1Y0VaR3hsdFcxd01BcUJ4QkZ3Z0M0WFF3S0hGU0pSU0UwNWhqdkFFQWdETnhZUllBQUFBQUlLd1FkQUVBQUFBQVlZV2dDd0FBQUFBSUt3UmRBQUFBQUVCWUllZ0NBQUFBQU1JS1FSY0FBQUFBRUZZSXVnQUFBQUNBc0VMUUJRQUFBQUNFRllJdUFBQUFBQ0NzRUhRQkFBQUFBR0dGb0FzQUFBQUFDQ3NFWFFBQUFBQkFXQ0hvQWdBQUFBRENTclRWQlFBSVgzYTcvVXFyYTBEazZOcTFhdy9ETUV5cjYwRFk2bTUxQVFDQTZqT3NMZ0NCWTdmYlBRZUFheTB0QkpIZ1dxc0xBQUIvTUUyendEQ01JcXZyUUVob0pFbW1hZmJJeU1qWVpIVXhRS1JoUmpleUhKWFVUSVFRQUFCcXhUQ00rcExxVzEwSFFzWVJtODEyd09vaWdFaEUwSTBnaG1GME1BeWprOVYxQUlBdnVkM3VMeVRKTk0yWEN3c0wvMkYxUFFEZzBieDU4L3kwdERRNkFBQUwwTG9NQUFnbHRzNmRPemRvMnJTcGQvK1ZuWjJkSTBtR1lid2NGeGZuRGJvN2QrNTA3ZCsvLzVRVlJRSUFBR3NSZEFFQUlhTnIxNjRQMkd5Mm1kWGMvRC9wNmVtLzgydEJBQUFnS1BGNElRQkF5SEE2blhPcnU2MWhHQlA4V1FzQUFBaGVCRjBBUU1qWXRtMWJvV21hSjZ1eHFTbHBsYi9yQVFBQXdZbWdDd0FJTlF1cjJzQXdqQjhkRG9jekVNVUFBSURnUTlBRkFJU1VJMGVPL0ttcWJkeHU5MU9CcUFVQUFBUW5naTRBSUtRVTMwbTVzcnNwbTJlZGRkYnlRTlVEQUFDQ0QwRVhBQkJ5VE5QOHVKTFZlOVBTMHZJRFZnd0FBQWc2QkYwQVFNaXBWNi9laUVwV1B4MndRZ0FBUUZBaTZBSUFRczVYWDMyVkxhbWd2SFZGUlVWTEFsd09BQUFJTWdSZEFFQklNZ3hqelpuTFROUDhlZlBtemJsVzFBTUFBSUlIUVJjQUVKTGNidmZ3TTVmWmJMYS9XMUVMQUFBSUxnUmRBRUJJeXNqSU9DTHB6R2ZsenJlaUZnQUFFRndJdWdDQWtHVVl4cm9TMzVvT2grT0VaY1VBQUlDZ1FkQUZBSVFzcDlONXQrZHJ0OXM5MXNwYUFBQkE4Q0RvQWdCQzF1Yk5tL2RMS3BLa2V2WHF2V054T1FBQUlFaEVXMTBBQUFCMXRGSFNiNy8rK3V1alZoY0NBQUNDZzJGMUFRQ0E0TmE3ZCsvbzdPenMyd3pER0NJcDBUVE41cExxVzExWENDZ3dET09JSklla1JYRnhjWXZTMHRLS3JDNEtBSUJJUU5BRkFGVEVzTnZ0SXlROUthbU54YldFZ3oyU1hrNVBUNThweWJTNEZnQUF3aHBCRndCUVJ2djI3ZXZIeDhmUGtuU1hKRjE4OGNVYU1tU0kycmR2cjFhdFd1bXNzODZ5dU1MZ2QrTEVDZTNkdTFjN2QrNVVTa3FLZHV6WTRWazFMenM3KzhHZE8zY1dXRmtmQUFEaGpLQUxBQ2dsTVRHeG9XbWFLeVgxYXRhc21aNTc3amxkZGRWVk1neDJHYlZsbXFiV3IxK3Y1NTkvWGtlUEhwV2sveGlHY2FQRDRjaXp1allBQU1JUmQxMEdBSlRpZHJ1blNlclZybDA3elowN1YxZGZmVFVodDQ0TXc5RFZWMSt0T1hQbXFGMjdkcExVeXpUTlY2MnVDd0NBY01XUkN3REFLekV4OFU3VE5OOC8rK3l6dFhEaFFpVWtKRmhkVXRnNWR1eVlicnZ0TmgwOWVsU21hZDZaa1pHeHdPcWFBQUFJTjh6b0FnQWtTVmRmZlhXY2FacXZHNGFodi8vOTc0UmNQMGxJU05BTEw3d2dTVElNNDU5WFgzMTFuTVVsQVFBUWRnaTZBQUJKVW41Ky9xT1NFbTY2NlNaZGNjVVZWcGNUMXE2NDRncmRkTk5Oa3BTUWw1ZjNpTlgxQUFBUWJnaTZBQUIxN3R5NWtXbWFZd3pEMExCaHc2d3VKeUlNR3paTWhtSElNSXd4blR0M2JtUjFQUUFBaEJPQ0xnQkEwZEhSdDBnNnUzZnYzbXJkdXJYVjVVU0VObTNhcUhmdjNwTFVQQ1ltNW1hTHl3RUFJS3dRZEFFQWtqUklrbTY4OFVhcjY0Z29KWDdmZzZ5c0F3Q0FjRVBRQllBSTE3Tm56d2FTK2tWSFI2dG56NTVXbHlOSm1qcDFxakl6TThzc1AzTGtpTWFPSFZ2dDl6bDU4cVJtelpybHk5SjhxbWZQbm9xS2lwSnBtdjJLL3pzQUFBQWZJT2dDUUlRckxDeThVbExEYnQyNnFWRWo2eThWM2JGamh6NzQ0SU55YThuTnpkVm5uMzFXN2ZmS3pzN1dtMisrNmN2eWZLcFJvMGJxMXEyYkpEVnlPcDNjQVF3QUFCK0p0cm9BQUlEbE9rdFNodzRkcks1RGtyUmd3UUwxNzk5Zlo1OTl0dHh1dC9Mejg3M3JQRi9uNWVXVmVrMnZYcjBxZmMvRXhNUnlsOCtiTjArWFhucHBIU3V1bXc0ZE9talRwazB5VGJPenBEUkxpd0VBSUV3UWRBRWd3aFVITExWdDI5YnFVdlRMTDc5bzFhcFZXckJnZ2JLeXN1UndPUFRrazArVzJlN01ZTHRodzRaeTMrL1FvVU5LVGs2dWNIMU1URXpkaTY2akVyLzN6bGJXQVFCQU9DSG9BZ0E2U3RJRkYxeGdkUjE2KysyMzFhZFBIN1Z1M1ZxalI0OVdwMDZkNUhBNHZPdjM3Tm1qVzIrOXRkU3l5bmlDYkwxNjlmeFNyeTk0Z3E1cG1oMHRMZ1VBZ0xCQjBBVUFuQzFKVFpzMnRiU0lIMy84VVV1WEx0WENoUXYxMDA4L2FmdjI3WHJoaFJlcS9mckRodytyZi8vKzVhNHJyM1c1dW1IWjN4SVNFanhmbm0xbEhRQUFoQk9DTGdEZ0xFbVczNGdxTXpOVEJRVUZ1djMyMjFWUVVLQlhYbmxGalJzM0xqZWtsbHcyWWNJRTllM2IxL3Q5eVFCNzhPQkIzWFRUVGVVdUN4WWxmdTluV1ZrSEFBRGhoS0FMQUlpWHBJWU5HMXBhUk4rK2ZlVndPTFIwNlZKdDJMQkIxMTEzblNRcExTMnQwdGMxYUJEYVQrVWg2QUlBNEhzRVhRQkEwTmk2ZGF0bXpacWxlZlBtcWFpb1NDZFBubFNUSmsxcTlCNVZ6UUFEQUlEd1I5QUZBR1JMT2pzdkw4L1NtellkUDM1Y28wYU5VbHhjbklZUEg2NTkrL1pwMkxCaHV1bW1tM1RMTGJkVStMb1BQL3hRNTU5L3ZnekRVTDE2OWJ4M1dQNysrKy8xcHovOVNWbFpXYnI0NG92MXIzLzlTM0Z4Y2Q0N01RZUwzTnhjejVjbnJLd0RBSUJ3UXRBRkFKeVFkSFp1Ym02TlowOTlLUzR1VGtsSlNXclRwbzB1dU9BQ3RXclZTazJiTnRXK2Zmc2tTVjkvL1hXWjExeCsrZVhlcjMvem05OTRRMjVhV3BxZWVlWVpYWFBOTlZxMWFwV2FOV3VtUC83WUxEaWFBQUFnQUVsRVFWVHhqM3IxMVZkMTdybm5Wdmk0SVNzUWRBRUE4RDJiMVFVQUFDejNxeVJsWldWWldrUlVWSlJHang2dFFZTUdxV3ZYcnBLa2JkdTJsVnAvNXI4ekZSUVVhTXFVS1JvN2RxeEdqQmloVWFOR1NaSW1UNTZzaElRRTNYMzMzYVhlTXhnY08zYk04K1d2VnRZQkFFQTRJZWdDQUxaSjB1N2R1eTB0WXYvKy9WcTRjS0dlZmZaWkpTY25hOENBQVZxK2ZIbTFYNzl1M1RvTkhUcFVuMzMybWQ1ODgwM2RmZmZkM25YMTZ0WFRsQ2xUMUw5L2Y5MS8vLzJhTkdsU3lZQnBxVjI3ZGttU0RNTUlyZ1FPQUVBSW8zVVpBQ0tjWVJpYlRkUDBCaTZyN042OVcxOSsrYVY2OU9paHdZTUhxME9IRHFwWHI1NjNkYm1pRzBxNVhDNDk4c2dqY2pnY0dqcDBxQjUrK09GeTd5QnRzOW4weUNPUDZOcHJyOVhFaVJNMWNPQkFMVml3UUsxYXRmTHJ6MVdWRXIvM3pWYldBUUJBT0NIb0FnQTJTOUwyN2RzdExhSlhyMTdxMWF0WG1lVTJtMDJOR3pmVzZ0V3J5Nnk3NFlZYkZCTVRvd2NmZkZEang0OVh5NVl0cS95Y2poMDdhczZjT2ZyKysrOHREN25TLy91OUc0WkIwQVVBd0VjTXF3c0FBRmlyWjgrZURRb0tDbzVFUjBjMyt2enp6MHMrMXhWK2xwdWJxejU5K3NqbGN1WEd4OGVmblphV2xtOTFUUUFBaEFPdTBRV0FDTGRodzRaVGtsWVdGUlVGMWQySUk4R0dEUnZrY3Jsa0dNWUtRaTRBQUw1RDBBVUFTTklTU1ZxNWNxWFZkVVNVRXIvdkpWYldBUUJBdUNIb0FnQlVWRlQwb2FSZjA5TFNsSm1aYVhVNUVXSFBuajFLUzB1VHBDTk9wL01qaThzQkFDQ3NFSFFCQU5xOGVYT3VZUmlUVGRQVXUrKythM1U1RWVIZGQ5K1ZhWm95VFhQeTVzMmJjNjJ1QndDQWNFTFFCUUJJa21KalkvOHA2ZGpISDMrc3I3NzZ5dXB5d3RwWFgzMmxwVXVYU3RLeGhnMGJ2bUYxUFFBQWhCdnV1Z3dBOE9yV3Jkc2RobUhNYjlhc21UNzQ0QU1sSkNSWVhWTFl5Y3JLMHUyMzM2NmpSNC9LTk0wN01qSXlGbHBkRXdBQTRTYks2Z0lBQU1IajU1OS8zbnJPT2VlY2QrclVLZnU2ZGV0MHpUWFhLQzR1enVxeXdzYWhRNGYwNktPUDZ1REJnNUkwTXlNajQyV3Jhd0lBSUJ6UnVnd0FLTVZtc3owbTZUOC8vZlNUN3IzM1hxMWJ0MDZtYVZwZFZrZ3pUVlByMXEzVHZmZmVxMTI3ZGtuU2Z3ekQrTFBWZFFFQUVLNW9YUVlBbE5HK2ZmdjY4Zkh4c3lUZEpVa1hYM3l4aGd3Wm9uYnQycWwxNjlZNjY2eXpMSzR3K0owNGNVS1ptWm42NmFlZmxKS1NvaDA3ZG5oV3pjdk96bjV3NTg2ZEJWYldCd0JBT0NQb0FnQXFZdGp0OWdjbGpaUFV4dUphd3NFZVNTK25wNmZQbE1RVU9RQUFma1RRQlFCVXFuZnYzdEU1T1RsRFRkTWNJaWxSVW5OSnNSYVhGUXJ5SlIyUjVEQU1JeVV1TG01UldscGFrZFZGQVFBQUFBQUFBQUFBQUFBQUFBQUFBQUFBQUFBQUFBQUFBQUFBQUFBQUFBQUFBQUFBQUFBQUFBQUFBQUFBQUFBQUFBQUFBQUFBQUFBQUFBQUFBQUFBQUFBQUFBQUFBQUFBQUFBQUFBQUFBQUFBQUFBQUFBQUFBQUFBQUFBQUFBQUFBUDgvZTNjZWwxV1ovMy84Zlc0Mmx4UkpTeWRUU3pSMWJFd09WcEl6U2tia2txVVFaYzVVbGt1TFdhTmx5K1RZbEdQbEwxdW1xYW0wM0NvdEdkRXlWM1MrMnFJMUJTYnVpYWJtR3FLQ0E3TGUxKzhQdk85QUFSR0J3L0o2UGg0OHZMbk9kYzc5NFphWlIyK3Z6N2tPQUFBQUFBQUFBQUFBQUFBQUFBQUFBQUFBQUFBQUFBQUFBQUFBQUFBQUFBQUFBQUFBQUFBQUFBQUFBQUFBQUFBQUFBQUFBQUFBQUFBQUFBQUFBQUFBQUFBQUFBQUFBQUFBQUFBQUFBQUFBQUFBQUFBQUFBQUFBQUFBQUFBQUFBQUFBQUFBQUFBQUFBQUFBQUFBQUFBQUFBQUFBQUFBQUFBQUFBQUFBQUFBQU5Ra2x0TUYxRFhoNGVHKzZlbnBkMWlXRlNNcDFCaHprYVFBcCt1cUFiSXR5MHFSbENCcFhxTkdqZWF0WHIwNnorbWlBQUFBQUZRL0JOMnFZOW0yUFZMU1U1SXVjN2lXMm1DM3BCY1RFeE9uU1RJTzF3SUFBQUNnR2lIb1ZvRjI3ZG9GTkc3YytEMUpmNUtrRGgwNktDWW1SdTNhdFZQcjFxMFZHQmpvY0lYVlgxcGFtdmJ1M2F2azVHVEZ4c1pxKy9idG5rTWZwS2VuajBoT1RzNTJzajRBQUFBQTFRZEJ0NUtGaG9ZMk1NWXNrL1NIcGsyYjZ0bG5uOVYxMTEwbnkrS2pMeTlqak5hdVhhdm5ubnRPcWFtcGt2U2xaVmw5RWhJU01wMnVEUUFBQUlEelhFNFhVTnU1M2U1L1NQcERjSEN3WnMrZXJSNDllaEJ5ejVObFdlclJvNGRtelpxbDRPQmdTZnFETWVaMXArc0NBQUFBVUQyUXVDcFJhR2pvRUdQTVI4MmFOZFBISDMrc29LQWdwMHVxZFk0ZE82WTc3cmhEcWFtcE1zWU1XYjkrL1Z5bmF3SUFBQURnTEZaMEswbVBIajBhR1dQZXRDeEx6ei8vUENHM2tnUUZCV25peEltU0pNdXkzdXJSbzBjamgwc0NBQUFBNERDQ2JpWEp5c29hSlNsb3dJQUJ1dmJhYTUwdXAxYTc5dHByTldEQUFFa0t5c3pNZk1qcGVnQUFBQUE0aTZCYkNicDA2ZExRR1BPWVpWa2FPblNvMCtYVUNVT0hEcFZsV2JJczY3RXVYYm8wZExvZUFBQUFBTTRoNkZZQ1gxL2ZnWkthaFllSHEwMmJOazZYVXlkY2R0bGxDZzhQbDZTTC9Qejhiblc0SEFBQUFBQU9JdWhXamtHUzFLZFBINmZycUZNS2ZkNkRuS3dEQUFBQWdMTUl1aFVzTEN5c3ZxUyt2cjYrQ2dzTGM3cWNPaVVzTEV3K1BqNHl4dlE5OWZjQUFBQUFvQTRpNkZhd25KeWM3cElhaElTRXFHSERtbjJyNlBIang1V2VubDdzc1gzNzlpazNON2VLS3lwZHc0WU5GUklTSWtrTmMzTnoyUUVNQUFBQXFLTjhuUzZnRnVvaVNSMDdkblMwaUx5OFBPM2J0Kytjejd2c3NzdThyei84OEVQOS9QUFBtang1Y3BFNW1abVpHanAwcU82Ly8zN0Z4TVNjYjZrVnFtUEhqdnIrKys5bGpPa2lhYlhUOVFBQUFBQ29lZ1RkQ25ZcVlLbHQyN2FPMW5IdzRFRkZSMGVmODNrSkNRbmUxL3YyN1NzU2ZEMW16WnFsRmkxYWVLOS80TUFCWFhMSkplV3V0U0lWK3R5N09Ga0hBQUFBQU5RYXRtMS9ZOXUyU1VwS010WEZUei85Wkd6Yk50bloyY1dPbnk0akk4TWNPWExFeE1URW1Ibno1cGtqUjQ2WUkwZU9HR09NMmJObmovbjk3Mzl2dG0zYlpvd3hac2VPSGViNjY2ODNCdzhlclB3ZnBBeVNrcEtNYmR2R3R1MTFUdjh1QUFBQUFIQUc5K2hXdkdhU2RPR0ZGenBkUjduOTYxLy9VbVJrcEhidTNLbVhYbnBKa1pHUmlveU1WRjVlbnA1OTlsbmRmZmZkNnRDaGd5U3BYYnQyaW82TzFuUFBQZWR3MVFXQ2dvSThMNXM1V1FjQUFBQUE1OUM2WFBFQ0pkWG9qYWdlZi94eERSbzBTRU9IRHRXYU5XdTBjK2RPalJ3NVVoTW5UbFJTVXBMUzA5TzFjT0ZDWldSa0tDTWpReTVYd2IrWExGMjZWSDM3OW5XMDlrS2ZlNkNUZFFBQUFBQndEa0czNGpXV3BBWU5HamhkeDNuWnVIR2pycnJxS3JsY0xoMDhlRkNYWEhLSmJycnBKdjN1ZDc5VGl4WXRGQlFVcEFzdnZGQ0JnWUZxMEtDQlltTmo5YzQ3NytpbW0yN3lCbDhuRUhRQkFBQUFFSFJycWREUTBEUEdTbnF1YitHNVR6Lzl0RzY3N1RhdFg3OWUzYnQzbHlSdDI3Wk5IVHAwMEhYWFhWZmkrOTE2NjYyS2lJaHdOT1FDQUFBQWdFVFFyUXpwa3BwbFptYkszOS9mc1NMbXo1L3ZmYjFueng2TkhUdFdzYkd4UllMby92Mzc5Y2dqanhTWjI3UnBVMG5TZDk5OXB4NDlla2lTdnY3NmE4WEV4T2p3NGNQcTE2OWZpZTlaZU1kbXAyUmtaSGhlcGpsWkJ3QUFBQURuRUhRclhwcWtaaGtaR1dyU3BJbGpSUlIrTEZCcWFxb2FOR2hRNGlPUGludUUwQU1QUEtDLy9lMXYyclZybDM3ODhVZjE3TmxUSjArZWxDU3RXMWQwUStPREJ3OHFLaXFxd21vL0h3UmRBQUFBQUFUZGluZEVVdkRSbzBmVnNtVkxwMnVSSlAzMDAwL24vSnpiVzI2NVJjWVlUWnc0VVQxNzlsVGp4bzI5UWZmMGxXby9QNzhLcS9WOEhUdDJ6UFB5aUpOMUFBQUFBSEFPTjFSV3ZNMVNRYmlzTGxhc1dLR3VYYnVlODNuTm1qV1RuNStmdnZ6eVN5MVlzS0FTS3F0NHUzYnRraVJabHJYWjRWSUFBQUFBT0lTZ1c4RXN5MHFTZmcxY1RwczFhNWJXcjErdm1KaVljenB2OSs3ZG1qQmhnaVpObXFSUm8wYnBoUmRlMEo0OWV5cXB5b3BUNkhOUGNySU9BQUFBQU02aGRibmlKVWtGT3hVN0tTTWpRNisvL3JvV0xGaWdjZVBHcVYyN2RtVStkL3YyN1hyc3NjZjA1Sk5QcW5mdjNwS2tLNis4VXExYXRaSlUvSTdPMVlYbmMvZjhnd01BQUFDQXVvZWdXOEg4L2YyL3ljN096bGkvZm4zRGpJeU13czkxclZLelo4L1c4dVhMOWNJTEx5Z3lNdktjem0zVXFKRW1UNTZzenAwN2U4ZTZkZXVtOVBSMERSdzRVSC85NjErTHpFOUxTOU5iYjcxVklYV2ZqNHlNREsxZnYxNlNNaTY0NElKdm5LNEhBQUFBQUdvTjI3Yi9iZHUyaVkrUE4wN0p6ODgzUjQ0Y0tYVk9YbDZlT1hUb1VCVlZWUG5pNCtPTmJkc21ORFEwMXVuZkFRQUFBQURPNFI3ZHlyRkFrcFl0VytaWUFTNlh5L3RNM0pMNCtQaW9lZlBtVlZSUjVTdjBlZGVNbmJNQUFBQUFWQXFDYmlYSXk4dGJLT25JNnRXcmE4UUdUclhCN3QyN3RYcjFha2xLeWMzTi9kVGhjZ0FBQUFBNGlLQmJDWktTa2pJc3kzckZHS09aTTJjNlhVNmRNSFBtVEJsalpJeDVKU2twS2NQcGVnQUFBQUE0aDZCYlNlclZxL2VXcEdPZmZmYVp2djMyVzZmTHFkVysvZlpiTFZxMFNKS09OV2pRNEY5TzF3TUFBQURBV1piVEJkUm1JU0VoZDFxV05hZHAwNmI2NUpOUEZCUVU1SFJKdGM3Um8wYzFlUEJncGFhbXloaHo1L3IxNno5MnVpWUFBQUFBenZKeHVvRGE3TkNoUTV0YXRHaHg2Y21USisydnYvNWF2Ly85NzlXb1VTT255Nm8xRGg0OHFGR2pSdW5BZ1FPU05HMzkrdlV2T2wwVEFBQUFBT2ZSdWx6SlhDN1hvNUsrM0xsenArNjU1eDU5L2ZYWE1zWTRYVmFOWm96UjExOS9yWHZ1dVVlN2R1MlNwQzh0eS9xejAzVUJBQUFBcUI1b1hhNEM3ZHExQzJqY3VQRjdrdjRrU1IwNmRGQk1USXlDZzRQVnBrMGJCUVlHT2x4aDlaZVdscVk5ZS9abzU4NmRpbzJOMWZidDJ6MkhQa2hQVHgrUm5KeWM3V1I5QUFBQUFLb1BnbTdWc1d6YkhpSHBhVW1YT1Z4TGJiQmIwb3VKaVluVEpMRkVEZ0FBQU1DTG9GdkZ3c1BEZlUrY09IRzdNU1pHVXFpa2l5VFZjN2lzbWlCTFVvcWtCTXV5WWhzMWFqUnY5ZXJWZVU0WEJRQUFBQUNvQVd6Yk5yWnRzMG9LQUFBQW9FWmlNeW9BQUFBQVFLMUMwQVVBQUFBQTFDb0VYUUFBQUFCQXJVTFFCUUFBQUFEVUtnUmRBQUFBQUVDdFF0QUZBQUFBQU5RcUJGMEFBQUFBUUsxQzBBVUFBQUFBMUNxVzB3WEFXVjI2ZExuVTE5ZDMvR25EOTUvNjg5M0NnM2w1ZVg5UFNrcmFWeldWQVFBQUFFRDVFSFRydUppWUdKL2s1T1Q5bG1VMUwyMmVNZVp3dTNidFdzYkd4dVpYVlcwQUFBQUFVQjQrVGhjQVoyM1pzc1cwYk5reVdGSzNzMHo5WU5XcVZaOVhSVTBBQUFBQWNENjRSeGR5dTkzenl6Q3RMSE1BQUFBQXdIRUVYY2psY3EweHhod3RaVXBxWUdEZ21pb3JDQUFBQUFET0EwRVhTa2hJeUxVczY5TlNwbnk2ZXZYcXZDb3JDQUFBQUFET0EwRVhraVRMc2twc1RYYTVYTFF0QXdBQUFLZ3hDTHFRSktXbHBhMlVsRjdNb2ZUang0K3ZxdXA2QUFBQUFLQzhDTHFRSkNVbkoyY2JZNHJiVlhsUmNuSnlkcFVYQkFBQUFBRGxSTkNGVndudHk3UXRBd0FBQUtoUkNMcndzaXhybWFUTVFrT1psbVV0ZDZvZUFBQUFBQ2dQZ2k2OEVoSVNNaVV0OVh4dldkYVNVMk1BQUFBQVVHTVFkRkdFTWNiYnF1eDJ1MmxiQmdBQUFGRGpFSFJSaEwrLy8yTFA2d1lOR2l3dWJTNEFBQUFBQURXQ2JkdUxiTnYrek9rNkFBQUFBS0E4ZkowdUFOWFNmTXV5ak5ORkFBQUFBRUI1V0U0WFVGM1p0djJFcE1sTzE0R2F3Uml6ZXYzNjlkYzdYUWNBQUFBQTd0RXRpU1hwWWFlTFFNMWhXVmE0MHpVQUFBQUFLRURyY2pGczI3NVdVcXZtelp0cjhlTEZzaXdXdmxHOFYxNTVSWFBtekpHazE1eXVCUUFBQUVBQlZuU0xZVmxXakNUZGVPT05oRnlVeU8xMmErWEtsWklrWTB5c3crVUFBQUFBT0lXZ2V5YkxHQk1qU1JFUkVVN1hnbXBzNDhhTit1V1hYMlJaMXI3MTY5ZC82M1E5QUFBQUFBb1FkRTlUdUczNXlpdXZkTG9jVkdPbnJlYTZuYTBHQUFBQWdBZEI5elMwTGFNc2FGc0dBQUFBcWkrQ2JsRXUycFpSRnA2MlpVay8wN1lNQUFBQVZDOEUzVUpzMjc1R3RDMmpERHlydVpMK0xkcVdBUUFBZ0dxRm9Gc0liY3NvQzlxV0FRQUFnT3FOb1BzcjJwWlJKclF0QXdBQUFOVWJRZmNVMnBaUlZyUXRBd0FBQU5VYlFmZFh0MHNGcTdtMExhTWticmRicTFhdDhudzd6OGxhQUFBQUFCU1BvRnZBSmVrMnFlRCtYS0FrR3pkdTFPSERoeVhwNThURVJOcVdBUUFBZ0dxSW9LdnpiMXRPU2tyU2YvLzczMktQYmR5NFVlKy8vNzdjN3JOM3VCcGpsSktTVXFiM3pNckswaHR2dktIczdPeHpxcld3bEpRVUpTUWtuREh1ZHJ2MTFWZGZLUzB0cmRUejgvUHp0WFBuempQR2QrL2VyWU1IRDVhN3J1cnN0TFpsNDJBcEFBQUFBRXBBMEMxd1htM0xhOWFzMGZidDI4OFlUMGxKMGRpeFl6Vmp4Z3pObTNmMkx0Zmx5NWNyT2pwYW16ZHZQdXRjZjM5L2JkaXdRYSsrK3FwM0xEUTB0TlN2TFZ1MmVPZTYzVzQ5OWRSVHhRYmQyTmhZdmZqaWk2cGZ2LzRaeHpadjNxem5ubnRPbVptWk9uNzh1RzYvL1haSjBvY2ZmdWk5MWdzdnZLREZpeGVmOVdlb2FXaGJCZ0FBQUdvR1g2Y0xxQWJPdTIxNXg0NGR1dSsrKzRxTUhUOStYS05HamRMVlYxK3Q0Y09IYS9qdzRUTEc2TTQ3N3l6eE9uMzY5TkcrZmZzMGJ0dzRmZkxKSjJyVXFGSEpSYnRjbWpScGt1NjQ0dzcxNnRWTDExMTNuWllzV1ZKcW5VMmJOdlcrbmp4NXNuYnUzS205ZS9kcTRjS0Y4dlB6a3lTRmg0ZHI0Y0tGQ2d3TVZHUmtwQUlEQTczbnZQVFNTK3JRb1lPT0hqMnFTWk1tYWV6WXNaSUt3dStubjM2cTZPaG81ZVRrYU92V3JYcjIyV2RMcmFVbW9tMFpBQUFBUUkwUUVoSVNadHUyNmR1M3IzRzczZVpjOWV6WjA0U0docHFlUFh0NnY1WXZYMjRHRGh4b0hubmtFWk9kblcyTU1XYmJ0bTNtcHB0dU1rODk5WlJKVFUwdDlab1BQdmlnbVRScFVwbmVmOUdpUmVhTEw3NG9jNzI1dWJubW1XZWVNWGZjY1lkSlNVa3g4Zkh4WnRpd1lTWTNOOWNZWTh4RER6MWszbnp6VFdPTU1aTW5UelpMbHk0OTR4cloyZGttTnpmWEhEbHl4TmkyYmZMejg4MmhRNGVNTWNhc1hyM2EyTFo5eHRlSUVTUEtYR04xTldYS0ZHUGJ0Z2tORFgzRjZkOWJBQUFBQUNXcjg5c0wyN2I5cXFReGYvempINzBybE9maXdJRURtakJoZ3Q1Nzd6MUowb0lGQy9UcXE2OHFPRGhZdTNmdmxzdjFhM2Q0ZG5hMmV2WHFwUysrK0VJUFBQQ0EvdlNuUHhWN3pYLys4NSthUFh1MlB2bmtFN1Z0MjdaY1AxZHBWcTVjcVd1dXVVYkRodytYSkowNGNjSzdlcHlYbHlkZjM0S0Yvdno4ZkJsajlPOS8vOXY3YzRTRmhYbXZrNWVYSjdmYkxYOS9mMi9kczJiTlV2ZnUzZlhIUC81Umt2VHl5eS9yMEtGRGV1V1ZtcDBOM1c2M2JyNzVacytLYmxoaVl1STNUdGNFQUFBQUFNVngyYmE5MTdadGs1U1VWSzVWdmlWTGxwZzMzM3pUM0hMTExjWVlZK0xqNDgyMGFkTk1mbjUraWVkODhjVVhadHUyYlNVZWo0Nk9OaEVSRWVhcHA1NHFjVTVhV3BvNWR1eVlPWGJzbU1uUHp5OTJGYlc0TDg4S2MzWjJ0ckZ0KzZ3L24yM2JKaTh2NzR6eGI3Lzkxa1JFUkJqYnRzMktGU3VNTWNaczNMalIyTFp0M25yckxlKzhzV1BIbWlsVHBoaGpDbGFmYmRzMjMzenpqZmY0N05tenplOS8vM3R6NE1DQnM5WlNra09IRHBsdTNicVpHVE5tRkJuZnRXdVhzVzNiZlBYVlYrVyt0c2NQUC96ZytRejNpbjhnQWdBQUFLcTFPbjJQYmtoSXlMVTZqOTJXSlNraElVRVJFUkg2OE1NUEpSVnNhQlVURTZQNTgrZDc1eXhkdWxUSnljbHExNjZkSkduS2xDbjY5Tk5QaTczZTVzMmJ0WHYzYnIzNzdydDY2S0dIdEdmUEhyVnAwK2FNZVVPR0RQSHViRHgvL256di9ibEhqaHpSdmZmZXE3Lzk3VzhLRFEwOTR6elA2cXRIU2F2S0pUbDU4cVNtVDUrdVJZc1c2WWtubnRCVFR6MmxCUXNXYVB2MjdkcTZkYXN1dlBEQ0lqc3hKeWNucTBlUEhwS2ttMisrV1V1WEx0V3JyNzZxdVhQbjZ1alJvNW82ZGFyR2pCbWozL3ptTitkVVIySE5temRYOSs3ZHRXTEZDZzBkT3RRN3ZuanhZalZ2M3J6SUtuUjVlWFpidGl3clZ1eTJEQUFBQUtDNnNtMzdWZHUyelN1dnZGTHVsYjZCQXdlYXpNeE0wNzE3ZCs5WXo1NDl6M2hkZUt4YnQyNGxYbS84K1BIbTRZY2ZOc1lZOCtTVFQ1cS8vT1V2cGI2L2Jkdm1wNTkrOG43LzRvc3ZtcEVqUnhwampEbDU4cVJadFdwVnNlZVZaMFUzSXlQRDlPL2Yzenp4eEJNbU5UWFZlNDl1ZG5hMkdUdDJyUG5tbTIvTWtpVkx6QTAzM0dEeTgvUE4wYU5IalczYjVzY2ZmL1JlYi8vKy9hWkhqeDVtL3Z6NTVpOS8rWXQ1NktHSHpscERXYXhjdWRMWXRtMTI3OTV0akRIRzdYYWIvdjM3bTdmZmZ2dThyNTJmbjIvNjl1M3JXZEh0N3ZUdkxRQUFBSURTMWVVVlhaZGxXVEhHR0VWRVJKVDdJb2NPSFZMdjNyMlZrNU9qc0xBd2RlOWUvaHowMDA4L2FkbXlaWHJ6elRjbFNTTkdqTkRnd1lNMVpNZ1FkZTdjK2F6bjc5eTVVNTk5OXBrKytPQURTUVgzQkwvKyt1dEtUMC9Yd0lFRGl6M25YRlowR3pSb29MZmZmbHV0V3JYU0R6LzhvQWtUSnVnLy8vbVAvUDM5dmZmZ0hqOStYR2xwYWRxd1lZUDI3dDJyWnMyYUtUZzQySHVOU3k2NVJLTkdqZEkvL3ZFUFNTclRZNWZLb2xldlhnb0tDbEo4Zkx5R0R4K3U5ZXZYNi9EaHc3cjExbHZQKzlxYk5tM3kzSnU3bDkyV0FRQUFnT3F2emdiZGtKQ1FhNDB4bDU1UDI3SWtyVnUzVGxMQkprMmUxNzE2OWZJK1h6WXpNN05NMXpIRzZNVVhYMVJvYUtpdXZmWmFTVkp3Y0xBR0RCaWdTWk1tYWZiczJkNU5vb3JqZHJzMWFkSWtEUjQ4MkJzc0d6ZHVyQWtUSnVpUlJ4NVIrL2J0aXczTE9UazVaZjloSmQxKysrMHl4aWd2TDA4dWwwdDkrdlNSVkxCeDFWZGZmYVVtVFpxb1I0OGUrdVNUVDdSLy8zNUZSa1lXMlpETFUxZFdWcFlhTm16b2ZhelIrZkwxOVZYLy92MjFZc1VLRFI4K1hFdVhMdFUxMTF4elhpM1JIdkh4OFpJa3k3TCtMZHFXQVFBQUFGUlhGZEcyWEZqMzd0M04vdjM3emFaTm04clZ1anh0MmpRVEZoYm1iYjMxT0hyMHFMbisrdXRMck5QVHV2enFxNjhhMjdaTmRIUzBHVEJnZ09uVnE1ZnAxcTJidWU2NjYwenYzcjNOZ0FFRHpJa1RKN3puRlc1ZC92cnJyNzJQRi9MSXlja3hYMy85ZGJHYlVVMllNTUVNSHo3Y3UrSFd0bTNiekYxMzNlVTkvc01QUDVqUTBGQnp6VFhYbVAzNzl4YzU5K0RCZzZabno1NW00Y0tGWnNpUUlXYnMyTEhGL2x6bDhkTlBQeG5idHMyV0xWdE1lSGk0aVkrUFArOXIwcllNQUFBQTFEeDFkVVczUXRxV0plbisrKy9YenovL3JKeWNISTBaTThhN09ud3VLN3FmZi82NTNubm5IVTJZTU9HTWphZUNnb0kwZnZ4NGpSczNUcGRjY29rR0R4N3NQYlpueng3dmUwUkdScXBObXpacTJiS2xnb0tDRkJRVXBNREFRUG43K3lzL1AxL2p4NC9YNGNPSGRjRUZGMGdxMkpRcUlTRkJlWGw1R2oxNnRMNzQ0b3NpSzhicDZla2FQWHEwRWhJU2l0U1RscGFtMU5SVUhUaHdRRE5tekZEZnZuMzEvUFBQNi83NzcvZk9DUXdNbEorZm55NjQ0QUlGQkFSNHg5MXV0eVpNbUtEMjdkdnJsbHR1VVhCd3NJWU9IYXJGaXhlcmYvLytKWDQrdTNidDBnTVBQS0JaczJhVnVrSjcyV1dYNmFxcnJ0TGt5WlBsNCtPalhyMTZsZmF4bHdsdHl3QUFBQUJxaEpDUWtERGJ0azNmdm4xTGZReFFXV3pidHExTW0xSHQyN2ZQTytaWjBYVzczV2JtekprbU5EVFUvT3RmL3lyMWZkNTg4MDFqMjdaNTlkVlhUVlpXbGxtN2RxMEpEdzgzNDhhTk0zMzc5aldMRnk4MnFhbXBKZjQ4K2ZuNTVuLy8rNS9KeWNreEVSRVIzcS93OEhEVHJWdTNJbU1SRVJIbWhodHVNTFp0RnhsYnRHaVI5M28vL2ZTVEdUbHlwTEZ0Mnd3YU5NZ2NQMzdjR0ZPdzJWVC8vdjNObzQ4K2FtSmlZa3hVVkpUM1o1ODVjNmE1NXBwclRISnlzdmM2RXlkT05PSGg0ZWFYWDM0cDhXZVBqWTAxTVRFeHBYNCtIcDkrK3FuM2M2b0lVNlpNTWJadG05RFEwSnI5SUdBQUFBQ2dEcW1USzdxV1pkMHVGVHdLNlBUN1I4OVZodzRkaWgxM3U5M0t5OHVUTVFXM2RHWm1adXJBZ1FNNmZQaXc2dGV2TDBsNjU1MTM5UDc3Nyt2aGh4OHU4bGljNG93YU5VcjUrZm1hTld1V0FnSUN0SFhyVmozODhNT0tqbzdXaWhVck5IMzZkRTJZTUVIR0dMbGNMdm41K2NuUHowOHVsMHRaV1ZuS3ljbVJuNStmbGk1ZDZyM25kTy9ldlpvNGNhSTZkdXlveHg1N3JNajdwYWFtS2pJeTBqdlg0OWl4WS9ybW0yKzBkT2xTN2RxMVMyUEhqdFdXTFZzMGV2Um9qUmt6Ums4ODhZUnMyOWJFaVJOMTRzUUpqUm8xU2tPR0ROR1lNV04wenozMzZKNTc3aWx5dmZIangydjgrUEdsL3V3Yk5telE5ZGRmWCtvY2owc3V1VVNTU3R4ODYxeTQzVzZ0V3JYSzgyM0Y3Sm9GQUFBQUFKWEFGUm9hK3JOdDIyYkRoZzBWc3VwbmpDbXlvaHNSRVdGMjdkcGxvcU9qemFSSms0d3h4Z3diTnN6MDZkUEgzSHJycldiT25EbkdHR09PSFR0bTFxNWRlMDd2OCsyMzM1cmMzTndpOTl0NjVPYm1tclMwTkhQMDZGR1RrcEppRGg4K2JBNGZQbXhTVWxKTWFtcXFTVXRMTThZVTNIODdZc1FJMDc5L2Z6Tjc5dXhpVjRFOWp3NHE3Tml4WTZaSGp4N21vWWNlTXA5OTlwbkp5c3J5SHZ2bGwxL01nQUVEekl3Wk00emI3ZmFPWjJabW11ZWZmLzY4SHZNellNQUFzMjNidGpMTmZmTEpKODJ3WWNQSy9WNkZiZGl3d1hOdjdoNUpsdE8vdUFBQUFBQlFySXBzVzY3Sk1qSXl5blZlVGs1T2ljZXlzN1BMVzg1NVMwcEtNdlBtelRQZHVuVXozMy8vZllWY2s3WmxBQUFBb0dhcWM2M0xGZG0yWEpNMWFOQ2dYT2VWOWpnZ2YzLy84cFp6M3U2Ly8zNWRjTUVGbWpCaGdrSkRROC83ZXJRdEF3QUFBRFZYWFF1NkxzdXliak1Wc05zeXFwZTFhOWRXNlBVSzc3YWNrSkR3M3dxOU9BQUFBSUJLVmFlV05MdDI3ZHJkR0hOcDgrYk52WThCQW9xemN1VktTWkl4SmxhU2NiWWFBQUFBQU9laVRnVmRsOHNWSTlHMmpOSzUzVzV2MEhXNVhMRU9sd01BQUFEZ0hOV2x0T2V5TE9zMlNiUXRvMVMwTFFNQUFBQTFXNTBKdXJRdG82eG9Xd1lBQUFCcXRqb1RkR2xiUmxuUXRnd0FBQURVZkhVbDhia2tlWU11VUJMYWxnRUFBSUNhcjA0RTNhNWR1M2FYMUpLMlpad05iY3NBQUFCQXpWY25naTV0eXlnTDJwWUJBQUNBMnNGeXVvQ3FFQm9hK3JNeDVsS242MENOc1RjeE1mRXlzYUlMQUFBQTFFaDFZbm5UN1hZbk8xMERhcFMzUk1nRkFBQUFnTnJEdG0xajJ6WkJEd0FBQUVDTlZDZFdkQUVBQUFBQWRRZEJGd0FBQUFCUXF4QjBBUUFBQUFDMUNrRVhBQUFBQUZDckVIUUJBQUFBQUxVS1FSY0FBQUFBVUtzUWRBRUFBQUFBdFFwQkZ3QUFBQUJRcXhCMEFRQUFBQUMxQ2tFWEFBQUFBRkNyRUhRQkFBQUFBTFVLUVJjQUFBQUFVS3NRZEFFQUFBQUF0UXBCRndBQUFBQlFxMWhPRndCbmRlblM1VkpmWDkveHB3M2ZmK3JQZHdzUDV1WGwvVDBwS1dsZjFWUUdBQUFBQU9WRDBLM2pZbUppZkpLVGsvZGJsdFc4dEhuR21NUHQyclZyR1JzYm0xOVZ0UUVBQUFCQWVmZzRYUUNjdFdYTEZ0T3laY3RnU2QzT012V0RWYXRXZlY0Vk5RRUFBQWZuM2N3QUFDQUFTVVJCVkFEQStlQWVYY2p0ZHM4dnc3U3l6QUVBQUFBQXh4RjBJWmZMdGNZWWM3U1VLYW1CZ1lGcnFxd2dBQUFBQURnUEJGMG9JU0VoMTdLc1QwdVo4dW5xMWF2enFxd2dBQUFBQURnUEJGMUlraXpMS3JFMTJlVnkwYllNQUFBQW9NWWc2RUtTbEphV3RsSlNlakdIMG84ZlA3NnFxdXNCQUFBQWdQSWk2RUtTbEp5Y25HMk1LVzVYNVVYSnljblpWVjRRQUFBQUFKUVRRUmRlSmJRdjA3WU1BQUFBb0VZaDZNTExzcXhsa2pJTERXVmFsclhjcVhvQUFBQUFvRHdJdXZCS1NFaklsTFRVODcxbFdVdE9qUUVBQUFCQWpVSFFSUkhHR0crcnN0dnRwbTBaQUFBQVFJMUQwRVVSL3Y3K2l6MnZHelJvc0xpMHVRQUFBQUFBMUFpMmJTK3liZnN6cCtzQUFBQUFnUEx3ZGJvQVZFdnpMY3N5VGhjQkFBQUFBT1ZoT1YxQWRXWGI5aE9TSmp0ZEIyb0dZOHpxOWV2WFgrOTBIUUFBQUFDNFI3Y2tscVNIblM0Q05ZZGxXZUZPMXdBQUFBQ2dBSzNMeGJCdCsxcEpyWm8zYjY3Rml4ZkxzbGo0UnZGZWVlVVZ6Wmt6UjVKZWM3b1dBQUFBQUFWWTBTMkdaVmt4a25UampUY1NjbEVpdDl1dGxTdFhTcEtNTWJFT2x3TUFBQURnRklMdW1TeGpUSXdrUlVSRU9GMExxckdOR3pmcWwxOStrV1ZaKzlhdlgvK3QwL1VBQUFBQUtFRFFQVTNodHVVcnI3elM2WEpRaloyMm11dDJ0aG9BQUFBQUhnVGQwOUMyakxLZ2JSa0FBQUNvdmdpNlJibG9XMFpaZU5xV0pmMU0yeklBQUFCUXZSQjBDN0Z0K3hyUnRvd3k4S3ptU3ZxM2FGc0dBQUFBcWhXQ2JpRzBMYU1zYUZzR0FBQUFxamVDN3E5b1cwYVowTFlNQUFBQVZHOEUzVk5vVzBaWjBiWU1BQUFBVkc4RTNWL2RMaFdzNXRLMmpKSzQzVzZ0V3JYSzgrMDhKMnNCQUFBQVVEeUNiZ0dYcE51a2d2dHpnWkpzM0xoUmh3OGZscVNmRXhNVGFWc0dBQUFBcWlHQ3JpcW5iVGtwS1VuLy9lOS9pejIyY2VOR3ZmLysrM0s3ejk3MWFveFJTa3BLbWQ0ekt5dExiN3p4aHJLenM4K3Axc0pTVWxLVWtKQnd4cmpiN2RaWFgzMmx0TFMwVXM5ZnRteVoxcTVkZThaNGZIeDhpWjlIVFhKYTI3SnhzQlFBQUFBQUpTRG9GcWp3dHVVMWE5Wm8rL2J0WjR5bnBLUm83Tml4bWpGamh1Yk5PM3ZuNi9MbHl4VWRIYTNObXplZmRhNi92NzgyYk5pZ1YxOTkxVHNXR2hwYTZ0ZVdMVnU4YzkxdXQ1NTY2cWxpZzI1c2JLeGVmUEZGMWE5ZnY4VDNUMHRMMDhTSkV4VVFFRkJrUERzN1d5Kzg4TUlaNHpVTmJjc0FBQUJBemVEcmRBSFZRS1cwTGUvWXNVUDMzWGRma2JIang0OXIxS2hSdXZycXF6VjgrSEFOSHo1Y3hoamRlZWVkSlY2blQ1OCsycmR2bjhhTkc2ZFBQdmxFalJvMUtuR3V5K1hTcEVtVGRNY2RkNmhYcjE2NjdycnJ0R1RKa2xMcmJOcTBxZmYxNU1tVHRYUG5UdTNkdTFjTEZ5NlVuNStmSkNrOFBGd0xGeTVVWUdDZ0lpTWpGUmdZNkQzbnBaZGVVcWRPblNSSjc3Ly92ckt5c2pSeTVNZ2k3ekY4K0hDbHA2ZWY4WGxJMG4vLysxLzUrUGlVV21OMVFkc3lBQUFBZ0JvaEpDUWt6TFp0MDdkdlgrTjJ1MDFGNk5tenB3a05EVFU5ZS9iMGZpMWZ2dHdNSERqUVBQTElJeVk3TzlzWVk4eTJiZHZNVFRmZFpKNTY2aW1UbXBwYTZqVWZmUEJCTTJuU3BESzkvNkpGaTh3WFgzeFI1bnB6YzNQTk04ODhZKzY0NHc2VGtwSmk0dVBqemJCaHcweHVicTR4eHBpSEhuckl2UG5tbThZWVl5WlBubXlXTGwxNnhqVTJiZHBrZXZUb1laS1RrODNNbVRQTjNMbHpqVEhHbkRoeHd0eHd3dzFtM2JwMVpzbVNKZWFsbDE0cWMxM1Z6WlFwVTR4dDJ5WTBOUFFWcDM5dkFRQUFBSlNzenEvb1dwYmxmWFp1UmJVdHo1MDdWeE1tVE5CNzc3MG5TVnF3WUlFbVRweW80T0JnYmRpd1FYMzY5UEhPemM3T2xtVlp1dVdXVy9UQUF3L29UMy82VTdIWDdOU3BrMmJQbnEzQmd3ZXJiZHUycGI3L3pUZmZmRTcxK3ZyNktqdzhYRTg4OFlTR0R4OHVTVHB4NG9TR0RCa2lTY3JMeTFOS1NvcldyRm1qL1B4OGZmUE5ONHFNakpUTFZkRDVmdVRJRVQzNTVKTzY3Nzc3RkJ3Y3JOemNYQTBmUGx4aFlXR2FNMmVPT25Ub29PN2R1eXMxTlZXdnZmYWFPblRvb0lFREI1NVRqVTRyM0xac2pJbDF1QndBQUFBQXBhanJRYmRTMnBZM2JOaWdrSkFRM1hycnJmcjAwMC9WcUZFajNYUFBQYnJ2dnZ1ODRmQjBYMzc1cFM2KytPSVNyN2xtelJvMWFkSkUwNlpOMDRzdnZsanNuUFQwZE84R1Y0MGJOOWJWVjE5ZHBuclhyVnVuaUlnSTVlVGthT2ZPbmNYZW8xdFlhR2lvalBsMUg2YVRKMCtxVjY5ZXV2ZmVlN1Y1ODJaTm1USkYvL2pIUDlTcVZTdGxaV1hwbVdlZWtWVFFKbjNqalRlcVY2OWVaMXh6K2ZMbG1qdDNybmJzMkNHMzI2MzI3ZHZyN3J2dlZrUkVoSGZPeXBVcjllU1RUMnI2OU9uNjZLT1B0SGJ0V3ZuNSthbGZ2Mzc2ODUvLzdHMjFyZ3kwTFFNQUFBQTFSNTBPdWlFaElkZXFnbmRibHFTRWhBUkZSRVRvd3c4L2xGU3dXaHdURTZQNTgrZDc1eXhkdWxUSnljbHExNjZkSkduS2xDbjY5Tk5QaTczZTVzMmJ0WHYzYnIzNzdydDY2S0dIdEdmUEhyVnAwK2FNZVVPR0ROSEJnd2NsU2ZQbnovZmVuM3ZreUJIZGUrKzkrdHZmL3FiUTBOQXp6dlAzOXkveWZVbXJ5aVZwMWFxVnhvMGJKN2ZiclpkZWVrbmR1M2YzdnM5enp6MVhaTzdISDMrc21KZ1lCUVVGZWNkbXpKaWh0OTkrVzhPR0RkUFRUejh0WTR5V0xWdW1KNTk4VW4vOTYxL1BXUDJkTkdtUzdycnJMajM0NElOS1NFalFsQ2xUWkZtV0huLzg4WE9xKzF4NGRsdTJMQ3RXN0xZTUFBQUFWR3QxT3VoV1J0dXlWQkIwSDN2c3NTSmp2L3p5aTlhc1dTTkozaFhOWWNPR2VjY09IRGhRNHZVKy92aGpoWVdGS1RRMFZOZGZmNzJtVHAycVNaTW1uVEh2ODg4L2x5UnZ5R3pldkxta2dpQVpFaEtpZnYzNktTc3JTMnZYcmxYdjNyMUxmRDlQUUM5SmNXRlprcVpQbjY0dFc3Ym9qVGZlS0hHT0pFVkhSM3RmTDErK1hGT25UdFc5OTk2cisrKy8zenZlc1dOSHBhU2s2TzIzM3o0ajZONTU1NTBhTUdDQUpPbnl5eS9YbmoxN3RHREJBbzBaTTZaU05yYWliUmtBQUFDb1dlcHkwSFZabGhWampDblNIbHNSRGgwNnBONjlleXNuSjBkaFlXSHEzcjE3dWEvMTAwOC9hZG15WlhyenpUY2xTU05Hak5EZ3dZTTFaTWdRZGU3Yythem43OXk1VTU5OTlwaysrT0FEU1FYM0JMLysrdXRLVDA4djhUN1pjMTNSbFFyYW45OTk5MTFKVWxCUWtMNzg4a3NkT0hCQUxWcTBLTkt1L1ljLy9FRWZmZlNSV3JkdUxhbWd6VHNuSjZmWTRCMFdGcVpseTVZcEpTVkZGMTEwa1hjOEpDU2t5THpPblR0cnpwdzVTa2xKVVlzV0xjNjU5clBadEdtVHAyMTVMMjNMQUFBQVFQVlhaNStqR3hJU2NxMHg1dEtLYmx1V0NrTGZ1blhyNU8vdnIzWHIxdW0xMTE2VEpOMSsrKzI2L2ZiYmxabVpXYWJyR0dQMDRvc3ZLalEwVk5kZWU2MGtLVGc0V0FNR0ROQ2tTWk9VbDVkWDZ2bHV0MXVUSmszUzRNR0RGUndjTEtuZzN0MEpFeWJvLy8yLy8xZmlzM2x6Y25KSy9UcmRsaTFiOU1RVFQrajIyMi8zampWbzBFRFBQLys4WW1OajFhQkJBKytYSk5XclY4Lzd2ZWVlNHRKVzFFOWZwVDM5UHVlc3JDeEpxclRuOU1iSHgwdVNMTXY2dDJoYkJnQUFBS3E5T3J1aVc3aHR1YVFOb2lyQ2dRTUhkT3pZTVVuU3ZIbnpKS25ZelppSzgvNzc3MnZUcGsyYU8zZHVrZkhSbzBjck9qcGFiN3p4aHNhT0hWdmkrZi80eHorMFljTUdwYWVuYStYS2xVcFBUMWRHUm9iOC9mMVZ2MzU5UGYzMDA1b3paNDR1dU9DQ0l1Zk5temRQYTlldTFUWFhYQ05mMzE5L1JYSnpjL1hkZDk5cDlPalJSZVlIQkFTb1g3OStpb21KMGNjZmYrd2RmL1RSUi9Yd3d3OHJNakpTTFZ1MkxMYkdqaDA3eXNmSFIydldyTkVWVjF4UjVOaTMzMzZyMXExYjY4SUxMeXd5dm1QSER1K0tzQ1N0WGJ0V0xWdTJMSExmYjBXaGJSa0FBQUNvZWVwcTBLMjB0dVdjbkJ5TkhqMWFQLy84czNKeWNqUm16Qmp2aXJGbnhiTXNLN3FmZi82NTNubm5IVTJZTU9HTWphZUNnb0kwZnZ4NGpSczNUcGRjY29rR0R4N3NQYlpueng3dmUwUkdScXBObXpiZUVCZ1VGS1RBd0VENSsvc3JQejlmNDhlUDErSERoNzFCMTkvZlh3a0pDY3JMeTlQbzBhUDF4UmRmRkFtNjZlbnBHajE2OUJtN01nY0hCK3VwcDU3eXZyZEhhR2lvL3ZDSFAyalRwazBsQnQybVRadnFycnZ1MHJScDB5UVYvQ09BTVVZclZxelE4dVhMOWNvclp6Nnk5bzAzM3BETDVWTHIxcTBWSHgrdlZhdFc2ZGxubnozcloxb2V0QzBEQUFBQU5VK2RETHFWMmJiczcrK3ZzV1BIcW5YcjF1cmR1N2MrK2VRVFNRVzc5cDYrb2p0bnpwd3p6amZHYVBiczJmcm5QLytwWWNPRzZaWmJiaW4yZlhyMzdxMzc3cnRQTDcvOHNnNGVQS2lISG5wSWlZbUorc3RmL3FJYmJyaEJqei8rdUI1KytHR0ZoNGVyU1pNbVo2eGErL2o0YU5La1NUcDU4cVJ5YzNQVnIxOC83N0c4dkR5NVhLNHo3dUgxUEZLbzhLT1lIbjMwVWQxODg4MGx0aDYvOU5KTFoxMHhIejE2dEZxMmJLbDU4K1pwK3ZUcDh2WDExWlZYWHFtMzMzNjcyRTJ0SG4zMFVjMllNVU0vL3Zpam1qZHZybWVlZWFiRXorbDgwYllNQUFBQTFEeDFNdWhhbG5XN1ZIbHR5eDA2ZENoMjNPMTJLeTh2enhzWU16TXpkZURBQVIwK2ZGajE2OWVYSkwzenpqdDYvLzMzOWZEREQydm8wS0dsdnMrb1VhT1VuNSt2V2JObUtTQWdRRnUzYnRYRER6K3M2T2hvclZpeFF0T25UOWVFQ1JOa2pKSEw1WktmbjUvOC9Qemtjcm1VbFpXbG5Kd2MrZm41YWVuU3BkNUF0M2Z2WGsyY09GRWRPM1k4WStmbzFOUlVSVVpHZXVlV2hjdmwwdjc5KytWeXVYVDA2RkZKOHY2c2hVVkZSU2txS3FwTTEyemZ2cjFtejU1ZDVocktxM0Ric3FSNWxmNkdBQUFBQUNwRVhReTZMc3V5YnF1TXR1WFMrUHY3YTgrZVBSbzNicHo2OU9ralNabzhlYkwyNzkrdmdJQUFQZmpnZzVJS0hwM1R0V3RYaFlXRmxlbTZqenp5aUxwMzd5N2J0cFdWbGVWdFE0Nk1qRlJrWktUeTh2S1VtWm1wL1B4ODVlZm5lemQvY3JsY2NybGM4dlgxVmVQR2paV2JtNnRSbzBicHdJRUR1dU9PTy9USFAvNnh3bjcyRHovOFVQUG16WlBMNVZKNGVMajNzVWZWWGVHMjVZU0VoUDg2WFE4QUFBQUFGQ3NrSkNUTXRtM1R0MjlmazUrZmIvQ3JqSXlNOHpvL1B6L2ZIRGx5cE5oamJyZjd2RC92K1BoNFk5dTIyYnQzNzNsZHA2eW1USmxpYk5zMm9hR2haOTRvREFBQUFLRGFxbk1ydXBYZHRseVRlUjcvVTE0dWwwdE5tell0OXBobFdhVStRcWk2b1cwWkFBQUFxTG5xV3RCMXBHMFpGU01pSXVLTUhaOHJDMjNMQUFBQVFNMVZwNVkwdTNidDJ0MVUwbTdMcUYxV3Jsd3B5ZnZzWEhaYkJnQUFBR3FRT2hWMFhTNVhqRVRiTWtybmRydTlRZGZsY3NVNlhBNEFBQUNBYzFTWDBwN0xzcXpiSk5HMmpGTFJ0Z3dBQUFEVWJIVW02TksyakxLaWJSa0FBQUNvMmVwTTBLVnRHV1ZCMnpJQUFBQlE4OVdWeE9lUzVBMjZRRWxvV3dZQUFBQnF2am9SZEx0MjdkcGRVa3ZhbG5FMnRDMERBQUFBTlYrZENMcTBMYU1zYUZzR0FBQUFhZ2ZMNlFLcVFtaG82TS9HbUV1ZHJnTTF4dDdFeE1UTHhJb3VBQUFBVUNQVmllVk50OXVkN0hRTnFGSGVFaUVYQUFBQUFHb1AyN2FOYmRzRVBRQUFBQUExVXAxWTBRVUFBQUFBMUIwRVhRQUFBQUJBclVMUUJRQUFBQURVS2dSZEFBQUFBRUN0UXRBRkFBQUFBTlFxQkYwQUFBQUFRSzFDMEFVQUFBQUExQ29FWFFBQUFBQkFyVUxRQlFBQUFBRFVLZ1JkQUFBQUFFQ3RRdEFGQUFBQUFOUXFCRjBBQUFBQVFLMUMwQVVBQUFBQTFDb0VYUUFBQUFCQXJXSTVYUUNjMWFWTGwwdDlmWDNIbnpaOC82ay8zeTA4bUplWDkvZWtwS1I5VlZNWkFBQUFBSlFQUWJlT2k0bUo4VWxPVHQ1dldWYnowdVlaWXc2M2E5ZXVaV3hzYkg1VjFRWUFBQUFBNWVIamRBRncxcFl0VzB6TGxpMkRKWFU3eTlRUFZxMWE5WGxWMUFRQUFBQUE1NE43ZENHMzJ6Mi9ETlBLTWdjQUFBQUFIRWZRaFZ3dTF4cGp6TkZTcHFRR0JnYXVxYktDQUFBQUFPQThFSFNoaElTRVhNdXlQaTFseXFlclY2L09xN0tDQUFBQUFPQThFSFFoU2JJc3E4VFdaSmZMUmRzeUFBQUFnQnFEb0F0SlVscGEya3BKNmNVY1NqOSsvUGlxcXE0SEFBQUFBTXFMb0F0SlVuSnljcll4cHJoZGxSY2xKeWRuVjNsQkFBQUFBRkJPQkYxNGxkQytUTnN5QUFBQWdCcUZvQXN2eTdLV1Njb3NOSlJwV2RaeXArb0JBQUFBZ1BJZzZNSXJJU0VoVTlKU3ovZVdaUzA1TlFZQUFBQUFOUVpCRjBVWVk3eXR5bTYzbTdabEFBQUFBRFVPUVJkRitQdjdML2E4YnRDZ3dlTFM1Z0lBQUFBQVVDUFl0cjNJdHUzUG5LNERBQUFBQU1yRDEra0NVQzNOdHl6TE9GMEVBQUFBQUpTSDVYUUJxRFpjdG0zZmFJeVpaVmxXYzBrbkpNVWtKaWJHUzNJN1hCc0FBQUFBbEJsQnQ0NExDUW01eExLc2V5VU5sM1JaTVZOMlMzclBzcXpwQ1FrSkI2dXlOZ0FBQUFBb0Q0SnVIUlFURStPVG5Kd2NhVm5XU0VrREpQbElVc3VXTFJVVkZhWHJycnRPYTlldVZWeGNuUGJ2Mys4NUxWL1NJbVBNMUhidDJxMklqWTNOZDZoOEFBQUFBQ2dWUWJjT3VlcXFxMXI2K3ZyZVo0d1pMcW0xSlBuNitpbzhQRnhSVVZHNit1cXI1WEw5dWhHMzIrM1dkOTk5cDdpNE9QM2YvLzJmOHZPOTJYYXZaVm52NWVYbFRkK3dZY1ArTTk4SkFBQUFBSnhEMEszbFltSmlmSGJ0MnRYSEdETlMwczA2OVVpcFZxMWFhZENnUVJvd1lJQXV2UERDczE3bjZOR2pXclJva2VMaTRyUnYzejdQY0w1bFdaOWJsalgxOHNzdlg4NHFMd0FBQUlEcWdLQmJTMTE5OWRXdDh2UHo3NU0wVEZJcnFXRDF0bmZ2M29xS2lsSm9hR2lSMWR1eWNydmRTa2hJVUZ4Y25QN3puLzhvTHkvUGMraG55N0xleTgzTm5aNlVsTFN2dEdzQUFBQUFRR1VpNk5ZaTRlSGh2dW5wNlgwbGpaVFVUNmRXYjF1M2JxMm9xQ2pkZlBQTkNnb0txckQzTzNic21ENy8vSFBGeGNWcDc5NjlubUczcE1XU3BqWnUzSGpaNnRXcjgwcStBZ0FBQUFCVVBJSnVMUkFhR3RyYTdYWVBzeXhybUtTV2t1VG41NmNiYnJoQlVWRlJzbTFibGxWNWY5WEdHQ1VtSmlvdUxrNnJWcTFTYm02dUpNbXlySDNHbVBkUDdkaTg5eXlYQVFBQUFJQUtRZEN0b2NMRHczMlBIei9lMzdLc2taWmw5ZFdwdjhzMmJkcDRWMitiTkdsUzVYVWRQMzdjdThxN1o4OGV6N0JiMGxKanpOVEF3TUFsclBLV1g0TUdEYnJWcTFldnk5R2pSNmM3WFFzQUFBQlFYUkYwYTVpUWtKQTJMcGRydURIbVBrbVhTSksvdjc5MzlUWWtKS1JTVjIvTHloaWo5ZXZYZTFkNWMzSnlQSWNPR0dQZWwvVCsrdlhyOTVSeUNSU2pSWXNXVDBneUYxOTg4Wk9uSHp0OCtQRGZXN1JvOGJmQ1l4czJiS2o2ZiswQUFBQUFIT1o4SXNKWmhZYUcraGxqYnBZMFFsSWZuZnA3dS96eXl4VVZGYVgrL2Zzck1ERFEwUnBMazVhV3BzV0xGMnYrL1BuYXZYdTNaOWhJV21aWjFsUkppeE1TRW5JZEs3QUdhZHUyN1dlcHFhbHZCZ2NITDkrNmRldWxKMCtlUEN6Sng3YnRyTVRFeE1ML2U2NW4yL2JKMDhZQUFBQ0FPc0hYNlFKUXNpNWR1bHp1Nit2cldiMXRJUldzM3Q1NDQ0Mktpb3JTVlZkZFZTMVdiODhtTURCUVE0WU0wWjEzM3FrTkd6WW9MaTVPOGZIeFZrNU9UbDlqVEY5SkIyM2JudTUydTkvNzRZY2ZkanRkYnpVVzBMaHg0OTY3ZHUwYUtra25UNTdNbDBRYk9BQUFBSEFhZ200MUV4b2E2dWQydTIreExHdUVwRWlkV3IxdDI3YXRvcU9qMWE5ZlB6VnUzTmpaSXN2SnNpeDE3ZHBWWGJ0MjFlT1BQNjRsUzVaby92ejUyclZyMTI4a1BlTnl1ZjVpMi9ZS1NWTXR5MXJFS205UlFVRkJrUzZYcTZHa28wN1hBZ0FBQUZSbjFYODVzSTY0K3VxcjIrYmw1WTJRZEs5bFdjMmxndFhieU1oSVJVVkZxVXVYTGpWaTlmWmNHV09VbEpTa3VMZzRyVml4d25zdnJ6SG1zS1RwdnI2KzczMzMzWGU3bksyeWVtamJ0bTFja3laTkJpVW1KbHEyYlp2OC9QeDBGYlNBeThmSEovRFFvVU12WFhUUlJROTY1dnY0K0FUU3Vnd0FBSUM2aVA4SWRsRG56cDM5NjlXcmQ2dmI3UjVoV2RhTm52SGc0R0JGUjBlcmI5KytOWGIxdGp6UzA5TzFkT2xTelo4L1h6dDM3dlNPRzJQaUpVM055Y241YlBQbXpUa2xYNkgycWwrL2ZxdTJiZHZHQndRRWRQQUUzY1RFeE45SU9uUnFTajFKV2FlZGMrbkpreWYzVlhteEFBQUFnTU1JdWc2d2JidWRDamFXdWxmU1JaSVVFQkNnbTI2NlNWRlJVYnJ5eWl0cjVlcHRXUmxqdEduVEpzWEZ4V241OHVYS3pzNzJIUHJGc3F3WnhwajNFaE1UazUyc3NhcGRldW1scitmbDVSMjQ1SkpMSmhjWGRPdlZxM2Y1RlZkYzhkM3A1eVVsSmJXVWxIMzZPQUFBQUZDYjFkMDBWY1U2ZCs3c0h4QVFNRkRTU0VrM2VNYmJ0Mit2Nk9obzllblRSNDBhTlhLdXdHcnF4SWtUV3Jac21lYlBuNjhkTzNZVVByUkswdFRzN095RmRXR1Y5OUpMTDUyOGI5Kyt5Ylp0cHhiWHVyeHQyN2FybXpWck5qUW5KK2RBU2tyS1c1SXUrTjN2ZnBlOGNlUEdGczVXRGdBQUFGUTlnbTRsdStxcXE2N3c4ZkVaTG1tb1RxM2UxcXRYVDMzNjlGRlVWSlIrKzl2ZjF1blYyN0l5eG1qejVzM2VWZDZzTEcrWGJvcWttVzYzZTlvUFAveXdvNVJMMUhTK2ttVGJkbTRKcmN0cTBxVEpyVTJhTkxsOTkrN2RmMnpVcU5ITnpabzF1L3VubjM2NjNiR0tBUUFBQUllUXNDcEJ1M2J0QWhvMWFqVElzcXlSa3E3M2pIZm8wRUZSVVZIcTI3ZXZHalpzNkdDRk5kdi8vdmMvTFZ1MlRIRnhjZHErZlh2aFEvOW5qSmw2NHNTSkJjbkp5Yld4WGRlM3RLQ3JnbFhjN1JzM2JtemZ0bTNiV1VlUEhwMTcvUGp4T0tlS0JRQUFBSnhDMEsxQTNicDE2NUNmbnovQ3NxeWhrcHBLVXYzNjliMnJ0NTA2ZFdMMXRnSVpZN1JseXhidkt1L0preWM5aDFLTk1UTjlmSHltZmYvOTk5dEx1MFlOVXlUb0ZtNWR6c25KMmJ0MTY5WXVyVnExZXRQbGNqVnUyTEJoNkpZdFczNG55ZTFzeVFBQUFFRFZJM1dkcC9EdzhIb25UcHlJTXNhTWxOVExNOTZwVXlkRlJVV3BUNTgrYXRDZ2dZTVYxZzBaR1JuZVZkNXQyN1lWUHJUR3NxeXBqUm8xaWx1OWVuVldTZWZYRUdkYjBWWFRwazN2YXRPbXpleGZmdm5sSC92MjdmdXpRM1VDQUFBQWppTG9scE50MjUwa2pUREczR05aMW9XUzFLQkJBL1h0MjFlREJnMVNwMDZkSEs2dzd0cTZkYXZpNHVLMGJOa3laV1ptU3BLTU1VY3R5NW9sYVZwaVl1SldaeXNzdDVLQ2JzTUxMN3l3ZjdObXpSNXd1OTNtOE9IRGYydmV2UGtUdnI2K3pROGZQdnphc1dQSDVqcGRPQUFBQUZDVkNMcm5JQ3dzckg1MmRuYTBDblpPL29Obi9MZS8vYTJpbzZNVkdSbFphMVp2VjY1Y3FTZWZmRklMRnk1VXExYXRLdlRjaFFzWGF2NzgrVXBPVHBhUGo0KzZkT21pTVdQR3FIMzc5aFZWdmlRcE16TlR5NWN2VjF4Y25MWnMyVkw0MEplU3BnWUVCTXhmdDI3ZHlSSk9yNDVjd2NIQm4rM2N1ZlBtdG0zYi9udlhybDNESlIwUENBam9jUEhGRno5NjVNaVJXU2RQbnZ6V003bGh3NFkzK1BqNDFFdFBUMS9zWU0wQUFBQkFsU1BvbHNGVlYxM1YyY2ZIWjRTa3V5VUZTUVdydC8zNjlWTlVWSlE2ZE9qZ2JJR1ZvREtEN2hOUFBLRmV2WHFwWThlT1NrbEowZXV2djY2alI0OXF5WklsOHZYMXJhZ2ZvWWh0MjdacHdZSUZXckpraVhlVlY5SXhTYk9OTVZQWHIxKy9wWlRUQVFBQUFOUWdsWk1xYW9Hd3NMRDZXVmxaTVpKR1dwYlZ3elBldVhOblJVZEg2OFliYjZ3MXE3ZFY3YVdYWHBMTDVaSWtCUWNINjA5LytwT2VmZlpaSFQxNlZCZGZmSEdsdkdmSGpoMzE5Tk5QNjlGSEg5V0tGU3NVRnhlbnpaczNCMGw2MUxLc1IwTkNRcjZXTkxWZXZYcXhOV3lWRndBQUFNQnBXTkU5VGJkdTNhNDB4b3cweHR3bHFZa2tOV3pZVVAzNzk5ZWdRWU4weFJWWFZHazl5NWN2MTl5NWM3Vmp4dzY1M1c2MWI5OWVkOTk5dHlJaUlyeHpQQ3VvMDZkUDEwY2ZmYVMxYTlmS3o4OVAvZnIxMDUvLy9HZjUrZmxWYUUzbnM5cDdPcmZiclQvLytjOUtUVTNWUng5OVZFRVZsczMyN2R1OXE3d1pHUm1lNGVPV1pYMWdXZGJVNzcvL2ZsT1ZGZ1FBQUFDZ1FoQjBUN0Z0ZTVDa0lzOGMvZDN2ZnFmbzZHaEZSRVNvZnYzNlZWN1RqQmt6OVBiYmIydllzR0VLRHcrWE1VYkxsaTNUQng5OG9MLys5YThhT0hDZ3BGK0RaM0J3c082NjZ5NWRlZVdWU2toSTBKUXBVM1RiYmJmcDhjY2Y5MTR6TEN5c3hQZGJ0MjVkbWVxcXFLQ2JrWkdoWjU1NVJ2djI3ZE5iYjcybDVzMmJsL3RhNStQa3laT0tqNDlYWEZ5Y05tN2NlUHJocU1URXhBVk8xQVVBQUFDZ2ZHaGQvdFVIaGIvNSs5Ly9ycjU5K3pwVmk5TFQwelYxNmxUZGUrKzl1di8rKzczam52dGEzMzc3YlcvUTlianp6anMxWU1BQVNkTGxsMSt1UFh2MmFNR0NCUm96Wm94OGZId2tTWFBuVm84TmVITnljalJ5NUVnRkJBUm81c3ladXVDQ0N4eXJwWDc5K3JybGxsdDB5eTIzYU1tU0pmcnJYLzlhK1BBSHRtMDNMUFM5S2ZSMSt2Zm5QRzZNTVpKa1dWYVp4ajFqcDQ1WDFiaTNibU9NS1ZUVGVZOGJZNzVadjM3OXM4WC96UUFBQUFEbFE5RDkxVjJTNXV2VUt2ZjQ4ZVAxOGNjZmUrL0hyZW9WM2MyYk55c25KMGU5ZS9jKzQxaFlXSmlXTFZ1bWxKUVVYWFRSUmQ3eGtKQ1FJdk02ZCs2c09YUG1LQ1VsUlMxYXRKQWtYWGJaWmVXdXliTWE3SGE3SlVreE1UR3lySUttZ0xLdUJudDgvLzMzMnJadG16NzQ0QU5IUTY1VXNLTHJ1VzkzMDZZaTNjcEdCYjhYaFZmNkxWVmdKNFRuOHl2cnVDU2R5c0JWUGw1YVhlVWR0eXdyVWhKQkZ3QUFBQldLb0h2S3FmWlVWN2R1M2E3TXo4OGZZVm5XM1pzMmJXcXlhZE1tVFpreVJmMzY5ZE9nUVlPcWJJZGxUNWdzTGZCNFZtazlQQnM4ZVdSbFpVbVNBZ0lDdkdOWFgzMTFpZGY3N3J2dlNxM0pzeHI4elRmZjZPV1hYOWJycjcvdURkRG5xbG16WnVyVXFaT2FObTFhcnZNcnd2YnQyeFVYRjZlbFM1Y1d1VWZYR0RQYng4ZG5XcUY3ZEQzaDFvcUppYkZTVWxJc1NUcHg0b1NWbFpWbFpXZG5XNWRlZXFtVm5aMXRTVkpPVG82Vm01dHI1ZWZuVzAyYU5MSHk4dklzU2NyTHk3UHk4L090L1B4ODY0SUxMckR5OC9NdFNjclB6N2ZjYnJlVm41OXYxYTlmMzNLNzNaWWt1ZDF1eS9ObGpMRWtLU0Fnb01pWVo2NW4zRFBtbWUvbjUyY1pZN3hmbnZtbmozdm0rL3I2bmpGbWpMSE9aVnlTNWVQamM5WnhTY3NxL204VkFBQUFJT2llNFZTNGVUUXNMT3lwckt5czJ5ekxHcG1Sa2ZINzJOaFl4Y2JHcW5QbnpvcUtpcXIwWitaMjdOaFJQajQrV3JObXpSa2JZSDM3N2JkcTNicTFMcnp3d2lMak8zYnNVT3ZXcmIzZnIxMjdWaTFidGxSUVVKQjNMRFkydHR3MWVWYURrNU9USlVrdFc3WXM5ejI2VjF4eGhUNzg4TU55MTFKZW1abVpoWGRkTG56b0syUE0xSHIxNnYyN2hGMlhqU1JUMHVmbitVeFFkclp0TzEwQ0FBQUFhaW1DYmdsT2haMFBKSDBRRWhMeVc4dXlSa2k2Wi9QbXpVR2JOMi9XSzYrODRsM2w3ZGl4WTRXL2Y5T21UWFhYWFhkcDJyUnBrcVJldlhySkdLTVZLMVpvK2ZMbGV1V1ZWODQ0NTQwMzNwREw1VkxyMXEwVkh4K3ZWYXRXNmRsbmkzYUZuay9yY2tYYXUzZXZYbmpoQmIzeHhodnk5L2V2OVBmYnRtMmJkL1gydE9mb3pqTEdUT001dWdBQUFFRHR3YTdMNXlBOFBMeGVlbnA2dEtTUmtucDZ4anQxNnFUbzNzUWkzZ0FBSUFCSlJFRlU2R2pkZE5OTkZiN0tHeGNYcDNuejVtblBuajN5OWZYVmxWZGVxZUhEaHlzME5OUTd4N01MOHNzdnY2eVpNMmZxeHg5L1ZQUG16WFhQUGZjb0tpcXFRdXVwS0Z1M2J0V2pqejZxQlFzV3FHSERobWMvb1J3eU16TzFiTmt5eGNYRmFldldyWVVQZlNGcGF1UEdqZWV2WHIwNnExTGVIR2RsMjdhUnBNVEVSUDUvQ0FBQUFCV0svOEFzcDlEUTBJNlNScmpkN3FHV1pWMG9TUTBhTkZDZlBuMFVGUldsVHAwNlZWa3RGZmxjMjlwZ3k1WXRpb3VMMDdKbHkzVHlwTGNMT2RXeXJGbVNwaVVrSkd4enNEeWNRdEFGQUFCQVphRjF1WnhPaGFYSHdzUERuMGxMU3hza2FXUm1abVo0WEZ5YzR1TGkxTEZqUjBWRlJhbFBuejZWdG1LSlgyVmtaR2pwMHFXS2k0dlQ5dTNidmVQR21OV1NwZ1lHQmk1ZzlSWUFBQUNvR3dpNjUrbFVlSm9yYVc2M2J0MDZ1TjN1NFpLR2J0dTJyZGtMTDd5ZzExNTdUVGZkZEpPaW9xTDAyOS8rdHRSZGxIRnVqREZGVm04OXUweExPaUpwcHN2bGV1Lzc3Ny9mWHNvbEFBQUFBTlJDQk4wS2RDcFVqV3ZYcnQzNHhvMGJENVEwOHVUSms3MFhMbHlvaFFzWHFrT0hEdDVWWHFlZkhWdVQvZTkvLy9PdTN2NzQ0NCtGRC8xSDB0VDA5UFNGeWNuSjJRNlZCd0FBQU1CaExDOVdzcTVkdTdaM3VWekRKZDByNlNKSnFsZXZubmVWdDNQbnpxenlsb0V4UnBzMmJWSmNYSnhXckZoUmVQVTJSZElNdDl2OTNnOC8vTEREd1JKUmluYnQyZ1VFRlg3T2xhVDgvUHlEa3VUajQvT2J3dVBIamgwN3hqOVVBQUFBNEh5UXNLcEk1ODZkL2V2VnEzZXJNV2FrcEFqUGVQdjI3UlVWRmFXK2ZmdXFVYU5HRGxaWVBaMDRjY0s3ZXJ0alI1RWN1OUt5cktsWldWbWYvbi8yN2owcXF2UGVILy83bVJrWUxuTDFHaEZVOEFLT2dMTkhWby90eVFueENtaHMyRWd1YlpMR0dEeW5wNzh1a3lacFRtclNuRzlYbTIrN3ZzbHFUbFp6c3I1b01LMU4wMVBEaGhNVjhScHplbXErT1RDRG9DaEd4RXZJeFZDUmk5d0daaisvUDJDbUtLS29NQVBEKzdXV2EyV2V2V2ZQeC9nczJKOTVQM3Z2NnVwcXA2L3FvNkZKUzB1YjVuSzV2c0ROZitib1JxTXhwcXlzN0N0djFFVkVSRVJFL29tTnJnL1liTFlFQUhsU3l2VUFwZ0NBMld6R3lwVXJvYW9xa3BPVHgzWEtLNlhFc1dQSFBPbHRWNWNuM1B0YVNsbGdNQmkyMnUzMk03NnNrVzZkb2lpSEFkeHprOTArY2pnYzZTTmZEUkVSRVJINXMvSGJUWTBDRm9zbE1EQXdjSzBRSWcvQVN2ZDRRa0lDVkZWRlZsWVd3c1BEZlZpaGQ3VzB0S0NrcEFTYXB1SE1tYXY2MkgxU3lueW4wN21UNmUzWVpiVmFmeWlFZU9NbXUvM1E0WEQ4eGlzRkVSRVJFWkhmWXFNN1NxU2xwY1gzOVBROENlQUpJY1JVQUFnTURQU2t2Q2twS1g2Wjhrb3BVVlZWNVVsdm5VNVBIL3NWZ0FLajBmaDJXVmxablE5THBHR1NtcG9hWXpRYTYyKzBqOHZsbWxGWldmbTV0Mm9pSWlJaUl2L2tmNTNUR0dlejJRS2tsUGNCeUFPd0NuMy9Sdkh4OFZCVkZhdFhyL2FMbExlbHBRVzdkKytHcG1tb3EvUDBzUkxBWGdENVFvaGRkcnU5MjNjVjBraFFGT1ZqQUg4M3lPYVBIUTdITjcxWkR4RVJFUkg1SnphNm85aWlSWXRtOWQyeCtRa0Fkd0c5S2UveTVjdWhxaW9XTFZvMHBsSmVLU1dPSGowS1RkTnc0TUNCL3VudGwwS0l0MTB1MTl0SGp4NDk1OE1TYVlUWmJMWm5wWlQvNTNyYmhCRFAydTMyMTd4ZEV4RVJFUkg1bjdIVEpZMWpOcHN0QU1CcVhkZnpoQkNaNlB0M216VnJGbFJWeFpvMWF4QVJFZUhiSW0rZ3Via1p1M2J0Z3FacE9IZnVuSHRZU2luM1NDbnpJeU1qZHg4K2ZMakhoeVdTbDZTa3BNdzJtVXpYWFlyZTA5TVRYMVZWZGRiYk5SRVJFUkdSLzJHak84WllyZGFaQURZSUlUWUFtQTRBQVFFQldMWnNHVlJWaGFJb295TGxsVkxDNFhCQTB6UWNQSGdRM2QyZVZjaWZTeW5mQmxCUVVWRngzb2Nsa284b2l1SUFZTDFtMk9Gd09HeStxSWVJaUlpSS9JL3ZPeUs2TGVucDZhYm01dVlzSWNSR0FKa0FEQUF3YytaTVQ4b2JHUm5wOWJxYW1wbzg2ZTM1ODU0K1ZnZFFBaUEvUER4OEQ5UGI4VTFSbE0wQWZuN044R2FIdy9HS0wrb2hJaUlpSXYvRFJ0Y1AyR3kyT0NubEUwS0lEVkxLR1VCdnlydDA2VktvcWdxYnpUYWlLYStVRW5hN0hacW00ZENoUTU3MFZnaFJMNlhjYWpRYUM4ckt5ajRic1FKb1RMSFpiSWxTeXBQOXh3d0dRMko1ZWZrcFg5VkVSRVJFUlA2RmphNGZTVTlQTjdXMHRHUUEyQWhnTmZwUzNyaTRPR1JuWjJQTm1qV0lqbzRldHM5cmJHekVybDI3VUZSVWhBc1hMcmlIZFFDN2hCRDU4Zkh4cFR0MjdIQU4yd2VTMzFBVXBSckFBZ0FRUWxUYjdmYUZQaTZKaUlpSWlQd0lHMTAvbFpLU01pTWdJT0FKS2VXVEFHSUJ3R1F5NGQ1Nzc0V3FxbGk4ZURFTUJzTXRIMWZYZFpTWGwwUFROSHo0NFlmbzZmR3NRcjRnaE5qYTNkMjlyYXFxNm9iUFNpV3lXcTAvRTBLOEJBQlN5cDlWVkZTODdPdWFpSWlJaU1oL3NOSDFjN201dWNhelo4K3VrbEp1bEZLdUFXQUVnQmt6WmlBN094dHIxNjRkVXNyYjJOaUlEejc0QUVWRlJhaXY5L1N4TGdBN3BaVDVjK2JNMmNmMGxvYkthcldtQ2lHTzlyMU1kVGdjVlQ0dGlJaUlpSWo4Q2h2ZGNTUTFOVFhHWURDc0YwTGtBWWdEZWxQZTlQUjBxS3FLdExTMHExSmVYZGRSVmxibVNXOWRMazhmZTE1S3VSVzlkMDcrd3V0L0VmSUhRbEdVendGSWg4TXhBNEQwZFVGRVJFUkU1RC9ZNkk1RHVibTV4ak5uenF4QTc3VzhhOUdYOHNiRXhDQTdPeHZmL09ZM2NlVElFUlFWRmVIenp6OTN2ODBGNEFNQStRa0pDZnVaM3RLZFVoVGxWMElJYWJmYi84WFh0UkFSRVJHUmYyR2pPODdaYkxhN3BKVHJBZVFCbUhXZFhjNEIyQ0tFMkdhMzI3LzBabTNrdHd5S29xeVFVdjVCQ0JFTm9BWEFBdzZIWXo5NmIyWkdSRVJFUkhSSDJPaVNtOEZtc3kyWFVycWZ5N3RIQ0pGdnQ5c1BnTTBIRFFPcjFUcGRDTEVld0pNWS9FdVZyVUtJQW42cFFrUkVSRVIzZ28wdURhQW9pZ1FBaDhQQitVRjNKRGMzMTFoYlc3dFNDTEVSd0gzb3QweGVWVlhQTW5sTjA2NWRKcytibkJFUkVSSFJiV01qUXdPdzBhVTdsWnFhR21NeW1keVB0N3FURzU5ZEVFSnM3ZW5wS2Fpc3JQeDg0Q2NSRVJFUkVRM0VSb1lHWUtOTHR5TTNOOWRZVjFlWDBiZjhmUTBBQXdERXhzWWlPenNiOTkxMzM1QWZaYlZ6NTA1b21uYlZvNnlFRUx1RUVQbXpaOC9leTVTWGlJaUlpRzZFalF3TndFYVhia1ZhV2xxc3krVjZBc0FHQUxGQWIzcTdkT2xTcUtvS204MTJWWG83VkxxdXcyNjNROU0wSERwMENEMDlQZTVObndraHRuWjNkeGRVVlZYVjMrZ1lSRVJFUkRRK3NaR2hBZGpvMHMya3A2ZWJXbHBhTXRIN2lLb3M5S1czY1hGeFVGVVZhOWFzUVZSVTFMQjkzdVhMbDdGcjF5NW9tb1lMRnk2NGgzVUF1d0hraDRlSGx4NCtmTGhuOENNUUVSRVIwWGpDUm9ZR1lLTkxnN0haYkhHNnJtOFFRbXdBRUFNQUFRRUJXTFpzR1ZSVmhhSW9FR0xrcG8yVUVnNkhBNXFtNGVEQmcranU3Z1lBQ0NIcXBaUnY5OTJ4K2NKTkRrTkVSRVJFZm82TkRBM0FScGY2UzA5UE56VTFOYTBXUW13VVFtU2k3K2ZHekprelBlbHRaR1NrMSt0cWFtcnlwTHpuejU5M0Qrc0E5a2dwOHlNaUlrcVk4dDZaa0pDUXhVRkJRU21OalkwRnZxNkZpSWlJNkZhd2thRUIyT2dTQUZpdDFwa0dnK0ZKS2VVVEFLWURRR0Jnb0NlOXRWcXRJNXJlRHBXVUVoVVZGWjZVMStsMHVqZDlJYVY4RzhEYkZSVVY1Mjl3Q0JyRXRHblRmZ3hBVHBreTVmbHJ0MTI4ZVBIbjA2Wk4rOWYrWTVXVmxkNy94b09JaUlqb09ueC9sa3FqRGh2ZDhjdG1zd1ZJS2RjQXlBT1FnYjZmRWJObno0YXFxbGk5ZWpVaUlpSjhXdU9OTkRjM1kvZnUzU2dzTE1TNWMrZmN3eEpBcVJBaUg4QnV1OTNlN2JNQ3g1ajQrUGdQTGwyNjlKdUVoSVM5SjArZW5OSFIwWEVSZ0ZGUmxNNXJmajRFS1lyU3daOFpSRVJFTkZxWWZGMEFFZmxlU2tyS2JKUEo1RTV2cHdHOTZlMktGU3VncWlwU1UxTkhSWHA3TXhFUkVmak9kNzZEaHg5K0dKV1ZsZEEwRGZ2Mzd4ZE9wek5UU3BrSjRFdEZVUXAwWGQ5NjlPalJjNzZ1ZDVRemg0ZUhMNjJycTNzY0FEbzZPbHdBdUJTY2lJaUl4Z1EydWtUamxNMW1DOUIxZmEwUUlnL0FTdlNsdC9IeDhjakp5VUZXVmhiQ3c4TjlXK1J0RWtKZzBhSkZXTFJvRVo1OTlsbVVsSlNnc0xBUWRYVjFkd0hZYkRBWWZxSW95ajRBK1VLSW5VeDVCNHFLaWxwcE1CaENBVFQ2dWhZaUlpS2lXelg2SXhyeU9pNWQ5bTlwYVdueFBUMDllUURXQ3lHbUFyM3A3Y3FWSzZHcUtsSlNVc1pFZW51cnBKU29xcXFDcG1uWXQyK2Y1MXBlS2VWRkFBVW1rMmxyV1ZsWm5XK3JIRDNpNCtPMXlNakliSWZESVJSRmtTNlhxd1c5eThCaE5Cb2p2dnJxcTE5T25qejUrKzc5alVaakJIOW1FQkVSMFdqQmt4SWFnSTJ1LzdGWUxJRkJRVUhmMW5VOVR3aXh3ajJla0pDQW5Kd2NaR1ptanRuMDluYTB0TFJnejU0OUtDd3N4Smt6Wnp6alVzcjlBUEtkVHVjSDFkWFZ6c0dQNE4rQ2c0Tmo0K1BqOTV2TjV2bnVSdGZoY053RjRLdStYWUlBZEY3em5oa2RIUjMxWGkrV2lJaUk2RHJZeU5BQWJIVDloNklvYzlCN1k2bjFBQ1lEZ05sc3hxcFZxNkNxS2hZdVhPaVg2ZTFRU1NseC9QaHhhSnFHdlh2M29xdXJ5NzNwYXlIRU5pbmxWb2ZEVWV2TEduMWh4b3daci9mMDlId3hmZnIwWDEydjBRMEtDcG85Yjk2OHNtdmZWMVZWRlFPZzY5cHhJaUlpSW04YnYyZTROQ2cydW1PYnhXSUpOSnZOOXdQWUNHQ1plM3p1M0xuSXljbEJSa1lHd3NMQ2ZGZmdLTlhhMm9yUzBsSVVGaGJpOU9uVC9UY2RCSkRmMWRWVlBGNVMzaGt6WnZ5cXZyNytWNHFpWExyZTB1V2FtcHEwU1pNbVBlNTBPcjlvYUdoNEU4Q0U1T1RrMm1QSGprM3piZVZFUkVSRXZYZ3pLaUkva1pxYU9zOW9ORDRKNEhIMHBiZEJRVUhJeU1pQXFxcFlzR0RCdUU1dmJ5WXNMQXk1dWJsWXQyNGRxcXVyUFNsdloyZm5NZ0RMekdaemc2SW83K2k2dnVYbzBhT25iM3JBTWF5K3ZuN3p0V09WbFpYejhiZWx5MmhyYS91ZnlNaklCeG9hR3Q0TUN3dEx2M0xseW45NXRVZ2lJaUtpRzJDalN6U0d6Wmt6eHh3V0ZwWXRoTmdJNEY3MytQejU4NkdxS2pJek14RWFHdXJEQ3NjZUlRUVdMbHlJaFFzWDRrYy8raEZLUzB1aGFScE9uVG8xR2NCekJvUGhPVVZSUHBSUzVyZTJ0aGJWMXRiNjQxTGRIdHprOTBOVFU5UEIyTmpZZndjUU1ubnk1TzgxTmphKzU1M1NpSWlJaUc2TzhRNE53S1hMbzkvaXhZdm51MXl1UENIRTR3QW1Ba0J3Y0xBbnZVMUtTbUo2TzR5a2xEaHg0b1FuNWUzbzZIQnZ1aVNsZk1kb05HNHBMeTgvNWNzYVI0QkpVWlR1NnkxZGRqcWRGMDZlUEprU0d4djdHNFBCRUI0YUdtbzdjZUpFTWdEZHR5VVRFUkVSOVdLaVN6UkdwS2VuQjdXMnRxcFN5bzI2cnQvamJtU1RrcEtncWlveU1qSVFFaExpNHlyOWt4QUNGb3NGRm92bHFwUzNwcVptb2hEaUdWM1huMUVVNVNNaFJINVlXSmgyK1BEaHpwc2ZkV3k1ZHVreUFMUzN0Mzh5YytiTTMzMzk5ZGYvQmphNVJFUkVOSW93OHFFQm1PaU9Mb3FpSkFISWsxSitUd2dSRFFBaElTSEl6TXhFZG5ZMmtwS1NmRnpoK0hYeTVFbG9tb2JTMGxLMHQ3Y0RBS1NValVLSTN3TFk0bkE0VHZxMndqdHlWYUxiNzY3TG9kSFIwYXNuVFpyMFQ3cXV5NHNYTC83cjFLbFRmMnd5bWFaZXZIangxNWN2WCtZU1ppSWlJdkk1TmpJMEFCdGQzMXV5WkVsd1YxZFhEbnJ2bkh5M2UzekJnZ1hJeWNuQnlwVXIvVEs5UFhEZ0FKNS8vbmtVRnhjak5qYjJ0dmNyTGk1R1lXRWhhbXRyWVRRYWtaS1NncWVmZmhwejU4NGRrYnJiMjl1eGQrOWVhSnFHRXlkTzlOLzBad0Q1WnJPNThPT1BQKzRZNU8yamxTRWhJZUdETTJmT3JJbVBqMysvcnE3dVNRQk5ack41L3BRcFV6Yjk5YTkvL1cxSFI4Y243cDFEUTBPWEdZM0dvSmFXbHQwK3JKbUlpSWdJQUpjdUU0MHFxYW1wRnFQUm1OZlYxZlVZZ0NpZ043M055c3FDcXFxWVAzKytqeXNjRzQ0Y09ZS0hIbm9JaVltSmFHaG93T3V2djQ0Zi9PQUhLQ2twZ2NrMC9ELzJRa0pDa0oyZGplenNiTlRVMUtDb3FBZ2xKU1ZvYjIrL0c4RGRYVjFkYnlpSzhqc3BaWDVGUmNXSm14NXdkTkRQbkRtekJnRHE2dXJXdVFlN3VycE9mZmJaWi85ODdjNXRiVzBIdlZrY0VSRVIwWTJ3MFNYeXNTVkxsZ1IzZG5ibUF0Z29oUGlXZTl4aXNTQW5Kd2NyVnF6d3kvUjJKUDN5bDcrRXdXQUFBQ1FrSk9DUlJ4N0J5eSsvak1iR1JreVpNbVZFUHpzeE1SRXZ2UEFDTm0zYWhIMzc5a0hUTkZSWFYwY0IyQ1NFMkdTMVd2OENJRDhvS0dqSEdFeDVpWWlJaU1ZRUxrMmxBYmgwMlRzV0wxNjhVRXE1VVVyNUtJQklBQWdORGNYcTFhdVJuWjJOZWZQbStheTJ2WHYzNHIzMzNzUHAwNmVoNnpybXpwMkx4eDU3RE11WEwvZnM0MTQrWEZCUWdIZmZmUmRIamh4QlFFQUFzckt5OE5SVFR5RWdJTUJuOWZlbjZ6cWVldW9wWExwMENlKysrNjVQYWpoMTZwUW41VzFyYTNNUE53a2h0Z3NoOHN2THk0LzdwREFpSWlJaVA4VkdoZ1pnb3p1eUZFWEpCcUQxSDB0T1RrWk9UZzZXTDErTzRPQmdIMVhXYTl1MmJYanJyYmV3WWNNR3BLZW5RMHFKMHRKU2JOKytIUys5OUJMdXYvOStBSDlyZEJNU0V2RG9vNDlpNGNLRnNOdnRlUFhWVjdGdTNUbzgrK3l6bm1NdVdiSmswTS83K09PUFIrenYwdGJXaHMyYk42Tyt2aDV2dnZrbXBrNmRPbUtmTlJRZEhSM1l2MzgvTkUzRHNXUEhydDJzT2h5T0lsL1VSVVJFUk9SdnVIU1p5UHUyOTMveDg1Ly9ISm1abWI2cTVTb3RMUzNJejgvSCt2WHI4WS8vK0krZWNmZTFybSs5OVphbjBYVjcrT0dIY2Q5OTl3RUFacytlamZQbno2T29xQWhQUC8wMGpFWWpBT0M5OTd4L0kxNm4wNG1OR3pmQ2JEYmpuWGZld1lRSkU3eGV3N1dDZzRPeGR1MWFyRjI3RmlVbEpYanBwWmY2Yjk2dUtFcG92OWV5MzU5clg5L1dtSlJTQ2lGdU5IN1YrOTFqVXNvQnh4UkN5Q0dPdzMyc2Z1UG8veGw5NHdOcWQ0LzNxOW56L212K0xwNzMzK3p2S0tYOGZ4VVZGUytEaUlpSS9Cb2JYU0x2ZXhSQUlmcFdWTHo0NG92NDR4Ly82TGtlMTVlSmJuVjFOWnhPSjVZdVhUcGcyNUlsUzFCYVdvcUdoZ1pNbmp6Wk0yNjFXcS9hejJLeDRBOS8rQU1hR2hvd2JkbzBBTUNzV2JOdXE1NjB0TFNyWHBlVmxRMzV2ZVhsNWFpcHFjSDI3ZHRIUlpNTDlDYTY3dXQyangrL2FyV3lSTys4NkovMEN3enpxaHYzczVlSE92NjMvblBvMjRaci9FWjEzV2piemNhRkVDc0JzTkVsSWlMeWMyeDBpYnlzYjNtcVlmSGl4UXRkTGxlZUVPS3g0OGVQUng0L2ZoeXZ2dm9xc3JLeWtKMmQ3Wk03TE91NkR1REdEWVk3cFhWejMvVEpyYk96RXdCZ05wczlZOWMyclAzZHFIbmRzV1BINE1YZXhLUkprNUNVbElTSkV5ZmU5akdHeTZsVHA2QnBHdmJzMlhQVk5icFN5dDhaamNZdC9hN1JkVGUzSWpjM1Z6UTBOQWdBYUcxdEZaMmRuYUtycTB2TW1ERkRBRUJYVjVkd09wMml1N3RidUZ3dUFRQ1JrWkdpcDZkSDlQVDBlTVpjTHBlWU1HR0NjTGxjd3VWeUNWM1hQZVBCd2NGQzEzWFBtUHUvcFpUQ2JEWVBHSFB2WnphYnJ4cVRVZ29BQ0FnSUVGSkt6eC8zKy91UEE0RDd2MDBtMDRDeG00MWZPOWIzL3d0R28zSEFad01RL2NjQmxBNzN2eTBSRVJHTlRteDBpWHlrcjduWnRHVEprbi9wN094Y0o0VFkyTmJXOXZjN2R1ekFqaDA3WUxGWW9LcXFWNStabTVpWUNLUFJpSTgrK21qQXpiQSsrZVFUeE1YRklUbzYrcXJ4MDZkUEl5NHV6dlA2eUpFamlJbUpRVlJVbEdmc2RodlcyMDJDQVdEZXZIbjQvZTkvZjl2dnYxUHQ3ZTM5NzdyY2Y5Ti9TeW56ZzRLQzNoL2tyc3NTZ0J6cy8xbHRiZTBJVkRzK0tJcmk2eEtJaUlqSVM5am9FdmxZWDdPekhjQjJxOVc2UUFpUkIrQjcxZFhWVWRYVjFYanR0ZGM4S1c5aVl1S0kxakp4NGtROCt1aWoyTEpsQ3dEZ25udnVnWlFTKy9idHc5NjllL0hhYTY4TmVNOGJiN3dCZzhHQXVMZzQ3TisvSHdjUEhzVExMMSs5TXZST0d0YmJkZUhDQmJ6eXlpdDQ0NDAzRUJnWTZMWFByYW1wOGFTMzdlM3Q3dUhMQUg0cnBkd3locDZqUzBSRVJEUm1zZEVsR2tYNm1xQ24wOVBUWDJocGFja0JzTEc5dmYwZjNuLy9mYnovL3Z0SVNrcENUazRPVnExYU5XSXA3dzkvK0VQRXhNVGdUMy82RXdvS0NtQXltYkJ3NFVLODlkWmJzTmxzQS9iZnRHa1R0bTNiaGs4Ly9SUlRwMDdGNXMyYnNYYnQyaEdwN1ZhMHRiV2hycTRPM2QzZEk5N290cmUzbzdTMEZKcW00ZVRKay8wMy9SZUEvUER3OE1MRGh3OTNqbWdSUkVSRVJPVEJ4OGZRQUh5ODBPaGlzOWtTQWVUcHV2NjRFQ0lhQUVKQ1FwQ1JrUUZWVlpHVWxPU1R1dHlQRnlvdUxrWnNiS3hQYXZDMUV5ZE9RTk0wbEphV29xUERzd3I1a2hEaXR3QzIyTzMyR2grV1I5Zmd6ellpSXFMeGc0a3UwU2pYMXl3OWs1NmV2cm01dVRrYnZTbHZ1cVpwMERRTmlZbUpVRlVWR1JrWkNBME52ZG5oNkE2MXRiVmh6NTQ5MERRTnAwNmQ4b3hMS1E4RHlJK0lpQ2hpZWt0RVJFVGtXMngwaWNhSXZ1YnBQUUR2TFY2OGVMNnU2MDhDZUx5bXBtYlNLNis4Z2wvLyt0ZFl0V29WVkZYRmdnVUxibmpuWkxvMVVzcXIwbHYzbmFVQi9CWEFPd2FEWVd0NWVmbXBHeHlDaUlpSWlMeUlqUzdSR05UWFZEMDNaODZjRjhQRHcrOEhzTEdqbzJOcGNYRXhpb3VMTVgvK2ZFL0tPMXFlSVRzV1hibHl4WlBlZnZycHAvMDNIUUtRMzlMU1VseGJXOXZsby9LSWlJaUlhQkNNZkdnQVhzYzJOaTFhdEdpdXdXQjRFc0I2QUpNQklDZ295SlB5V2l3V3ByeERJS1hFOGVQSG9Xa2E5dTNiMXorOWJRQ3dUZGYxclVlUEhqM3R3eEpwQ09iTW1XT082ditNS3dBdWwrdExBREFhalhmMUg3OTgrZkpsZm1GQlJFVGtYM2pXU3dPdzBSM2JMQlpMWUZCUTBMZWxsQnNCTEhlUHo1MDdGNnFxSWpNekUyRmhZVDZzY0hScWJXMzFwTGVuVDEvVnh4NFFRdVIzZG5iK1ozVjF0ZE5YOWRHdFNVdExtK1p5dWI3QXpYL1A2VWFqTWFhc3JPd3JiOVJGUkVSRTNzRkdoZ1pnbytzL2JEWmJBb0E4S2VWNkFGTUF3R3cyWStYS2xWQlZGY25KeWVNNjVaVlM0dGl4WTU3MHRxdkxFK3A5TGFVc01CZ01XKzEyK3hsZjFraTNUMUdVd3dEdXVjbHVIemtjanZTUnI0YUlpSWk4YWZ5ZTRkS2cyT2o2SDR2RkVoZ1lHTGhXQ0pFSFlLVjdQQ0VoQWFxcUlpc3JDK0hoNFQ2czBMdGFXbHBRVWxJQ1RkTnc1c3hWZmV3K0tXVyswK25jeWZSMjdMTmFyVDhVUXJ4eGs5MSs2SEE0ZnVPVmdvaUlpTWhyMk1qUUFHeDAvVnRhV2xwOFQwL1Brd0NlRUVKTUJZREF3RUJQeXB1U2t1S1hLYStVRWxWVlZaNzAxdW4wOUxGZkFTZ3dHbzF2bDVXVjFmbXdSQnBtcWFtcE1VYWpzZjVHKzdoY3JobVZsWldmZTZzbUlpSWk4ZzcvTzV1bE84WkdkM3l3Mld3QlVzcjdBT1FCV0lXK253Zng4ZkZRVlJXclY2LzJpNVMzcGFVRnUzZnZocVpwcUt2ejlMRVN3RjRBK1VLSVhYYTd2ZHQzRmRKSVVoVGxZd0IvTjhqbWp4ME94emU5V1E4UkVSRjVCeHNaR29DTjd2aXphTkdpV1gxM2JINEN3RjFBYjhxN2ZQbHlxS3FLUllzV2phbVVWMHFKbzBlUFF0TTBIRGh3b0g5Nis2VVE0bTJYeS9YMjBhTkh6L213UlBJU204MzJySlR5LzF4dm14RGlXYnZkL3BxM2F5SWlJcUtSTjNiT1hNbHIyT2lPWHphYkxRREFhbDNYODRRUW1lajdHVEZyMWl5b3FvbzFhOVlnSWlMQ3QwWGVRSE56TTNidDJnVk4wM0R1M0RuM3NKUlM3cEZTNWtkR1J1NCtmUGh3anc5TEpDOUxTVW1aYlRLWnJyc2t2YWVuSjc2cXF1cXN0MnNpSWlLaWtjZEdoZ1pnbzBzQVlMVmFad0xZSUlUWUFHQTZBQVFFQkdEWnNtVlFWUldLb295S2xGZEtDWWZEQVUzVGNQRGdRWFIzZTFZaGZ5NmxmQnRBUVVWRnhYa2Zsa2crcGlpS0E0RDFtbUdIdytHdythSWVJaUlpR25rbVh4ZEFSS05UWDNQNDAvVDA5SjgxTnpkbkNTRTJkbmQzWjVhV2xocEtTMHN4YytaTVQ4b2JHUm5wOWZxYW1wbzg2ZTM1ODU0K1ZnZFFBaUEvUER4OEQ5TmI2bE9JZ1kxdW9TOEtJU0lpSXUvd2ZSeERvdzRUWFJxTXpXYUxrMUkrSVlUWUlLV2NBZlNtdkV1WExvV3FxckRaYkNPYThrb3BZYmZib1drYURoMDY1RWx2aFJEMVVzcXRScU94b0t5czdMTVJLNERHSkp2TmxpaWxQTmwvekdBd0pKYVhsNS95VlUxRVJFUTBzdGpJMEFCc2RPbG0wdFBUVFMwdExSa0FOZ0pZRGNBQUFIRnhjY2pPenNhYU5Xc1FIUjA5YkovWDJOaUlYYnQyb2Fpb0NCY3VYSEFQNndCMkNTSHk0K1BqUzNmczJPRWF0ZzhrdjZNb1NqV0FCUUFnaEtpMjIrMExmVndTRVJFUmpTQTJNalFBRzEyNkZTa3BLVE1DQWdLZWtGSStDU0FXQUV3bUUrNjk5MTZvcW9yRml4ZkRZRERjOG5GMVhVZDVlVGswVGNPSEgzNkluaDdQS3VRTFFvaXQzZDNkMjZxcXFtNzRqRlFpTjZ2VitqTWh4RXNBSUtYOFdVVkZ4Y3Urcm9tSWlJaEdEaHNaR29DTkx0Mk8zTnhjNDlteloxZEpLVGRLS2RjQU1BTEFqQmt6a0oyZGpiVnIxdzRwNVcxc2JNUUhIM3lBb3FJaTFOZDcrbGdYZ0oxU3l2dzVjK2JzWTNwTHQ4cHF0YVlLSVk3MnZVeDFPQnhWUGkySWlJaUlSaFFiR1JxQWpTN2RxZFRVMUJpRHdiQmVDSkVISUE3b1RYblQwOU9ocWlyUzB0S3VTbmwxWFVkWldaa252WFc1UEgzc2VTbmxWdlRlT2ZrTHIvOUZ5SjhJUlZFK0J5QWREc2NNQU5MWEJSRVJFZEhJWVNOREE3RFJwZUdTbTV0clBIUG16QXIwWHN1N0ZuMHBiMHhNRExLenMvSE5iMzRUUjQ0Y1FWRlJFVDcvL0hQMzIxd0FQZ0NRbjVDUXNKL3BMUTBYUlZGK0pZU1FkcnY5WDN4ZEN4RVJFWTBzTmpJMEFCdGRHZ2sybSswdUtlVjZBSGtBWmwxbmwzTUF0Z2dodHRudDlpKzlXUnY1TllPaUtDdWtsTDhWUWt5VlVyWUpJWEljRHNkKzlON1FqSWlJaVB3UUd4a2FnSTB1alRDRHpXWmJMcVhjQ0NBVHdCNGhSTDdkYmo4QU5oNDBUS3hXNjNRaHhIb0FUMkx3TDFhMkNpRUsrTVVLRVJHUi8yRWpRd093MFNWdjREeWo0WmFibTJ1c3JhMWRLWVRZQ09BKzlGc3FyNnFxWjZtOHBtblhMcFhuamM2SWlJajhERTh3YVFBMklPUU5uR2MwWEZKVFUyTk1KcFA3RVZkM2N2T3pDMEtJclQwOVBRV1ZsWldmRC93a0lpSWlHaXQ0Z2trRHNBRWhiK0E4b3p1Um01dHJyS3VyeStoYkFyOEdnQUVBWW1OamtaMmRqZnZ1dTIvSWo3UGF1WE1uTkUyNzZuRldRb2hkUW9qODJiTm43MlhLUzBSRU5QYndCSk1HWUFOQzNzQjVScmNqTFMwdDF1VnlQUUZnQTRCWW9EZTlYYnAwS1ZSVmhjMW11eXE5SFNwZDEyRzMyNkZwR2c0ZE9vU2VuaDczcHMrRUVGdTd1N3NMcXFxcTZtOTBEQ0lpSWhvOWVJSkpBN0FCSVcvZ1BLT2hTazlQTjdXMHRHU2k5ekZWV2VoTGIrUGk0cUNxS3Rhc1dZT29xS2hoKzd6TGx5OWoxNjVkMERRTkZ5NWNjQS9yQUhZRHlBOFBEeTg5ZlBod3orQkhJQ0lpSWwvakNTWU53QWFFdklIempHN0daclBGNmJxK1FRaXhBVUFNQUFRRUJHRFpzbVZRVlJXS29rQ0lrWnMrVWtvNEhBNW9tb2FEQncraXU3c2JBQ0NFcUpkU3Z0MTN4K1lMTnprTTNVUklTTWppb0tDZ2xNYkd4Z0pmMTBKRVJQNkRKNWcwQUJzUThnYk9NN3FlOVBSMFUxTlQwMm9oeEVZaFJDYjZmazhSNlU4b0FBQWdBRWxFUVZUTm5EblRrOTVHUmtaNnZhNm1waVpQeW52Ky9IbjNzQTVnajVReVB5SWlvb1FwNysyWk5tM2Fqd0hJS1ZPbVBIL3R0b3NYTC81ODJyUnAvOXAvckxLeTB2c1RnSWlJeGh5ZVlOSUFiRURJR3pqUHFEK3IxVHJUWURBOEthVjhBc0IwQUFnTURQU2t0MWFyZFVUVDI2R1NVcUtpb3NLVDhqcWRUdmVtTDZTVWJ3TjR1NktpNHZ3TkRrSFhpSStQLytEU3BVdS9TVWhJMkh2eTVNa1pIUjBkRndFWUZVWHB2T2JuUTVDaUtCMzhtVUZFUkVOaDhuVUJSRVEwUHRsc3RnQXA1Um9BZVFBeXBKUUNBR2JQbmcxVlZiRjY5V3BFUkVUNHRzaHJDQ0dnS0FvVVJjRnp6ejJIM2J0M283Q3dFT2ZPblpzdWhIZ0p3SXVLb3BRS0lmSUI3TGJiN2QyK3JubVVNNGVIaHkrdHE2dDdIQUE2T2pwY0FKaU1FeEhSSFdPalMwUkVYcFdTa2pMYlpESzUwOXRwUUc5NnUyTEZDcWlxaXRUVTFGR1IzdDVNUkVRRXZ2T2Q3K0RoaHg5R1pXVWxORTNEL3YzN2hkUHB6SlJTWmdMNFVsR1VBbDNYdHg0OWV2U2NyK3NkamFLaW9sWWFESVpRQUkyK3JvV0lpUHdMRzEwaUlocHhOcHN0UU5mMXRVS0lQQUFyMFhmcFRIeDhQSEp5Y3BDVmxZWHc4SERmRm5tYmhCQll0R2dSRmkxYWhHZWZmUllsSlNVb0xDeEVYVjNkWFFBMkd3eUdueWlLc2c5QXZoQmlKMVBldjRtS2lscmYvM1ZxYXVvcEFOTDlldnIwNmY5Nzh1VEozL2Q2WVVSRU5PYXgwU1Vpb2hHVGxwWVczOVBUazZmcitub2h4RlNnTjcxZHVYSWxWRlZGU2tyS21FaHZoeW84UEJ3UFBmUVFIbnp3UVZSVlZVSFROT3pidDA4NG5jNVZBRmJwdW43UmFyVVdtRXltcldWbFpYVytydGVYZ29PRFk0T0RneGYwSDZ1c3JKd1A0S3UrbDBFQU9yLzQ0b3NYK3IxbmhoZExKQ0tpTVl5TkxoRVJEU3VMeFJJWUZCVDBiVjNYODF3dTF3cDNJNXVRa0lDY25CeGtabWFPMmZSMnFJUVFTRTFOUldwcUtwNTU1aG5zMmJNSGhZV0ZPSFBtekZRQUw3aGNyaGVzVnV0K0FQbE9wL09ENnVwcTU4Mk82VzhtVHB6NHpLVkxsd3FtVDUvK3ErdHREd29LdW12ZXZIbGwxNDVYVlZYRkFPZ2E4UUtKaUdoTVk2UHI1d0lEQXhPZFR1Y1pBRndxUjBRalNsR1VPZWk5c2RSNktlVmtJUVRNWmpOV3JWb0ZWVld4Y09GQ3YwcHZoeW84UEJ3UFB2Z2dIbmpnQVJ3L2ZoeWFwbUh2M3IzbzZ1cGFBV0NGMld6KzJtYXpiWk5TYm5VNEhMVytydGVMdXI3NjZxdXQvUnZkL2t1WGEycHEwaTVkdXZSL25VN25GdzBORFc4Q21KQ2NuRndMTnJsRVJEUUViSFQ5M01LRkMwOVdWMWZQN2VycUdrOG5UMFRrSlJhTEpkQnNOdDhQWUNPQVplN3h1WFBuSWljbkJ4a1pHUWdMQy9OZGdhT0lFQUxKeWNsSVRrN0dqMzcwSTVTV2xxS3dzQkNuVDUrZUlxVjhIc0R6aXFJY0JKRGYxZFZWN084cGIzMTkvZVpyeDY1WnVveTJ0cmIvaVl5TWZLQ2hvZUhOc0xDdzlDdFhydnlYVjRza0lxSXhpNDJ1bjBoTlRXMGFiRnRpWXFJRGdIN3RlRWRIeDdGUFAvMzA3aEV0aklqOFVtcHE2anlqMGZna2dNY0JUQWFBb0tBZ1pHUmtRRlZWTEZpd1lGeW10ME1WRmhhRzNOeGNyRnUzRHRYVjFaNlV0N096Y3htQVpXYXp1VUZSbEhkMFhkOXk5T2pSMDc2dWQ0VDA0Q2JuSVUxTlRRZGpZMlAvSFVESTVNbVR2OWZZMlBpZWQwb2pJcUt4am1jaGZrNVJGSG1yaWE2aUtCSUFIQTRINXdlTkdNNnpzV2ZPbkRubXNMQ3diQ0hFUmdEM3VzZm56NThQVlZXUm1abUowTkJRSDFZNHRsMjVjZ1dscGFYUU5BMm5UcDNxditsREtXVithMnRyVVcxdHJiOHQyelVwaXRMdGNEaUVvaWpTNVhLMW9HL3BzdFBwdkhEeTVNbVUyTmpZM3hnTWh2RFEwRkRiaVJNbmtuR2RMMjZKaUlpdXhVVFhqd1FGQmMxYXNHREIyZTd1N292dXNlN3U3b3Z6NXMzN2IvZHJJWVRSWkRKTlluTkJSRU8xZVBIaStTNlhLMDhJOFRpQWlRQVFIQnpzU1crVGtwS1kzZzZEQ1JNbVlOMjZkY2pKeWNHSkV5YzhLVzlIUjhlOVFvaDd3OFBETDFtdDFuZU1SdU9XOHZMeVV6Yy80dGh6N2RKbEFHaHZiLzlrNXN5WnYvdjY2Ni8vRFd4eWlZaG9pTmpvK3FGang0NU5HMnlidXhuMlpqMUVOUGFrcDZjSHRiYTJxbExLamJxdTMrTnVaSk9Ta3FDcUtqSXlNaEFTRXVMakt2MlRFQUlXaXdVV2k4VnpMYSttYWFpcHFaa29oSGhHMS9WbkZFWDVTQWlSSHhZV3BoMCtmTGpUMXpXUGdORG82T2pWa3laTitpZGQxK1hwMDZmL1llclVxVDlPVEV6OG40c1hMLzc2OHVYTFhNSk1SRVEzeEViWEQxa3Nsa0dYS1FzaCtHOU9SSU5TRkNVSlFGNXpjL1AzaEJEUkFCQVNFb0xNekV4a1oyY2pLU25KeHhXT0w2R2hvY2pKeVVGT1RnNU9uandKVGROUVdscUs5dmIyZTZTVTl6UTNOemNxaXZKYkFGc2NEc2RKWDlkN0cvVG01dWJkQU5EVTFGUUlvQk1BekdiempORFEwUFRQUHZ2c2hZNk9qazhBb0xXMTljK2hvYUhMakVaamtBL3JKU0tpTVlKcnpmeUlPNjExT3AzbkI5dEhDR0VLQ0FpSXVkSFNaVjQ3U2Q3QWVUWjZMRm15SkxpcnF5c0h2WGRPOXR5Z2JzR0NCY2pKeWNIS2xTdjlMcjA5Y09BQW5uLytlUlFYRnlNMk5oWUFjUEhpUmR4Ly8vMzQrT09QYjdwdmY4WEZ4U2dzTEVSdGJTMk1SaU5TVWxMdzlOTlBZKzdjdVNOU2UzdDdPL2J1M1F0TjAzRGl4SW4rbS80TUlOOXNOaGQrL1BISEhTUHk0VVJFUkdNRTB6MC9kUHo0OFZtRGJlUFNaU0p5UzAxTnRSaU54cnl1cnE3SEFFUUJ2ZWx0VmxZV1ZGWEYvUG56ZlZ5aGQ3UzN0K1BFaVJOSVRrNUdkSFEwZW5wNjhNa25uK0JiMy9yV2tONS81TWdSUFBUUVEwaE1URVJEUXdOZWYvMTEvT0FIUDBCSlNRbE1wdUgvTlJzU0VvTHM3R3hrWjJlanBxWUdSVVZGS0NrcFFYdDcrOTBBN3U3cTZucERVWlRmU1Nuekt5b3FUdHowZ0VSRVJINklqYTRmV3JodzRibkJ0bkhwTXRINHRtVEprdURPenM1Y0FCdUZFSjVPem1LeElDY25CeXRXclBDNzlQWm02dXZyVVZCUWdKYVdGclMydHVLeHh4N0Q1TW1UWWJGWUVCa1plZFAzLy9LWHY0VEJZQUFBSkNRazRKRkhIc0hMTDcrTXhzWkdUSmt5WlVSclQweE14QXN2dklCTm16WmgzNzU5MERRTjFkWFZVUUEyQ1NFMldhM1d2d0RJRHdvSzJzR1VsNGlJeGhNdUdmUWo3clQyUmt0Qmg3SVBsNVNTTjNDZWVkZml4WXNYU2lrM1Npa2ZCUkFKOUY3L3VYcjFhbVJuWjJQZXZIaytxV3Z2M3IxNDc3MzNjUHIwYWVpNmpybHo1K0t4eHg3RDh1WExQZnU0bHc0WEZCVGczWGZmeFpFalJ4QVFFSUNzckN3ODlkUlRDQWdJR0paYWZ2S1RuNkMrdmg1LzkzZC9oMy8rNTMrK3JXUG91bzZubm5vS2x5NWR3cnZ2dmpzc2RkMnFVNmRPZVZMZXRyWTI5M0NURUdLN0VDSy92THo4dUU4S0l5SWk4aUtlWVBxQjhQRHcxYk5uejM0WGdNRm9OSWE1WEs3bUcreCsxVDZWbFpVRDRnbzJJT1FObkdmZW9TaEtOZ0N0LzFoeWNqSnljbkt3ZlBseUJBY0grNmd5WU51MmJYanJyYmV3WWNNR3BLZW5RMHFKMHRKU2JOKytIUys5OUJMdXYvOStBSDlyZEJNU0V2RG9vNDlpNGNLRnNOdnRlUFhWVjdGdTNUbzgrK3l6bm1NdVdiSmswTSs3OXRyYi92N3doei9nNE1HRGVQUE5OL0hBQXcvZ3VlZWV3OTEzM3ozby90ZlQxdGFHelpzM283NitIbSsrK1NhbVRwMTZTKzhmYmgwZEhkaS9mejgwVGNPeFk4ZXUzYXc2SEk0aVg5UkZSRVRrRFR6QjlEL0d5TWpJTlpNbVRmcW5DeGN1UE9OME9rOEFRRXhNekM4TUJrTjRZMk5qY1Z0YjIwY0FlZ1k3QUJzUThnYk9NKzlRRk9VS2dGRDM2NS8vL09mSXpNejBZVVc5V2xwYXNHclZLanoyMkdQNC92ZS9mOVcyelpzM283eThISHYzN2dYd3QwYjN4UmRmUkhaMnRtZS8xMTU3RFVWRlJmam9vNDlnTkJvQkFPZk9uUnYwTTJmTm1qWG90aXRYcnFDbHBRWFRwMC9IMmJObkVSTVRnOERBd0NIL2ZaeE9KOWF2WHcrejJZdzMzbmdERXlaTUdQSjd2YUdrcEFRdnZmUlMvNkUyOUpzWEFHUy9QOWUrdnVWeEthVUVBQ0hFa01iZFkzM2J2VHJ1cnF0ZlRaNi96eDJNNzNFNEhLOWY3OStDaUlpOGc5ZHIrb21Ra0JCYmRIVDBBMUZSVWQvVmRmMUtRMFBERy8zdnZuejU4dVhpNk9qb0IyYk5tclhWYURTR05UVTFhWmN2WDk3ZTJ0cjZaMS9XVFVRajdsRUFoZWo3WXZQRkYxL0VILy80UjgvMXVMNUtkS3VycStGME9yRjA2ZElCMjVZc1dZTFMwbEkwTkRSZzh1VEpubkdyMVhyVmZoYUxCWC80d3gvUTBOQ0FhZE42SHg5K28yYjJSaVpNbU9CcFRtZlBubjNMN3k4dkwwZE5UUTIyYjk4K2FwcmNqbzRPejNXN3g0OWZ0VnBab25kZTlFLzZCWWJ4eTIvM2M1ZUhPZzRBZlQydzE4ZHZWTmZ0amtzcFV3R3cwU1VpOGlFMnVuNWk2dFNwejdsY3JzNnpaODgrY3VYS2xZL3d0MitaQVFEdDdlMWw3ZTN0WmZYMTljK0ZoWVY5S3lvcTZ0SFEwTkNsYkhTSi9GdmY4bFRENHNXTEY3cGNyandoeEdQSGp4K1BQSDc4T0Y1OTlWVmtaV1VoT3p2YjYzZFkxblVkd0kwYkgzZEs2K2ErNFpOYloyY25BTUJzTm52RzB0TFNCajFlV1ZuWkxkYzVWSk1tVFVKU1VoSW1UcHc0WXA4eFZLZE9uWUttYWRpelo4OVYxK2hLS1g5bk5CcTM5THRHMTkzY2l0emNYTkhRMENBQW9MVzFWWFIyZG9xdXJpNHhZOFlNMGRYVkpRREE2WFNLN3U1dTRYSzVSR1JrcE9qcDZSRUEwTlBUSTF3dWwzQzVYR0xDaEFuQzVYSUpBSEM1WEVMWGRlRnl1VVJ3Y0xEUWRWMEFnSzdyd3YxSFNpa0F3R3cyWHpYbTN0Yzk3aDV6N3g4UUVDQ2tsSjQvN3YydkhYZnZiektaaGpRT0FGSktjYjF4QU1Kb05ONXdITUJkVXNwM2h2MGZsWWlJYmhrYlhUOXg5dXpaaDRhNmIydHI2MTlhVzF2L01wTDFFTkhvMHRmY2JGcXlaTW0vZEhaMnJoTkNiR3hyYS92N0hUdDJZTWVPSGJCWUxGQlYxV3ZQekUxTVRJVFJhTVJISDMwMDRFWlluM3p5Q2VMaTRoQWRIWDNWK09uVHB4RVhGK2Q1ZmVUSUVjVEV4Q0FxS3NvenRtUEhqcEV0ZkJEejVzM0Q3My8vZTU5OE50RDdpS1IrZDEzdXYrbS9wWlQ1UVVGQjd3OXkxMlVKUUE3Mi82MjJ0bllFcXZWZmFXbHAwMXd1bDYvTElDSWlzTkVsSWhwWCtwcWQ3UUMyVzYzV0JVS0lQQURmcTY2dWpxcXVyc1pycjczbVNYa1RFeE5Ickk2SkV5ZmkwVWNmeFpZdFd3QUE5OXh6RDZTVTJMZHZIL2J1M1l2WFhudHR3SHZlZU9NTkdBd0d4TVhGWWYvKy9UaDQ4Q0JlZnZubHEvYTUzYVhMZCtyQ2hRdDQ1WlZYOE1ZYmI5elN0YjEzcXFhbXhwUGV0cmUzdTRjdkEvaXRsSElMbjZOTFJFVGpGUnRkSXFKeHFxOEplam85UGYyRmxwYVdIQUFiMjl2Yi8rSDk5OS9IKysrL2o2U2tKT1RrNUdEVnFsVWprdkwrOEljL1JFeE1EUDcwcHoraG9LQUFKcE1KQ3hjdXhGdHZ2UVdielRaZy8wMmJObUhidG0zNDlOTlBNWFhxVkd6ZXZCbHIxNjRkOXJwdVIxdGJHK3JxNnREZDNUM2lqVzU3ZXp0S1MwdWhhUnBPbmp6WmY5Ti9BY2dQRHc4dlBIejRjT2VJRmtGRVJEVEs4VzZuTkFEdmhrdmV3SGsyT3Rsc3RrUUFlYnF1UHk2RWlBYUFrSkFRWkdSa1FGVlZKQ1VsZWIwbTkxMlhpNHVMRVJzYjYvWFBIeTFPbkRnQlRkTlFXbHFLamc3UEt1UkxRb2pmQXRoaXQ5dHJmRmdld2JOMCtVc3A1Y1dLaW9wcHZxNkhpR2c4WTZKTFJFUWVmYzNTTStucDZadWJtNXV6MFp2eXBtdWFCazNUa0ppWUNGVlZrWkdSZ2REUTBKc2RqdTVRVzFzYjl1elpBMDNUY09yVUtjKzRsUEl3Z1B5SWlJZ2lwcmRFUkVRRHNkRWxJcUlCK3Bxbjl3Qzh0M2p4NHZtNnJqOEo0UEdhbXBwSnI3enlDbjc5NjE5ajFhcFZVRlVWQ3hZc3VPSGRrK25XU0NtdlNtL2RkNWNHOEZjQTd4Z01ocTNsNWVXbmJuQUlJaUtpY1krTkxoRVIzVkJmVS9YY25EbHpYZ3dQRDc4ZndNYU9qbzZseGNYRktDNHV4dno1OHowcDcyaDVodXhZZE9YS0ZVOTYrK21ubi9iZmRBaEFma3RMUzNGdGJXMlhqOG9qSWlJYVUvZ1ZQQTNBYXlmSkd6alB4clpGaXhiTk5SZ01Ud0pZRDJBeUFBUUZCWGxTWG92RndwUjNDS1NVT0g3OE9EUk53NzU5Ky9xbnR3MEF0dW02dnZYbzBhT25mVmdpM2NDU0pVdUNlM3A2SXR5dkRRYkRsTzd1N2tvQURVYWpNYVgvdnJxdVg3TGI3ZDFlTDVLSWFKemlXUWdOd0FhRXZJSHp6RDlZTEpiQW9LQ2diMHNwTndKWTdoNmZPM2N1VkZWRlptWW13c0xDZkZqaDZOVGEydXBKYjArZnZxcVBQU0NFeU8vczdQelA2dXBxcDYvcW82RkpUVTIxR0kzRzQwUFl0VjBJTWRsdXQ3ZmZmRmNpSWhvT1BNR2tBZGlBa0Rkd252a2ZtODJXQUNCUFNya2V3QlFBTUp2TldMbHlKVlJWUlhKeThyaE9lYVdVT0hic21DZTk3ZXJ5ckVMK1drcFpZREFZdHRydDlqTytySkZ1bVZBVTVTU0ErVGZjU1lqMzdYWjdycGRxSWlJaThCcGRJaUlhSm4xTjJyOVlMSmFmQmdZR3JoVkM1SFYxZGEzY3VYTW5kdTdjaVlTRUJLaXFpcXlzTElTSGgvdTZYSzlwYVdsQlNVa0pORTNEbVROWDliSDdwSlQ1VHFkeko5UGJNVXNDS0FUd2t4dnRwT3Q2b1hmS0lTSWl0L0g3MVRvTmlra2JlUVBuMmZpUWxwWVczOVBUOHlTQUo0UVFVd0VnTUREUWsvS21wS1Q0WmNvcnBVUlZWWlVudlhVNlBYM3NWd0FLakViajIyVmxaWFUrTEpHR2ljMW1VNlNVOWh2czBoVWNIRHo1TDMvNVM2dlhpaUlpSWphNk5CQWJFUElHenJQeHhXYXpCVWdwN3dPUUIyQVYrbjcveE1mSFExVlZyRjY5Mmk5UzNwYVdGdXpldlJ1YXBxR3V6dFBIU2dCN0FlUUxJWGJ4aGtSK1J5aUtVZ2RnMWlEYlAzQTRITi8yWWoxRVJBUTJ1blFkYkVESUd6alB4cTlGaXhiTjZydGo4eE1BN2dKNlU5N2x5NWREVlZVc1dyUm9US1c4VWtvY1BYb1VtcWJod0lFRC9kUGJMNFVRYjd0Y3JyZVBIajE2em9jbDBnaXpXcTJ2Q2lHZXVkNDJLZVgzS2lvcWZ1ZnRtb2lJeHJ1eGN5WkJYc01HaEx5Qjg0eHNObHNBZ05XNnJ1Y0pJVExSOXp0cDFxeFpVRlVWYTlhc1FVUkV4STBQNGtQTnpjM1l0V3NYTkUzRHVYUG4zTU5TU3JsSFNwa2ZHUm01Ky9EaHd6MCtMSkc4eEdxMUxoRkNITG5PcHU3dTd1NnB4NDRkdSt6MW9vaUl4am1lWU5JQWJFRElHempQcUQrcjFUb1R3QVloeEFZQTB3RWdJQ0FBeTVZdGc2cXFVQlJsVktTOFVrbzRIQTVvbW9hREJ3K2l1OXV6Q3ZsektlWGJBQW9xS2lyTys3QkU4ZzJEb2lpZm9XL3U5bFBxY0RneWZWRVFFZEY0eDdzdUV4R1J6L1UxaHo5TlQwLy9XWE56YzVZUVltTjNkM2RtYVdtcG9iUzBGRE5uenZTa3ZKR1JrVjZ2cjZtcHlaUGVuai92NldOMUFDVUE4c1BEdy9jd3ZSM1hkQUFhZ1Ardi82QVFnbmRiSmlMeUVkOS9QVTZqRHBNMjhnYk9NN29abTgwV0o2VjhRZ2l4UVVvNUEraE5lWmN1WFFwVlZXR3oyVVkwNVpWU3dtNjNROU0wSERwMHlKUGVDaUhxcFpSYmpVWmpRVmxaMldjalZnQ05LWXNYTDA3WGRmM0Rma011SWNRMHU5MytWNThWUlVRMGp2RUVrd1pnQTBMZXdIbEdRNVdlbm01cWFXbkpBTEFSd0dvQUJnQ0lpNHREZG5ZMjFxeFpnK2pvNkdIN3ZNYkdSdXphdFF0RlJVVzRjT0dDZTFnSHNFc0lrUjhmSDErNlk4Y08xN0I5SVBtRjNOeGM0NWt6Wnk0Q21OZzNkTWpoY0N6elpVMUVST01aVHpCcEFEWWc1QTJjWjNRN1VsSlNaZ1FFQkR3aHBYd1NRQ3dBbUV3bTNIdnZ2VkJWRllzWEw0YkJZTGpsNCtxNmp2THljbWlhaGc4Ly9CQTlQWjVWeUJlRUVGdTd1N3UzVlZWVjFRL2YzNFQ4a2FJb3Z3ZndYUUFRUXZ6QWJyZi91NDlMSWlJYXQzaU5MaEVSalJsOXplYlBjbk56ZjNIMjdObFZVc3FOUFQwOWEvYnYzMi9jdjM4L1pzeVlnZXpzYkt4ZHUzWklLVzlqWXlNKytPQURGQlVWb2I3ZTA4ZTZBT3lVVXViUG1UTm5IOU5iR2lxRHdiQmIxL1h2OXIwczhta3hSRVRqSEpNVUdvQkpHM2tENXhrTmw5VFUxQmlEd2JCZUNKRUhJQTdvVFhuVDA5T2hxaXJTMHRLdVNubDFYVWRaV1prbnZYVzVQSDNzZVNubFZ2VGVPZmtMci85RmFNeWJQMzkrV0dobzZKY0F6am9jam1SZjEwTkVOSjd4QkpNR1lBTkMzc0I1UnNPdDd4ckpGZWk5bG5jdEFDTUF4TVRFSURzN0c5Lzg1amR4NU1nUkZCVVY0ZlBQUDNlL3pRWGdBd0Q1Q1FrSis1bmUwcDJ5Mld5L2xWSldPQnlPMTMxZEN4SFJlTVlUVEJxQURRaDVBK2NaalNTYnpYYVhsSEk5Z0R3QXM2Nnp5emtBVzRRUTIreDIrNWZlckkzOGtrRlJsQlZTeXQ4S0lhWktLYThJSWRZNUhJNzk2TDJSR1JFUmVSbFBNR2tBTmlEa0RaeG41Q1VHbTgyMlhFcTVFVUFtZ0QxQ2lIeTczWDRBYkVEb0RsbXQxdWxDaVBVQW5zVGdYNmhzRlVJVThBc1ZJaUx2NGdrbURjQUdoTHlCODR5OGpYT09oa051YnE2eHRyWjJwUkJpSTRENzBHK0p2S3FxbmlYeW1xWmR1MFNlTnpnakl2SWkvcktuQVhneVNON0FlVWJleGpsSGR5STFOVFhHWkRLNUgyMTFKemM5dXlDRTJOclQwMU5RV1ZuNStjQlBJaUtpNGNESEN4SFJzQWdNREV4ME9wMW5BSFQ3dWhZaW91R1FtNXRyckt1cnkraGIrcjVHU21rQWdOallXR1JuWitPKysrNGI5REZXQm9NQjMvakdOL0NOYjN3RGpZMk4yTGx6SnpSTlEzMTlmWnlVOG1kR28vRmxtODIyU3dpUlAzdjI3TDFNZVltSWhoZS8xYVlCbUhyUTdWQVVSVlpYVjgvdDZ1cXFIZXIrQU9jWmVRL25IQTFWV2xwYXJNdmxlZ0xBQmdDeFFHOTZ1M1RwVXFpcUNwdk5kbFY2TzFTNnJzTnV0MFBUTkJ3NmRBZzlQVDN1VFo4SkliWjJkM2NYOUQwcm1vaUk3aEFUWFNLNkphbXBxVTJEYlV0TVRIVGdPamY0NmVqb09QYnBwNS9lUGFLRkVSSGRnZlQwZEZOTFMwc21nSTB1bHlzTGdBRUE0dUxpb0tvcTFxeFpnNmlvcUR2NkRJUEJnTFMwTktTbHBlSHk1Y3ZZdFdzWE5FM0RoUXNYWXFXVS84dGtNcjJzS01wdUFQbmg0ZUdsaHc4ZjdybnBRWW1JNkxyNHJUWU53TlNEYmdjVFhScnRPT2ZvZW13Mlc1eXU2eHVFRUJzQXhBQkFRRUFBbGkxYkJsVlZvU2dLaEJpNUtTT2xoTVBoZ0tacE9IandJTHE3ZTYvK0VFTFVTeW5mN3J0ajg0VVJLNEJHbFpDUWtNVkJRVUVwalkyTkJiNnVoV2lzNHk5N0dvQW5nM1F6UVVGQnN4WXNXSEMydTd2NzRtRDdDQ0dNSnBOcDBtRHppUE9Ndkkxemp0elMwOU5OVFUxTnE0VVFHNFVRbWVnN0g1bzVjNlludlkyTWpQUjZYVTFOVFo2VTkvejU4KzVoSGNBZUtXVitSRVJFQ1ZOZS96WnQyclFmQTVCVHBreDUvdHB0Rnk5ZS9QbTBhZFArdGY5WVpXV2w5eWNxMFJqQnBjdEVkTnVPSFRzMmJiQnQ3bWJZbS9VUUVkMkkxV3FkYVRBWW5teHBhWG5DWURCTUI0REF3RUJQZW11MVdrYzB2YjJaeU1oSVBQTElJL2p1ZDcrTGlvb0tkOHByY0RxZHE0VVFxMXRhV3I2d1dxMXZBM2k3b3FMaS9FMFBTR05PU0VqSTMxKzZkT2szSnBOcDRzbVRKMmQwZEhSY0JHQlVGS1h6NHNXTHIxKzhlUEgxdmwyREZFWHA4R1d0UktNZEcxMGl1bTBXaTJYUVpjcENDUDU4SVNLZnM5bHNBVkxLTlFEeUFHUklLUVVBeko0OUc2cXFZdlhxMVlpSWlQQnRrZGNRUWtCUkZDaUtndWVlZXc2N2QrOUdZV0VoenAwN04xMEk4UktBRnhWRktSVkM1QVBZYmJmYmViZDcvMkFPRHc5ZldsZFg5emdBZEhSMHVBQXd3U2U2VFR3UkphTGJkcU5tbG8wdUVmbFNTa3JLYkpQSjlLU1U4Z2tBMDREZTlIYkZpaFZRVlJXcHFhaytUVytIS2lJaUF0LzV6bmZ3OE1NUG83S3lFcHFtWWYvKy9jTHBkR1pLS1RNQmZLa29Tb0d1NjF1UEhqMTZ6dGYxMHUyTGlvcGFhVEFZUWdFMCtyb1dJbi9BRTFFaXVtM0hqeCtmTmRnMkxsMG1JbSt6Mld3QnVxNnZGVUxrQVZpSnZtdHY0K1Bqa1pPVGc2eXNMSVNIaC91MnlOc2toTUNpUll1d2FORWlQUHZzc3lncEtVRmhZU0hxNnVydUFyRFpZREQ4UkZHVWZRRHloUkE3bWZLT1BWRlJVZXY3djA1TlRUMEZRTHBmVDU4Ky9YOVBuano1KzE0dmpHaU1ZcU5MUkxkdDRjS0Y1d2JieGtTWGlMd2xMUzB0dnFlbkowL1g5ZlZDaUtsQWIzcTdjdVZLcUtxS2xKU1VNWkhlRGxWNGVEZ2VldWdoUFBqZ2c2aXFxb0ttYWRpM2I1OXdPcDJyQUt6U2RmMmkxV290TUpsTVc4dkt5dXA4WFMvZFhIQndjR3h3Y1BDQy9tT1ZsWlh6QVh6Vjl6SUlRT2NYWDN6eFFyLzN6UEJpaVVSakRrOUVpZWkyTWRFbElsK3hXQ3lCUVVGQjM5WjFQYy9sY3Exd043SUpDUW5JeWNsQlptYm1tRTF2aDBvSWdkVFVWS1NtcHVLWlo1N0JuajE3VUZoWWlETm56a3dGOElMTDVYckJhclh1QjVEdmREby9xSzZ1ZHZxNlpycStpUk1uUG5QcDBxV0M2ZE9uLytwNjI0T0NndTZhTjI5ZTJiWGpWVlZWTVFDNlJyeEFvakdJalM0UkRWbDRlUGpxMmJObnZ3dkFBQUNwcWFsTk45ajlxbjM0Q0FRaUdnNktvc3hCNzQybDFrc3BKd3NoWURhYnNXclZLcWlxaW9VTEYvcFZlanRVNGVIaGVQREJCL0hBQXcvZytQSGowRFFOZS9mdVJWZFgxd29BSzh4bTg5YzJtMjJibEhLcncrRVkwdlBPeWF1NnZ2cnFxNjM5RzkzK1M1ZHJhbXJTTGwyNjlIK2RUdWNYRFEwTmJ3S1lrSnljWEFzMnVVU0RZcU5MUkVQVzB0S3l1MS9EYW95TWpGd3phZEtrZjdwdzRjSXpUcWZ6QkFERXhNVDh3bUF3aERjMk5oYTN0YlY5Qk40eGtvanVrTVZpQ1RTYnpmY0QyQWhnbVh0ODd0eTV5TW5KUVVaR0JzTEN3bnhYNENnaWhFQnljaktTazVQeG94LzlDS1dscFNnc0xNVHAwNmVuU0NtZkIvQzhvaWdIQWVSM2RYVVZNK1VkSGVycjZ6ZGZPM2JOMG1XMHRiWDlUMlJrNUFNTkRRMXZob1dGcFYrNWN1Vy92Rm9rMFJqRFJwZUlia2xJU0lndE9qcjZnYWlvcU8vcXVuNmxvYUhoRGFmVDZYbWU0K1hMbDR1am82TWZtRFZyMWxhajBSalcxTlNrWGI1OGVYdHJhK3VmZlZrM0VZMDlxYW1wODR4RzQ1TUFIZ2N3R1FDQ2dvS1FrWkVCVlZXeFlNR0NjWm5lRGxWWVdCaHljM094YnQwNlZGZFhlMUxlenM3T1pRQ1dtYzNtQmtWUjN0RjFmY3ZSbzBkUCs3cmVjYTRITnprdmIycHFPaGdiRy92dkFFSW1UNTc4dmNiR3h2ZThVeHJSMk1UZkRqU0FvaWdTQUJ3T0IrY0hEVEI3OXV3L3VseXV6c2JHeG5ldVhMbnlFZnJkRWZKYVlXRmgzNHFLaW5yVTZYUisrZFZYWC8ydi90czR6OGpiT09mR2hqbHo1cGpEd3NLeWhSQWJBZHpySHA4L2Z6NVVWVVZtWmlaQ1EwTjlXT0hZZHVYS0ZaU1dsa0xUTkp3NmRhci9wZytsbFBtdHJhMUZ0YlcxWEE3ckd5WkZVYm9kRG9kUUZFVzZYSzRXOVAyT2RUcWRGMDZlUEprU0d4djdHNFBCRUI0YUdtbzdjZUpFTWdEZHR5VVRqVjVNZElub2xwdzllL2Fob2U3YjJ0cjZsOWJXMXIrTVpEMUU1QjhXTDE0ODMrVnk1UWtoSGdjd0VRQ0NnNE05NlcxU1VoTFQyMkV3WWNJRXJGdTNEams1T1RoeDRvUW41ZTNvNkxoWENIRnZlSGo0SmF2VitvN1JhTnhTWGw1KzZ1WkhwSkZ5N2RKbEFHaHZiLzlrNXN5WnYvdjY2Ni8vRFd4eWlXNklqUzRSRVJINVJIcDZlbEJyYTZzcXBkeW82L285N2tZMktTa0pxcW9pSXlNRElTRWhQcTdTUHdraFlMRllZTEZZUE5meWFwcUdtcHFhaVVLSVozUmRmMFpSbEkrRUVQbGhZV0hhNGNPSE8zMWQ4emdXR2gwZHZYclNwRW4vcE91NlBIMzY5RDlNblRyMXg0bUppZjl6OGVMRlgxKytmSmxMbUltdWc0MHVFUkVSZVpXaUtFa0E4cHFibTc4bmhJZ0dnSkNRRUdSbVppSTdPeHRKU1VrK3JuQjhDUTBOUlU1T0RuSnljbkR5NUVsb21vYlMwbEswdDdmZkk2VzhwN201dVZGUmxOOEMyT0p3T0U3NnVqQWhXYnNBQUNBQVNVUkJWRjQvcGpjM04rOEdnS2FtcGtJQW5RQmdOcHRuaElhR3BuLzIyV2N2ZEhSMGZBSUFyYTJ0Znc0TkRWMW1OQnFEZkZndjBhakdOVUEwQUs5akkyL2dQQ052NDV6enJTVkxsZ1IzZFhYbG9QZk95WGU3eHhjc1dJQ2NuQnlzWExuU0w5UGJBd2NPNFBubm4wZHhjVEZpWTJPdjJ0YmEyb3FzckN5OC9QTExBRERvZmdCUVhGeU13c0pDMU5iV3dtZzBJaVVsQlU4Ly9UVG16cDA3SW5XM3Q3ZGo3OTY5MERRTkowNmM2TC9wendEeXpXWno0Y2NmZjl3eEloOU9SRFFNbU9nU0VSSFJpRWxOVGJVWWpjYThycTZ1eHdCRUFiM3BiVlpXRmxSVnhmejU4MzFjb2UvODUzLytKeUlpSXJCMDZWSWNPblRvaHZzZU9YSUVEejMwRUJJVEU5SFEwSURYWDM4ZFAvakJEMUJTVWdLVGFmaFA1MEpDUXBDZG5ZM3M3R3pVMU5TZ3FLZ0lKU1VsYUc5dnZ4dkEzVjFkWFc4b2l2STdLV1YrUlVYRmlac2VrSWpJeTlqb0VoRVIwYkJhc21SSmNHZG5aeTZBalVLSWI3bkhMUllMY25KeXNHTEZDcjlNYjIrRnJ1djRqLy80RHp6NDRJTXdHQXczM2YrWHYveWxaNytFaEFRODhzZ2plUG5sbDlIWTJJZ3BVNmFNYUsySmlZbDQ0WVVYc0duVEp1emJ0dythcHFHNnVqb0t3Q1loeENhcjFmb1hBUGxCUVVFN21QSVMwV2pCNVZzMEFKZjNrVGR3bnBHM2NjNk52TVdMRnkrVVVtNlVVajRLSUJMb3ZmNXo5ZXJWeU03T3hyeDU4M3hXMjk2OWUvSGVlKy9oOU9uVDBIVWRjK2ZPeFdPUFBZYmx5NWQ3OW5Fdk15NG9LTUM3Nzc2TEkwZU9JQ0FnQUZsWldYanFxYWNRRUJBd2JQVWNPblFJUC8zcFQ3Rm56eDZFaFlYZDBudDFYY2RUVHoyRlM1Y3U0ZDEzM3gyMm1tN0ZxVk9uUENsdlcxdWJlN2hKQ0xGZENKRmZYbDUrM0NlRkVSSDFZYUpMUkVSRWQwUlJsR3dBbXE3LzdXa255Y25KeU1uSndmTGx5eEVjSE95NzRnQnMyN1lOYjczMUZqWnMySUFYWG5nQlVrcVVscGJpK2VlZngwc3Z2WVQ3NzcvL3F2MS84WXRmNE5GSEg4WC96OTY5eDBWWjV2L2pmMTB6S0hoQ01Gc3pUUEY4UUVYdWtUYmRkU1d6MUNTVE1hdmQ3V0NsMW1mNzdhTlA2OWJXbXZXcFg0ZXRyVXl6clNXeld0dmNYWERVUkVERW9wT3Vpd1BLUVRGQmxEQWpOMENJMHd4elg5OC9uSmtHQmVRd00vZk04SG8rSGp4azd2dTZaOTVENzJCZTkzWE5QZi96UC84RHM5bU1sMTkrR1VJSS9QNzN2M2VPbVRGalJwdVB0My8vL2t2V3RHWExGc1RIeDNjNjVOYlYxV0gxNnRYNDVwdHY4TVliYjNUcVdIY2FQMzQ4SG52c01UejAwRVBZczJjUFRDWVQ4dlB6dzZTVXY1VlMvbFpSRkFBdzV1VGtiTk9zU0NMcTBSaDBpWWlJcUxzMnU5NTQ5dGxuc1dEQkFxMXFhYUdtcGdhSmlZbTQ1NTU3Y1AvOTl6dTNPOTdyK3VhYmIxNFVkSC81eTEvaXBwdHVBZ0NNSERrU3AwNmR3clp0Mi9Ed3d3OURyOWNET0I5VXUrcllzV1BJemMzRkUwODgwYW5qTEJZTFZxNWNpZURnWUx6MzNudm8zNzkvbDJ0d2x6NTkrbURSb2tWWXRHZ1JVbE5Uc1diTkd0ZmRteFZGNmRmS1liS1Y3eS84VjdOOVVrcm5OaUZFaDhlN2pHMzNjUnpqWEI2bnplTmM3N09WOFJjZDE5WHhycy9aWGJXNzd1dnN6NmlWOFcwZTU0Yi9YbFZXcS9WLzh2UHpxMEFCaFVHWGlJaUl1dXRPQUZ0aGYwdlVFMDg4Z1gvODR4L085K05xT2FOYldGZ0lpOFdDT1hQbVhMUnZ4b3daU0U5UHg5bXpaM0g1NVpjN3Q4ZkV4TFFZRnhVVmhROC8vQkJuejU3RkZWZGNBUUNJakl6c2NrMGZmdmdoWnM2Y2lSRWpSblRxdUlNSEQ2S29xQWliTjIvMmlaQUxBQTBORGM3MzdSWVV0Rml0TEhHK0wweXRIQ2JhK040bk9EN1AyVlBqVzJaSzk0MzF4ZkVPbnZ5WnV1TytlL1hxOVFHQWxFN2RFZms4QmwwaUlpTHFGdnZ5Vk4zMDZkTW4yMnkyRlVLSXV3b0tDc0lLQ2dydzhzc3Y0OFliYjBSQ1FvSW1WMWgyTEtkdTc4V3dZNWJXNGNLTFF6VTJOZ0lBZ29PRG5kdGlZMlBidkwvczdPdzI5MVZXVmlJakl3TnIxNjV0dStnMkRCNDhHQk1uVHNSbGwxM1c2V1BkN2RpeFl6Q1pURWhMUzJ2eEhsMHA1ZC8wZXYzYkx1L1JGVzM4aTZWTGx3b0FPSHYyckFDQTJ0cGE1NzdHeGtZQkFFMU5UUUlBaGcwYjV0em4yR2F4V0FRQVdLMVc1ejZielNZQUlDd3NUQUJBYzNPemM1L2plOGNZeDc4QTBMOS8vNHUyT2I1WFZmV2lmWDM2OUdteHovRnZhOXVrbE01OXdjSEJiUjduR09mWTVoamIybjIxZGx5dlhyMHUybmJodjY3SE9zYTc3bXZ2dUtDZ29EYjNYYmpOTWRZZDQxMlBnNzEvOUhyOUplOFRMcjEyNFhpWE1TbGdIZ3BZL0E5TFJFUkVibUVQTncvTm1ESGpzY2JHeGx1RUVDdnI2dXArbnBTVWhLU2tKRVJGUmNGb05IcjFNM01uVEpnQXZWNlBUei85OUtLTFlSMDRjQUREaHcvSG9FR0RXbXcvZnZ3NGhnOGY3cnk5Yjk4K1JFUkVJRHc4M0xrdEtTbXBTL1VrSnlkajJMQmh1T2FhYXpwOTdMaHg0L0RCQng5MDZYSGRvYjYrM3ZXcXk2Njd2cEJTSm9hRWhDUzNjOVhsaTVhU2R1Wm5XRnhjM09sNmlTNUZVWlRkQUJacVhRZDVCb011RVJFUnVaVTk3R3dHc0RrbUptYVNFR0lGZ0xzTEN3dkRDd3NMOGNvcnJ6aG5lU2RNbU9EUldpNjc3RExjZWVlZGVQdnR0d0VBczJmUGhwUVNHUmtaMkwxN04xNTU1WldMamxtL2ZqMTBPaDJHRHgrT1BYdjJZTy9ldlhqcXFhZGFqT25LMG1XcjFZcms1R1E4OE1BRFhYb3VaV1ZsZVA3NTU3RisvWHIwN3QyN1MvZlJGVVZGUmM3WjIvcjZlc2ZtS2dEdlN5bmY1dWZvRXBFdll0QWxJaUlpajdHSG9JZmo0dUllcjZtcFdRSmdaWDE5L1MrU2s1T1JuSnlNaVJNbllzbVNKWmczYjU3SFpubC8rOXZmSWlJaUF2LzYxNyt3YWRNbUJBVUZZZkxreVhqenpUZGhNQmd1R3YvUVF3L2gzWGZmeFZkZmZZVWhRNFpnOWVyVldMUm9VYmZyeU1qSWdOVnF4Y0tGWFp0QXFxdXJ3NGtUSjJDMVdqMGVkT3ZyNjVHZW5nNlR5WVNqUjQrNjd2b01RR0pvYU9qV3JLeXNSbzhXUVVUVURReTZSRVJFNUhIMlVQUjNBSDgzR0F3VEFLeFFWWFhaMGFOSEJ6Mzc3TE40OWRWWE1YLytmQmlOUmt5Y09OSHRqMjgwR21FMEdqczBkdXpZc2ZqYjMvN205aHEyYk5rQ285SFk0cjIrblRGeDRrUmtaR1M0dWFxV2podzVBcFBKaFBUMGREUTBPRmNoZnkrRWVCL0EyMmF6dWNpakJSQVJ1UW1ETGhFUkVYbVZQU3l0aW91TFczM3UzTGtFbkovbGpUT1pURENaVEpnd1lRS01SaVBtejUrUGZ2MWErM1FhLzFOYlc0dFpzMlpoeVpJbFdwZHlrYnE2T3FTbHBjRmtNdUhZc1dQTzdWTEtMQUNKQXdjTzNNYlpXeUx5Tnd5NlJFUkVwQWw3ZU5vQ1lNdjA2ZFBIcTZxNkhNQ3lvcUtpd2M4Ly96eldybDJMZWZQbXdXZzBZdEtrU1ozK0dCRmZNbURBZ0JhZjQ2czFLV1dMMlZ2SGxhVUIvQmZBZXpxZGJ1UEJnd2VQdFhNWFJFUStqVUdYaUlpSU5HY1BWWStNR1RQbWlkRFEwTVVBVmpZME5Nelp2bjA3dG0vZmp2SGp4enRuZVgzbE0yVDkwUTgvL09DY3ZmM3FxNjljZDMwTUlMR21wbVo3Y1hGeGswYmxFUkc1RFlNdUVSRVIrUXg3eVBvbmdIOU9telp0ckU2bld3N2dubVBIamwzK3dnc3Z0SmpsallxS2N1c3M3OXk1YzJFMm05MTJmNzVDU29tQ2dnS1lUQ1prWkdTNHp0NmVCZkN1cXFvYkR4MDZkRnpERW9tSTNJNUJsNGlJaUh5U1BYejlJU29xYWsxSVNNak5Vc3FWalkyTmMzZnMySUVkTzNaZzdOaXhNQnFOV0xCZ0FRWU1HS0IxdVQ2bnRyYldPWHQ3L0hpTEhKc3BoRWhzYkd6Y1VWaFlhTkdxUGlJaVQyTFFKU0lpSXA5bUQyTkpBSklNQnNOb0FDdWtsUGNjUDM3OEp5KysrQ0plZSswMTNIREREVEFhalpneVpZcGZ2NWUzdTZTVXlNL1BkODdlTmpVNVZ5Ri9KNlhjcE5QcE5wck41aEl0YXlRaThnWUdYU0lpSXZJYjlwRDJXRlJVMUpPOWUvZGVKSVJZMGRUVWRNUE9uVHV4YytkT2pCNDlHa2FqRVRmZWVDTkNRME8xTHRkcmFtcHFrSnFhQ3BQSmhKS1NGamsyUTBxWmFMRllkbkwybG9oNkVnWmRJaUlpOGp2MjBKWU1JRGsyTm5aVWMzUHpjZ0QzbHBTVURQbnpuLytNZGV2V09XZDVwMDZkR3BDenZGSks1T1hsT1dkdkxSWm5qdjBXd0NhOVh2OU9kbmIyQ1ExTEpDTFNESU11RVJFUitUVjdtUHVqd1dCNFNrcDVFNEFWRm90bFhrcEtpa2hKU2NHb1VhTmdOQnF4Y09IQ2dKamxyYW1wd2E1ZHUyQXltWERpaERQSFNnQzdBU1FLSVZMTVpyTlZ1d3FKaUxUSG9FdEVSRVFCd1I3dVRBQk0wNlpOaTdSZnNmbmVFeWRPREgzNTVaZXhmdjE2ekowN0YwYWpFZE9tVGZPcldWNHBKUTRkT2dTVHlZVE16RXpYMmRzelFvaDNiRGJiTzRjT0hUcXBZWWxFUkQ2RlFaZUlpSWdDamozMFBXRXdHSjRHc0ZCVjFSVVdpMlZCYW1xcVNFMU5SV1JrSkl4R0krTGo0ekZ3NEVDTnEyM2J1WFBua0pLU0FwUEpoSk1uVHpvMlN5bGxtcFF5TVN3c2JGZFdWbGF6aGlVU0Vma2tCbDBpSXZKTHZYdjNubUN4V0VvQWNJa210Y2sreTdzZHdQYVltSmdSQU80VFF0eDM4dVRKSzE5OTlWVzgvdnJydU82NjYyQTBHcUVvaWsvTThrb3BrWk9UQTVQSmhMMTc5OEpxZGJiNGFTbmxPd0EyNWVibW50S3dSQ0lpbjhlZ1MwUkVmbW55NU1sSEN3c0x4elkxTlJWclhRdjVCM3M0ZkRJdUx1NlpjK2ZPM1NpRVdHbTFXaGVrcDZmcjB0UFRNV0xFQ09jc2IxaFltTmZycTY2dWRzN2VuanJsekxFcWdGUUFpYUdob1dtY3ZTVWk2aGdHWFNJaThtblIwZEhWYmUyYk1HRkNEczRIZ1JZYUdocnl2L3JxcTFrZUxZejhsajBzZmdUZ0k0UEJNRnhLZWE4UTRyNVRwMDROVzd0MkxUWnMySUE1YytiQWFEVENZREI0ZEpaWFNnbXoyUXlUeVlTUFAvN1lPWHNyaENpWFVtN1U2L1dic3JPenYvWllBVVJFQVlwQmw0aUlmTnJodzRkYm5WcFRGRVVXRlJVcG5OR2w3akNieldVQS9pOHVMdTdabXBxYStRQldXcTNXaGJ0Mzc5YnQzcjBidzRjUFIwSkNBdUxqNHpGbzBDQzNQVzVsWlNWU1VsS3diZHMybEpXVk9UYXJBRktFRUltalJvMUtUMHBLc3JudEFZbUllaGdHWFNJaThua2hJU0dSa3laTktyVmFyUldPYlZhcnRXTGN1SEZmT0c0TElmUkJRVUdEYzNKeXRIK1RKZmtkK3l4dkNvQ1VxVk9uRHV2VnE5ZTlVc3JsWldWbFY2MWJ0dzV2dlBFR3JyMzJXaGlOUmt5ZlBoMDZuYTdUajZHcUtnNGVQQWlUeVlSUFB2a0V6YzNPVmNobFFvaU5WcXYxM2J5OHZISUFNSnZOYm50dVJFUTlFWU11RVJINWpmejgvQ3ZhMnVjSXc5NnNod0tUUFd3K3MzVHAwdWRLUzB2blNTbFhOamMzeCsvWnMwZS9aODhlREJzMkRBa0pDVmkwYUZHSFpua3JLeXZ4MFVjZllkdTJiU2d2TDNkc3RnSFlLYVZNSERObVRBWm5iNG1JM0l0Qmw0aUkvRVpVVkZTYnk1U0ZFUHliUm01bEQ1K3BBRktqbzZNamREcmRQVUtJRmVYbDVjTmZmLzExdlBubW00aUxpNFBSYUVSc2JHeUxXVjVWVlpHZG5lMmN2YlhabkRuMmxKUnlJODVmT2ZrYkFNak56ZlgyVXlNaUNuaDhVVUJFUkg2anZURExvRXVlZFBqdzRkTUFubDI2ZE9rTEpTVWwxd05ZMmR6Y3ZDZ3pNMU9mbVptSmlJZ0lKQ1FrWU9iTW1kaTNieCsyYmR1RzA2ZFBPdzYzNGZ6RnJ4SkhqeDY5aDdPM1JFU2V4eGNGUkVUa053b0tDaUxiMnNlbHkrUU45cENhRGlEZFlEQU1sVkxlQTJERjZkT25JemRzMklBTkd6YTREajhKNEcwaHhMdG1zL2tNQU9UazVIaTlaaUtpbm9oQmw0aUkvTWJreVpOUHRyV1BNN3JrYmZidytqeUFQeGtNaHJsU3lwVUFGZ0JJRTBJa21zM21UTFR5OFZkRVJPUjVmRkZBUkVSK2d6TzY1S05VczltY0FTQkRVUlFKWUluWmJMNUY2NktJaUhveUJsMGlJdkpab2FHaEMwZU9IUGwzQURvQWlJNk9ybTVuZUlzeGJYMytMaEVSRVFVK0JsMGlJdkpaTlRVMXUxd0NxejRzTEN4KzhPREJENVNWbGEyeVdDeEhBQ0FpSXVJNW5VNFhXbGxadWIydXJ1NVRBTTF0M3lOUngvVHUzWHVDeFdJcEFXRFZ1aFlpSXVxOHpuL2FPUkVSa1JmMTdkdlhNR3pZc0JlblRKbHlLaUlpNHNXYW1wcWRGb3ZsbEdOL1ZWWFZkaWxsWTJSazVNYXBVNmQrTzN6NDhNUUJBd2JNMHJKbThuK1RKMDgrR2h3Y1BFTHJPb2lJcUdzNG8wdEVSRDV0eUpBaGo5aHN0c2JTMHRJN2Z2amhoMDhCU05mOTlmWDEyZlgxOWRubDVlV1BEQmd3NEdmaDRlRjM5dXZYYjA1dGJlM25HcFZNZnFTOTVmQVRKa3pJUVNzWGsycG9hTWovNnF1dmVES0ZpTWlITWVnU0VaRlBLeTB0dmIyalkydHJhNytzcmEzOTBwUDFVR0JwNjczY2lxTElvcUlpcGFtcHFkamJOUkVSVWZjeDZCSVJFVkdQNXJoaXQ5VnFyWEJzczFxdEZlUEdqZnZDY1ZzSW9ROEtDaHFjazVNanRLbVNpSWc2ZzBHWGlJaUlDRUIrZnY0VmJlM2p4MWNSRWZrWEJsMGlJaUlpQUZGUlVXMHVVeFpDOERVVEVaRWY0Uzl0SWlJaUlyUWZaaGwwaVlqOEMzOXBFeEVSRVFFb0tDaUliR3NmbHk0VEVma1hCbDBpSWlJaUFKTW5UejdaMWo3TzZCSVIrUmYrMGlZaUlpSUNaM1NKaUFJSmd5NFJFUkgxU0tHaG9RdEhqaHo1ZHdBNkFJaU9qcTV1WjNpTE1XMTkvaTRSRWZrR0JsMGlJaUxxa1dwcWFuYTVCRlo5V0ZoWS9PREJneDhvS3l0YlpiRllqZ0JBUkVURWN6cWRMclN5c25KN1hWM2Rwd0NhSGNlUEdUTW1PRHc4UE56MVBtMDJHd0FnTmphMnhVY1ZWVlZWVlJVWEZ6ZDU5QWtSRVpFVGd5NFJFUkgxV0gzNzlqVU1HalRvMXZEdzhGK3JxdnJEMmJObjExc3NsbE9PL1ZWVlZkc0hEUnAwYTJSazVFYTlYaitndXJyYVZGVlZ0Ym0ydHZiejhQRHdjSnZOOWcwQWNlSDkybXkyTXk0MzFmRHc4QWdBMzNyaEtSRVJFZXpMY0lpSWlJaDZvaUZEaGp5aTArbUdsSmFXM2xGWVdEanh1KysrK3d1QU9zZisrdnI2N1BMeThrY0tDd3RIbHBhVzNneEE3ZGV2M3h3QXlNN08vaGJBWngxNG1NL3RZNG1JeUVzNG8wdEVSRVE5Vm1scDZlMGRIVnRiVy90bGJXM3RsNjdicEpSYmhSQ3pMM0ZvY3BlS0l5S2lMdU9NTGhFUkVWRVhxYXBxdXRRWW04MjJ6UnUxRUJIUmp4aDBpWWlJaUxybzhPSERwd0g4dTUwaCsrMWppSWpJaXhoMGlZaUlpTHBCQ0xHMUsvdUlpTWh6R0hTSmlJaUl1c0ZxdGJZWlpxMVc2eVdYTmhNUmtmc3g2QklSRVJGMVExNWVYaW1BM0ZaMjVkajNFUkdSbHpIb0VoRVJFWFZmYTdPNlhMWk1SS1FSQmwwaUlpS2libXJ0dmJnNm5ZNUJsNGhJSXd5NlJFUkVSTjFrTnB1TEFCeHgzQlpDRkI0OGVQQ1loaVVSRWZWb0RMcEVSRVJFYmlDbGRNN2dxcXJLMlZ3aUlnMHg2QklSRVJHNWh6UGM4bU9GaUlpMHhhQkxSRVJFNUFhNXVibDVBRW9BRk9mazVPUnJYUThSVVU4V3BIVUJSRVJFUkFGQ0F0Z3FoSkQyNzRtSVNDTU11a1JFUkVSdW90UHB0alkzTnpQa0VoRnBqRXVYaVlpSWlMcEhweWpLdkppWW1HOVZWVDJnMCtreUZVV1pCNzdPSWlMU0RHZDBpWWlJaUxvZ0ppYm1TaUhFUFFDV0E0Z1VRamgyaFFKSVZ4VGxKSUNOUW9oTlpyUDVqRVpsRWhIMVNBeTZSRVJFUkIyMGRPbFNmWEZ4OFExQ2lKVUFiZ0tnQjRDSWlBZ1lqVWJNbkRrVCsvYnRnOGxrd3VuVHB5TUJQQ3VsZkZwUmxKMVN5c1F4WThaa0pDVWwyYlI4RGtSRVBRR0RMaEVSRWRFbFJFZEhSd1FGQmQxYlVsS3lYQWd4SEFDQ2dvSVFGeGNIbzlHSTJOaFk2SFRuVnlxUEd6Y09kOTExRjdLenMyRXltZkRKSjUvb2JUYmJZaUhFNHBLU2tqS0R3YkN4dWJsNTArSERoMDlyK3FTSWlBSVlneTRSRVJGUks1WXVYYW8vY2VMRWZDbmxTZ0R4VWtvZEFGeDExVlZJU0VqQVRUZmRoRUdEQnJWNnJFNm53MDkvK2xQODlLYy9SV1ZsSlhidTNBbVR5WVR5OHZMaFVzcG45SHI5VXdhRElVVUlrVGh5NU1qZG5PVWxJbkl2QmwwaUlpSWlGN0d4c1ZmWmJMWjdTMHBLN2dOd0ZYQis5bmJPbkRrd0dvMHdHQXpPMmR1T0dEUm9FTzYrKzI3Y2VlZWRNSnZOTUpsTStQampqL1hOemMwM1N5bHZMaWtwK2RwZ01HeTBXcTJiOHZMeXlqMzF2SWlJZWhJR1hTSWlJdXJ4NHVMaWdtcHFhaFlBV0dtejJXNkUvWXJKdzRjUGg5Rm9SSHg4UE1MRHc3djFHRHFkRHJHeHNZaU5qVVZWVlJWU1VsSmdNcGxRVmxaMmxaVHk2YUNnb0tjVVJka0ZJREUwTkRROUt5dXJ1ZnZQaklpb1oyTFFKU0lpb2g3TFlEQU1WMVgxdnBxYW12c0FSQUJBcjE2OWNOMTExOEZvTkVKUkZMaGNUZGx0d3NQRGNlZWRkK0tPTys1QVRrNE9UQ1lUOXU3ZHE3TmFyVGNCdUttMnRyWmNVWlIzN0Zkc0xuTjdBVVJFQVk1Qmw0aUlpSHFVdUxpNG9PcnE2b1ZDaUpWU3lnWENubVJIakJqaG5MME5Dd3Z6U2kxQ0NCZ01CaGdNQmp6eXlDUE9XZDVUcDA0TkEvQ1VsSEtOb2locFVzckVnUU1IcG5LV2w0aW9ZeGgwaVlpSXFFZUlpWWtab2RQcGx0ZlUxTnlyMCttdUJJRGV2WHM3WjI5alltSThNbnZiVVdGaFliampqanZ3NjEvL0dybTV1YzVaWG92RnNsQUlzYkNtcHVhYm1KaVlkd0M4azV1YmUwcXpRcjJzYjkrKzAwTkNRcVpXVmxadTByb1dJdklmRExwRVJFUVVzQXdHUXk4cFpUeUFGUURtU3lrRkFJd2NPUkpHb3hFTEZ5N0V3SUVEdFMzeUFrSUlLSW9DUlZId3lDT1BZTmV1WGRpNmRTdE9uang1cFJCaURZQW5GRVZKRjBJa0F0aGxOcHV0V3Rmc1NhR2hvWE1BeUtsVHAvNzN3bjBWRlJYUFhuSEZGZi9udXUzdzRjUGVtWTRuSXAvR29FdEVSRVFCWityVXFTT0Rnb0tXU3ludkJYQUZjSDcyOXZycnI0ZlJhRVIwZExTbXM3Y2ROWERnUVB6cVY3L0NMMy81U3h3K2ZCZ21rd2w3OXV3UkZvdGxnWlJ5QVlBemlxSnNVbFYxNDZGRGgwNXFYYThuOU8zYjkrZmZmLy85aHFDZ29NdU9IajA2cktHaG9RS0FYbEdVeG9xS2l0Y3FLaXBlc3c4TlVSU2xRY3RhaWNoM01PZ1NFUkZSUURBWURMMVVWVjBraEZnQjRBWUFBZ0JHalJxRkpVdVc0TVliYjBSb2FLaTJSWGFSRUFMVHBrM0R0R25UOFB2Zi94NnBxYW5ZdW5VclRwdzRNUlRBYXAxTzkwZEZVVElBSkFvaGRnYlFMRzl3YUdqb25CTW5UaXdEZ0lhR0Joc0F2aytaaUM2SlFaZUlpSWo4V214czdLam01dVlWcXFyZUk0UVlBcHlmdmIzaGhodGdOQm94ZGVwVXY1aTk3YWpRMEZEY2Z2dnR1TzIyMjVDWGx3ZVR5WVNNakF4aHNWam1BWmlucW1wRlRFek1wcUNnb0kzWjJka250SzYzTzhMRHcyL1E2WFQ5QUZScVhRc1IrUmNHWFNJaUl2STdVVkZSdlVOQ1FtNVdWWFdGeldhNzNoRmtSNDhlalNWTGxtREJnZ1YrTzN2YlVVSUlSRWRISXpvNkdxdFdyVUphV2hxMmJ0MktrcEtTSVFBZXQ5bHNqOGZFeE93QmtHaXhXRDRxTEN5MGFGMXpaNFdIaDkvamVqczZPdm9ZQU9tNGZlV1ZWNzV3K2VXWC80L1hDeU1pbjhlZ1MwUkVSSDVEVVpReE9IOWhxWHVrbEpjTElSQWNISXg1OCtiQmFEUmk4dVRKQVRWNzIxR2hvYUc0N2JiYmNPdXR0Nktnb0FBbWt3bTdkKzlHVTFQVDlRQ3VEdzRPL3M1Z01Md3JwZHlZazVOVHJIVzlIZEduVDUrcit2VHBNOGwxMitIRGg4Y0QrTlorTXdSQTR6ZmZmUE80eXpIRHZGZ2lFZmt3QmwwaUlpTHlhVkZSVWIyRGc0TVhBMWdKNERySDlyRmp4MkxKa2lXWVAzOCtCZ3dZb0YyQlBrUUlnU2xUcG1ES2xDbjQzZTkraC9UMGRHemR1aFhIangvL2laVHlEd0Qrb0NqS1hnQ0pUVTFOMjMxNWx2ZXl5eTViOWYzMzMyKzY4c29yWDJ4dGYwaEl5TkJ4NDhabFg3ZzlMeTh2QWtDVHh3c2tJcC9Hb0V0RVJFUStLVG82ZXB4ZXIxOE9ZQm1BeXdFZ0pDUUU4K2ZQaDlGb3hLUkprM3JrN0cxSERSZ3dBRXVYTHNVdHQ5eUN3c0pDNXl4dlkyUGpkUUN1Q3c0T1Bxc295bnVxcXI1OTZOQ2g0MXJYMjRxbWI3LzlkcU5yMEhWZHVseFVWQlQ3L2ZmZi85VmlzWHh6OXV6Wk53RDBuekpsU2pFWWNva0lETHBFUkVUa1E4YU1HUk04WU1DQUJDSEVTZ0RYT3JhUEh6OGVScU1SQ3hZc1FMOSsvVFNzMFA4SUlUQjU4bVJNbmp6Wk9jdHJNcGx3N05peHl3RThvdFBwSGxFVTVSTXBaV0p0YmUyMjR1Smlud2lLNWVYbHF5L2Nkc0hTWmRUVjFmMG5MQ3pzMXJObno3NHhZTUNBdUI5KytPRXpyeFpKUkQ2TFFaZUlpSWcwTjMzNjlQRTJtMjJGRUdJWmdNc0FvRStmUHM3WjI0a1RKM0wyMWczNjkrK1BXMjY1QlV1V0xNR1JJMGVjczd3TkRRM1hDaUd1RFEwTi9UNG1KdVk5dlY3LzlzR0RCNDlwWEc0ekx2RmF0YnE2ZXU5VlYxMzFGd0I5TDcvODhyc3JLeXUzZUtjMEl2SjFETHBFUkVTa2liaTR1SkRhMmxxamxIS2xxcXF6SFVGMjRzU0pNQnFObUQ5L1B2cjI3YXR4bFlGSkNJR29xQ2hFUlVXMW1PVXRLaXE2VEFpeFNsWFZWWXFpZkNxRVNCd3dZSUFwS3l1clVldWFnWlpMbHkwV1M5blJvMGVuVmxkWGJ4c3hZc1JiSVNFaGs2cXJxN2RyWENJUitRZ0dYU0lpSXZJcVJWRW1BbGh4N3R5NXU0VVFnd0NnYjkrK1dMQmdBUklTRWpCeDRrU05LK3haK3ZYcmh5VkxsbURKa2lVNGV2UW9UQ1lUMHRQVFVWOWZQMXRLT2Z2Y3VYT1ZpcUs4RCtEdG5KeWNvMXJXZXVIU1pRQ29yNjgvTUdMRWlMOTk5OTEzNndDbzJsUkdSTDZHUVplSWlJZzhic2FNR1gyYW1wcVc0UHlWazJjQjUyY1ZKMDJhaENWTGx1Q0dHMjd3dWRuYnpNeE0vT0VQZjhEMjdkdHgxVlZYdWVVK1UxSlM4TjU3NytIMDZkTVlPblFvN3IzM1hzVEh4N2M1ZnZ2MjdkaTZkU3VLaTR1aDErc3hkZXBVUFB6d3d4ZzdkcXhiNnJuUXhJa1RzWHIxYWp6ODhNUFl2WHMzVENZVGpodzVNZ2pBd3dBZVZoVGxjd0NKd2NIQlcvZnYzOS9na1NJNnB0K2dRWU1XRGg0OCtBRlZWZVh4NDhkL01XVElrRWNuVEpqd240cUtpclZWVlZWY3drelV3ekhvRWhFUmtjZEVSMGRINmZYNkZVMU5UWGNCQ0FmT3o5N2VlT09OTUJxTkdEOSt2TVlWZXMrZVBYdnc5Tk5QNDMvLzkzOXh6VFhYSURVMUZVODk5UlRDdzhQeHM1LzlyTlZqOXUzYmg5dHZ2eDBUSmt6QTJiTm44ZHBycitIQkJ4OUVhbW9xZ29JODl6S3ViOSsrU0VoSVFFSkNBb3FLaXJCdDJ6YWtwcWFpdnI1K0ZvQlpUVTFONnhWRitadVVNakUzTi9lSXh3b0IxSFBuenUwQ2dPcnE2cTBBR2dFZ09EaDRXTDkrL2VLKy92cnJ4eHNhR2c0QVFHMXQ3ZWY5K3ZXN1RxL1hoM2l3SGlMeUU3eXFBMTFFVVJRSkFEazVPZXdQOGhqMkdYa2JlODU3WnN5WTBhZXhzWEVwZ0pWQ0NHZUNpNHFLd3BJbFMzRDk5ZGY3M094dGE5dzlvMnMwR2pGNThtUTg4OHd6em0xMzNYVVgrdlhyaHpmZmZMUFZZMVJWaFU2bmM5NU9TVW5CVTA4OWhiUzBOUHprSnovcGRrMmRVVjlmajR5TURKaE1KaFFXRmpxM1N5bS9CSkFZRWhLU3BQRXNMMUduS0lxU0FtQWhnSnR5Y25KU3RLNkgzSXN6dWtSRVJPUVcwNmRQbnl5bFhOblUxSFNuRUNJTU9QLyt6NFVMRnlJaElRSGp4bzNUcEs2S2lnckV4OGZqd1FjZnhMSmx5NXpiUzB0TGNjc3R0MkQ5K3ZWdHpxaTZ5N2ZmZm90VHAwN2hONy81VFl2dE0yZk94UHZ2djM5Um9IVnczYWFxS2pJeU1qQmh3Z1N2aDF6Zy9DenY0c1dMc1hqeFlodzdkc3c1eTF0WFYvY3pBRDlyYW1wYVp6QVlOZ3NoRWc4ZVBGaGdQMHdzWGJwVWQvYnNXVkZiV3lzYUd4dEZVMU9UR0Rac21HaHFhaElXaTBVME5qYnF3c0xDUkhOenMyaHViaFkybTAzWWJEYlJ2MzkvWWJQWmhOVnExZGxzTnRHblR4K2hxbXFMTHltbENBNE9GczNOelRvcHBWQlZWUVFIQnp2M09mNE5DZ3JTU1NtZDIzcjE2aVVjdHgxZmVyMWU1M283TEFPQmN3QUFJQUJKUkVGVUtDaklkWDlaYm03dU4xNy9vUk5SbHpIb0VoRVJVYmNvaXBJQXdLU3FQMTRIYU1xVUtWaXlaQW5tenAyTFBuMzZhRmNjZ0NGRGh1Q2FhNjVCUmtaR2k2QzdhOWN1REJreUJETm16T2pVL2JVM2Z2LysvYTF1THlzckE0Q0xab1lqSWlKZ3NWaFFWVldGeXk2N3JNMzdyYXVydytyVnEvSE5OOS9nalRmZTZGUzluakIrL0hnODl0aGplT2loaDdCbnp4NllUQ2JrNStlSFNTbC9LNlg4cmFJb0FHQUVZQ29wS1hFZUZ4d2NqT0RnWU5UVTFMVFkxdER3NDBTd1RxZURUcWREVTlQNWovTVZRaUFvS0FoV3E5VTVSZ2dCdlY0UEFMRFpiQkJDUUFnQm5VNEhtODNXNHI0QVFFclo0ampYWG5VYzZ6cEdDSEhSbUtpb3FPREN3a0pMTjM5MFJPUWxETHBFUkVUVVhadGRieno3N0xOWXNHQ0JWclcwYXZIaXhYajAwVWR4NnRRcGpCZ3hBbEpLcEtlblk5R2lSYTNPcExabnk1Yk9YK2VvdnI0ZUFCQVMwdkx0bzQ3YmpsRFhHb3ZGZ3BVclZ5STRPQmp2dmZjZSt2ZnYzK25IOTVRK2ZmcGcwYUpGV0xSb0VWSlRVN0ZtelJyWDNZNitrTzE4cWUzdGwxS3FRb2dMdDBuWGJVSUlWWjVQcWE3YnBNczI5WUxiSFI1ai80b0ZnRjY5ZXZVRndLQkw1Q2NZZEltSWlLaTc3Z1N3RmZacmZ6enh4QlA0eHovKzRYdy9ydFl6dWdBd2UvWnNoSWVIWTgrZVBWaStmRGx5YzNOUlVWR0JtMisrdWRQM0ZSa1oyZWxqZXZYcUJRQXRaaVdCSHdOdWUrOVpQbmp3SUlxS2lyQjU4MmFmQ3JrQTBORFE0SHpmYmtGQmdlc3VDZURPbkp5Y2JScVY1amFLb2xRREdLaDFIVVRVT1F5NlJFUkUxQzMyTUtPYlBuMzZaSnZOdGtJSWNWZEJRVUZZUVVFQlhuNzVaZHg0NDQxSVNFalE5QXJMUVVGQldMaHdJVEl5TXJCOCtYS2twYVhoNnF1dnh0Q2hRenQ5WDdHeHNXM3V5ODdPYm5YN2tDRkRBQUJuenB6Qm1ERmpuTnZQbkRtREFRTUdJQ3dzck0zN0hEeDRNQ1pPbk5qdTBtWnZPM2JzR0V3bUU5TFMwbEJYVitmWVhDMmwvSnRlcjMvYjVUMjZSRVNhWU5BbElpSWl0N0NIbTRkbXpKanhXR05qNHkxQ2lKVjFkWFUvVDBwS1FsSlNFcUtpb21BMEdqWDd6TnlFaEFSODhNRUhPSHIwS0RJek03RjY5ZXAyeDgrZE94ZG1zL21pN1VsSlNaMSs3RkdqUmlFOFBCeGZmUEVGWnMyYTVkeit4UmRmWU9iTW1lMGVPMjdjT0h6d3dRZWRma3gzYSt1cXl3QytrRkltaG9TRUpQT3F5MFRrS3hoMGlZaUl5SzNzWVdjemdNMHhNVEdUaEJBckFOeGRXRmdZWGxoWWlGZGVlY1U1eXp0aHdnU3YxUlVaR1lubzZHaTgrT0tMME92MW1EMTdkcnZqVDUwNmhSZGVlQUhyMTY5SDc5NjlXOXhQWitsME90eDk5OTE0L2ZYWE1YYnNXTVRFeEdEWHJsMDRmdnc0bm56eXlYYVBMU3Nydy9QUFAzOVJIZDVTVkZUa25MMTF2TmNZUUJXQTk2V1ViM3Y0YzNTSmlMcUVRWmVJaUlnOHhoNkNIbzZMaTN1OHBxWm1DWUNWOWZYMXYwaE9Ua1p5Y2pJbVRweUlKVXVXWU42OGVWNlo1VjI4ZURHZWZ2cHAzSEhISGM3M3piYWx2cjRlSjA2Y2dOVnFkVXZBdk9PT08yQzFXdkhPTysrZ3Vyb2FZOGVPeFJ0dnZJSFJvMGUzZTF4ZFhaMWI2K2lJK3ZwNnBLZW53MlF5NGVqUm82NjdQZ09RR0JvYXVqVXJLNnZSSzhVUUVYV0IwTG9BOGoyS29rZ0F5TW5KWVgrUXg3RFB5TnZZYzc3RFlEQk1BTEJDVmRWbFFvaEJ3UG1MTWMyZlB4OUdveEVUSjA3MDJHTWZQSGdROTk5L1A1S1RrekZ5NUVpUFBZNi9PbkxrQ0V3bUU5TFQwMTAvOHVkN0ljVDdBTjQybTgxRkdwYW5DY2ZGcUZSVkRUOTA2RkMxMXZXUSt5aUtrZ0pnSVlDYmNuSnlVclN1aDl5TE03cEVSRVRrVmZhd3RDb3VMbTcxdVhQbkVuQitsamZPWkRMQlpESmh3b1FKTUJxTm1EOS9QdnIxNitmV3gwNU9Ua1pNVEF4RHJvdTZ1anFrcGFYQlpETGgyTEZqenUxU3lpd0FpUU1IRHR6RzJWc2k4amNNdWtSRVJLUUplM2phQW1ETDlPblR4NnVxdWh6QXNxS2lvc0hQUC84ODFxNWRpM256NXNGb05HTFNwRWtRb3V1VDhmbjUrU2dxS3NMZXZYdngxbHR2dWVzcCtDMHBaWXZaMjhaR1o0NzlMNEQzZERyZHhvTUhEeDVyNXk2SWlId2FneTRSRVJGcHpoNnFIaGt6WnN3VG9hR2hpd0dzYkdob21MTjkrM1pzMzc0ZDQ4ZVBkODd5ZHVXelpPKy8vMzcwNzk4ZlR6NzVKQXdHZzl2cjl4Yy8vUENEYy9iMnE2KytjdDMxTVlERW1wcWE3Y1hGeFUwYWxVZEU1RFlNdWtSRVJPUXo3Q0hybndEK09XM2F0TEU2blc0NWdIdU9IVHQyK1FzdnZOQmlsamNxS3FyRHM3ejc5dTN6Wk5rK1RVcUpnb0lDbUV3bVpHUmt1TTdlbmdYd3JxcXFHdzhkT25SY3d4S0ppTnlPUVplSWlJaDhrajE4L1NFcUttcE5TRWpJelZMS2xZMk5qWE4zN05pQkhUdDJZT3pZc1RBYWpWaXdZQUVHREJpZ2RiaytwN2EyMWpsN2UveDRpeHliS1lSSWJHeHMzRkZZV0dqUnFqNGlJazlpMENVaUlpS2ZaZzlqU1FDU0RBYkRhQUFycEpUM0hEOSsvQ2N2dnZnaVhudnROZHh3d3cwd0dvMllNbVZLdDk3TDYrK2tsTWpQejNmTzNqWTFPVmNoZnllbDNLVFQ2VGFhemVZU0xXc2tJdklHQmwwaUlpTHlHL2FROWxoVVZOU1R2WHYzWGlTRVdOSFUxSFREenAwN3NYUG5Ub3dlUFJwR294RTMzbmdqUWtORHRTN1hhMnBxYXBDYW1ncVR5WVNTa2hZNU5rTkttV2l4V0haeTlwYUllaElHWFNJaUl2STc5dENXRENBNU5qWjJWSE56ODNJQTk1YVVsQXo1ODUvL2pIWHIxamxuZWFkT25ScVFzN3hTU3VUbDVUbG5ieTBXWjQ3OUZzQW12VjcvVG5aMjlna05TeVFpMGd5RExoRVJFZmsxZTVqN284RmdlRXBLZVJPQUZSYUxaVjVLU29wSVNVbkJxRkdqWURRYXNYRGh3b0NZNWEycHFjR3VYYnRnTXBsdzRvUXp4MG9BdXdFa0NpRlN6R2F6VmJzS2lZaTB4NkJMUkVSRUFjRWU3a3dBVE5PbVRZdTBYN0g1M2hNblRneDkrZVdYc1g3OWVzeWRPeGRHb3hIVHBrM3pxMWxlS1NVT0hUb0VrOG1Fek14TTE5bmJNMEtJZDJ3MjJ6dUhEaDA2cVdHSlJFUStoVUdYaUlpSUFvNDk5RDFoTUJpZUJyQlFWZFVWRm90bFFXcHFxa2hOVFVWa1pDU01SaVBpNCtNeGNPQkFqYXR0MjdsejU1Q1NrZ0tUeVlTVEowODZOa3NwWlpxVU1qRXNMR3hYVmxaV3M0WWxFaEg1SkFaZElpSWlDbGoyV2Q3dEFMYkh4TVNNQUhDZkVPSytreWRQWHZucXE2L2k5ZGRmeDNYWFhRZWowUWhGVVh4aWxsZEtpWnljSEpoTUp1emR1eGRXcTNNVjhta3A1VHNBTnVYbTVwN1NzRVFpSXAvSG9FdEVSRVE5Z2owY1Boa1hGL2ZNdVhQbmJoUkNyTFJhclF2UzA5TjE2ZW5wR0RGaWhIT1dOeXdzek92MVZWZFhPMmR2VDUxeTVsZ1ZRQ3FBeE5EUTBEVE8zaElSZFF5RExoRVJFZlVvOXJENEVZQ1BEQWJEY0NubHZVS0krMDZkT2pWczdkcTEyTEJoQStiTW1RT2owUWlEd2VEUldWNHBKY3htTTB3bUV6NysrR1BuN0swUW9seEt1Vkd2MTIvS3pzNysybU1GRUJFRktBWmRJaUlpNnJITVpuTVpnUCtMaTR0N3RxYW1aajZBbFZhcmRlSHUzYnQxdTNmdnh2RGh3NUdRa0lENCtIZ01HalRJYlk5YldWbUpsSlFVYk51MkRXVmxaWTdOS29BVUlVVGlxRkdqMHBPU2tteHVlMEFpb2g2R1FaZUlpSWg2UFBzc2J3cUFsS2xUcHc3cjFhdlh2VkxLNVdWbFpWZXRXN2NPYjd6eEJxNjk5bG9ZalVaTW56NGRPcDJ1MDQraHFpb09IandJazhtRVR6NzVCTTNOemxYSVpVS0lqVmFyOWQyOHZMeHlBRENielc1N2JrUkVQUkdETGhFUkVaRUxlOWg4WnVuU3BjK1ZscGJPazFLdWJHNXVqdCt6WjQ5K3o1NDlHRFpzR0JJU0VyQm8wYUlPemZKV1ZsYmlvNDgrd3JadDIxQmVYdTdZYkFPd1UwcVpPR2JNbUF6TzNoSVJ1UmVETGhFUkVWRXI3T0V6RlVCcWRIUjBoRTZudTBjSXNhSzh2SHo0NjYrL2pqZmZmQk54Y1hFd0dvMklqWTF0TWN1cnFpcXlzN09kczdjMm16UEhucEpTYnNUNUt5ZC9Bd0M1dWJuZWZtcEVSQUdQUVplSWlJam9FZzRmUG53YXdMTkxseTU5b2FTazVIb0FLNXVibXhkbFptYnFNek16RVJFUmdZU0VCTXljT1JQNzl1M0R0bTNiY1ByMGFjZmhOcHkvK0ZYaTZOR2o5M0QybG9qSTh4aDBpWWlJaURySUhsTFRBYVFiRElhaFVzcDdBS3c0ZmZwMDVJWU5HN0Jod3diWDRTY0J2QzJFZU5kc05wOEJnSnljSEsvWFRFVFVFekhvRWhFUkVYV0JQYncrRCtCUEJvTmhycFJ5SllBRkFOS0VFSWxtc3prVDU2K2tURVJFWHNhZ1MwUkVSTlE5cXRsc3pnQ1FvU2lLQkxERWJEYmZvblZSUkVROVdlZXZqVTlFUkVRVTRIcjM3ajBCUUMrdDZ5QWlvcTVoMENVaUlpSzZ3T1RKazQ4R0J3ZVAwTG9PSWlMcUdpNWRKaUlpb2g0ck9qcTZ1cTE5RXlaTXlFRXI3N0Z0YUdqSS8rcXJyMlo1dERBaUl1b1dCbDBpSWlMcXNRNGZQaHpXMm5aRlVXUlJVWkhTMU5SVTdPMmFpSWlvK3hoMGlZaUlxRWNMQ1FtSm5EUnBVcW5WYXExd2JMTmFyUlhqeG8zN3duRmJDS0VQQ2dvYW5KT1RJN1Nwa29pSU9vTkJsNGlJaUFoQWZuNytGVzN0YzRSaGI5WkRSRVJkeDZCTFJFUkVCQ0FxS3FyTlpjcENDTDVtSWlMeUkveWxUVVJFUklUMnd5eURMaEdSZitFdmJTSWlJaUlBQlFVRmtXM3Q0OUpsSWlML3dxQkxSRVJFQkdEeTVNa24yOXJIR1YwaUl2L0NYOXBFUkVSRTRJd3VFVkVnWWRBbElpS2lIaWswTkhUaHlKRWovdzVBQndEUjBkSFY3UXh2TWFhdHo5OGxJaUxmd0tEYnc0MFpNeVk0UER3ODNIV2J6V1lEQU1UR3hyYjRtSVdxcXFxcTR1TGlKaStXUndHQ2ZVYmV4cDZqanFpcHFkbmxFbGoxWVdGaDhZTUhEMzZnckt4c2xjVmlPUUlBRVJFUnorbDB1dERLeXNydGRYVjFud0pvMXE1aUlpTHFLQWJkSGk0OFBEemNack45QTBCY3VNOW1zNTF4dWFtR2g0ZEhBUGpXYThWUndHQ2ZrYmV4NTZpait2YnRheGcwYU5DdDRlSGh2MVpWOVllelo4K3V0MWdzcHh6N3E2cXF0ZzhhTk9qV3lNaklqWHE5ZmtCMWRiV3BxcXBxYzIxdDdlZFRwMDRkRmhRVTlFUnI5NnNveWx1dXQ1dWJtNS9OeThzcjkvVHpJU0tpODNSYUYwRGF5czdPL2hiQVp4MFkrcmw5TEZHbnNjL0kyOWh6MUZGRGhneDVSS2ZURFNrdExiMmpzTEJ3NG5mZmZmY1hBSFdPL2ZYMTlkbmw1ZVdQRkJZV2ppd3RMYjBaZ05xdlg3ODVBREIrL1BnelVzckZBTzUzK1hKd2JwTlNMaDQvZnJ6ckNSWWlJdkl3enVnU3BKUmJoUkN6THpFczJTdkZVTUJpbjVHM3NlZW9JMHBMUzIvdjZOamEydG92YTJ0cnYzVGNUa3BLc2hrTWhtMVN5Z2N1Y2FncEtTbkoxdVVpaVlpbzB6aWpTMUJWMVhTcE1UYWJiWnMzYXFIQXhUNGpiMlBQa1Rlb3FycTFBOE02TW9hSWlOeUlRWmR3K1BEaDB3RCszYzZRL2ZZeFJGM0dQaU52WTgrUk4raDB1aytsbEpYdERQbCs0TUNCbjNxdElDSWlBc0NnUzNaQ2lEYlBOcmUzajZnejJHZmtiZXc1OGpTejJXd1ZRdXhvWjhpT3JLd3NYcW1aaU1qTEdIUUpBR0MxV3R0OHdXZTFXaSs1L0krb0k5aG41RzNzT2ZLRzlrNmE2SFE2bmxBaEl0SUFneTRCQVBMeThrb0I1TGF5SzhlK2o2amIyR2ZrYmV3NThvWno1ODVsQXFocFpWZE5kWFgxWG0vWFEwUkVETHJVVW10bm5Ya21tdHlOZlViZXhwNGpqeW91TG02U1VxYTBzbXRuY1hGeGs5Y0xJaUlpQmwzNlVXdExyN2praXR5TmZVYmV4cDRqYjJoaitUTDdqSWhJSXd5NjVHUTJtNHNBSEhIY0ZrSVVIang0OEppR0pWRUFZcCtSdDdIbnlCdUVFT2tBNmwwMjFRc2hkbXRWRHhGUlQ4ZWdTeTFJS1oxbm56djQyWUJFbmNZK0kyOWp6NUdubWMzbWVnQnBqdHRDaUZUN05pSWkwZ0NETGwzSStRS1FINzFCSHNRK0kyOWp6NUhIOFlRS0VaSHZZTkNsRm5KemMvTUFsQUFvenNuSnlkZTZIZ3BNN0RQeU52WWNlVVB2M3IxM09iN3YyN2Z2cnZiR0VoR1Jad1ZwWFFENUhBbGdxeEJDMnI4bjhnVDJHWGtiZTQ0ODdzQ0JBeldLb3FRQWtGOSsrV1d0MXZVUUVmVmtETHAwRVoxT3Q3VzV1Wmt2Qk1tajJHZmtiZXc1OGhMSENSVWlJdElRZzY0SHhNVEVIQkJDWEsxMUhWMmxxaXAwT2gwVVJkRzZsQzZSVW1ibDV1WmVxM1VkM3VEUHZlYnZmUWIwckY0RC9MdmZBUC92dVo3U2IvN2Vad0FncFlTaUtPOXBYVWRYOUpRK0k2TEF4L2ZvZW9DLy80SDJkMEtJT0sxcjhCYjJtclo2VXE4QjdEZXQ5WlIrWTU5cHE2ZjBHUkVGUHM3b2VwRFpiTmE2aEI3SFlEQm9YWUltMkd2ZTExTjdEV0MvYWFFbjlodjd6UHQ2WXA4UlVlRGlqQzRSRVJFUkVSRUZGQVpkSWlJaUlpSWlDaWdNdWtSRVJFUkVSQlJRR0hTSmlJaUlpSWdvb0REb0VoRVJFUkVSVVVCaDBDVWlJaUlpSXFLQXdxQkxSRVJFUkVSRUFZVkJsNGlJaUlpSWlBSUtneTRSRVJFUkVSRUZGQVpkSWlJaUlpSWlDaWdNdWtSRVJFUkVSQlJRR0hTSmlJaUlpSWdvb0REb0VoRVJFUkVSVVVCaDBDVWlJbXBGUlVVRlpzeVlvWFVaMUVQVTF0WmkxcXhaeU16TTFMb1VJcUtBd0tCTFJFVGtvcjYrSGdjUEhrUllXQmdHRFJxRTV1Wm1mUG5sbDFxWFJRRnV4NDRkR0Rod0lPYk1tYU4xS1VSRUFTRkk2d0tJaUloOFNYbDVPVFp0Mm9TYW1oclUxdGJpcnJ2dXd1V1hYNDZvcUNpRWhZVnBYUjRGSUZWVjhjOS8vaE8zM1hZYmREck9RUkFSdVFOL20vcUJsSlFVL09wWHY4S01HVE53N2JYWDR1MjMzM2I3L1JzTUJodzRjTUM1YmZQbXpaZzFheGJPbkRsenllTXpNek5oTUJqdzlkZGZ0enV1b3FJQ3NiR3hlTys5OTFwc0x5MHRoY0ZnNEl5SkQvSDFubXNOKzh0LytWcS9qUnMzRG4vNXkxOHdmUGh3UkVaRzR1Yy8vem5XclZ0M1VjaGx6L2tYWCtzelYxbFpXYWlxcXNMaXhZdGJiR2VQRVJGMUhXZDBmZHo3NzcrUERSczJZTVdLRlhqNjZhZFJYMStQMDZkUHR6bSt2ZmVUN2QrL3Y5WHQ4Zkh4U0V0THc2dXZ2b290VzdhZ3NySVNpWW1KZVBqaGh6RjA2TkJ1UHdlSElVT0c0SnBycmtGR1JnYVdMVnZtM0w1cjF5NE1HVEtFNzRYekVmN2FjK3d2LytTci9mYmhoeCtpb3FJQ2lZbUp1UFhXV3pGbHloVE1taldyeFJqMm5QL3cxVDV6MkxKbEMrTGo0ekZnd0lBVzI5bGpSRVJkeDZEcnczNzQ0UWY4OWE5L3hiSmx5N0J5NVVybjl1am82RGFQMmJKbFM1Y2VhL1hxMWJqMTFsdXhmZnQybU0xbVRKMDZGVWFqc1V2MzFaN0ZpeGZqMFVjZnhhbFRwekJpeEFoSUtaR2VubzVGaXhaeHVaWVA4UGVlWTMvNUYxL3V0MFdMRmlFdUxnNGhJU0ZZdDI0ZElpSWlXaDNIbnZOOXZ0eG5BSERzMkRIazV1YmlpU2VlYUhVL2U0eUlxR3NZZEgxWVlXRWhtcHFhY04xMTEzWDRtTWpJeUM0OTFwVlhYb2tISDN3UTY5YXRBd0Q4NjEvL3V1UXhqalBKcXFvQ0FKWXVYUW9oQklDMnozalBuajBiNGVIaDJMTm5ENVl2WDQ3YzNGeFVWRlRnNXB0djdsTGQ1RjYrM0hPeHNiRXRibWRuWjE4MGh2M2xYM3k1My9yMzc0LysvZnNEQUVhT0hObm1PUGFjNy9QbFBnUE9yeDZZT1hNbVJvd1kwZXArOWhnUlVkY3c2UHF3cHFZbUFFQlFVTWYvTTEwWUJseTFGZ3hjaFlhR29yR3hFZjM2OVVPdlhyMHUrVmlPTTk3Ly92ZS84ZWMvL3htdnZmWWFycmppaW5hUENRb0t3c0tGQzVHUmtZSGx5NWNqTFMwTlYxOTl0VnVYU0ZQWCtYTFBKU1VsWGJJVzlwZC84ZVYrNnlqMm5PL3o1VDZyckt4RVJrWUcxcTVkMitZWTloZ1JVZGN3NlBxd3NXUEhRZ2lCL2Z2M1k4eVlNUjA2cGlOaG9EWGZmdnN0WG5ycEpmenhqMy9Fdi83MUx6ejMzSE40NVpWWDJqM0djY2E3dUxnWUFCQVJFWUdycnJycWtvK1ZrSkNBRHo3NEFFZVBIa1ZtWmlaV3IxN2RwWnJKL1h5NTV6bzZ3OEwrOGgrKzNHK2R3Wjd6YmI3Y1o4bkp5UmcyYkJpdXVlYWFkdStYUFVaRTFIa011ajVzNk5DaFdMUm9FZDU4ODAzMDZ0VUxWMTk5TmFxcXF2RDExMTlmZEdWR2g2NHN0MUpWRlU4KytTVEdqaDJMUllzV1lmVG8wVmkyYkJsMjdkcUZoUXNYZHZOWnRGNWpkSFEwWG56eFJlajFlc3llUGR2dGowRmRFd2c5eC83eUg0SFFiNDZhMkhPK3kxZjd6R3ExSWprNUdRODg4TUFsNzVzOVJrVFVlYnlLZ1k5YnZYbzE3cjc3Ym56d3dRZTQ3YmJic0diTkd1Y3lMSGZadkhrekRoOCtqTWNmZnh4Q0NFeWVQQm1MRnkvR3l5Ky9qTE5uejE3eStMbHo1OEpzTm5kb050ZGg4ZUxGeU0vUHg4S0ZDOTIyaEpEY3d4OTY3bExZWC80akVQb05ZTS81T2wvc3M0eU1ERml0MWc2ZmJHR1BFUkdSNWhSRmtZcWlTR3BiZG5hMlZCUkZuamh4d3EzMzYvalphOTBEM3NKZWE1Mm4rc3RWVCtzMWdQM1dIay8zWEUvcXQ1N1NaNy8rOWEvbCt2WHJPenlldjllMG95aEt0YUlvY3RxMGFXR1hIazMrUkZHVUZIdmZ4MnRkQzdrZmx5NlRKcEtUa3hFVEU5UHUxVXlKdW9yOVJkN0ducVBPcUsydHhheFpzN0JreVpJT0g4TWVJeUxxSEFaZDhxcjgvSHdVRlJWaDc5NjllT3V0dDdRdWh3SU0rNHU4alQxSFhURmd3QURjZi8vOUhSckxIaU1pNmhvR1hmS3ErKysvSC8zNzk4ZVRUejRKZzhHZ2RUa1VZTmhmNUczc09mSTA5aGdSVWRjdzZKSlg3ZHUzVCtzU0tJQ3h2OGpiMkhQa2Fld3hJcUt1NFZXWGlZaUlpSWlJS0tBdzZCSVJFUkVSRVZGQVlkQWxJaUlpSWlLaWdNS2dTMFJFUkVSRVJBR0ZRWmVJaUlpSWlJZ0NDb011RVJFUkVSRVJCUlFHWFNJaUlpSWlJZ29vRExwRVJFUkVSRVFVVUJoMGlZaUlpSWlJS0tBRWFWMUFJRE1ZREZxWFFEMEVlNDI4aWYxRzNzQStJeUtpN3VDTXJnZElLYk8wcnFFbjYway8vNTcwWEgxUlQvdjU5N1RuNjJ0NnlzKy9wenhQWDhXZlB4RUZDczdvZWtCdWJ1NjFXdGZRSFlxaVNBREl5Y2tSV3RkQzdmUG5YbU9mK1I5LzdqZUFQZWN2MkdkRVJPUU9uTkVsSWlJaUlpS2lnTUtnUzBSRVJFUkVSQUdGUVplSWlJaUlpSWdDQ29NdUVSRVJFUkVSQlJRR1hTSWlJaUlpSWdvb0RMcEVSRVJFUkVRVVVCaDBpWWlJaUlpSUtLQXc2QklSRVJFUkVWRkFZZEFsSWlJaUlpS2lnTUtnUzBSRVJFUkVSQUdGUVplSWlJaUlpSWdDQ29NdUVSRVJFUkVSQlpRZ3JRc2dJaUlpOGtjelpzem8wOURRTUtTMWZkT21UWXQwdmQyblQ1K0svZnYzTjNpbE1DSWlZdER0NmFLam95UDBldjBqcmUxVEZPVTExOXMybSszUGh3OGZQdTJkeWlpUWpCa3pKamc4UER6Y2Radk5aZ01BeE1iR1h1RzZ2YXFxcXFxNHVMakppK1ZSQUpveFk4YWdwcWFtbWEzdFV4UWwzdlYyY0hEd3Z2Mzc5MWQ2cHpJS0pLcXFodXAwdWhLMHNrSk9wOU9WdWc2dHE2c2JDb0JCbDRqSVN4aDBlN2p3OFBDS21wcWFYd0c0dkpYZEQ3bDgvMTE0ZVBqdnZWUVdCWmp3OFBCd204MzJEUUJ4NFQ2YnpYYkc1YVlhSGg0ZUFlQmJyeFZIQVVtbjAxa0JKQUVJYVdYM1RwZnZHM1U2M1UrOFV4VUZtZ01IRGxURXhNUjhKb1NJdThUUVQvUHk4cjd6UmszVVBUTm16T2hqdFZwSHUyNVRWVlVQQUVLSWlkT25UNjkxYk5mcjlXVUhEaHlvOFhhTlJOUXhmSTl1RDVlVmxkVU1ZRnNIaG02emp5WHF0T3pzN0c4QmZOYUJvWi9ieHhKMXk1ZGZmbGtMSUwwRFE5UHRZNG02UkFpeHRRUERPaktHZkVCZFhaMU9WZFZzVlZYekhWOEErZ09BRUdLZjYzWlZWUWRxWEM0UnRZTXp1Z1FoeEZZcDVjcjJ4dWgwT3Y2UnBtNlJVbTRWUXN5K3hMQmtyeFJEUGNWV0FJczdNSWFveTJ3MjJ6YTlYdjk2ZTJPa2xCMDVvVXcrSUM4dnIwNVJsSFJjK25kSGRuWjI5dGZlcUluY0p5WW01aFloaEhPbGo1UXlRZ2dCSWNTMWlxS0VPYmFycWxwdzZOQ2hROXBVU2U3Q0dWMENnRThBVkxXenYwcEttZVdsV2loQXFhcHF1dFFZbTgzR0Y0UGtOcXFxcGdDd3RqUEVhaDlEMUdYMmExZnNiMmZJdnR6YzNHKzhWUSs1eFNWUGdFa3BlWkxNRHdraDdnU3cyZkVsaEpnR0FGTEszN2x1MStsMFYybFhKYmtMZ3k3QmJEWmJwWlFmdFROa2g5bHNidS9GSXRFbDJWOE0vcnVkSWZ0NXNUTnlwME9IRGxVRHlHeG5TS1o5REZHM3RMZDhtWUhJL3dnaGRxTDlrMlFkWGJKT1BxYWovei9XMU5Sa2VMb1c4andHWFFKd3lWL1kvR1ZPYnRGZW4vRkZBM2xDZXk5cUdFRElYYXhXYTVzclZxU1VsMXpOUXI3RmJEYWZrMUx1YVdmSTRaeWNuR0t2RlVSdTA5emN2Qk5BdTllY0VVSnM0YWMvQkFZR1hRSUFoSWFHN2dId1F5dTdhbXRxYXRyN1pVL1VZVmFydGMxZzBkNExSYUt1MHVsME93RFlXdGxscys4ajZyYTh2THhTQURtdDdESWZPblRvcEpmTElmZmdpZGtBbEorZlh3VmdiM3RqcEpTOFhraUFZTkFsQUVCV1ZsWWpnSXZlcXlhRVNPRlpMWElYKzR2QjNGWjI1ZGozRWJtVjJXeitMNEJQVzluMXFYMGZrYnRjRkg0WWlQeFhyMTY5MmpwSnhpRGsvOXI3LzdKZUNOR1JLL2FUSDJEUUphZldsdkdwcXNvLzB1UnVyZlVVKzR3OHByV3d3UUJDN3RiYXB4TTBOemV6ei96VWYvN3puKzl4L21LZEZ6cWFrNU56MU52MWtQdElLYmNEVU52WW5XWTJtK3U5V1E5NURvTXVPZGxzdGpRQURTNmJHbXcyRzg5cWtWdTFGakQ0OFZYa1lkc0FTSmZiRWgzNy9IQ2lEanQ0OE9BeElVU2h5NmFDdzRjUGY2VlpRZFJ0clUwQThDU1ovOHZOelQwcnBmeXN0WDJjclE4c0RMcmtsSmVYVndmQU5kaW0yYmNSdVkzWmJDNENjTVJ4V3doUmVQRGd3V01hbGtRQnptdzJuNUZTN25QY2xsTHVNNXZOWjdTc2lRTFRCYXVnR0lqOFhPL2V2Uzg4U1FaVlZSbUVBa0FiSnl5YSt2YnR1OHZyeFpESE1PalNoWnovNC9Pc0pYbUs2MWx5TG84bmIzRDlmY2JmYmVRcDdMUEFjdURBZ1FvQW56dHVTeWxMYzNOejh6UXNpZHpFWnJPMXRxb240OHN2djZ6MWVqSGtNUXk2MUlJUXd2V0NWRHlyUlo3Q0Y0UGtWYTRmOGNLUGV5RlB5Y25KeVFmd0RZRFRack81UU90NnFQc3VPSG54RVM2WTRTWC9kUGp3NGRNQTlydHU0N0xsd01PZ1N5M1lQenN1RmNBdXM5bDhUdXQ2S0REWno0aWZBZkNOL1lVaGtVZmw1dWFlQW5BUVFMYjlleUpQa0ZMS3Ywa3Avd1lHb29EZyt0RjNVa3ErdHorQVhIQ2kzV2IvakYwS0lFRmFGMEErYVN2NEI1bzhTd0xZTElTUVlLK1Jsd2dodHFxcXluNExBSXFpVEFYd0pZRCtXdGZTRmtWUkh0ZTZCbmVRVW1ibDV1WmVxM1VkV3NuTHl5dFhGT1hmQUNKeWMzTmJ2WUFSK1NlcjFXb0tDZ3A2R1FDRUVFZnRuN0ZMQVlSQlYwT0tvandLNEVXdDYyaUxvaWlidEs2aHU2U1UxK2ZtNW1acVhZZVdmUGtGb1pRU2lxTDhRZXM2M0tRNktDaG9qUDBqS1hvc1grODNJUVFVUmZtVDFyVzRRdzhQSU12Z2d6MFdpSVFRY1ZyWG9EVWhSTEtVOGlyd3hHeEF5Y3ZMSzFVVUJRQWdwZHloY1Rua0FReTYyaEVBL2ordGl3aDBRb2lmQStqUlFSZDhRZWd0WVRhYkxReEFqdzY2WUw5NVRROE9JRG9oeEZJcEpkNS8vMzFNbmp4WjYzb0MwaXV2dklJUFAvd1FBTmE2Kzc1OStZUllhNlE4bjI4VlJYbEk0MUs4NGQyY25KeDd0UzdDaTFZRCtQK2xsT3UwTG9UY2owRlhJNHFpL0JUQVZVT0dETUd1WGJzZ2hOQzZwSUJSWFYyTjY2Ky9IcXFxMm9LQ2dsN1h1aDZOOFFXaGgyVmxaV0hWcWxVQWtHczJtMHUwcmtkajdEY3Y4R1FBOFFjeE1URS9sVklPdStLS0t4QVZGYVYxT1FGSlZWVmtacDQvUnl5bFRQTEFReXlEbjRUY0h1Z2VBRDBtNk9wMHVxMnFxczdOemMwOXEzVXQ1SDRNdWhweHZCaTgvdnJyR1hMZDdKTlBQb0dxcWdDd3Q2Y3ZJK1VMUXMvYnMyY1BBRUFJNFlrWGczNkYvZVo1WGdnZ1BrOElzUlFBNXM2ZHk3K2ZIcEtmbjQvdnZ2c1BxbmttQUFBZ0FFbEVRVlFPUW9qeW5KeWNBMjYrZTU0UTgwR3JWcTFDVmxZVzRJYlZodjQwWTI5L3ZRaEZVUUo2V1hwUGZhc0xyN3FzRFNHbGRQNmhKdmRpOFBnUlh4QjZsc1Zpd1dlZm5iODJTVThOSGE3WWI1N25Ha0J5YzNQZEhVRDhnYzdSWjlkZmY3M1d0UVNzQzA2bXFPNjhiNTRROHoxMWRYWFl0MjhmQUVpOVh1K09qL3hiQmo4SXVUMUpUMzJyQzJkME5lQzZiSmxuTXQycnVyb2EyZG5aQUdEVDYvVTkvV01BZEs0ckI4ajk5dTNiaC9yNmVnREl6Y25KS2RhNkhvMngzN3pBa3dIRUh6QWtlWjZxcXRpN2R5OEF6NXpBNHdreDMvUDU1NS9EWXJFQXdHZloyZG5mZHZQdU9HUHZRM3I2VzEwNG82c0IxN1BSL0NYdlhseTIvQ08rSVBROFIramc2Z0gybXpkNE9vRDRBNFlrejh2UHowZEZSWVduVmcxd1J0NEhPVmJDQWVqMjd4WCtMZkFkZktzTGc2NFdkRnkyN0RtT1g5WlN5bjlwWElybStJTFFzeXdXQ3o3OTlGTUFQZmNQaUN2Mm0rZDVPSUQ0QTRZa0wrQ3k1WjdGM2N1VytiZkFkL0N0TGd5NlhxY295dFhnc21XUGNGMjIzS3RYcisxYTE2TXh2aUQwTUM1YmJvSDk1Z1ZjdHN5UTVHbGN0dXhkalkyTldwZmdrV1hMQVA4VytJS2UvamNEWU5EMU9pNWI5aHd1Vy80Ulh4QjZIcGN0LzRqOTVubGN0c3lRNUEyK3NteDU0OGFOMkxGalI0dHRVa3I4L3ZlL3g0RURseTZydHJZV2p6NzZhRGRLN2J6Ly92ZS96aXY0T2xSVVZPRDA2ZE1BZ05telp3TUFTa3BLOE4vLy9oZjE5ZldJaTR0emhFek5jTm15OTMzLy9mZW9xS2hvc2EydXJ1NmliZDNCdnhubk1laDZGNWN0ZXhDWExmK0lMd2c5aTh1V1cySy9lUjZYTFhPbXlCdDhaZGx5WGw0ZUlpTWpXMnhidTNZdExydnNNaVFuSitQczJaWWZlWHBoV0xSWUxNNFgrVzJOYVkvVmFrVjhmRHhVVmNWZGQ5MkZNMmZPQUFDbVQ1K09CUXNXNEJlLytBVmVldWtsNTNpejJZejQrSGlrcHFhMnVKL1BQLzhjenp6empQTzJsQkxQUGZjY1RwMDZoZno4ZkF3ZlBoeTllL2R1Y2N4MzMzMkgyTmpZVG4xMWxSYkxsbjN4SklhVUVsdTJiT25TRFB0TEw3MEVtODNXWXR1eFk4Y1FIeC92N0pzTHJWcTF5ckVDMGVtOTk5NjdxR2U3ZzM4enp1TlZsNzJJeTVZOWg4dVdXK0RWYnoyTXk1WmJZTDk1UVU5ZmdzYVpJcy96aFdYTC8vakhQMkF5bWZEMTExK2p2THdjUVVGQjJMSmxDMTU2NlNVME56ZGo5ZXJWT0hQbURCNS8vSEg4OFk5L3hLaFJvd0FBTTJiTXdONjlleEVXRnRibTQzZGtqTVArL2ZzeFpzd1luRGx6QnRYVjFSZzZkQ2dBb0YrL2ZraExTOFBUVHorTnNXUEhBamovK3VOUGYvb1QvdnJYdjJMTm1qVVlOV29VSmsyYUJBQXdHbzNJeXNweUJwNGpSNDVnNU1pUk1CZ01lT1dWVnpCMTZ0U0xIdnNuUC9uSlJTRUlBQjU1NUJGOC8vMzMyTFJwMHlYcjd5aFBYVzI1dmI4RmVYbDV1TysrKzFwc2N6MkpNV3JVS0Z4KytlWE9mUmFMcGNYSmdMWk9ZbHg0d3FBdFZxc1ZDUWtKK09pamo3QnMyVEs4K09LTEdEcDBLTXJLeXJCbXpScTg5TkpMT0h2MkxHNisrZVkyNzJQLy92MEF6dmRyVWxJU0Nnc0xuZnNXTEZpQXBLUWtuRHQzRG84OTlwaHorMjkvKzF0TW56NGRCUVVGenZmT3Z2WFdXd0NBZWZQbUlTMHREYzNOelk0ckpBTUFwazJiaG1lZmZiWkR6K3RDUGYxdmhnT0RybmZkQ25EV3d4T3lzckljUzRZeXVXeVpMd2c5amN1V2Y4Uis4end1UVFPRUVQejc2V0VGQlFXT3BaTmZlMnJaOHFWQzBPMjMzNDRwVTZZZ01URVI2OWF0UTNsNU9lNjU1eDduVE52dHQ5OE9BS2lzck1RVFR6eUJXMjY1QlVhajBjMmxBaDkvL0RGaVkyUHg4Y2NmWS9yMDZSZnQvODkvL29QZi9PWTNxSzJ0eFVNUFBZUkZpeFloT2pvYXp6enpESDczdTk5aHpabzErTm5QZm9aYmJya0ZBUERnZ3craXZyNGVhOWFzQVhEK1pHbHFhaXA2OSs2TitQaDQxTlhWd1dxMVl0V3FWVWhJU0xqbzhmYnQyNGVQUC83WXJTSDMvN1YzNTNGWmxmbi94OS9uRmhBWE1DV3NwbkZMVXljYkY4amNVMXZWTVVwRzBjeU5WbHh3eHZHYnkyUzVUMk9DYTZOTm9ybVVhNk9aT1cwL2kxekdiMDVJT2xuNVRSM0IxSEpCSlZIMjgvdkR1T1VXRUJEdSs5ekw2L2w0OUFqT2ZlNXpmNERqdWM3bnVqN1hkU1RYbGkyN2V5ZkcyTEZqOWRSVFQybnIxcTNxM2J1M1Baa3RUbjUrdmhZdlhxeFBQdmxFNzd6empsYXVYS2xKa3liSk1BeU5IajFhdi9uTmI3Umh3d2JObXpkUFhicDBzWSs2bTZhcEJRc1dhT0hDaFVwTlRWVzFhdFgwMkdPUDZlT1BQOWJGaXhkMTMzMzM2ZHR2djlVenp6eFQ2czl4UGJRWlY1SG91bzVOVWwrSnNpdG4rUGpqanlYeEQxcmlodERaS0Z0MnhQbm1mRTVPUUR5QnpUQ012bFFOT0ZlaHBPY2RXVmkyL1Bubm42dDc5KzZLakl6VTNMbHoxYU5IRHcwY09MRElmaWtwS2NySnlhbk1NTzJtVEpsUzRtc3BLU202NmFhYmxKbVpxVkdqUnFsaHc0WWFQSGl3cENzamNILzk2MTgxZHV4WWRlN2NXVys5OVpaT256NnRtVE5uNnNTSkUrclJvNGNHRFJxa1RaczI2Zno1OC9yd3d3OFZHaHFxSlV1VzZPTEZpOFVtdVJjdVhORE1tVFAxeUNPUHFGV3JWcFgyTTdxNmJObmRPekg4L1B5MGFORWkxYWhSbzlSajJHdzJOV3JVU0crOTlaWkdqaHlwQ3hjdWFOaXdZWktrckt3c25UOS9YdEhSMGNySnlkR1JJMGZzaWU3cTFhdGxzOW5Vc1dOSEJRUUVhT0xFaWJyLy92dTFaTWtTelpvMVM4SEJ3ZnJ6bi8rc2UrNjVSNjFidDc3aG43RncyZkxldlh0OXNjMndJOUYxRWNxV25ZZXlaUWZjRURvWlpjc09PTjljd0prSmlDZXdxbW9nSVNGQm9hR2hEaVdNcG1ucWhSZGVVTDkrL2RTdVhidnJ2di9ubjMvVzlPblRIZVp5dWlzWGxDMlh1VVBzczg4K1UwSkNnbGF1WEtrR0RSb29QajVlVzdac2tTVFZxMWRQZDl4eGgySmlZaFFmSDY4RkN4YlkzOWV6Wjg4aXgrclFvVU5sL2hpU3JpUVJUWm8wMFVjZmZhU1dMVnRxNTg2ZDZ0bXpwMDZkT3FXNmRldEt1bEtLbXBPVG80U0VCTzNidDArVEowL1c0TUdEZGVlZGR5b21Ka2F0V3JYU1BmZmNvOE9IRHlzME5GU0hEeDlXeDQ0ZGkzeFdmbjYrWG56eFJWV3RXbFVmZmZTUnhvNGRxeDA3ZHVpQkJ4NVFVRkJRaFg2TzdkdTNGNVF0NzNCVjJiSzdkMkxVckZsVGt0UzVjK2ZySHFOVHAwNmFOV3VXcEN0enFqLzQ0SU1TOXkxOFh1N2R1MWN2dmZTU2poOC9ydmZmZjE4alI0N1VtVE5uZE5kZGQ5bEhzSWNNR1dJdmZiOVJsQzFmUmFMck9pNGQ5ZkNsQnBxeTVhc29JM1UreXBhdnN1Sjg4NlZybTBRSm1tUmQxWURWY3dsZHlRVmx5MlhxRUV0TFMxTnFhcXFpbzZOMTRzUUpSVVpHeXMvUFQrdlhYMWxqTWlvcVNrZVBIbFZNVEl4U1VsTHM3MHRLU25JNHp0bXpaL1h3d3c4N2xKK0doNGRYeWcvejhNTVBhL255NVhyeXlTZlZ0R2xUKy9ZT0hUbzRKRHltYVdyYnRtMGFOV3FVNHVQajlkSkxMNmw3OSs2NjU1NTdGQlFVcEhYcjFtbkhqaDFxMjdhdHZ2enlTOFhHeGpwOFRzSENWUWNPSE5EeTVjc1ZHUm1weTVjdmEvdjI3ZnJiMy82bVVhTkdLU0lpNG9iL1RSUzBaWklxdklCbldkc0NkKzNFbURsenByMThPQ2twU1R0MzdwUjBaWUdvdlh2M09zUnlyWFBuenVtNTU1NHIwK2ZFeDhkTGtzYU1HYU9Ra0JBOS92amprcVRKa3lmYjkxbTBhRkdSNjA1NTBHWTRJdEYxRFplWExmdFNBMDNaOGxWVzNCRDZVdUpCMmJJaks4NDNYN3EyU1pRdHExQ1M1S3FuRmJqTFhFSlhLcFQwV0ZxMlhLZE9IZnZLdTVHUmtkcTRjYU1pSWlJMGRPalE2NzZ2TFArR2s1S1NLdVZSUGdFQkFZcUtpdEs3Nzc2cnp6Nzd6Q0dHd2dsWlJFU0VQdm5rRTczMjJtczZkdXlZZHUvZXJVV0xGa21TbGkxYnB1N2R1K3VKSjU1UXZYcjE5S3RmL1VxMzMzNjcvYjM1K2ZuNjYxLy9xazgrK1VTTEZ5OVdnd1lOSkVuVnFsWFRuRGx6bEppWXFGbXpabW56NXMyYU5HbVMvUndzS3llVUxaZmFGcmh6SjhhTEw3Nm9DUk1tNk41Nzc3VnZ5ODdPMXRxMWEvWHFxNi9LTkUxdDNicFZQWHYyVkpVcVZTcjBXVnUzYnRYMjdkdTFaOCtlRW5PQ2d1MnRXclZTWEZ4Y3VZNVBtK0dJUk5jRjJyUnAwMDR1S2x2MnRRYTZVTmx5TG1YTHJyOGhsSHdyOGRpOWV6ZGx5MWU1OUh6enRXdGJBV2NtSUo2Z2NKTGtxbWsvN2pLWDBGWHk4L092TFhXc1ZCWHBFTXZJeUZCZ1lLQldyRmdoNlVveVZKeXkvQnMrZi82OEhuamdnU0tKMDQwSUNRblJWMTk5cFE4KytFQ3BxYW1xWDcrK2ZVUTNQVDFkd2NIQmtxUW5uM3hTQXdjTzFNYU5HOVdnUVFOOSsrMjNtang1c29LRGcyV3oyZFM1YzJmTm5qMWJjK2ZPdFI4N1BUMWRFeVpNMEpFalI1U1FrT0F3YWx5Z1c3ZHVDZzhQVjF4Y25JWU9IYXIzMzM5ZnRXclZLblA4VGloYkxuWEUzaE02TVFyYnRHbVQ3cnp6VHZ2SzJJbUppVXBKU2RISWtTTWQ5cXRkdTdiZWVPT05FbzlUdVBQajRNR0Q5cjkxbFNwVjlORkhIK25UVHo5MWFFUER3OE1MVDFjcE4xK2Y2bkl0RWwwWGNPVXpKbjJ0Z1M1VXRyeU5zbVhYM2hENll1SlIwSUJRdHV6Njg4M1hybTJTOHhNUVQyQlYyYktyNWhMbTUrZHI1Y3FWMnJoeG8zNzY2U2VGaElRb1BqNWV2L25OYnlvU2ZybTRxbXk1TEIxaWUvYnMwY2FORzNYbXpCa2RQMzVjdzRZTjA0VUxGL1RVVTA5VmNsZzNMalkyVnQ5OTk1MWlZMlAxcjMvOVMrdlhyOWU4ZWZNa1hmbDdSa2RIS3pvNldyMTc5OWJGaXhkMTk5MTNhL0xreVhyODhjZTFZc1VLVFo0OFdUYWJUZm41K2JwNDhhSWt4MmY4bmo1OVd2NysvbnI3N2JjVkVoSlNZaHhCUVVHYU9uV3FubnZ1dVhJbHVaSkRCNXJUVjFzdWlidDJZa2hYT2h1V0xWdG1MMW5PeWNuUjg4OC9yK2pvYUxWdjM5NWhCUG5jdVhObFBqL0hqUnRuWDVXN3dOS2xTeFVZR0ZqcXZPQ3lvR3k1S0JKZDUzTjUyYkl2TmRDVUxWL2w2aHRDWDBzOEtGdDJaRVVDNGt2WE5va1NORmxVcFNLNWJpN2gzTGx6OWZubm4ydjY5T2xxMGFLRi9aRWpydVNxc3VXeWRJaTFhdFZLVFpzMlZYQndzUHIyN2FzTkd6WW9LaXJLL2xpZHFLZ29lNm1yVlVhUEhxM0F3RUNGaG9acTRNQ0I5a1dKcEN1cjhVNmJOazBqUm96UXIzLzlhN1Z1M1ZyVHBrM1QvUG56RlI4ZnI4REFRQjA4ZUZCMzMzMjNwaytmcnZQbnp5cytQbDZUSmsxU2VucTZJaU1qMWJoeFk4MmZQNy9NOFJRdWVTNkx3bVhMaG1HNHBHeFo4b3hPakFJTEZpelF1WFBuTkdiTUdFbVN2NysvZ29LQzFMUnBVMDJkT2xWcjE2NVY5ZXJWSlVrclZxelFxRkdqaWgyRjdkcTFxOE5vNzZ4WnM5UzhlWE43b211ejJUUm16QmpGeGNWVlNxSkxtMUVVaWE2VHViSnN1WUN2Tk5DVUxUdXc1SWJRbHhJUHlwWWRXSEsrK2NxMXJRQmx5MWVTSkZjL3JjQlZjd2wvL3ZsbnJWdTNUb3NXTGJJL05xYThjeTBycW5EVmdDcGhVYUpybGJkRHJHclZxcXBhdFdxUjdYbDVlY3JNekZSZ1lLQlNVbEprczluc25hb0ZYTFhxOHAxMzNpbEptakZqaGpwMDZLQjY5ZW9wUFQzZC9ucUxGaTMwMGtzdmFlN2N1V3JZc0tHU2twTFV0V3RYYmQ2OFdlZk9uZE91WGJzMFlzUUlWYXRXVFFzWExsVDE2dFVWRnhlbjhlUEh5MmF6MlJjb2NwYkNaY3RKU1VrbkszaTRNcmNGN3R5SmtadWJxOWRmZjExMTZ0VFI2dFdyTlhUb1VJMGVQVnBCUVVGRnp0dDkrL1lwTURCUVR6enhoS1FyYTVKY3VuVEovbjFobHk1ZHNxL3kzTDkvLzJML3R2ZmVlNi8rOHBlL1ZNclA0ZXR0Um5GSWRKM01sV1hMa204MTBKUXRYMlhWRGFFdkpSNkZ5cGF0SFU1d0ExYWNiNzUwYlpPY240QjRnb0lrNmFHSEhuSnAyYktyNWhJZVAzNWNlWGw1YXRhc1dlVUVmZ01LandBNTRYbWJGZW9RNjlXcmw2UXJpem9kT25SSXljbkpldm5sbDdWNjlXcDk4ODAzRHMrY0xVdkpha0Y1YTJVWlBIaXdRa05EdFhEaFFtM2F0RW1QUFBLSS9iVUhIM3hRblR0MzFwNDllelJ4NGtRRkJnWkt1bkp1Tlc3Y1dIZmZmYmZhdEdsalA2L2J0Mit2OWV2WHEzYnQyaVYrWGtCQVFLWDhPM0JXMlhKcGJZRTdkMklzWDc1Y3VibTUyckpsaTVZc1dhSVJJMFlvUFQxZGZuNSs4dmYzbDUrZm4ydzJtN0t5c25UNThtVzFhdFZLYTlhczBaa3paL1RHRzIvby92dnZMM2JsNWE1ZHUyck5taldsZm43RGhnMTE2ZElsWldWbHlkL2YvNForQnFhNkZJOUUxN25zenhWejFhaUhMelhRQlltSGFabytlUk5ZbUJVM2hMNlVlQlF1VzFZbDNCeDRPaXZPTjErNnRrbE9UMEE4Z1dWbHk5ZHkxbHpDZ3FRbU5UWFZzc2ZCWFRNQ1pGYm1zU3ZhSWZiTU04OUlrZ1lOR2lSSjluK1RFeWRPdktGNGJycnBwZ3JQNFZ5OWVyWDk2NEtWa0Y5NDRRVzk4TUlMUmZZTkRBelVmZmZkVit4eHdzTENpbXk3NVpaYnJ2dlpoZHZJRzJWVjJmSzEzSzBUWThpUUlmWjJJalkyMXY2b3A3eThQUHQvMHBWU1k4TXc1T2ZucDd5OFBNMmZQMTh0V3JRbzhacFEybE1uQ3B3NmRVcjkrL2VYWVJnT1Q3QW9EOHFXaTBlaTYwUldqYklWNXEwTjlQbno1N1Zueng1SnlnME1ES1JzMllJYlFsOUtQQXFYTFNjbEpSMjJMQkQzNEJZSmlMZGUyd280TXdIeEJLMWJ0MjV2VmZ2cHFybUV0OXh5aSs2Nzd6N05uRGxUVTZaTVVlUEdqWFhvMENIVnJGbXozUE11YjRTcnlwWmRQU0x2VEs3NHV6aVRWV1hMMTNLM1RveVM3a21xVktseTNjY0pUWjgrL2JySExlbXhpZGQyV3Z6cVY3L1NqaDA3U29ueStpaGJMaDZKcmhNVkxsdTIyV3d1K1V4ZmFhQUxseTN2M3IwN3pla2Y2TWFzdkNFc3pKc1RqNElHaExKbDY4NDNYN20yU1pRdFM1TE5adXNuV1pNa3VYSXU0Y3laTXpWLy9ueU5HREZDR1JrWmF0aXdvV2JPbkZrcHh5Nk5PNWN0d3ptY1ViWnM5YjJISjZyc3h5ZlNacFNNUk5kNVhGNjJMUGxPQTAzWjhsVlczUkQ2U3VLUm5aMnR4TVRFZ205OXZtelpxdlBOVjY1dEVtWExzamhKY3VWY3d1clZxMnZpeElrM1BKSlZFYzZzR25CV2g5ajY5ZXVWbnA1dUh4R1VwSmlZR0MxY3VOQSt0ekV0TFUxMTZ0U3h2NTZibXlzL3Z5dTN1MWxaV2ZyMDAwK0wvVHQ1TzJlVkxYdlRpTDJub3Mwb0dZbXVrMWpWMCtVTERUUmx5dzRzdXlIMGxjU0RzbVVIbHAxdnZuQnRLMERac250VXFVanVONWV3c2poN0JNZ1pIV0xIangvWHlwVXJ0V3paTW0zZHVsVnQyN1pWM2JwMXRXL2ZQcG1tcWErKytrcC8vL3ZmZGZueVpiMzU1cHN5REVQWjJka2FPSENnL3ZTblA2bGp4NDQ2ZCs2Y3BreVpjdDFFZDhlT0hWcTRjS0hEdGlOSGpoUzdOa1JKYlZ4cWFxcjY5T21qZi83em55WE92WjA4ZWJJYU4yNHNQejgvZmZQTk41b3hZMFk1Zmh2bDV5NWx5d2tKQ1FvTkRYV1lpMnFhcGw1NDRRWDE2OWV2eEhtdG1abVpXcjkrdmZyMjdXdC90RTlaTFYyNlZFODg4Y1IxMzNmNThtWDc0bE9leHRmYmpPc2gwWFdTd2hQMFhWVzJmQzF2YmFBTGxTMy9QOHFXcmJzaDlKWEVnN0xscTl3bEFmSFdhNXRFQ1pwME5VbHk1VE9hUytKdWN3a3J5NEVEQnp5cWJEa2pJME1USmt6UXhJa1RWYmR1WFptbXFSa3padGhYOHg4MmJKaE0wOVRnd1lQVnFWTW4rM2tURUJDZ2FkT21hZlRvMFhybGxWZFV0MjdkWXR1dHdxNU5jbTlFd1FqeTlaS21wS1FreGNURWFQYnMyUTdYTEdlcHpMTGxpclFGKy9mdjE5TlBQKzJ3YmU3Y3VRb0pDZEU3Nzd5ak8rNjRRNkdob1VYZTUrL3ZyMlBIam1uY3VIRmFzR0JCbWUrdHYvLytlMjNldkxuVWFyT1ZLMWNxT1RsWmMrYk1VZlhxMVhYUFBmZW9mdjM2UmZZN2VmSmtpUXVEV2RIQlFadHhmU1M2enVFV2MxTzh0WUV1VkxaTUdhbWIzQkI2YStMQmFzdU8zT1Y4ODlacm0rVDBCTVFUMk52UGh4NTZ5T3BZdkZaQk95b1BLVnQrNDQwM2xKS1NvcVZMbDJydTNMbkt6czdXK2ZQbjdUZjRmL2pESCt3amdXUEhqdFh2Zi85N2RlellVWkowMTExMzZmWFhYMWY5K3ZWMTRNQ0I2NjRQSVVrLy9mUlQ0ZXUrcENzZHNkZU8zbmJ0MnJYRVl4UWt1Z1gvdjliSmt5Y1ZHaHFxVzI2NVJVZU9IRkg3OXUydkcxTkZWWGJaOG8yTTJLOWR1MVliTjI3VXNXUEg5TU1QUDhqUHowOXIxcXpScTYrK3F0emNYTDM0NG9zNmVmS2tKazZjcUQvLytjOUZSdENyVkttaWlSTW5LaVltUmhzMmJGRC8vdjJML1p6Ly9PYy9HalZxbFAzN1M1Y3VLVEF3VU4yNmRTc3h0czgvLzF6UFBmZWM0dUxpdEdYTEZ2WHYzMS8rL3Y3YXVIRmprWDJ2MXlsdlJRY0haY3ZYUjZMckJFelFkeDdLbGgyNHpRMmh0eVlldTNmdlZrWkdoa1Rac3VSRzU1czNjMllDNGduY3BXckFtN21xYkxreU84U0dEQm1pUng1NVJDRWhJYXBkdTdZQ0FnSjA3Tmd4ZmYzMTEvTDM5N2MvNmljN08xdEhqaHhSYUdpbzB0TFNISjV0VzhBMFRiVnQyOVpoVzM1K3Z2N3hqMytvWWNPR0dqQmdnUGJ1M2F2NTgrZExrdjd5bDcvWTl4c3pab3pTMHRMVXRtMWJEUmd3b01SNFMwdDBiN3Z0TnIzNTVwdVNwSGZmZGY2dFRLR3k1WjFXbFMwUEdEQkF2LzN0Yi9YR0cyOW8vdno1K3VHSEh4UWRIVzJ2K0NyNGZhYWxwV25TcEVucTI3ZXZJaU1qSFQvWVpsT3ZYcjAwYjk0ODllelpVOEhCd1VVKzU3ZS8vYTI5bzJMdjNyMmFQWHUyVnF4WVVlb0NVSVpoT0R3bUtpY25wOXlQK3JHaWc0T3k1ZXNqMFhVQ2R5aGI5bGFVTFYvRkRhSHpVYlo4RmVlYjgxR0M1ajVWQTk3TVZXWExsZGtoRmhJU29zY2VlMHoxNnRXemIvdmhoeCswWThjT0hUOStYTTgrKzZ4TTg4bzlmbmg0dUpvMGFTTERNUFR2Zi8vYjRUaXZ2dnFxYkRhYi91ZC8vc2RoZTZkT25leUowUERody9YZWUrL1pIM0YzOE9CQkJRUUU2Ti8vL3JleXM3T1ZuWjJ0MU5UVUVoOGRJNVdlOExoYVpWNVhLdElXZlA3NTUrcmV2YnNpSXlNMWQrNWM5ZWpSUXdNSERpeXlYMHBLaW5KeWNvbzl4dTdkdStYdjc2KzMzbnBMSTBhTUtQR3pUcHc0b2ZIanh5czdPN3ZFaEhYcjFxMGwzcWY3Ky90cjgrYk5SYmFYWlVUWFZSMGN0Qm1sYzQ5L2dkN0ZMY3FXdlJWbHkxZHhRK2hjbEMwNzRueHpQc3FXWlpOa1A4L2dISVU2OERiSUE4cVdDMXkrZkZscjFxeXhmMTh3S3J0NjlXcDkrdW1uOXUzLytjOS9pcjFHbWFhcEhUdDJhUHo0OFVwTVRGU0hEaDNzODNXdmZiNTdSRVNFSWlJaXRIWHJWcjMyMm10NjZhV1hGQmNYcHllZmZGSVJFUkdseHVwT2lhNnp5cFp2cEMzNDdMUFBsSkNRb0pVclY2cEJnd2FLajQvWGxpMWJKRW4xNnRYVEhYZmNvWmlZR01YSHg5dm5YeGVXbnA2dW5UdDNhdUhDaFJvN2RxeUdEQm1pbWpWckZ0bnYyTEZqaW8yTlZWcGFXb25WWWVIaDRmYk9rVGZmZkZPclZxM1M1Y3VYN2ZOdjMzbm5uV0xmVjlKMnlmVi9kOXFNMGxuL0w5RExNT3JoUEJjdVhLQnMrU3B1Q0ozc2YvLzNmd3ZLbHZkU3RzejU1Z3JPVEVBOFFldldyZHRMdXAzMjAzbnk4L09kMm1IczdBNnhndWt4a2dxcXUvVHp6ejlMa3Y3di8vNVByNzMybXI3ODhrdXRXN2ZPWWZSWGtuYnUzS21zckN5MWI5OWVTNWN1MWJKbHk3Unc0VUpWcjE1ZCtmbjVDZ3dNdE8rN2I5OCtMVjY4V05XcVZkUDQ4ZVAxM252dmFmSGl4Wm8xYTVZMmJ0eW9RWU1HcVd2WHJpWE94ZlR6ODVOaEdHNVIxZWVzc3VYeWp0aW5wYVVwTlRWVjBkSFJPbkhpaENJakkrWG41MmVmK3h3VkZhV2pSNDhxSmlaR0tTa3B4UjVqL2ZyMUNnOFBWMWhZbURwMjdLaFZxMVpwK1BEaER2c2tKeWRyN05peGlvMk4xWXdaTTlTN2QrOVNZNHVPamxaMGRMUjl0RFlsSlVVeE1USDIxMCtkT3FXNmRlczZ2T2VERHo0b2NoeFhKN3ErUHRXbExFaDBLMW5oaTd3N1hPQzh5V2VmZlViWjhpKzRJWFMrZ2dia2w2VERwM0crT1orekV4QlBRUHZwZk00dVc1YVRPOFRlZXVzdCs5ZUY1OW5HeHNicTY2Ky9WbVJrcEtaTW1lTHdIRjNweW9qdHZIbnpOSFRvVVBuNStlbjU1NTlYUUVDQUVoSVNGQjBkTFVtcVZxMmF0bS9mcmlWTGxpZ3ZMMDhqUjQ1VXAwNmRKRW52dmZlZVVsTlROV3ZXTEgzeHhSZEtTRWpRbENsVE5HN2N1R0pIZUFNQ0FncEdVUzFYbWRlVmlnem0xS2xUUjE5OGNlV1VpNHlNMU1hTkd4VVJFYUdoUTRlVzZmMXBhV2xhdFdxVmZhVDMrZWVmMTZCQmd4UVJFYUhiYjcvZHZwL05adE9nUVlQVXAwOGZ6Wmd4USsrLy8zNnh4d3NQRHkveHN4bzBhR0JQWkxPeXN0UzllL2RpRTl0cnViS0RnN0xsc2lIUnJWeVVMVHVScjk4RUZzWU5vWE5SdHV5STg4MzVLRUdqYXNBVm5GMjJMQ2QzaUJVM29pdEpEei84c09MaTRsUzFhbFd0WExsUzdkcTFzeStLYUpxbXBrK2ZybXJWcWprc0lCVWRIUzNUTkpXYW1xckF3RUJWcVZKRnQ5NTZxMGFOR3FWMjdkb3BLaXJLdmlDVmRHVlJxdno4ZkIwOWVsUzllL2ZXcEVtVEZCSVNVbXljRnk1YzBKdHZ2cW5vNkdqVnFsV3JzbjhOWlphUmtWRlFpbXRLc3JSc3ViallBZ01EdFdMRkNrbFhSblJMVXZBMzdOeTVzMXExYWlWSnFsKy92dnIwNmFPcFU2ZnE5ZGRmdDdkTnJWcTFzdTl6STY2ZDA1dVptYW1zckN3OThNQUREdVh0bXpadGNxZ0NrRnpid1VHYlVUWWt1cFdJc21Ybm9XelpBVGVFVGtiWnNnUE9OeGVnYkptcUFXZHpaZG15c3pyRUNrWjBUZFBVdmZmZUsrbktLTnJERHo5c24yKzdiZHMyTlcvZVhOS1ZlYjNUcGszVC92Mzd0WFRwVWxXcFVrV21hZXJjdVhNS0RnNVdYbDZlTm0vZWJCOFJiTnEwcWYyelZxMWFwYzJiTit2QkJ4OVVuVHAxbEpTVXBQbno1eXN5TWxJeE1URkZSbzBMKy9ISEg3VnAweWIxN05uVDBrUzNjTmx5Y25MeWlRb2Vya0p0d1o0OWU3Ung0MGFkT1hOR3g0OGYxN0JodzNUaHdvVlNuMjhyU2ErOTlwcSsvLzU3clY2OTJtSDc4T0hETlhEZ1FNWEZ4V25jdUhIRnZyZThLeWZuNXVacTNyeDU5bzZTUC96aEQ4ckp5ZEd0dDk2cWwxOSsrYnJ2ZFdVSGg2KzNHV1ZGb2x1SkdQVndIc3FXcitLRzBQa29XNzZLODgzNUtGdW0vWFFGVHk5YkxqQjU4bVR0MjdmUGZwNzA2TkZEdi92ZDcrVHY3Nis4dkR6ZGNzc3RhdG15cFg3NjZTYzkrK3l6cWxtenBwWXVYYXBiYjczVmZvekhIbnRNbHk1ZGtuU2xwSGJxMUtsRlBpYzNOMWVabVpuNjR4Ly9xSnljSFAzNDQ0K0tpNHU3YnNscmdXYk5taFY1RnE4VktydHNXUlZvQzFxMWFxV21UWnNxT0RoWWZmdjIxWVlOR3hRVkZhVmx5NVpKdWpLaWUrMnppdlB5OGpSbnpoejk4NS8vVkVKQ1FwSEhDUVVHQm1yMjdObDY2cW1uZFBIaVJZMGZQMTQxYXRSdzJLZTRsWk9sb3FYTG1abVp5czNOMWNDQkF6Vml4QWcxYXRSSXMyZlBWbnA2dXBZc1dhTFkyRmd0WExoUXc0Y1BMM0VPcnFzNk9HZ3p5bzVFdC9JdzZ1RkVoU2JjKy93OEJHNEluWXV5WlVlY2I4NUhDUnJ0cHl0NGV0bHlnV3JWcWlrM04xZDkrL2FWZENYeExVNWdZS0JHang1ZFpORW93ekMwYmRzMlpXVmx5VFJOQlFVRkZWdUdXNk5HRFEwWk1rUkRoZ3pSMGFOSDlmNzc3MnZ5NU1sYXVIQ2hHalZxNUp3ZnJoSTVzMno1UnRxQ3FsV3Iya2ZkQzh2THkxTm1acVlDQXdPVmtwSWltODFtZjdidWdnVUxsSmlZcUlTRUJEVnUzTGpZNHpadTNGaUxGaTNTbURGanRHelpNc1hHeHBZWXc2bFRwNVNUazZNVEowNG9JQ0RBNGVmNDVwdHZkTnR0dDJuQ2hBbEtTVWxSMzc1OVZiOStmYzJmUDE5K2ZuNmFNMmVPcGsyYnBxaW9LRVZFUkdqQWdBRkZTcGRkMWNGQm0xRjJKTHFWaEZFUDV5bGN0bHkxYXRYaXUrWjhCemVFVGtiWnNnUE9OeGZ3OVJJMDJrL25NMDNUNDlxQXhVZ0FBQTl1U1VSQlZNdVdDeDRUTTJIQ2hESy9wNlRyVmtCQWdNTjh5OUkwYk5oUW8wYU4wc2lSSXozbThXcnVWTFo4clY2OWVrbTY4aGluUTRjT0tUazVXUysvL0xKV3IxNnRiNzc1Um4zNjlKRWtQZjMwMDNycXFhZEtIUjF0MGFLRjFxOWZYK3lqaGdyYnVYT24zbjc3YlFVRUJCVDVXNGFGaFduOSt2VXlERU83ZHUzU24vNzBKM1hyMXMzK2VyVnExZlRLSzY5bzM3NTkycjU5ZTdGSnU2djRlcHRSSGlTNmxZUlJEK2VoYlBrcWJnaWQ3NW9HeEtkeHZqbWZzeE1RVDBENzZYeGZmLzIxVjVRdFc4MVRrbHpKdmNxV3IvWE1NODlJdXJxNFdNRjgySWtUSnpyc2QyMnA4dlhjZE5OTlJiWmQrd3pkeU1oSVJVWkdsbmlNZ2hIYXNXUEhscmhQUlJlN3Fpaktsc3VIUkxlU0ZLeTIvUGJiYit2dHQ5KzJPaHh2UmRreU40Uk9sWjJkcmNURXhJSnZmYjRCNFh4elBpY25JQjZCOXROMVBMMXNHV1hqYm1YTHFEeVVMWmNQaVc0bHljL1BQMlFZeHErdGpzT0xIYy9KeWZIMTFaYTVJWFFkeXBiRitlWkt2bHlDUnZ2cE1oY2xMYS9zZzVJRXVSOTNMbHRHeFZDMlhENGt1cFVrT1RtNXU5VXhWSmF3c0RCVGt2YnUzZXM1TlRvK2dodENsOGczVFhPUjFVRzRBODQzbDNGS0F1SXB2S245bEtTd3NMRFhKVDF2bXVidzVPVGsxNjJPeDlub0VITmY3bGkyakJ2SFZKZnlJOUVGUElnMzNSRFNvZUwrdk9sOGt6am5BR2VnUTh3OW1hYjVrNStmWDRXVElVYnMzUWRUWGNxUFJCY0FBQUEzeE5zNnhJclRyVnUzd1BUMDlNdVNzdmJ1M1J0WTZodThDQ1AyN29leTViS2phd1lBQUFCQUVmbjUrWWVzamdFT2ZIcXFTM2t4b2dzQUFBQ2dDRjhZc1E4TEMvdFNVcmhwbW0yVGs1Ty90RG9lVkI1R2RBRUFBQUFBWG9WRUZ3QUFBQURnVlVoMEFRQUFBQUJlaFVRWEFBQUFBT0JWU0hRQkFBQUFBRjZGUkJjQUFBQUE0RlZJZEFFQUFBQUFYb1ZFRndBQUFBRGdWVWgwQVFBQUFBQmVoVVFYQUFBQUFPQlYvS3dPQUlCdkN3c0xhMjkxRFBBdGJkcTArY0RxR09DOVROTzgxekFNU1lvT0N3dnJiSFU4cUxqMDlQUkFxMk1BVUg2RzFRSEEvWVNGaFptL2ZQbTVwWUhBMjNXMU9nQUFBTXJCbEhUSjZpQlE2V3BJa21tYWJaT1RrNyswT2hoVUhrWjBVWnl6a2tKRUlnSUFBRkRBMEM5SkViek9hWnZOZHR6cUlGQzVTSFJSaEdFWXpRM0R1TnZxT0FDZ3N1VGw1UTB6REdPb0pHVmxaUVZaSFE4QXdIMkVob1ptSmlZbTVsb2RCeW9YcGNzQUFLL1RzbVhMUmdFQkFVOFVmSitmbi8rQXBQc2x5V2F6dlZoNDM3eTh2T1hKeWNrblhCd2lBQUJ3SWtaMEFRQmVwMHFWS3F2eTgvTTdGZmRhZm43K3pNTGZHNFp4VnRMZlhSSVlBQUJ3Q1I0dkJBRHdPb1poL0xXcysyWmxaYjNwekZnQUFJRHJrZWdDQUx4T1ZsYld4N3F5UXVwMUdZYVJlZURBZ1d3WGhBUUFBRnlJUkJjQTRIVitTVjRQbDdaZmZuNysyeTRJQndBQXVCaUpMZ0RBSzVtbU9iRzBmYzZkT3pmS0ZiRUFBQURYSXRFRkFIaWxXclZxdlYvS0x0bEhqeDdOZEVrd0FBREFwVWgwQVFCZUtURXhNZE13akdNbHZXNFl4bnV1akFjQUFMZ09pUzRBd0dzWmhqR3BwTmNDQXdPZmNtVXNBQURBZFVoMEFRQmU2L0xseXh0TGVDbDMxNjVkUDdzMEdBQUE0RElrdWdBQXIzWGd3SUdMa2s1ZHU5MDB6VzBXaEFNQUFGeUVSQmNBNE5VTXc1aGF6T2JCTGc4RUFBQzRESWt1QU1DcjVlWGxyUzc4dldFWWVjbkp5YWV0aWdjQUFEZ2ZpUzRBd0t0OTlkVlg1MDNUTkF0dDJtMVpNQUFBd0NWSWRBRUFYczgwelhFRlgrZms1RHhoWlN3QUFNRDVTSFFCQUY0dklDRGd6VjhHZGZQMzc5Ly9nOVh4QUFBQTV5TFJCUUI0dlQxNzlweVZkRnpTWHF0akFRQUF6bWRZSFFBQXdQTjE2OWJOTHowOXZiOWhHUDBraFp1bUdTcXBxdFZ4ZVlBc3d6Qk9TMHFTdEQ0b0tHaDlZbUppcnRWQkFRRGc2VWgwQVFBVllZU0ZoVDBuYVlLa2hoYkg0ZzJPU25wbDc5NjlTeVNacGV3TEFBQktRS0lMQUxnaFRabzBxUm9jSEp3Z2FaQWtOV3ZXVFAzNjlWT1RKazFVdjM1OTFhcFZ5K0lJM2QrRkN4ZVVtcHFxUTRjT2FjT0dEVHA0OEdEQlM2dlMwOU9mUFhUb1VKYVY4UUVBNEtsSWRBRUE1UlllSGw3ZE5NMFBKWFVKQ1FuUjVNbVQxYkZqUnhrR3pjcU5NazFULy9yWHZ6UjE2bFNkUFh0V2tuWVlodEVqS1NucGt0V3hBUURnYVZpTUNnQlFidm41K2ZNbGRXbmN1TEZXcmx5cFRwMDZrZVJXa0dFWTZ0U3BrMWFzV0tIR2pSdExVaGZUTk9kWkhSY0FBSjZJdXhJQVFMbUVoNGNQTkUzejdadHZ2bGxyMTY1VjdkcTFyUTdKNjV3N2QwNzkrL2ZYMmJOblpacm13T1RrNURWV3h3UUFnQ2RoUkJjQVVHYWRPblVLTWszek5jTXdORzNhTkpKY0o2bGR1N2FtVDU4dVNUSU00MitkT25VS3NqZ2tBQUE4Q29rdUFLRE1Nak16UjBxcS9laWpqNnBkdTNaV2grUFYyclZycDBjZmZWU1NhbCs2ZEdtRTFmRUFBT0JKU0hRQkFHWFNzbVhMR3FacGpqVU1ROE9HRGJNNkhKOHdiTmd3R1lZaHd6REd0bXpac29iVjhRQUE0Q2xJZEFFQVplTG41L2U0cEp1N2RldW1CZzBhV0IyT1QyallzS0c2ZGVzbVNhSCsvdjZQV1J3T0FBQWVnMFFYQUZCV2ZTU3BSNDhlVnNmaFV3cjl2dnRZR1FjQUFKNkVSQmNBVUtvT0hUcFVrOVRUejg5UEhUcDBzRG9jU2RMY3VYT1ZrcEpTWlB2cDA2YzFidHk0TWgvbjRzV0xTa2hJcU16UUtsV0hEaDFVcFVvVm1hYlo4NWUvQXdBQUtBV0pMZ0NnVk5uWjJlMGxWVy9UcG8xcTFMQitxdWpCZ3dlMWJ0MjZZbVBKeU1qUXRtM2J5bnlzOVBSMExWNjh1RExEcTFRMWF0UlFtelp0SktsR1RrNE9LNEFCQUZBR2ZsWUhBQUR3Q0MwbHFYbno1bGJISVVsYXMyYU5ldlhxcFp0dnZsbjUrZm5Lek15MHYxYnc5YVZMbHh6ZTA2VkxsK3NlTXp3OHZOanRxMWF0MGwxMzNWWEJpQ3VtZWZQbSt2TExMMldhWmt0SmlaWUdBd0NBQnlEUkJRQ1U2cGNFUzNmY2NZZlZvZWpVcVZQNitPT1B0V2JOR3FXbHBTa3BLVWtUSmt3b3N0KzFpZTN1M2J1TFBkN0preWNWR1JsWjR1disvdjRWRDdxQ0N2M2VXMW9aQndBQW5vSkVGd0JRRmkwa3FWR2pSbGJIb2FWTGw2cDc5KzVxMEtDQnhvd1pvN3Z2dmx0SlNVbjIxNDhlUGFyZi8vNzNEdHV1cHlDUkRRZ0ljRXE4bGFFZzBUVk5zNFhGb1FBQTRCRklkQUVBWlhHekpOV3BVOGZTSUw3Ly9udHQyYkpGYTlldTFlSERoL1hkZDk5cCt2VHBaWDcvVHovOXBGNjllaFg3V25HbHkyVk5scDJ0ZHUzYUJWL2ViR1VjQUFCNENoSmRBRUJaMUpKaytVSlVLU2tweXNySzBvQUJBNVNWbGFYWnMyZXJaczJheFNhcGhiZk5talZMRHo3NG9QMzd3Z25zaVJNbjlPaWpqeGE3elYwVStyM1hzaklPQUFBOEJZa3VBS0FzZ2lXcGV2WHFsZ2J4NElNUEtpa3BTVnUyYk5IdTNidDEvLzMzUzVJU0V4T3YrNzVxMVR6N3FUd2t1Z0FBbEErSkxnREFvM3o5OWRkS1NFalFxbFdybEp1YnE0c1hMK3FtbTI0cTF6RktHd0VHQUFDZWpVUVhBRkFXNlpKdXZuVHBrcVdMTnAwL2YxNnhzYkVLQ2dwU2RIUzBqaDA3cG1IRGh1blJSeC9WNDQ4L1h1TDczbjMzWGRXclYwK0dZU2dnSU1DK3d2SzMzMzZyMGFOSEt5MHRUYzJhTmRQZi8vNTNCUVVGMlZkaWRoY1pHUmtGWDE2d01nNEFBRHdGaVM0QW9Dd3VTTG81SXlPajNLT25sU2tvS0VnUkVSRnEyTENoR2pWcXBQcjE2NnRPblRvNmR1eVlKR25QbmoxRjNuUHZ2ZmZhdjY1YnQ2NDl5VTFNVE5STEw3Mmt6cDA3NitPUFAxWklTSWhHalJxbGVmUG02YmJiYml2eGNVTldJTkVGQUtCOGJGWUhBQUR3Q0dja0tTMHR6ZElncWxTcG9qRmp4cWhQbno1cTNicTFKT25BZ1FNT3IxLzczN1d5c3JJMFo4NGNqUnMzVHM4OTk1eGlZMk1sU2ZIeDhhcGR1N1lHRHg3c2NFeDNjTzdjdVlJdnoxZ1pCd0FBbm9KRUZ3QlFGZ2NrNmIvLy9hK2xRZnp3d3c5YXUzYXRYbjc1WlVWR1J1cDN2L3VkdG03ZFd1YjM3OXExUzFGUlVkcTJiWnNXTDE2c3dZTUgyMThMQ0FqUW5EbHoxS3RYTHozOTlOT0tpNHNybkdCYTZzaVJJNUlrd3pEY0t3TUhBTUJOVWJvTUFDaVZZUmo3VGRPMEoxeFcrZTkvLzZ2dDI3ZXJiZHUyNnR1M3I1bzNiNjZBZ0FCNzZYSkpDMHJsNWVWcHhJZ1JTa3BLVWxSVWxJWVBIMTdzQ3RJMm0wMGpSb3hRMTY1ZDllcXJyNnAzNzk1YXMyYU42dGV2NzlTZnF6U0ZmdS83cll3REFBQlBRYUlMQUNpTC9aTDAzWGZmV1JwRWx5NWQxS1ZMbHlMYmJUYWJhdGFzcVU4KythVElhdzg5OUpEOC9mMzE3TFBQNnNVWFg5VHR0OTllNnVlMGFORkNLMWFzMExmZmZtdDVraXRkL2IwYmhrR2lDd0JBR1JoV0J3QUFjSDhkT25Tb2xwV1ZkZHJQejYvR3A1OStXdmk1cm5DeWpJd01kZS9lWFhsNWVSbkJ3Y0UzSnlZbVpsb2RFd0FBN280NXVnQ0FVdTNldmZ1eXBBOXpjM1BkYWpWaVg3Qjc5MjdsNWVYSk1Jd1BTSElCQUNnYkVsMEFRRmx0a3FRUFAvelE2amg4U3FIZjl5WXI0d0FBd0pPUTZBSUF5aVEzTi9kZFNXY1NFeE9Wa3BKaWRUZys0ZWpSbzBwTVRKU2swems1T1pzdERnY0FBSTlCb2dzQUtKUDkrL2RuR0lZUmI1cW1saTlmYm5VNFBtSDU4dVV5VFZPbWFjYnYzNzgvdytwNEFBRHdGQ1M2QUlBeUN3d00vSnVrYysrOTk1NisrT0lMcThQeGFsOTg4WVcyYk5raVNlZXFWNisreU9wNEFBRHdKS3k2REFBb2x6WnQyanhoR01icWtKQVFyVnUzVHJWcjE3WTZKSytUbHBhbUFRTUc2T3pac3pKTjg0bms1T1MxVnNjRUFJQW5xV0oxQUFBQXovTGpqejkrZmV1dHQvNzY4dVhMWWJ0MjdWTG56cDBWRkJSa2RWaGU0K1RKa3hvNWNxUk9uRGdoU1V1U2s1TmZzVG9tQUFBOERhWExBSUJ5czlsc2Y1QzA0L0Rod3hvNmRLaDI3ZG9sMHpTdERzdWptYWFwWGJ0MmFlalFvVHB5NUlnazdUQU00NDlXeHdVQWdDZWlkQmtBY0VPYU5HbFNOVGc0T0VIU0lFbHExcXlaK3ZYcnA4YU5HNnRCZ3dhcVZhdVd4Ukc2dndzWExpZ2xKVVdIRHgvV2hnMGJkUERnd1lLWFZxV25wejk3Nk5DaExDdmpBd0RBVTVIb0FnQXF3Z2dMQzN0VzBrUkpEUzJPeFJzY2xmVEszcjE3bDBoaWlCd0FnQnRFb2dzQXFMQnUzYnI1L2Z6enoxR21hZmFURkM0cFZGS2d4V0Y1Z2t4SnB5VWxHWWF4SVNnb2FIMWlZbUt1MVVF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PQksveCtqWWl4cmxMS3Zpd0FBQUFCSlJVNUVya0pnZ2c9PSIsCiAgICJUeXBlIiA6ICJmbG93IiwKICAgIlZlcnNpb24iIDogIiIKfQo="/>
    </extobj>
    <extobj name="ECB019B1-382A-4266-B25C-5B523AA43C14-6">
      <extobjdata type="ECB019B1-382A-4266-B25C-5B523AA43C14" data="ewogICAiRmlsZUlkIiA6ICI4NTAzMjc3NDA0NSIsCiAgICJHcm91cElkIiA6ICI0OTg2Mjc1MzQiLAogICAiSW1hZ2UiIDogImlWQk9SdzBLR2dvQUFBQU5TVWhFVWdBQUJCVUFBQVh6Q0FZQUFBQ0w2d0VzQUFBQUNYQklXWE1BQUFzVEFBQUxFd0VBbXB3WUFBQWdBRWxFUVZSNG5PemRlMXhWVmZySDhlOCtJQ2dJaW1sZXNyeFJwcG5HUmlzdFIvS1c2V0FLMnNVMHJkUTB4aHgvbHMza2RDK2JScHZVYWN6Q21yVEpOQVVuTDVsYWswNmpUcE9JbVZnbVh0STBMSk9MZ2g0NG5QWDd3emdEY1ZGSU9IRDR2Rjh2WG5IV1dudnRaeC9zai9PYzlhd2xBU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W9JYXd2QjFBYlJZVkZlV2ZsWlYxdTJWWnd5VkZHbU9hU0FyMGRsdzFnTk95ckI4a0pVbDZOeVFrNU4yTkd6ZTZ2QjBVQUFBQUFOUTJKQlc4dzdKdGU3eWszMGxxN2VWWWZNRkJTYzl2Mzc0OVhwTHhjaXdBQUFBQVVHdVFWS2hpNGVIaGdhR2hvUXNralpTazl1M2JhL2p3NFFvUEQ5ZGxsMTJtQmcwYWVEbkM2aTh6TTFPSERoMVNhbXFxbGkxYnBqMTc5aFIwdlpXVmxUVXVOVFhWNmMzNEFBQUFBS0MySUtsUWhTSWpJNE9NTVI5STZublJSUmZwaVNlZVVJOGVQV1JaL0JrcXloaWpMVnUyNkttbm50S1BQLzRvU1o5WWxqVWdLU2tweDl1eEFRQUFBSUN2YzNnN2dOckU3WGJQa2RTelhidDJXclJva1c2NDRRWVNDcitRWlZtNjRZWWJ0SERoUXJWcjEwNlNlaHBqWm5zN0xnQUFBQUNvRGZoRVcwVWlJeU5IR0dQZWJ0eTRzWllzV2FLd3NEQnZoK1J6MHRQVGRmdnR0K3ZISDMrVU1XWkVjbkx5Tzk2T0NRQUFBQUI4R1NzVnFzQU5OOXdRWW94NTJiSXNQZjMwMHlRVUtrbFlXSmllZWVZWlNaSmxXWCs5NFlZYlFyd2NFZ0FBQUFENE5KSUtWZURNbVROeGtzS2lvNk4xM1hYWGVUc2NuM2JkZGRjcE9qcGFrc0p5Y25JZThIWThBQUFBQU9ETFNDcFVzczZkT3djYlk2WmFscVV4WThaNE81eGFZY3lZTWJJc1M1WmxUZTNjdVhPd3QrTUJBQUFBQUY5RlVxR1MrZnY3RDVIVU9Db3FTcTFhdGZKMk9MVkM2OWF0RlJVVkpVbE42dFNwYzZ1WHd3RUFBQUFBbjBWU29mSU5sYVFCQXdaNE80NWFwZEQ3UGRTYmNRQUFBQUNBTHlPcFVJbTZkKzllVDlJdC92Nys2dDY5dTdmRHFWVzZkKzh1UHo4L0dXTnUrZW52QUFBQUFBQzR3RWdxVktMYzNOenJKUVZGUkVRb09MaG1sL1luSkNSbytmTGxKZlp0Mzc1ZHp6enpqSTRkTzFiRlVaVXVPRGhZRVJFUmtoU2NsNWZIN3BnQUFBQUFVQW44dlIyQWorc3NTVmRlZWFYWEFvaU1qS3pRZFJkZmZMSFdybDNyZWIxaHd3WTFhOVpNdzRZTkt6WjIvdno1T25QbWpKbzBhVkxoT0N2RGxWZGVxVzNidHNrWTAxblNSbS9IQXdBQUFBQytocVJDSmZycHc2emF0bTNydFJnU0VoSTh2OGZHeHVwUGYvcVQyclZyVjJUTTk5OS9yNGtUSitxNTU1N3pKRUQ4L1l2KzAvajIyMi9WbzBlUFl2TnYyYkpGWDN6eGhkNTU1eDA1SEE1bFptWXFLU2xKdlh2M3JvU25LWjlDNzN0bmI4WUJBQUFBQUw2S3BFTGx1a3FTMnJScDQ3VUFXcmR1WGVSMTgrYk5pN1VGQkFSSWtwbzFhMWFzNytEQmczSzVYRXBMUzFOd2NMQU9IandvNmV4S2hqcDE2bWpXckZtYU9uV3E1N3FqUjQvcThjY2ZWNE1HRFNxOFN1SkNLVWdxR0dPdThtb2dBQUFBQU9DalNDcFVyc2FTMUtoUkkyL0hVV0d4c2JHZTMyZk1tT0g1L2NVWFg5U3VYYnZVdm4xN1QwbUUwK2xVMDZaTmRjODk5K2pwcDUvV3UrKytxOERBd0NxUHVVQllXRmpCcjQyOUZnUUFBQUFBK0RDU0NwV3JnYVFhdlVsalVsS1NWcXhZb1ZkZmZWVWZmUENCOHZMeTFMMTdkMjNhdEVrclY2NVU0OGFOMWJ0M2I1MDZkVXI1K2ZtZTZ5ekwwcUpGaXpSdTNEaXZ4VjdvZlcvZ3RTQUFBQUFBd0llUlZLaGNvWklVRkJUazdUaCtrYSsrK2twWFgzMjFKT240OGVNeXhxaExseTQ2ZWZLa3JyamlDbDE4OGNWcTBxU0pHamR1cklZTkd5b3NMRXdmZmZTUm5udnVPUTBaTXNSckd6aVNWQUFBQUFDQXlrVlN3WWVWdEtmQnFGR2pTaDEvMzMzM0ZYazlZOFlNM1h6enpmcmlpeTgwY09CQVNkTCsvZnNWRkJTa3dZTUhhOGlRSWFYTzFhdFhMMzMyMldmeTgvT3JZUFFBQUFBQWdPcU9wRUxseXBMVU9DY254N01aWWxVcWZQS0QwK25VaUJFak5HZk9ITFZzMmJMSXVKSk9mNURPYnNhWWs1T2p2WHYzeXJadFNWSktTb3F1dlBKS09Sd096NmFOcGZuOTczK3ZPblhxWExnSEtxZnM3T3lDWHpPOUZnUUFBQUFBK0RDU0NwVXJVMUxqN094c05XellzTXB2WHZna2h4TW5Ua2lTTHIvOGNqVnQyclRJdUxKT2YvajAwMC9sZHJ2bGNya2tTWjk4OG9taW9xSWtGZDNFc1NRSkNRbkY1cXRLSkJVQUFBQUFvSEtSVktoY3h5VzFPM0hpaEM2NTVCS3ZCbkxreUJFNUhBNDFibHkrZ3hDNmRldW1PKzY0US9mZmY3OUdqQmloTDcvOFVzOCsrNnludjdURWdiZVBrNVNrOVBUMGdsK1Blek1PQUFBQUFQQlZKQlVxVjRxazZ3NGNPT0RaNk5CYnRtM2Jwalp0MnBSN2p3T0h3NkdISDM1WXpaczMxMHN2dmFUdzhIQmRkdGxsbFJUbGhiVi8vMzVKa21WWktWNE9CUUFBQUFCOGtzUGJBZmd5eTdKMlN2LzdjT3N0R1JrWldyeDRzWHIxNmxYaE9mejkvVlczYmwwZE9IQkFUejc1cE54dTl3V01zSElVZXQ5M2VqTU9BQUFBQVBCVnJGU29YRHVsczBjeWVzdUpFeWMwZWZKa3VkMXUzWFhYWFJXYTQ4TVBQOVNMTDc2b3A1OStXdlhxMWRQdmZ2YzdUM2xEUmthR2Z2enh4d3NaOGdWVDhMNFhKSGNBQUFBQUFCY1dTWVZLRkJBUThCK24wNW1kbkp3Y25KMmRyZURnNENxOS8rYk5tL1hNTTg4b096dGJjK2ZPcmRCbWtZc1hMOVpMTDcya2NlUEc2WlpiYnBFa0xWaXdRQjA3ZHRSVFR6MVY3QmpLNmlJN08xdkp5Y21TbEYyL2Z2My9lRHNlQUFBQUFQQkZKQlVxMGRhdFcwL2J0djJCeStXSzNicDFxL3IyN1Z1bDl3OE1ERlQ5K3ZVMWUvYnNJa2RGL3B5L3Y3OWF0bXlwd01EQVluMmZmdnFwSmt5WVVDUjUwS2xUSjgvdlM1WXNVYXRXcllwZDE3MTc5MThZL1MremRldFc1ZWZueTdLc3RSczNianpqMVdBQUFBQUFBS2dJMjdidnNtM2JUSjA2MVhpRDIrMytSZGZuNXVhVzJyZGh3d2FUbloxZFl0L0hIMzljYWw5Vm1EcDFxckZ0MjBSR1JvN3c5cjhCQUFBQUFQQlZscmNEOEhXZE8zY085dmYzUDJoWlZ1T0VoSVFTdjlYSGhYWHc0RUVOR3paTXhwZ2ZYQzVYbTUwN2QyWjdPeVlBQUFBQThFV2MvbERKZHU3Y21XMVoxb3ZHR0wzNTVwdmVEcWRXZVBQTk4yV01rVEhtUlJJS0FBQUFBRkI1U0NwVWdicDE2LzVWVXZyS2xTdjE2YWVmZWpzY24vYnBwNTlxMWFwVmtwUWVGQlEwejl2eEFBQUFBSUF2by95aGlrUkVSTnhwV2RiaWl5NjZTRXVYTGxWWVdKaTNRL0k1SjA2YzBCMTMzS0VmZi94UnhwZzdrNU9UbDNnN0pnQUFBQUR3Wlg3ZURxQzJTRXRMMjlXc1diT1dwMCtmdGpkdjNxd2JiN3hSSVNFaDNnN0xaM3ozM1hlS2k0dlQwYU5ISlNrK09UbjVlVy9IQkFBQUFBQytqdktIS3VSd09DWkwrbVRmdm4wYVBYcTBObS9lTEdPTXQ4T3EwWXd4MnJ4NXMwYVBIcTM5Ky9kTDBpZVdaZjNXMjNFQkFBQUFRRzFBK1VNVkN3OFBEd3dORFYwZ2FhUWt0Vy9mWHNPSEQxZTdkdTNVcWxVck5XalF3TXNSVm4rWm1abjY1cHR2dEcvZlBpMWJ0a3g3OXV3cDZIb3JLeXRyWEdwcXF0T2I4UUVBQUFCQWJVRlN3VHNzMjdiSFNmcTlwTlplanNVWEhKVDAvUGJ0MitNbHNmUURBQUFBQUtvSVNRVXZpb3FLOGo5NTh1UnR4cGpoa2lJbE5aRlUxOHRoMVFSbkpQMGdLY215ckdVaElTSHZidHk0MGVYdG9BQUFBQUFBUUNHMmJSdmJ0dm4ySHdBQUFBQlFEQnMxQWdBQUFBQ0FDaUdwQUFBQUFBQUFLb1NrQWdBQUFBQUFxQkNTQ2dBQUFBQUFvRUpJS2dBQUFBQUFnQW9ocVFBQUFBQUFBQ3FFcEFJQUFBQUFBS2dRa2dvQUFBQUFBS0JDU0NvQUFBQUFBSUFLSWFrQUFBQUFBQUFxaEtRQ0FBQUFBQUNvRUpJS0FBQUFBQUNnUWl4dkI0RHFvM1BuemkzOS9mMy84TFBtKzMvNjc2dUZHMTB1MTdNN2QrNzh0bW9pQXdBQUFBQlVSeVFWNERGOCtIQy8xTlRVSTVabE5TMXJuREhtV0hoNCtDWExsaTNMcjZyWUFBQUFBQURWajUrM0EwRDFzWHYzYm5QSkpaZTBrOVQxSEVQZit1aWpqMVpYUlV3QUFBQUFnT3FMUFJWUWhOdnRUamlQWWVjekJnQUFBQURnNDBncW9BaUh3N0hKR0hPaWpDRS9ObWpRWUZPVkJRUUFBQUFBcUxaSUtxQ0lwS1NrUE11eTNpdGp5SHNiTjI1MFZWbEFBQUFBQUlCcWk2UUNpckVzcTlUeUJvZkRRZWtEQUFBQUFFQVNTUVdVSURNejgwTkpXU1YwWldWa1pIeFUxZkVBQUFBQUFLb25rZ29vSmpVMTFXbU1LZWwwaDFXcHFhbk9LZzhJQUFBQUFGQXRrVlJBaVVvcGdhRDBBUUFBQUFEZ1FWSUJKYklzNndOSk9ZV2FjaXpMV3VldGVBQUFBQUFBMVE5SkJaUW9LU2twUjlMYWd0ZVdaYjMvVXhzQUFBQUFBSkpJS3FBTXhoaFB1WVBiN2FiMEFRQUFBQUJRQkVrRmxDb2dJR0JOd2U5QlFVRnJ5aG9MQUFBQUFBQlFoRzNicTJ6Ylh1bnRPQUFBQUFBQTFZKy90d05BdFpkZ1daYnhkaEFBQUFBQWdPckg4bllBVmNtMjdaNlMxa3VxNisxWWdFS2NEb2Rqd0xadDJ6WjZPeEFBQUFBQUtJL2F0cWZDT0pGUVFQVVQ2SGE3ci9GMkVBQUFBQUJRWHJXbS9DRThQRHhRMHEyU2xKaVlxRmF0V25rNUl0UjJSNDhlVlhSMHRDVGxXSmIxbXJmakFRQUFBSUR5cWpVckZVSkRRL3RMQ3IzODhzdEpLS0JhK1BERER3dCtYWjJVbEpUanpWZ0FBQUFBb0NKcVRWSkIwbkJKNnR1M3I3ZmpBQ1Q5TDZsZ2pGbm01VkFBQUFBQW9FSnFSVktoY09sRHYzNzl2QndOY0xiMElTVWxSWkp5SEE3SCs5Nk9Cd0FBQUFBcW9sWWtGU2g5UUhWRDZRTUFBQUFBWDFBcmtncWk5QUhWREtVUEFBQUFBSHlCenljVktIMUFkVVBwQXdBQUFBQmY0Zk5KQlVvZlVOMVErZ0FBQUFEQVYvaDhVa0dVUHFDYW9mUUJBQUFBZ0svdzZhUkNaWmMrNU9TVS9TV3oyKzNXNmRPbkwvaDlLOFAzMzMrdnhZc1g2L1BQUHkvV1o0elJ1KysrcTIrKytlWVgzU003TzF0NWVYbS9hSTZhanRJSEFBQUFBTDdFcDVNS0JhVVA0ZUhobFZMNkVCY1hwd1VMRnBUWTUzSzVGQmNYcDRFREI1NHorU0NkVFVETW1ER2oxUGxLczN2M2JqMzQ0SU5GN3VGeXVaU1JrWEhPbjhMKyt0ZS82dTIzMzlhbGwxNWE3QjRiTjI3VXZIbnpkTkZGRjVVWXc1a3paL1NmLy96SDh6b3lNbElIRHg2VUpHM1pza1ZaV1ZtU3BMbHo1K3IrKys4djEvUDVta0tsRDJzb2ZRQUFBQUJRMC9sN080QktObHlxbkZVSytmbjUyck5uajBhUEhsMWkzeE5QUEtGZHUzYXBUWnMyK3NNZi9xQlpzMmJKNFNnOWgrTndPQlFSRWFFbm5uaEM5ZXZYMXgxMzNIRmVjVFJ2M2x4ZmYvMjFwazJicHJsejU4cmhjR2pyMXEzNjdXOS9lODVyazVLU0pFbWZmdnFwMXF4Wkl6OC9QdzBlUExqSW1QSGp4K3NmLy9pSHNyT3pOV0RBZ0dKekxGKytYRWVPSE5HRER6Nm9QLzNwVDRxS2l2TDA3ZDY5VzlPbVRkTzhlZlBVdVhObmZmbmxsN3IrK3V2UDY3bDhWYUhTaDNlOUhBb0FBQUFBb0RUaDRlR0J0bTFuMnJadERoNDhhQzZrVTZkT21lVGtaRk13ZDFaV2xzbkt5dkwwVFpvMHlmenFWNzh5TzNic01DZE9uREFEQmd3d1U2Wk1NV2ZPbkRubjNFdVhMalhYWG51dDJidDM3M25IczIzYk50TzFhMWN6YTlZc1k0d3hlWGw1SmowOS9ady94aGh6Nk5BaDA3dDNiN04yN1Zwei9QaHgwNmRQSDdONjlXclAzQysrK0tJWk9uU295YzNOTmJObXpUSVBQL3l3Y1RxZHhXS1lOMitlR1RkdW5ESEdHTnUyellFREI4eWRkOTVwNXMrZmI0d3hKak16MDNUdDJ0Vjg4Y1VYNS8xY3Z1YklrU1BHdG0xajIzWjJaR1Jra0xmL0h3RUFBQUFBbE1LMjdXamJ0czF0dDkxMndUOGMzblRUVFFVZkRvdjg3Tnk1MDBSSFI1dkJnd2ViL2Z2M2U4WWZPSERBOU92WHp3d2RPdFRzMkxIam5QTlBtRERCM0h2dnZlV0tLVDQrM2l4ZnZyeGMxemlkVGpObzBDQXplL1pzVDl2Nzc3OXY3cnp6VHBPZm4yK01NZWE1NTU0ejI3WnRNOFlZazUyZGJVYU5HbVUyYk5oUVpKN2p4NCtidExRMGs1YVdabzRmUDI1czJ6Ykp5Y25tcTYrK010OS8vNzNKeThzenExYXRLdkU5SzNqZmFvT0ZDeGNXUERPckZBQUFBQUQ0Qk12YkFWUVcyN1lYU1JvMWNlSkVqUjA3OW9MUC84QURENmhEaHc2YU5HbVNjbk56OWNJTEwyamx5cFhxMjdldjFxOWZYMng4dTNidDFLeFpNMjNldkZsRGhnelJZNDg5VnVyY3Yvbk5iN1IxNjFiTm1qVkxOOTEwMHdXUHZiQmR1M2FwVTZkTzZ0V3JsNmZON1hhWFdxcFIwTGQwNlZJMWE5Wk0wdGs5Rk1yeSt1dXZhODZjT1FvUEQ5Yzk5OXdqNld4cHhDT1BQS0kzMzN4VDdkdTMxei8vK1U5Tm56NWQ0OGFOMDRRSkV6elgvdTUzdjlPbVRadTBmUGx5WFhMSkpiL29XUThmUHF3aFE0Wm80TUNCZXVhWlo0cjByVm16Um84Ly9yam16Sm1qRzIrODhSZmRwelIzMzMyM1VsSlNaSXdabnB5Y3ZMeFNiZ0lBQUFBQVZjZ245MVNvN0ZNZk1qSXl0RzNiTm8wYU5VcVJrWkZLU2twU3ExYXROSFBtVEVWRlJaV1lNUER6ODFOZ1lLRCsvZTkvcTFHalJxWE9uWk9UbzZTa0pJV0ZoZW5WVjE5VlZGU1VMS3ZrM00vcDA2ZDE3Tmd4eit2V3JWdHIxYXBWZXZMSko4LzdXUXIyVlRoMTZwUVNFaExVdW5Yck1zZm41dWFxZS9mdWNydmR4ZWJZczJlUEhuNzRZUjA1Y2tTVEprM1MwS0ZEMWFCQkF5VW5KMnZuenAyNjRvb3IxS0pGQzBsbmt3b09oME1kT25TUXY3Ky9CZ3dZb09YTGwydng0c1VhTVdLRVFrTkR0WHYzYm4zNDRZZWFNR0hDTDA0b1NOS2xsMTZxaUlnSWJkcTBTYm01dVFvSUNQRDByVnUzVGsyYU5GR1BIajErOFgxS3dxa1BBQUFBQUh5UlR5WVZLdnZVaDNYcjFxbDE2OWE2NG9vclBHMTMzMzEzaWQvWUp5VWxLVDgvWDM1K2ZrcExTOVAwNmRPMWFkT21VdWRldjM2OVhDNlhYbmpoQlUyWU1FR2JObTBxc3ZsaFljbkp5Wm8wYVZLUmU5MTAwMDI2K3VxckpaMU5mb3dmUDE2MzNYYWJoZzBiZHM3bmlvdUxrNzkvMmY4a2pESEYydHh1dDVZdFc2YVhYMzVaa3lkUDF2UFBQNitrcENRdFhicFV6ei8vdkY1NTVSVUZCd2ZyMjIrLzlWeHo1TWdSTlcvZXZNajlwazJicHJ2dXVrc0xGeTdVcEVtVDlKZS8vRVdYWFhaWmladGhWdFRnd1lQMTFGTlBhY3VXTFo3M05TTWpRLy81ejM4MGF0U29NamZUL0NVNDlRRUFBQUFBYWdqYnRoZlp0bTNpNCtNcnBUYit0dHR1TTRzV0xmTHNIMURBdG0yVGtaRmhYQzZYeWNqSU1MWnRtNnlzTE0rWWdvMzZ5akp5NUVnVEZ4ZG5qREZtNnRTcDVxNjc3akp1dDd2TWF3NGNPRkRpdkMrLy9MTHAxYXVYeWN6TU5NWVlrNWFXWms2ZVBGbmlIQVdiSzU2TDArazB0bTJiSTBlT0dHUE9ia3c1WXNRSTA2ZFBIN05seTVZaWM2MWV2ZG9NSERqUWZQamhoMmJGaWhXbWQrL2VubmtlZmZSUk0yWEtsR0x6ejVneHcvVG8wY09zV2JQRzJMWnQvdk9mLzV3enB2TEl6czQyTjl4d2czbjAwVWM5YmN1V0xmTnN1bGxaUm8wYVpXemJOaEVSRWVmTzdnQUFBQUJBRGVGekt4VXF1L1JCa2xKVFV6Vjc5bXpObmoxYjB0azlCV2JNbUNIcDdOR1FmbjUrRmZyR2U4dVdMZHE5ZTdkbjNyRmp4MnJreUpGYXYzNjlicjc1NW5MTmxaNmVyaVZMbG1qczJMRUtEUTJWZEhZbHdNVVhYNnlaTTJlV2VNMkVDUlBLdlZJaE9EaFl2WHIxMHJCaHcxUy9mbjNQMFpZdFc3WlU2OWF0MWFkUEg5V3RXMWRIamh4UlJrYUc5dTNicDNidDJpazVPVm5EaHc4dk5uOWNYSnpXcjErdko1NTRRZ01HRE5CMTExMVhydWMrbDZDZ0lQWHQyMWNmZmZTUm5FNm5BZ01EdFhidFduWHAwcVZTVnJWSWxENEFBQUFBOEYwK2wxU283TklIU1o2TkdOUFQwM1g3N2Jkci9mcjFDZ2tKa1hSMmViMWxXU1dXQ1pURjVYTHBwWmRlVXNlT0hkV3paMDlKMHBWWFhxaytmZnBvenB3NTZ0bXpwNEtDenY4VXdsZGZmVlZoWVdHNjg4NDdQVzNUcDAvWDNYZmZyU1ZMbHVpT08rNG9kczM4K2ZQUGUwK0Z3b1lOR3laampONTc3ejE5L1BISEdqOSt2REl6TXozOWRldlcxU1dYWEtLV0xWdnE0NDgvVm41K3ZvNGRPMVpzSGttcVU2ZU9nb0tDbEpXVnBjREF3UE4rM3ZJWVBIaXdWcTFhcFgvLys5L3ExS21UUHYvODh6STN6dnlsS0gwQUFBQUE0S3Q4THFrZ2FiaFVlYXNVSk9taWl5NHE5ZlhLbFNzVkVoS2lreWRQbHJvWFFrbmk0K04xNE1BQkxWaXdvRWo3NU1tVE5XellNTDMwMGt1YVBuMzZlYzIxYTljdUpTUWs2TTkvL3JQcTFLbWo3T3hzblR4NVVwTFVxMWN2elprelI5MjZkVk83ZHUyS1hEZG16SmdLcmJBWU5HaVFjbk56UGE5dnYvMzJJdjBGR3puMjc5OWZLMWFzVUZwYW1scTJiS2tycjd5eTJGeno1czFUVmxhV1JvOGVyVVdMRnVuV1cyOVZseTVkeWgxVFdTSWlJdFN5WlV0dDJMQkIzMzc3cmVyV3JWdXAvMTRLa2dxV1pTMnJ0SnNBQUFBQWdCZjRWRktoY09sRDM3NTlxK3krTzNic0tQZktoTUkyYjk2c045NTRRN2ZmZnJ1dXVlYWFJbjB0V3JUUWhBa1ROR2ZPSEYxenpUVWFOR2hRbVhQbDV1WnF5cFFwY3J2ZGV1eXh4NVNkbmUwNXFTRWdJRUFoSVNFS0NBalFZNDg5cGtXTEZubktIVjU4OFVWZGUrMjFTa3RMMDlTcFU3Vml4WXBpYzhmRXhHak9uRG5hdDI5ZmtSTXN0bTdkcXIvODVTLzYrT09QOWM0NzczaFdHRHorK09OS1Mwc3JjdjNDaFF1MVlzVUtUWmt5cGRqOHUzZnYxcElsUzNULy9mZnI3cnZ2MXZyMTYvWEhQLzVSYjcvOTlqbVRIVzYzVzFsWldRb0tDaXB5cWtOSkxNdlM0TUdEOWVhYmIrcnc0Y1BxMjdkdnVWYUJsRWZoMG9lOHZEeEtId0FBQUFENEZKOUtLaFF1ZlRqWE12NWZZdHEwYWZydXUrOTA5T2hSU2RLamp6NnFCeDU0UU5MWmIrM0xVLzZ3ZmZ0MlRaczJUUjA3ZHRSdmYvdmJFc2VNSERsU1c3WnMwZE5QUDYzNjlldXJWNjllUmZyMzc5OHY2ZXl4a1BYcjE5Zmt5Wk1sU1UyYU5GRllXSmdhTm15b0JnMGFlRDdzNzkyN1YvUG56MWRtWnFiNjkrOWY0ajFMT3NsQ2tvWU1HVkxrOVFzdnZLQnUzYnBwOWVyVmF0Q2dnVFp2M3F5b3FDaTkvLzc3MnJCaGc5NTg4MDNQMk1hTkc2dEZpeFk2ZlBpd3VuWHJWbVNlL1B4OFBmdnNzMnJTcElsR2pScWxnSUFBeGNYRjZROS8rSVBlZWVjZDNYWFhYYVc4ZzJkdDJiSkZreWRQMXVMRmk5VytmZnN5eDByU3IzLzlhODJmUDE5ZmZmV1ZIbnJvb1hPT3I2akNwUTg3ZCs3TXJyUWJBUUFBQUFCK21jbys5YUhBNGNPSFRVWkdoa2xMU3l0MitrTldWcFl4eGhRNTljSHBkQnBqaXAvK3NIYnRXblA5OWRlYjJOaFlrNTZlWHVZOTA5UFR6WkFoUTB6WHJsMU5mSHk4eWMzTk5mbjUrU1krUHQ3Y2VPT041cUdISGpMUjBkRW1NVEhSSEQxNjFMaGNyakxueTgvUE45bloyU1k3TzlzNG5VN2pkRHJORHovOFlHNjk5VmJ6N0xQUGV0b0svOWkyYmI3Kyt1c2liZm41K1o1blhMWnNtUmswYUpENTlhOS9iYnAyN1dyZWUrODl6LzNjYnJkNS9QSEh6ZlhYWDI4R0RScGtoZ3daWW80ZE8rYnAvOXZmL21aczJ6WnIxcXdwY3MySUVTUE1qVGZlYUw3Ly92c3luMmZ1M0xsbTBLQkJaWTc1dVdIRGhwbGJiNzIxWE5lVVY4R3BENUdSa2NWM3BRUUFBQUNBR3M1blZpcFVaZWxEeTVZdEpaM2RYUEhuakRHZXBmaCtmbjV5dVZ4S1RVMVZjSEN3a3BLU1BNdnNGeTFhcERsejV1aXFxNjdTM0xsejFiQmh3ekx2MmJCaFE4MmZQMTl4Y1hGNjVaVlhaSXhSbno1OXRIRGhRczJkTzFjUkVSRmF0V3FWRmkxYXBHZWZmVmFTNU9mbkozOS9mOCtQbjUrZmNuTno1WFE2bFplWHA0Q0FBSzFkdTFZblRwelF2LzcxTC8zOTczOVhjSEN3NHVMaVNpMGhxRk9uVG9sOUFRRUJhdHUyclZxMGFLSDkrL2VyWWNPR21qdDNyakl6TXpWaXhBZzk5OXh6V3J0MnJaNS8vbm1GaDRmcnZ2dnUwNWd4WS9UODg4K3JTNWN1R2pObWpNYU1HVk5rVHN1eTlQYmJiNS96N3lGSm4zLytlYm4yc0RoNDhLRDI3OSt2dUxpNDg3Nm12Q2g5QUFBQUFPRHJmQ2FwVUZXbEQrZVNucDZ1M3IxN3k3SXNEUnc0VUE2SFEvZmZmNzl5Y25JVUVCQ2crKzY3VDVJVUhSMnQ5UFIwVFp3NDhaeDdBQlJvMnJTcEZpNWNxQ1ZMbG1qMDZOSHk5L2ZYMHFWTDFhSkZDOCtjMGRIUnlzckswdkhqeCtWeXVlUjJ1NVdmbis4cHg3QXNTNVpseWVGd3FGNjllZ29PRHRhOTk5NnIzTnhjRFIwNlZDTkhqbFM5ZXZYTyszbFBuanlwMTE5L1haczJiZElQUC95ZzJOaFl6Wm8xUzNYcTFORTc3N3dqWTR3bVRweW8zYnQzYStiTW1aN1NqZmo0ZUUyZVBGbGp4NDdWRzIrOG9hdXZ2cm84YjNNUmVYbDVTa2xKMGNTSkU4LzdtcmZlZWtzQkFRRzY5ZFpiSzN6ZmM2SDBBUUFBQUFCcWlLb3FmU2pNNVhLWmxKUVV6K3ZVMUZTVG41OXYzRzYzcHl5Z1FFRjdkWlNUazFQaGEvUHk4c3kwYWRQTWloVXJUSFoyZHJGK2w4dGxubnJxS1pPYW1scXNMek16MDd6MTFsc1Z2bmVCN094c3MyN2R1bUx2ZVVubXpwMXJIbi84Y1dQYnRwazNiOTR2dm5kWktIMEFBQUFBNE9zc2J3ZHdJWVNIaHdlR2hvWitMeWswSVNIQnF5c1ZVTDMxN05sVERvZER3NFlOVTF4Y1hJV08wRHdmUjQ4ZVZYUjB0Q1NkZHJsY1RWaXBBQUFBQU1BWCtVVDVRM1VwZlVEMTk4a25uMVRKZlFxVlBxd21vUUFBQUFEQVYxWE8xN1JWYjdnazlldlh6OXR4QUpMK2wxU3dMR3VabDBNQkFBQUFnRXBUNDVNS1ZYbnFBM0ErQ3AzNmNKcFRId0FBQUFENHNocWZWS0QwQWRVTnBROEFBQUFBYW9zYW4xUVFwUStvWmloOUFBQUFBRkJiMU9pa0FxVVBxRzRvZlFBQUFBQlFtOVRvcEFLbEQ2aHVLSDBBQUFBQVVKdlU5Q01saDB0UzA2Wk45Y1VYWDNnN0ZrRHo1czJUUk9rREFBQUFnTnJCOG5ZQXY0UnQyK21TR25vN0R1Qm5UcnRjcmlhc1ZBQUFBQURnNjJyNlNvWFhKUFdWbE9mdFFJQUNsbVV0SjZFQUFBQUFBS2oxYk5zMnRtMGJiOGNCQUFBQUFLaCthdlJHalFBQUFBQUF3SHRJS2dBQUFBQUFnQW9ocVFBQUFBQUFBQ3FFcEFJQUFBQUFBS2dRa2dvQUFBQUFBS0JDU0NvQUFBQUFBSUFLSWFrQUFBQUFBQUFxaEtRQ0FBQUFBQUNvRUpJS0FBQUFBQUNnUWtncUFBQUFBQUNBQ2lHcEFBQUFBQUFBS29Ta0FnQUFBQUFBcUJDU0NnQUFBQUFBb0VJc2J3ZUE2cU56NTg0WDE2bFRaM0RoTm1OTXZDUlpsald1Y0h0ZVh0N0tuVHQzZmwrVjhRRUFBQUFBcWhkL2J3ZUE2aU00T1BpazArbWNMU240NTMwRnlZV2ZaQWNIQjc5ZGRaRUJBQUFBQUtvanloL2dzWFhyMXRPUzFwekgwTlUvalFVQUFBQUExR0lrRmZCekNlY2FZRm5XT2NjQUFBQUFBSHdmU1FVVTRYUTYzNWQwcG93aFo4NmNPYk8ycXVJQkFBQUFBRlJmSkJWUVJFcEt5aW5Mc3RhVk1lU0RsSlNVVTFVV0VMSmhWNE1BQUNBQVNVUkJWQUFBQUFDZzJpS3BnR0xjYm5kWjVRMlVQZ0FBQUFBQUpKRlVRQW1NTWFzazVaWFFsZWQydTFkWGRUd0FBQUFBZ09xSnBBS0syYkZqUjRha2owcm8rdkNuUGdBQUFBQUFTQ3FnWkNXZDhHQ01vZlFCQUFBQUFPQkJVZ0VsY3J2ZDcwbHlGMnJLZHpnYzcza3JIZ0FBQUFCQTlVTlNBU1ZLVGs3K1FkS21RazJia3BLU2puc3JIZ0FBQUFCQTlVTlNBV1h4bER1VVZBNEJBQUFBQUtqZFNDcWdWTWFZRllWZXJpaDFJQUFBQUFBQXdNOUZSRVQ4MjdidFQ3d2RCd0FBQUFDZyt2SDNkZ0NvM240cWV6RGVqZ01BQUFBQVVQMVkzZzZnS3RtMjNWUFNla2wxdlIwTFVJalQ0WEFNMkxadDIwWnZCd0lBQUFBQTVWSGI5bFFZSnhJS3FINEMzVzczTmQ0T0FnQUFBQURLcTlhVVA0U0hod2RLdWxXU0VoTVQxYXBWS3k5SGhOcnU2TkdqaW82T2xxUWN5N0plODNZOEFBQUFBRkJldFdhbFFtaG9hSDlKb1pkZmZqa0pCVlFMSDM3NFljR3ZxNU9Ta25LOEdRc0FBQUFBVkVTdFNTcElHaTVKZmZ2MjlYWWNnS1QvSlJXTU1jdThIQW9BQUFBQVZFaXRTQ29VTG4zbzE2K2ZsNk1CenBZK3BLU2tTRktPdytGNDM5dnhBQUFBQUVCRjFJcWtBcVVQcUc0b2ZRQUFBQURnQzJwRlVrR1VQcUNhb2ZRQkFBQUFnQy93K2FRQ3BRK29iaWg5QUFBQUFPQXJmRDZwUU9rRHFodEtId0FBQUFENENwOVBLb2pTQjFRemxENEFBQUFBOEJVK25WVHdadWxEVGs3WlgwQzczVzZkUG4yNmlxTDVaYjcvL25zdFhyeFluMy8rZWJFK1k0emVmZmRkZmZQTk4xNklyT2FoOUFFQUFBQ0FML0hwcEVKQjZVTjRlSGlWbHo3RXhjVnB3WUlGSmZhNVhDN0Z4Y1ZwNE1DQjUwdytTR2NURURObXpDaDF2dExzM3IxYkR6NzRZSkY3dUZ3dVpXUmtuUE9uc0wvKzlhOTYrKzIzZGVtbGx4YTd4OGFOR3pWdjNqeGRkTkZGNTR4bjVzeVpldVdWVjByc1c3ZHVuV0pqWTNYbzBLRnlQV05OVTZqMFlRMmxEd0FBQUFCcU9uOXZCMURKaGt0VnYwb2hQejlmZS9iczBlalJvMHZzZStLSko3UnIxeTYxYWROR2YvakRIelJyMWl3NUhLWG5keHdPaHlJaUl2VEVFMCtvZnYzNnV1T09PODRyanViTm0rdnJyNy9XdEduVE5IZnVYRGtjRG0zZHVsVy8vZTF2ejNsdFVsS1NKT25UVHovVm1qVnI1T2ZucDhHREJ4Y1pNMzc4ZVAzakgvOVFkbmEyQmd3WVVHeU81Y3VYcTFtelpwS2tiNy85VnN1V0xkTWpqenlpZ3djUEZoblhva1VMdmZycXF3b0lDSkRiN1M3U2Y5RkZGeWtrSk9TOG5yY21LRlQ2OEs2WFF3RUFBQUFBbENZOFBEelF0dTFNMjdiTndZTUhUVlU1ZGVxVVNVNU9OZ1gzemNyS01sbFpXWjYrU1pNbW1WLzk2bGRteDQ0ZDVzU0pFMmJBZ0FGbXlwUXA1c3laTStlY2UrblNwZWJhYTY4MWUvZnVQZTk0dG0zYlpycDI3V3BtelpwbGpERW1MeS9QcEtlbm4vUEhHR01PSFRwa2V2ZnViZGF1WFd1T0h6OXUrdlRwWTFhdlh1MlorOFVYWHpSRGh3NDF1Ym01WnRhc1dlYmhoeDgyVHFlenhEZ21UNTVzYk5zdThXZnUzTG1sOWkxWnN1UzhuN1c2TzNMa1NNRnpaVWRHUmdaNSsvOFJBQUFBQUVBcGJOdU90bTNiM0hiYmJWWDZ3ZkdtbTI0cThjUHh6cDA3VFhSMHRCazhlTERadjMrL1oveUJBd2RNdjM3OXpOQ2hRODJPSFR2T09mK0VDUlBNdmZmZVc2Nlk0dVBqemZMbHk4dDFqZFBwTklNR0RUS3paOC8ydEwzLy92dm16anZ2TlBuNStjWVlZNTU3N2ptemJkczJZNHd4MmRuWlp0U29VV2JEaGczRjVscStmTG5wMXEyYjJiRmpoMW0xYXBWNTlORkhUVjVlbmpIR21EMTc5cGpycjcvZXpKZ3h3eGhqek9PUFAyN2VlZWVkY3NWYVV5eGN1TERnM3dPckZBQUFBQUQ0Qk12YkFWUVcyN1lYU1JvMWNlSkVqUjA3dGtydi9jQURENmhEaHc2YU5HbVNjbk56OWNJTEwyamx5cFhxMjdldjFxOWZYMng4dTNidDFLeFpNMjNldkZsRGhnelJZNDg5VnVyY3Yvbk5iN1IxNjFiTm1qVkxOOTEwVTJVK2huYnQycVZPblRxcFY2OWVuamEzMjExcXFVWkIzOUtsU3oxbEQxdTJiTkdVS1ZNMGFkSWtqUnc1VWovODhJUEdqUnVuWHIxNjZkNTc3OVdvVWFNVUVoS2l2LzN0YndvSUNGQktTb29tVEppZ045OThVKzNhdFNzeS8rblRwL1g2NjY5ci9mcjFPbmJzbUVKRFEzWEREVGNvTGk1T1RabzA4WXlMakl4VS8vNzlkZi85OTJ2V3JGbjYvUFBQNWUvdnI1dHV1a2xUcGt6eFdqbkYzWGZmclpTVUZCbGpoaWNuSnkvM1NoQUFBQUFBY0FINTVKNEszanoxSVNNalE5dTJiZE9vVWFNVUdSbXBwS1FrdFdyVlNqTm56bFJVVkZTSkNRTS9QejhGQmdicTMvLyt0eG8xYWxUcTNEazVPVXBLU2xKWVdKaGVmZlZWUlVWRnliSkt6Z3VkUG4xYXg0NGQ4N3h1M2JxMVZxMWFwU2VmZlBLOG42VmdYNFZUcDA0cElTRkJyVnUzTG5OOGJtNnV1bmZ2THJmYjdXbHIxcXlaZnZPYjMyamt5SkhhczJlUDR1TGk5UExMTDZ0dDI3WTZkZXFVdW5YcnBva1RKeW9nSUVEUzJYMGdmdldyWHhWTEtPVG01bXJDaEFuYXZYdTMrdmZ2NzluVWNjMmFOZnJzczgvMHpqdnZLRFEwMURQKytQSGptakJoZ3JwMzc2NnhZOGRxeDQ0ZGV1Kzk5M1RvMENIRng4ZVgrcjVWRms1OUFBQUFBT0NMZkRLcDRNMVRIOWF0VzZmV3JWdnJpaXV1OExUZGZmZmRpb3lNTERZMktTbEorZm41OHZQelUxcGFtcVpQbjY1Tm16YVZPdmY2OWV2bGNybjB3Z3N2YU1LRUNkcTBhWk9pb3FKS0hKdWNuS3hKa3lZVnVkZE5OOTJrcTYrK1d0TFo1TWY0OGVOMTIyMjNhZGl3WWVkOHJyaTRPUG43bC8zUHhSaFRySzF0MjdacTI3YXRqREg2MDUvK3BLaW9LRjE1NVpXU3BFYU5HaFZMc21SbFplbUREejdRYzg4OVY2Ujk4ZUxGMnJWcmx4NTc3REVOR1RMRTA5NnpaMDlOblRwVmI3enhScEVOS0xkdjM2NlpNMmVxZCsvZWtxVFJvMGZyK2VlZjEvTGx5N1YxNjFiMTZOSGpuTTk4SVhIcUF3QUFBQUJmNUpOSkJYbnAxQWRKU2t4TVZIUjBkSWw5Ly96blAxVy9mbjJkT25WS3ZYdjMxc21USnhVVkZhV2twQ1M1M1c2ZE9uV3F6TGtURWhKMDNYWFhLVEl5VXIxNjlkS0NCUXZVcTFldkVyOTE3OUdqaDVLU2tuVHc0RUhGeHNaS2t1clhyNi82OWV0TE9udE1aRkJRa01hUEg2L1EwRkFkTzNaTXdjSEJudjZmKyt0Zi8zcmVLeFZLOHM0NzcyakhqaDE2K3VtblMweXcvRnpCbUtsVHAyckVpQkZhdjM2OW1qVnJwbHR2dmJYSXVLaW9LRjEyMldYNjE3LytWU1NwY1BubGwzc1NDZ1ZHakJpaDVjdVg2N1BQUHZOYVVzRnc2Z01BQUFBQUgrSnpTUVZ2bGo1SVVtcHFxbWJQbnEzWnMyZExPdnZoZU1hTUdaTE9IZzNwNStkWDV2R1JwZG15Wll0Mjc5N3RtWGZzMkxFYU9YS2sxcTlmcjV0dnZybGNjNlducDJ2SmtpVWFPM2FzcDJSZzJyUnB1dmppaXpWejVzd1NyNWt3WVVLRlZpcElaL2RtbUR0M3JpVEozOTlmQ1FrSmtxUXpaODZvYnQyNlJjWWVPWEpFRHo3NG9HZE1RVG5Jd1lNSGRmMzExNWVZUUduYnRxMjJiTmxTcEsya0ZTb3RXN2FVSlAzNDQ0OWxQc2VGUnVrREFBQUFBRi9sYzBrRmI1WStTUEpzeEppZW5xN2JiNzlkNjlldjkyd01PSGp3WUZtV1ZlcUg3OUs0WEM2OTlOSkw2dGl4bzNyMjdDbEp1dkxLSzlXblR4L05tVE5IUFh2MlZGRFErWjlRK09xcnJ5b3NMRXgzM25tbnAyMzY5T202Kys2N3RXVEpFdDF4eHgzRnJway9mMzZGVmlvY1BueFkvL2QvLzZlSWlBajk5Ny8vbFhSMmY0Y05HelpvNXN5WmV1dXR0OVMwYWROaWMvMzhYc2FZTXZkQitIbWlwcVRFelprelp5VEpzMzlEVmFIMEFRQUFBSUN2OHJta2dyeFkraUJKRjExMFVhbXZWNjVjcVpDUUVFL1p3L21LajQvWGdRTUh0R0RCZ2lMdGt5ZFAxckJody9UU1N5OXArdlRwNXpYWHJsMjdsSkNRb0QvLytjK3FVNmVPc3JPemRmTGtTVWxTcjE2OU5HZk9ISFhyMXEzWVJvbGp4b3lwMEFxTGYvempId29LQ3RLVFR6NnBnUU1IZXRxdnUrNDZTZEx2Zi85N0xWaXc0Snh6WDNMSkpkcTdkMitKZmZ2Mzd5K1dRRHB4NGtTeGNidDM3NVlrdFduVHBselA4RXNWSkJVc3kxcFdwVGNHQUFBQWdFcm1VMG1Gd3FVUGZmdjI5WEkwWiszWXNhUGNLeE1LMjd4NXM5NTQ0dzNkZnZ2dHV1YWFhNHIwdFdqUlFoTW1UTkNjT1hOMHpUWFhhTkNnUVdYT2xadWJxeWxUcHNqdGR1dXh4eDVUZG5hMjU2U0dnSUFBaFlTRUtDQWdRSTg5OXBnV0xWcmtLWGQ0OGNVWGRlMjExeW90TFUxVHAwN1ZpaFVyaXMwZEV4T2pPWFBtYU4rK2ZVVk9zTGp0dHRzMFpNaVFZc2M0aG9hRzZ0RkhIOVhVcVZQMTl0dHZhOVNvVVdYRzNxZFBIeTFZc0VBclY2N1U0TUdEUGUwYk4yN1VvVU9IOU9DRER4WVp2MzM3ZG4zNTVaZnEwS0dEcExQSFhiNysrdXR5T0J5VmZoUm5ZWVZMSC9MeThpaDlBQUFBQU9CVGZDcXBVTGowNFZ4TDlTdkx0R25UOU4xMzMrbm8wYU9TcEVjZmZWUVBQUENBSkduUW9FSGxLbi9Zdm4yN3BrMmJwbzRkT3hiWmhMQ3drU05IYXN1V0xYcjY2YWRWdjM1OTllclZxMGovL3YzN0paMDlGckorL2ZxYVBIbXlKS2xKa3lZS0N3dFR3NFlOMWFCQkF3VUdCa3FTOXU3ZHEvbno1eXN6TTFQOSsvY3Y4WjZsYmJSWStGUUdTWHJoaFJjOHlaMmNuT0tyL3FPaW9uVFBQZmZvaGh0dUtPMHQ4Qmc5ZXJRKyt1Z2pQZlBNTS9ydmYvK3JLNjY0UW9jT0hkTHExYXQxMVZWWEZTbmxrTTd1bi9EQUF3OG9PanBhWVdGaCt2ampqNVdTa3FLeFk4ZXFSWXNXNTd6ZmhWSzQ5R0huenAzWlZYWmpBQUFBQUVENTJMYTl5TFp0RXg4ZmI3emw4T0hESmlNanc2U2xwUm5idGozdHRtMmJyS3dzWTR3eFdWbFpuajZuMDJtTU1lYklrU05GeHE5ZHU5WmNmLzMxSmpZMjFxU25wNWQ1ei9UMGRETmt5QkRUdFd0WEV4OGZiM0p6YzAxK2ZyNkpqNDgzTjk1NG8zbm9vWWRNZEhTMFNVeE1ORWVQSGpVdWw2dk0rZkx6ODAxMmRyYkp6czQyVHFmVE9KMU84OE1QUDVoYmI3M1ZQUHZzczU2MndqKzJiWnV2di82NlNGdCtmcjVuenV6c2JHUGJ0a2xMU3l2ejNnY09IQ2p5UGhTV21abHAvdmpIUDVxYmI3N1pYSHZ0dFdiUW9FRm05dXpaSmpzN3U4ZzQyN2JONzM3M08vUHh4eCtiMk5oWWM5MTExNW1oUTRlYUpVdVdsSG52eWpCcTFDaGoyN2FKakl3Yzd1My9Qd0FBQUFEZ1F2T1psUXJWcGZTaDRJUUJsOHRWck04WUk3ZmJyYXlzTFBuNStjbmxjaWsxTlZYQndjRktTa3J5YkxhNGFORWl6Wmt6UjFkZGRaWG16cDJyaGcwYmxublBoZzBiYXY3OCtZcUxpOU1ycjd3aVk0ejY5T21qaFFzWGF1N2N1WXFJaU5DcVZhdTBhTkVpUGZ2c3M1SWtQejgvK2Z2N2UzNzgvUHlVbTVzcnA5T3B2THc4QlFRRWFPM2F0VHB4NG9UKzlhOS82ZTkvLzd1Q2c0TVZGeGRYNmthSGRlclVxZEFtaUttcHFYSTZuYXBidDY0MmI5NWNyRlNpUUdob3FCNTU1QkU5OHNnajV6VnZWRlJVdWZhdXVOQW9mUUFBQUFEZzYzd21xVkFkU2gvT0pUMDlYYjE3OTVabFdSbzRjS0FjRG9mdXYvOSs1ZVRrS0NBZ1FQZmRkNThrS1RvNld1bnA2Wm80Y2VKNWYwaHYyclNwRmk1Y3FDVkxsbWowNk5IeTkvZlgwcVZMUFV2OW82T2pGUjBkcmF5c0xCMC9mbHd1bDB0dXQxdjUrZm1lY2d6THNtUlpsaHdPaCtyVnE2Zmc0R0RkZSsrOXlzM04xZENoUXpWeTVFalZxMWZ2Z3I4dkgzMzBrVjU3N1RWSlVtQmdvS2RjcEthajlBRUFBQUFBYW9qcVVQcFFtTXZsTWlrcEtaN1hxYW1wSmo4LzM3amQ3aUpsQWNZWVQzdDFsSk9UYzBIbWNidmQ1c2lSSThXZXZiQ3krc3Fqb1B6QjJ5aDlBQUFBQU9EcmZHS2xRblVwZlNqTXo4OVBIVHQyOUx3dWZFU2paVmxGeGxia3FNYXFjcUZXSmxpV2RjNE5FcXZ6KzFCZWhVb2ZUbFA2QUFBQUFNQlgrVVJTb1NhVVBxRHFKQ1VsZVR1RXdxVVBxeWw5QUFBQUFPQ3JmT1dyNGVHUzFLOWZQMi9IQVVqNlgxTEJzcXhsWGc0RkFBQUFBQ3BOalU4cVZNZlNCOVJ1bEQ0QUFBQUFxQzFxZkZLQjBnZFVONVErQUFBQUFLZ3RhbnhTUVpRK29KcWg5QUVBQUFCQWJWR2prd3FVUHFDNm9mUUJBQUFBUUcxU281TUtsRDZndXFIMEFRQUFBRUJ0VXRPUGxCd3VTVTJiTnRVWFgzemg3VmdBelpzM1R4S2xEd0FBQUFCcUI4dmJBZndTdG0yblMycm83VGlBbnpudGNybWFzRklCQUFBQWdLK3I2U3NWWHBQVVYxS2V0d01CQ2xpV3RaeUVBZ0FBQUFDZzFyTnQyOWkyYmJ3ZEJ3QUFBQUNnK3FuUkd6VUNBQUFBQUFEdklha0FBQUFBQUFBcWhLUUNBQUFBQUFDb0VKSUtBQUFBQUFDZ1FrZ3FBQUFBQUFDQUNpR3BBQUFBQUFBQUtvU2tBZ0FBQUFBQXFCQ1NDZ0FBQUFBQW9FSklLZ0FBQUFBQWdBb2hxUUFBQUFBQUFDcUVwQUlBQUFBQUFLZ1FrZ29BQUFBQUFLQkNTQ29BQUFBQUFJQUtJYWtBQUFBQUFBQXFoS1FDQUFBQUFBQ29FTXZiQWFENjZOeTU4OFYxNnRRWlhMak5HQk12U1pabGpTdmNucGVYdDNMbnpwM2ZWMlY4QUFBQUFJRHF4ZC9iQWFENkNBNE9QdWwwT21kTEN2NTVYMEZ5NFNmWndjSEJiMWRkWkFBQUFBQ0E2b2p5QjNoczNicjF0S1ExNXpGMDlVOWpBUUFBQUFDMUdFa0YvRnpDdVFaWWxuWE9NUUFBQUFBQTMwZFNBVVU0bmM3M0paMHBZOGlaTTJmT3JLMnFlQUFBQUFBQTFSZEpCUlNSa3BKeXlyS3NkV1VNK1NBbEplVlVsUVVFQUFBQUFLaTJTQ3FnR0xmYlhWWjVBNlVQQUFBQUFBQkpKQlZRQW1QTUtrbDVKWFRsdWQzdTFWVWREd0FBQUFDZ2VpS3BnR0oyN05pUkllbWpFcm8rL0trUEFBQUFBQUNTQ2loWlNTYzhHR01vZlFBQUFBQUFlSkJVUUluY2J2ZDdrdHlGbXZJZERzZDczb29IQUFBQUFGRDlrRlJBaVpLVGszK1F0S2xRMDZha3BLVGozb29IQUFBQUFGRDlrRlJBV1R6bERpV1ZRd0FBQUFBQWFqZVNDaWlWTVdaRm9aY3JTaDBJQUFBQUFBRHdjeEVSRWYrMmJmc1RiOGNCQUFBQUFLaCsvTDBkQUtxM244b2VqTGZqQUFBQUFBQlVQNWEzQTBDMTVMQnR1NTh4WnFGbFdVMk5NYWNzeXhxMmZmdjJEU3A2SWdRQUFBQUFvQllqcVFDUGlJaUlGcFpsM1NOcHJLVFdKUXc1S0dtQlpWbHZKQ1VsZlZlVnNRRUFBQUFBcWgrU0NyWGM4T0hEL1ZKVFUvdGJsalZlVXJRa1AwbTY1SkpMRkJNVG94NDllbWpMbGkxS1RFelVrU05IQ2k3TGw3VEtHUE5hZUhqNCttWExsdVY3S1h3QUFBQUFnQmVSVktpbHVuVHBjb20vdi8rOXhwaXhraTZUSkg5L2YwVkZSU2ttSmtiZHVuV1R3L0cvdzBIY2JyYysrK3d6SlNZbTZ1T1BQMVordmllUGNNaXlyQVV1bCt1Tnp6Ly8vRWp4T3dFQUFBQUFmQlZKaFZwaytQRGhmdnYzN3g5Z2pCa3Y2ZGY2NlVqUlN5KzlWRU9IRGxWMGRMUWFOV3Awem5sT25EaWhWYXRXS1RFeFVkOSsrMjFCYzc1bFdhc3R5M3F0VFpzMjYxaTlBQUFBQUFDK2o2UkNMZEN0VzdkTDgvUHo3NVYwbjZSTHBiT3JFbnIzN3EyWW1CaEZSa1lXV1pWd3Z0eHV0NUtTa3BTWW1LaC8vdk9mY3JsY0JWMkhMY3Rha0plWDk4Yk9uVHUvTFdzT0FBQUFBRUROUlZMQlIwVkZSZmxuWldYZEltbThwSUg2YVZYQ1paZGRwcGlZR1AzNjE3OVdXRmpZQmJ0ZmVucTZWcTllcmNURVJCMDZkS2lnMlMxcGphVFhRa05EUDlpNGNhT3I5QmtBQUFBQUFEVU5TUVVmRXhrWmVabmI3YjdQc3F6N0pGMGlTWFhxMUZHZlBuMFVFeE1qMjdabFdaWDNaemZHYVB2MjdVcE1UTlJISDMya3ZMdzhTWkpsV2Q4YVkxNy82ZVNJUStlWUJnQUFBQUJRQTVCVThBRlJVVkgrR1JrWmd5ekxHbTlaMWkzNjZlL2FxbFVyejZxRWhnMGJWbmxjR1JrWm50VUwzM3p6VFVHelc5SmFZOHhyRFJvMGVKL1ZDeFVYSEJ6Y3BWMjdkdXYzN3QwYmVmcjA2WXdTaGpoKytpa3NTMmYvQmdBQUFBRHdpNUZVcU1FaUlpSmFPUnlPc2NhWWV5VzFrS1NBZ0FEUHFvU0lpSWhLWFpWd3Zvd3hTazVPOXF4ZXlNM05MZWc2YW94NVhkTHJ5Y25KMzVReEJVclFwRW1UdUtaTm0wNzcrdXV2Yis3VXFkT1hQKy9QeThzN1ZxZE9uYWFGMjNidDJ0VWhOemYzcTZxTEVnQUFBSUF2OC80blRwUkxaR1JrSFdQTXJ5V05relJBUC8wTjI3UnBvNWlZR0EwYU5FZ05HalR3YW94bHljek0xSm8xYTVTUWtLQ0RCdzhXTkJ0SkgxaVc5WnFrTlVsSlNYbGVDN0FHYWR1MjdZcTh2THdqeDQ0ZGU3bFRwMDVmYnQrK3ZZNGtCUVFFdE8vVXFkT3U3ZHUzRi9uLzI3WnRRMUlCQUFBQXdJWGs3KzBBY0g0NmQrN2N4dC9mdjJCVlFqUHA3S3FFZnYzNktTWW1SbDI2ZEtrV3F4TE9wVUdEQmhveFlvVHV2UE5PZmY3NTUwcE1UTlNHRFJ1czNOemNXNHd4dDBqNnpyYnROOXh1OTRJZE8zWWM5SGE4MVZod2FHam96YW1wcVFNTHRSV1VrbkNjSndBQUFJQXFRVktoR291TWpLempkcnNIVzVZMVRsSi8vYlFxb1czYnRvcU5qZFhBZ1FNVkdocnEzU0FyeUxJc1hYUE5OYnJtbW12MDBFTVA2ZjMzMzFkQ1FvTDI3OS9mWE5KMGg4UHhxRzNiNnlXOVpsbldLbFl2RkJVV0ZqYlU0WERVeTgzTlRTdlUzRkNTL1AzOVEzNTYzYXpxSXdNQUFBQlFtMVQvcjdacm9XN2R1clYxdVZ6akpOMWpXVlpUNmV5cWhQNzkreXNtSmthZE8zZXVFYXNTeXNzWW81MDdkeW94TVZIcjE2LzM3TDFnakRrbTZRMS9mLzhGbjMzMjJYN3ZSbGs5dEcvZmZrdHdjSEQzWGJ0MmRaQ2trdlpVTU1ZNEM3KzJMQ3VROGdjQUFBQUFGNUx2ZlRLdG9hNjY2cXFBdW5YcjN1cDJ1OGRabHRXdm9MMWR1M2FLalkzVkxiZmNVbU5YSlZSRVZsYVcxcTVkcTRTRUJPM2J0OC9UYm96WklPbTEzTnpjbFNrcEtibWx6K0M3UWtKQ2VyUnIxKzVEaDhOUnIzQlNvZEFlQ2hlM2JObnkwVysvL2ZhM2hhOXIwNmJOM3c4Y09QQ3dwTytxT21ZQUFBQUF2b21rZ3BmWnRoMnVzNXN1M2lPcGlTUUZCZ2JxNXB0dlZreE1qRHAxNnVTVHF4TE9sekZHdTNidFVtSmlvdGF0V3llbjAvUGwrL2VXWmYzTkdMTmcrL2J0cWQ2TXNhcGRjY1VWLzh6T3prNXUyclRwLzVXU1ZKQjBkbVBHbjEvcmREcjNwYVNraEZkVnJBQUFBQUI4VyszOXRPcEZWMTExVlVCZ1lPQVFTZU1sOVNsb3Yvenl5eFViRzZzQkF3WW9KQ1NrOUFscXFaTW5UK3FERHo1UVFrS0M5dTdkVzdqckkwbXZPWjNPZjlTRzFRdmg0ZUZyVTFOVFI5cTJmYnkwOG9jalI0Nzh2bkhqeHZmdDI3ZXYzNWt6Wjc2VlZDOGlJdUxFeVpNbk4veHNjMGNBQUFBQXFEQTJhcXhDWGJwMHVjTFB6MitzcERINmFWVkMzYnAxTldEQUFNWEV4S2hqeDQ2MWVsWEN1WVNFaEdqNDhPRWFObXlZVWxKU1BLc1h6cHc1MDBkU244REF3QjlzMjM3VDdYYkg3OWl4WSs4NUo2eWhVbE5UaDBzNjlmUDI3ZHUzaHhWNmVUb29LQ2lpWHIxNlBjNmNPYk00TkRTMHAyVlovaWRPbkZoV2RaRUNBQUFBOEhWOGdxMWs0ZUhoZ1NFaElVTXR5eG92NmFhQzl2YnQyeXNtSmthMzNIS0xnb09EdlJoaHpYYnExQ2w5OE1FSFNreE0xSjQ5ZXdwM2ZXeU1lZTNreVpNclVsTlRuYVZkWDVQWnRtM0tLbjlvMUtqUlBZMGFOYm90TlRYMWxuYnQycjBYRkJUVTlZc3Z2bWdyeVNmZkR3QUFBQUJWajZSQ0plbmF0V3Y3L1B6OGNaWmxqWkYwa1NUVnExZlBzeXFoUTRjT3JFcTRnSXd4MnIxN3QyZjF3dW5UcHd1NmZqVEd2T25uNXhlL2JkdTJQV1hOVWRQOFBLbFF1TS9wZE81SlNVbnAxcVZMbHlQSGpoMmIyYUpGaTZmMjdkdDNXMlptNW5MdlJBc0FBQURBRi9HcDlnS0tpb3FxZS9Ma3lSaGp6SGhKdlFyYU8zVG9vSmlZR0EwWU1FQkJRVUZlakxCaUlpTWoxYjkvZnozLy9QT1ZkbjFhV3ByaTQrUDF5U2VmS0RNelU2MWF0ZEs0Y2VQVXIxKy9VcThwVFhaMnRtZjF3bGRmRlRrOWNaTmxXYStGaElRa2J0eTQ4VXo1bjZSNktXR2xRdUh5aDN4Sko1czNiLzVzOCtiTnB4OC9mdnd2aHc0ZGV0QTdrUUlBQUFEd1ZleXBjQUhZdHQxQjByak16TXpSbG1VMWtxU2dvQ0RkY3NzdEdqcDBxRHAwNk9EbENLdS85OTU3VDBsSlNSb3laSWo4L1B5VWtKQ2czLy8rOXdvTEMxUFhybDNMTlZkd2NMQmlZMk1WR3h1ckw3LzhVb21KaWZyZ2d3K1VrNVBUeXhqVEt6TXo4NFJ0MndzbHhXL2Z2djNMYzA1WWMyUVVmbEd2WHIyV2pSbzFHbWFNY1lhRWhBd01DZ3BhbUpPVGsrU3Q0QUFBQUFENEhwSUtGZFM5ZS9kNlRxY3pWbWRQY09ncFNaWmxxV1BIam9xTmpWWC8vdjFyNUtvRWI3bisrdXQxenozM0tDQWdRSklVRlJXbEVTTkdhTU9HRGVWT0toVFdvVU1IVFo4K1hWT21UTkc2ZGV1VW1KaW8zYnQzTjVJMFJkSVUyN1kva2ZSYVlHQmd3dGF0VzArZlk3b2FvMkhEaGpHWFhucnB2TnpjM0s4T0hEalF1MFdMRm0rMGI5LysweE1uVGl6ODdydnYvcHlibTV2aTdSZ0JBQUFBMUh3a0ZjcXBTNWN1Vi9uNStZMXpPcDEzU3dxVHpxNUtHRGh3b0dKaVl0UytmWHN2UjFnemRlblNwY2pyeXk2N1RKTGtjcmt1eVB4QlFVRWFPblNvaGc0ZHFxKysra29yVnF6USsrKy9yNXljbko2U2VqcWR6cm0yYlM4eXhyeVduSnk4KzRMYzFFc2FOV3AwWCt2V3JlTi8rT0dIVnc0ZlB2eC9rcHlwcWFtM1hIenh4Uk9iTjIvK3JOdnRkaDQrZlBnQmI4Y0pBQUFBb09aalQ0WHowTDE3OTNwbnpwd1pMbW04WlZrM0ZMUmZkZFZWaW8yTlZiOSsvU3AxVmNMcDA2ZjErdXV2Ni8vWnUvdm9xT3A3WC96djcweWVZNFlFUlFSQ2dQQVlnb1RaazV3YWUzbzZQQ1dFcHpvN3BoNDlpcUlrMW11dDFiYm4xbE05WGJmTEs2dS9hbnZXd1hPOEt3VFUybGJ2UW5ZUUFzUWdrTnBUUFhmQlRFSklnRWg0Q2lBZ21FZnpNSlBNL3Y3K1NHWTZnV1FJTUpsSnd2dTFWdFp5UG52UDNwK1l2WWI5L2N4bmY3OWxaV1c0ZE9rU1RDWVR2djN0YitQWlo1L0Z1SEhqdlB0NTVpNTQrdW1uOGZycnIrUFFvVU1JQ3d2RHdvVUw4Y0lMTHlBdUxtNUk4bnZwcFpkUVZsWUd1ejF3bmZYRnhjVjQ5ZFZYc1g3OWVtUmxaUVhzdUw3YTI5dFJWbFlHVGROUVUvTzNMKzZsbEg4RlVCZ1ZGYlZsT0hjdjNIWFhYZXV1WExteUJZQk1TRWhZM2RqWStJZmVUZUV4TVRIejJ0dmJLL3A1MnhqMHJQNHc0dWVVSUNJaUlpS2kwR05Sd1kvMDlQUjVVc29DS2VWakFPS0JudWYxVjZ4WUFadk5obG16WmcxNURpNlhDL241K1RoeTVBaXlzckl3YTlZczFOZlhZK2ZPbmJqenpqdngvdnZ2dzJReUFlZ3BLaWlLZ3JObnp5SXpNeE5UcDA1RlpXVWxQdjMwVTVqTlptemN1Tkc3NHNTWFgzN3A5N3dUSjA0Y2RJNkJMaW9jUG53WVAvakJEMkEybTdGaHc0YWdySkpSVzF2cjdWNW9hMnZ6aEp1RUVPOEpJUW9QSGp4WVBlUkpFQkVSRVJFUmpUQXNLdlJEVVJRYkFNMDNkdSs5OXlJM054ZExsaXhCZEhSMDBISjU1NTEzc0dIREJyenl5aXQ0NElFSHZQSHk4bkw4NUNjL3dXT1BQWVlmLy9qSEFIcUtDZ0R3bTkvOEJvc1dMZkx1dTM3OWVuejQ0WWZZc0dFRDdyLy8vajc3RHVSR0NnU0JMQ3FjUFhzV2E5YXN3WVFKRTFCVVZCVDBlU2s2T2pxd1o4OGVhSnFHdzRjUFg3MVpkVGdjeFVGTmlJaUlpSWlJYUJqam5BcjllOC8zeGF1dnZvcWNuSnlRSkZKV1ZvWjc3cmtIMy92ZTkvckVyVllya3BLUzhPbW5uM3FMQ2dBd2MrYk1QZ1VGQUhqa2tVZnc0WWNmNHNDQkE5Nml3aHR2dkhGTGVmbDJPblIwZEZ3VHU1Rk9CMSsvL3ZXdjBkWFZoZC8rOXJjaG1lZ3lPam9hcTFldnh1clZxN0ZyMXk2ODhzb3J2cHZmVXhRbDF1ZTE5UG01K3ZVTng2V1VFZ0NFS1FobFFRQUFJQUJKUkVGVUVJT0tlMks5MjRNVjkrWXRwWlErT2QxeVhFcjUzeFVWRmIvcy95OURSRVJFUkVUREVZc0svWHNNd0ZiMGRuSzgvUExMK09DREQ3enpKd1N6VStIMDZkTzQ3Nzc3K24wRUlEazVHWjk5OWxtZjJKUXBVNjdaTHpFeEVRRHc5ZGRmZTJOV3EvV1c4bHExYXBYZjJNMTJMZGp0ZG1SbVp1S2VlKzY1NmR4dVJVZEhoM2VlaGVycVBrODhTUFJjRjc0ZExBSUI3UFlaNkRFUGY0OS85TlliZ2g3M2w5Zk54b1VRV1FCWVZDQWlJaUlpR2tGWVZPaEhiNHU3SVQwOWZaN2I3YzRYUXF5cHJxNk9yNjZ1eHV1dnY0N2x5NWZEWnJNRlphVUhLYVhmUWFYQllQRDdHZ0E2TzN2bTVQTXMxd2pjK3B3S3ZwME83NzMzSGlvcksyKzUrd0VBNHVMaUVCa1plY3ZIdVZHMXRiWFFOQTI3ZCsvdU02ZUNsUEwzUnFOeG84K2NDcDVDZ3NqTHl4T1hMMThXQU5EYTJpbzZPenVGMCtrVWlZbUp3dWwwQ2dCd3VWeWlxNnRMdU4xdUVSOGZMN3E3dXdVQWRIZDNDN2ZiTGR4dXQ3ampqanVFMiswV0FPQjJ1NFd1NjhMdGRvdm82R2loNjdvQUFGM1hoZWRIU2lrQUlESXlzay9NczY4bjdvbDU5ZzhQRHhkU1N1K1BaLytyNDU3OXc4TENyb2xKS2NXTnhBRUlvOUY0M1RpQTBzRC9WWW1JaUlpSWFLaXhxT0JINzBEeStjek16SjkzZG5ZK0tJUW9hR3RyKy9zdFc3Wmd5NVl0U0UxTmhhcXF5TXJLR3JKVy9VbVRKdUg0OGVQOWJqdDU4dVExblFrTkRRM1g3SGZrU004S2lkT21UZlBHK3VzMDhIVzlUZ1BmVG9lUFAvNzRtdGpOMGpTdDM4TElVQmhvOVFjQS95V2xMSXlLaXZwd2dOVWZKQUM1WmN1V2ZvOWJWMWMzQk5tT2JvcWloRG9GSWlJaUlpSzZDU3dxREVMdndQSTlBTytaemVhNVFvaDhBSS9YMU5RazFOVFU0STAzM3ZCMkw4eVpNeWVnNTE2OGVER0tpb3F3ZmZ0MnJGNjkyaHN2THk5SGZYMDlmdlNqSC9YWjMrRnc0T2pSbzBoSlNRRUE2THFPVFpzMndXQXdZT0hDaGQ3OUF0RlZNRlNHdWxQaDJMRmozcTZFOXZaMlQ3Z1J3THRTeW8wVkZSVkhoalFCSWlJaUlpS2lVWUtyUDl3a3E5VWExZExTa2d1Z0FNQS9lT0lwS1NuSXpjMUZkbloyUUxvWDJ0dmJzV2JOR3B3NWN3YloyZG5lSlNWTFNrb3dhOVlzRkJVVmVSOXJzRmdzU0VwS1FsTlRFMWF0V29XRWhBVHMzNzhmTlRVMVdMZHVIWjU1NXBsYnpxYy9nVno5WWRXcVZjakt5c0p6enowWGdNeitwcjI5SGFXbHBkQTBEVWVQSHZYZDlDbUFRcFBKdExXOHZMd3pvQ2VsUVZNVVJRS0F3K0hnWnhJUkVSRVIwUWpDRy9nQXNGZ3Njd0RrNjdyK2hCQmlMQURFeE1SZzJiSmxVRlhWMnpWd3MxcGFXdkRXVzI5aC8vNzlhR3hzeExoeDQ3QjA2VkxrNStmM0tWeFlMQlprWldVaE96c2JiNzc1SnM2ZE80ZUpFeWZpb1ljZXdrTVBQWFJMT1FUTG1qVnJrSldWaFVjZmZUUWd4enR5NUFnMFRVTnBhYWwzbFFvQVh3c2gzZ1d3MFc2M0h3dklpZWlXc0toQVJFUkVSRFF5OFFZK2dLeFdhMVJ6YzdNTlFJRVF3dXFKejVrekI2cXFZdG15WllpTmpSMzRBTGZJVTFSWXYzNzlrSjFqSkdocmE4UHUzYnVoYVJwcWEydTljU2xsT1lEQ01XUEdGTE1yWVhoaFVZR0lpSWlJYUdUaURmd1FTVTlQbjYzcitqb0FUd0M0Q3dDaW82T1JuWjBOVlZVeGQrNWN2NnM2M0l6YnVhZ2dwZXpUbGVCWjhRTEFGUUR2R0F5R29vTUhEOWI2T1FTRkVJc0tSRVJFUkVRakV5ZHFIQ0s5QTlpZnpaZ3g0MldUeWZRQWdJS09qbzVGMjdadHc3WnQyekI3OW14djk4SWRkOXdSNm5SSHJHKysrY2JibGZERkYxLzRidG9Ib0xDbHBXVmJYVjJkTTBUcEVSRVJFUkVSaldyOFZqQ0lGaXhZTU5OZ01Ld0RzQmJBT0FDSWlvcnlkaStrcHFiZVV2ZkM3ZEtwSUtWRWRYVTFORTFEV1ZtWmIxZkNaUUJ2NjdwZVZGbFoyZjg2bkJSeU0yYk1pRXhJU0Vqd2pibmQ3Z3NBWURRYUovakdHeHNiRzFrVUlpSWlJaUlhdmxoVUNJSFUxTlNJcUtpbzcwa3BDd0FzOGNSbnpwd0pWVldSazVPRHVMaTRFR1k0UExXMnRucTdFbzRmNzFNeitFUUlVZGpaMmZsUlRVMk5LMVQ1MGVCa1pHVGM0M2E3djhUMVAzOTBvOUU0NmNDQkF4ZURrUmNSRVJFUkVkMDRGaFZDekdLeFRBZVFMNlZjQytCdUFJaU1qRVJXVmhaVVZjVzk5OTRiOExrWFJoSXBKUTRmUHV6dFNuQTZ2VjlhZnlXbDNHd3dHSXJzZHZ1SlVPWklOMDVSbEhJQTM3M09ibjkyT0J6V29jK0dpSWlJaUlodTF1MDdXaDFtVWxOVEl5SWlJbFlMSWZJQlpIbmkwNmRQaDZxcVdMNThPVXdtVXdnekRLNldsaGJzMnJVTG1xYmh4SWsrTllNeUtXV2h5K1hhd2E2RWtjdHNOajhuaFBqMzYrejJuTVBoZURNb0NSRVJFUkVSMFUxaFVXRVl5c2pJU083dTdsNEg0RWtoeEhnQWlJaUk4SFl2eko4L2YxUjJMMGdwVVZWVjVlMUtjTG04TllPTEFEWWJqY1pOQnc0Y09CbkNGQ2xBMHRMU0pobU54blArOW5HNzNZbUhEaDA2SDZ5Y2lJaUlpSWpveG8yK2tla29ZckZZd3FXVXF3RGtBOGhHNzk4ck9Ua1pxcXBpeFlvVm82SjdvYVdsQlR0MzdvU21hVGg1MGxzemtBQStCbEFvaENpeDIrMWRvY3VRaG9LaUtKOER1RytBelo4N0hJNzdnNWtQRVJFUkVSSGRPQllWUm9nRkN4Wk03VjA1NGtrQUU0Q2U3b1VsUzVaQVZWVXNXTEJnUkhVdlNDbFJXVmtKVGRQd3lTZWYrSFlsWEJCQ2JISzczWnNxS3l0UGh6QkZHbUlXaStXblVzcmY5TGROQ1BGVHU5MytSckJ6SWlJaUlpS2lHek55UnFFRW9LZDdBY0FLWGRmemhSQTU2UDBiVHAwNkZhcXFZdVhLbFJnelpreG9rL1NqdWJrWkpTVWwwRFFOcDArZjlvU2xsSEszbExJd1BqNStaM2w1ZVhjSVU2UWdtVDkvL3JTd3NMQitIMmZwN3U1T3JxcXFPaFhzbklpSWlJaUk2TWF3cURDQ21jM21LUUNlRWtJOEJXQWlBSVNIaDJQeDRzVlFWUldLb2d5TDdnVXBKUndPQnpSTnc5NjllOUhWNVgyUzRieVVjaE9BelJVVkZXZENtQ0tGaUtJb0RnRG1xOElPaDhOaENVVStSRVJFUkVSMFkwSS80cVJiWnJWYXc1cWJtNWNMSVFvQTVBQXdBTUNVS1ZPODNRdng4ZkZCejZ1cHFjbmJsWERtakxkbW9BUFlCYURRWkRMdFpsZkM3VTFSbEY4QWVQV3E4QzhjRHNkcm9jaUhpSWlJaUlodURJc0tvNHpGWWttU1VqNHBoSGhLU3BrSTlIUXZMRnEwQ0txcXdtS3hER24zZ3BRU2Ryc2RtcVpoMzc1OTNxNEVJY1E1S1dXUjBXamNmT0RBZ2JORGxnQ05LQmFMWlk2VThxaHZ6R0F3ekRsNDhHQnRxSElpSWlJaUlxTEJZMUZobExKYXJXRXRMUzNMQUJRQVdJSGU3b1drcENUWWJEYXNYTGtTWThlT0RkajVHaG9hVUZKU2d1TGlZdFRYMTN2Q09vQVNJVVJoY25KeTZaWXRXOXdCT3lHTkdvcWkxQUNZQ3dCQ2lCcTczVDR2eENrUkVSRVJFZEVnc2Fod0c1Zy9mMzVpZUhqNGsxTEtkUUFtQTBCWVdCZ1dMbHdJVlZXUm5wNE9nOEZ3dzhmVmRSMEhEeDZFcG1uWXYzOC91cnU5VHpMVUN5R0t1cnE2M3E2cXFqb1h1TitFUmlPejJmd3JJY1FyQUNDbC9GVkZSY1V2UTUwVEVSRVJFUkVORG9zS3Q1Rzh2RHpqcVZPbnNxV1VCVkxLbFFDTUFKQ1ltQWlielliVnExY1BxbnVob2FFQjI3ZHZSM0Z4TWM2ZDg5WU0zQUIyU0NrTFo4eVlVY2F1QkJvc3M5bWNKb1NvN0gyWjVuQTRxa0thRUJFUkVSRVJEUnFMQ3JlcHRMUzBTUWFEWWEwUUloOUFFdERUdldDMVdxR3FLakl5TXZwMEwraTZqZ01IRG5pN0V0eHViODNnakpTeUNEMHJPSHdaOUYrRVJnT2hLTXA1QU5MaGNDUUNrS0ZPaUlpSWlJaUlCb2RGaGR0Y1hsNmU4Y1NKRTB2Uk0vZkNhdlIyTDB5YU5BazJtdzMzMzM4L1B2dnNNeFFYRitQOCtmT2V0N2tCYkFkUU9IMzY5RDNzU3FCYnBTaktyNFVRMG02My96elV1UkFSRVJFUjBlQ3hxRUJlRm90bGdwUnlMWUI4QUZQNzJlVTBnSTFDaUxmdGR2dUZZT1pHbzVaQlVaU2xVc28vQ1NIR0FtZ0I4SDJIdzdFSFBSTjlFaEVSRVJIUk1NYWlBdlhIWUxGWWxrZ3BDd0RrQU5ndGhDaTAyKzJmZ0FNOUNnQ3oyVHhSQ0xFV3dEb01YTUFxRWtKc1pnR0xpSWlJaUdqNFlsR0IvRklVUlFLQXcrSGd0VUszSkM4dnoxaFhWNWNsaENnQXNBbytqOXFvcXVwOTFFYlR0S3NmdGVFRW9FUkVSRVJFd3hRSGl1UVhpd3AwcTlMUzBpYUZoWVY1bGpTOWxVbEI2NFVRUmQzZDNac1BIVHAwL3RvekVSRVJFUkZSc0hHZ1NINnhxRUEzSXk4dnozank1TWxsdlkvUXJBUmdBSURKa3lmRFpyTmgxYXBWZzE2K2RNZU9IZEEwcmMveXBVS0lFaUZFNGJScDB6NW05d0lSRVJFUlVlaHdvRWgrc2FoQU55SWpJMk95MisxK0VzQlRBQ1lEUFYwSml4WXRncXFxc0Znc2Zib1NCa3ZYZGRqdGRtaWFobjM3OXFHN3U5dXo2YXdRb3FpcnEydHpWVlhWT1gvSElDSWlJaUtpd09OQWtmeGlVWUd1eDJxMWhyVzB0T1NnWjFuUzVlanRTa2hLU29LcXFsaTVjaVVTRWhJQ2RyN0d4a2FVbEpSQTB6VFUxOWQ3d2pxQW5RQUtUU1pUYVhsNWVmZkFSeUFpSWlJaW9rRGhRSkg4WWxHQkJtS3hXSkowWFg5S0NQRVVnRWtBRUI0ZWpzV0xGME5WVlNpS0FpR0c3cktSVXNMaGNFRFROT3pkdXhkZFhWMEFBQ0hFT1NubHB0NlZJK3F2Y3hnaUlpSWlJcm9GSENpU1h5d3FrQytyMVJyVzFOUzBRZ2hSSUlUSVFlOW55SlFwVTd4ZENmSHg4VUhQcTZtcHlkdTljT2JNR1U5WUI3QmJTbGs0WnN5WVhleGV1SG14c2JGcDA2ZFBMenQrL0xpbG82T2pxWjlkREwwL3ZsckFKV2lKaUlpSVJqME9GTWt2RmhVSUFNeG04eFNEd2JCT1N2a2tnSWtBRUJFUjRlMUtNSnZOUTlxVk1GaFNTbFJVVkhpN0Yxd3VsMmZUbDFMS1RRQTJWVlJVblBGekNPckh1SEhqbmgwL2Z2dy9mL0hGRjluejVzMDdldlgycnE2dVMrSGg0ZU45WTlYVjFTa3VsK3RZOExJa0lpSWlvbEFJL1NpQWhqVVdGVzVmRm9zbFhFcTVFa0ErZ0dYby9ieVlObTBhVkZYRmloVXJNR2JNbUpEbTZFOXpjek4yN3R5SnJWdTM0dlRwMDU2d0JGQXFoQ2dFc05OdXQzZUZMTUVSSkRrNXViaXJxK3Y4cFV1WDNwdzNiOTVSaDhNUkRnQVJFUkd6NTgyYlYzMzE1NE9pS0pKRkJTSWlJcUxiUTFpb0V5Q2k0V1grL1BuVHdzTENQRjBKOXdBOVhRbExseTZGcXFwSVMwc2JGbDBKMXpObXpCZzg4c2dqZVBqaGgzSG8wQ0ZvbW9ZOWUvWUlsOHVWSTZYTUFYQkJVWlROdXE0WFZWWlduZzUxdnNOWXJNbGt5cTZycTF2dUUvTThTc0xsUEltSWlJaHVjeXdxRUJFc0ZrdTRydXVyaFJENUFMTFEyNVdRbkp5TTNOeGNMRisrSENhVEtiUkozaVFoQkJZc1dJQUZDeGJncHovOUtYYnQyb1d0VzdmaTVNbVRFd0Q4d21Bdy9JdWlLR1VBQ29VUU85aTkwRmRDUW9MTllEQkV1MXl1aXo3aGVBQUlDd3VMNjMxOVQvQXpJeUlpSXFMaFlQaC8zVWdoeGNjZlJyZU1qSXprN3U3dWZBQnJoUkRqZ1o2dWhLeXNMS2lxaXZuejU0K0lyb1FiSmFWRVZWVVZORTFEV1ZtWmQrNEZLZVVsQUp2RHdzS0tEaHc0Y0RLMFdRNFBzMmZQL2l3Mk5qYXp1cm82QlFENm0xTkJTdW4wZlMyRWlPVGpEMFJFUkVTM2g5RTNXcUNBWWxGaDlFbE5UWTJJaW9yNm5xN3IrVUtJcFo3NDlPblRrWnViaTV5Y25CSGJsWEF6V2xwYXNIdjNibXpkdWhVblRwend4cVdVZXdBVXVseXU3VFUxTmE2Qmp6QjZ4Y1hGM1Q5OSt2UlBEQVpEdEc5UndlZno0TzdFeE1SL09YZnUzSTk5M3pkdDJyUS9uRHAxNm1jQUxnUTdaeUlpSWlJS0xnNFV5UzhXRlVZUFJWRm1vR2ZTeGJVQXhnRkFaR1Frc3JPem9hb3E1czJiTnlxN0VnWkxTb25xNm1wb21vYVBQLzRZVHFmM3kvZXZoQkJ2U3ltTEhBNUhYU2h6RExaWnMyYnRhMnRycXhnL2Z2eUxBeFFWQVB6dGM4S1gwK2s4VVZOVE15Tll1UklSRVJGUmFOeStJd2dhRkJZVlJyYlUxTlNJeU1qSUJ3QVVBRmpzaWMrY09STzV1YmxZdG13WjR1TGlCajdBYmFxMXRSV2xwYVhZdW5VcmpoOC83cnRwTDRCQ3A5TzU3WGJvWHBneFk4YnV1cnE2UnhWRnVUTFE0dy9uejU5LzZhNjc3bnJxeElrVFN6czdPODhCaURhYnpRMnRyYTE3cnByY2tZaUlpSWhHSVU3VVNEUUtwYVdselRJYWplc0FQSUhlcm9Tb3FDZ3NXN1lNcXFwaTd0eTV0M1ZYd3ZYRXhjVWhMeThQRHo3NElHcHFhcnpkQzUyZG5Zc0JMSTZNakx5c0tNbzd1cTV2ckt5c1BIN2RBNDVRZFhWMWVRQyt1VHJ1Y0RnU2ZGNTJ4TVRFbUtPam8rL3Y3T3o4azhsaytvNFFJcXlob1dGTDhESWxJaUlpb2xCaFVZRm9sSmd4WTBaa1hGeWNUUWhSQUdDaEp6NTc5bXlvcW9xY25CekV4c2FHTU1PUlJ3aUJlZlBtWWQ2OGVYanh4UmRSV2xvS1RkTlFXMXM3RHNEUERBYkR6eFJGMlMrbExHeHRiUzJ1cTZ0elh2ZWdJOHMxQllWZVRiNHZtcHViUysrODg4N0hHaHNiL3pSdTNMaW51N3E2dm14b2FQaFRFUElqSWlJaW9oRGpWNVhrRng5L0dQN1MwOU5udTkzdWZDSEVFd0R1QklEbzZHaHZWMEpLU2dxN0VnSklTb2tqUjQ1NHV4YzZPam84bTc2V1VyNWpOQm8zSGp4NHNEYVVPUWFhb2loeW9NY2ZuRTVuYlUxTlRVWmFXdHI1UzVjdS9XYml4SW4vNjhTSkU5OXZibTcrTURUWkVoRVJFVkV3Y2FSQmZyR29NRHhacmRhbzF0WldWVXBaQU9DN25uaEtTZ3BVVmNXeVpjc1FFeE1Ud2d4dmpjVmlRVlpXRnRhdlh4K1FmUzlldklpTkd6ZmlMMy81QzVxYm16Rmx5aFRrNStkajZkS2xBNzVuTU5yYTJyemRDOGVPOVZrOThjOUNpTUs0dURpdHZMeTg4NVpPTWd4Y1hWUzQ2dkVITjREV0NSTW12RHBod29SZlhMbHlaVU45ZmYyUFFwTXBFUkVSRVFVYkgzOGdHa0VVUlVrQmtOL2MzUHk0RUdJc0FNVEV4Q0FuSndjMm13MHBLU2toem5CNCt1aWpqMkMzMi9IQUF3L0FhRFJpNjlhdGVPbWxsNUNRa0lEMDlQU2JQbTVzYkN4eWMzT1JtNXVMbzBlUFF0TTBsSmFXb3IyOS9idFN5dTgyTnpjM0tJcnlMb0NORG9majZIVVBPSEwwZWZ3aE9qbzZjZXpZc1E5S0taMXhjWEhMWTJKaTNtMXZiN2VIS2praUlpSWlDaDRXRllpR3Vjek16R2luMDVtTG5oVWN2Z1AwUE9zL2QrNWM1T2JtSWlzcmEwUjNKUVREZmZmZGg3VnIxeUlpSWdJQVlMVmE4Y2dqajJEUG5qMjNWRlR3bFpLU2dsLzg0aGQ0NFlVWDhQSEhIMFBUTkJ3NWNtUXNnQmNBdktBb3lsOEFGRVpHUm03OS9QUFBPNjV6dUJFalBqNWVuVHg1OG4rNlhLNWpwMDZkV2pSeDRzVE5zMmZQL244TkRRM3ZYcmh3NGJjdWw2c20xRGtTRVJFUjBkQmhVWUZvbUVwTFMwczFHbzM1VHFkekRZQUVvS2NyWWZueTVWQlZGYk5uenc1eGhpTkhXbHBhbjlkSlNVa0FnTzd1N29DZkt5WW1CamFiRFRhYkRjZU9IVU54Y1RGMjdkcUY5dmIyN3dENGp0UHAvSGRGVVg0dnBTeXNxS2c0RXZBRWdtanMyTEZQVFowNmRlUGx5NWZmT252MjdJc0FuSFYxZFRsMzMzMzNNeE1tVEhoVjEzWG4yYk5uLzBlbzh5UWlJaUtpb2NQbjVNa3Z6cWtRWEptWm1kR2RuWjE1QUFxRUVOLzJ4Rk5UVTVHYm00dWxTNWNHcFN1aG82TURtelp0UWxsWkdTNWR1Z1NUeVlSdmYvdmJlUGJaWnpGdTNEanZmcDc1REo1KyttbTgvdnJyT0hUb0VNTEN3ckJ3NFVLODhNSUxpSXVMRy9KY2IwWnhjVEZlZmZWVnJGKy9IbGxaV1VOK3Z2YjJkcFNWbFVIVE5OVFUvTzJMZXlubFh3RVVSa1ZGYlJuTzNRdDMzWFhYdWl0WHJtd0JJQk1TRWxZM05qYitvWGRUZUV4TXpMejI5dmFLZnQ0MkJvQVR3SWlmVTRLSWlJaUlCc2FCSXZuRm9rSndwS2VuejVOU0ZrZ3BId01RRC9ROHI3OWl4UXJZYkRiTW1qVXJhTG00WEM3azUrZmp5SkVqeU1yS3dxeFpzMUJmWDQrZE8zZml6anZ2eFB2dnZ3K1R5UVNncDZpZ0tBck9uajJMek14TVRKMDZGWldWbGZqMDAwOWhOcHV4Y2VORzc4b1RYMzc1cGQvelRwdzRjY2gvTndBNGZQZ3dmdkNESDhCc05tUERoZzFCWHhtanRyYlcyNzNRMXRibUNUY0pJZDRUUWhRZVBIaXdPcWdKRVJFUkVSSGRBZzRVeVM4V0ZZYVdvaWcyQUpwdjdONTc3MFZ1Ymk2V0xGbUM2T2pvb09mMHpqdnZZTU9HRFhqbGxWZnd3QU1QZU9QbDVlWDR5VTkrZ3NjZWV3dy8vdkdQQWZRVUZRRGdONy81RFJZdFd1VGRkLzM2OWZqd3d3K3hZY01HM0gvLy9YMzJIWWpkUHZUeitwMDlleFpyMXF6QmhBa1RVRlJVRk5LNUtEbzZPckJueng1b21vYkRodzlmdlZsMU9CekZvY2lMaUlpSWlPaEdjS0JJZnJHb01MUVVSZmtHUUt6bjlhdXZ2b3Fjbkp3UVpnUTg4c2dqYUc1dVJrbEp5VFhmNHR0c05nZ2hvR2s5ZFJDTHhZS1pNMmZpZ3c4KzZMUGZtVE5ub0tvcTFxeFpnK2VmZng1QVQxSENINnZWT3VDMi9yb2NicWF6NFljLy9DRXFLeXZ4NFljZjRwNTc3cm5oOXcrVlhidDI0WlZYWHZFTnRjSG51Z0FnZlg2dWZuMVRNU21sRkVMNGkvZDV2eWNtcGJ6bW1FSUlPY2c0UE1meWljUDNITDN4YTNMM3hIMXk5cjcvcXQvRisvN3IvWTVTeXYrdXFLajRKWWlJaUlqb3BuR2lScUxRZWd6QVZ2UVcrRjUrK1dWODhNRUgzdmtUUXRHcGNQcjBhZHgzMzMzOVBoYVFuSnlNeno3N3JFOXN5cFFwMSt5WG1KZ0lBUGo2NjYrOU1YOUZnK3RadFdyVk5iR2I2V3l3MiszSXpNd2NGZ1dGam80Tzd6d0wxZFY5bm5pUTZMa3VmRHRZQkFKY0JCN29zWStCNG44YjZ3OStXNkRpL3ZMeXQrMTZjU0ZFRmdBV0ZZaUlpSWh1QVlzS1JDSFUyK0p1U0U5UG4rZDJ1L09GRUd1cXE2dmpxNnVyOGZycnIyUDU4dVd3Mld4QlhlbEJTdWwzQUdjd0dQeStCb0RPenA2NStUeExPQUszTnFmQ0cyKzg0ZmU5Z3hVWEY0Zkl5TWlBSE90bTFkYldRdE0wN042OXU4K2NDbExLM3h1TnhvMCtjeXA0Q2draUx5OVBYTDU4V1FCQWEydXI2T3pzRkU2blV5UW1KZ29BY0RxZHd1VnlpYTZ1THVGMnV3VUF4TWZIaSs3dWJ0SGQzZTJOdWQxdWNjY2Rkd2kzMnkzY2JyZlFkZDBiajQ2T0ZycXVlMk9lLzVaU2lzakl5R3RpbnYwaUl5UDd4S1NVQWdEQ3c4T0ZsTkw3NDNtL2J4d0FQUDhkRmhaMlRleDY4YXRqdmYrL1lEUWFyemszQU9FYkIxQWE2TDh0RVJFUjBlMklSUVdpWWFCM0lQbDhabWJtenpzN094OFVRaFMwdGJYOS9aWXRXN0JseXhha3BxWkNWVlZrWldVTitUd0FreVpOd3ZIangvdmRkdkxreVdzNkV4b2FHcTdaNzhpUm5wVVNwMDJiNW8zMTEyM2d5MS9ud2ExME9malNOSzNmSXNoUUcyajFCd0QvSmFVc2pJcUsrbkNBMVI4a0FMbGx5NVorajF0WFZ6Y0UyZDRlRkVVSmRRcEVSRVJFb3dLTENrVERTTy9BOGowQTc1bk41cmxDaUh3QWo5ZlUxQ1RVMU5UZ2pUZmU4SFl2ekprelowaHlXTHg0TVlxS2lyQjkrM2FzWHIzYUd5OHZMMGQ5ZlQxKzlLTWY5ZG5mNFhEZzZOR2pTRWxKQVFEb3VvNU5temJCWURCZzRjS0YzdjBDMVcxd3E0TFpxWERzMkRGdlYwSjdlN3NuM0FqZ1hTbmx4b3FLaWlOQlM0YUlpSWlJYUFodzhqM3lpeE0xaHA3VmFvMXFhV25KQlZBQTRCODg4WlNVRk9UbTVpSTdPenVnM1F2dDdlMVlzMllOenB3NWcrenNiTytTa2lVbEpaZzFheGFLaW9xOGp6VllMQllrSlNXaHFha0pxMWF0UWtKQ0F2YnYzNCthbWhxc1c3Y096enp6VE1EeUNvUlZxMVloS3lzTHp6MzMzSkNkbzcyOUhhV2xwZEEwRFVlUEh2WGQ5Q21BUXBQSnRMVzh2THh6eUJLZ1FlRm5HeEVSRVZGZzhHYUsvT0tOOS9CaXNWam1BTWpYZGYwSkljUllBSWlKaWNHeVpjdWdxcXEzVytCV3RiUzA0SzIzM3NMKy9mdlIyTmlJY2VQR1llblNwY2pQeis5VHdMQllMTWpLeWtKMmRqYmVmUE5ObkR0M0RoTW5Uc1JERHoyRWh4NTZLQ0M1Qk5LYU5XdVFsWldGUng5OU5PREhQbkxrQ0RSTlEybHBLVG82dkU4eWZDMkVlQmZBUnJ2ZGZpemdKNldieHM4MklpSWlvc0RnelJUNXhSdnY0Y2xxdFVZMU56ZmJBQlFJSWF5ZStKdzVjNkNxS3BZdFc0YlkyTmlCRHhBZ25xTEMrdlhyaC94Y3cxRmJXeHQyNzk0TlRkTlFXMXZyalVzcHl3RVVqaGt6cHBoZENjTVRQOXVJaUlpSUFvTnpLaENOUUwwRDFmY0J2Sitlbmo1YjEvVjFBSjQ0ZHV6WVhhKzk5aHArOTd2ZklUczdHNnFxWXU3Y3VYNVhjNkFiSTZYczA1WGdXZWtDd0JVQTd4Z01ocUtEQncvVytqa0VFUkVSRWRHb3dhSUMwUWpYTzREOTJZd1pNMTQybVV3UEFDam82T2hZdEczYk5temJ0ZzJ6WjgvMmRpL2NjY2Nkb1U1M3hQcm1tMis4WFFsZmZQR0Y3Nlo5QUFwYldscTIxZFhWT1VPVUhoRVJFUkZSU1BEclMvS0xMY0lqMDRJRkMyWWFESVoxQU5ZQ0dBY0FVVkZSM3U2RjFOVFVnSFF2alBiSEg2U1VxSzZ1aHFacEtDc3I4KzFLdUF6Z2JWM1hpeW9ySy90ZmY1T0dqUmt6WmtRbUpDUWsrTWJjYnZjRkFEQWFqUk44NDQyTmpZMHNEaEVSRVJFTkhnZUs1QmVMQ2lOYmFtcHFSRlJVMVBla2xBVUFsbmppTTJmT2hLcXF5TW5KUVZ4Y1hBZ3pISjVhVzF1OVhRbkhqL2VwR1h3aWhDanM3T3o4cUthbXhoV3EvT2pHWkdSazNPTjJ1Ny9FOWYvTjA0MUc0NlFEQnc1Y0RFWmVSRVJFUktNQkI0cmtGNHNLbzRmRllwa09JRjlLdVJiQTNRQVFHUm1Kckt3c3FLcUtlKys5OTdhZWUwRktpY09IRDN1N0VweE83NWZWWDBrcE54c01oaUs3M1g0aWxEblN6Vk1VcFJ6QWQ2K3oyNThkRG9kMTZMTWhJaUlpR2oxdTN4RUVEUXFMQ3FOUGFtcHFSRVJFeEdvaFJENkFMRTk4K3ZUcFVGVVZ5NWN2aDhsa0NtR0d3ZFhTMG9KZHUzWkIwelNjT05HblpsQW1wU3gwdVZ3NzJKVXc4cG5ONXVlRUVQOStuZDJlY3pnY2J3WWxJU0lpSXFKUmdnTkY4b3RGaGRFdEl5TWp1YnU3ZXgyQUo0VVE0d0VnSWlMQzI3MHdmLzc4VWRtOUlLVkVWVldWdHl2QjVmTFdEQzRDMkd3MEdqY2RPSERnWkFoVHBBQkxTMHViWkRRYXovbmJ4KzEySng0NmRPaDhzSElpSWlJaUdnMUczMmlCQW9wRmhkdUR4V0lKbDFLdUFwQVBJQnU5bnczSnljbFFWUlVyVnF3WUZkMExMUzB0Mkxsekp6Uk53OG1UM3BxQkJQQXhnRUloUkluZGJ1OEtYWVkwbEJSRitSekFmUU5zL3R6aGNOd2Z6SHlJaUlpSVJnTU9GTWt2RmhWdVB3c1dMSmphdTNMRWt3QW1BRDNkQzB1V0xJR3FxbGl3WU1HSTZsNlFVcUt5c2hLYXB1R1RUejd4N1VxNElJVFk1SGE3TjFWV1ZwNE9ZWW9VSkJhTDVhZFN5dC8wdDAwSThWTzczZjVHc0hNaUlpSWlHdWxHenNpQVFvSkZoZHVYeFdJSkI3QkMxL1Y4SVVRT2VqOHZwazZkQ2xWVnNYTGxTb3daTXlhMFNmclIzTnlNa3BJU2FKcUcwNmRQZThKU1NybGJTbGtZSHgrL3M3eTh2RHVFS1ZLUXpaOC9mMXBZV0ZpL2o3VjBkM2NuVjFWVm5RcDJUa1JFUkVRakhRZUs1QmVMQ2dRQVpyTjVDb0NuaEJCUEFaZ0lBT0hoNFZpOGVERlVWWVdpS01PaWUwRktDWWZEQVUzVHNIZnZYblIxZVo5a09DK2wzQVJnYzBWRnhaa1Fwa2docGlpS0E0RDVxckRENFhCWVFwRVBFUkVSMFVnWEZ1b0VpR2o0NngySS82dlZhdjFWYzNQemNpRkVRVmRYVjA1cGFhbWh0TFFVVTZaTThYWXZ4TWZIQnoyL3BxWW1iMWZDbVRQZW1vRU9ZQmVBUXBQSnRKdGRDZFJySzY0dEttd05SU0pFUkVSRW8wSG92MXFrWVkyZENqUVFpOFdTSktWOFVnanhsSlF5RWVqcFhsaTBhQkZVVllYRlloblM3Z1VwSmV4Mk96Uk53NzU5Kzd4ZENVS0ljMUxLSXFQUnVQbkFnUU5uaHl3QkdwRXNGc3NjS2VWUjM1akJZSmh6OE9EQjJsRGxSRVJFUkRTU2NhQklmckdvUU5kanRWckRXbHBhbGdFb0FMQUNnQUVBa3BLU1lMUFpzSExsU293ZE96WjBOSk40QUFBZ0FFbEVRVlJnNTJ0b2FFQkpTUW1LaTR0UlgxL3ZDZXNBU29RUWhjbkp5YVZidG14eEIreUVOT29vaWxJRFlDNEFDQ0ZxN0hiN3ZCQ25SRVJFUkRSaWNhQklmckdvUURkaS92ejVpZUhoNFU5S0tkY0JtQXdBWVdGaFdMaHdJVlJWUlhwNk9nd0d3dzBmVjlkMUhEeDRFSnFtWWYvKy9lanU5ajdKVUMrRUtPcnE2bnE3cXFycVhPQitFeHJOekdienI0UVFyd0NBbFBKWEZSVVZ2d3gxVGtSRVJFUWpGUWVLNUJlTENuUXo4dkx5aktkT25jcVdVaFpJS1ZjQ01BSkFZbUlpYkRZYlZxOWVQYWp1aFlhR0JtemZ2aDNGeGNVNGQ4NWJNM0FEMkNHbExKd3hZMFladXhMb1Jwbk41alFoUkdYdnl6U0h3MUVWMG9TSWlJaUlSakFPRk1rdkZoWG9WcVdscFUweUdBeHJoUkQ1QUpLQW51NEZxOVVLVlZXUmtaSFJwM3RCMTNVY09IREEyNVhnZG50ckJtZWtsRVhvV2NIaHk2RC9JalNhQ0VWUnpnT1FEb2NqRVlBTWRVSkVSRVJFSXhVSGl1UVhpd29VS0hsNWVjWVRKMDRzUmMvY0M2dlIyNzB3YWRJazJHdzIzSC8vL2Zqc3M4OVFYRnlNOCtmUGU5N21CckFkUU9IMDZkUDNzQ3VCQWtWUmxGOExJYVRkYnY5NXFITWhJaUlpR3NrNFVDUy9XRlNnb1dDeFdDWklLZGNDeUFjd3RaOWRUZ1BZS0lSNDIyNjNYd2htYmpTcUdSUkZXU3FsZkZjSU1WNUsyU2FFeUhVNEhIdlFNOWtuRVJFUkVkMGdEaFRKTHhZVmFJZ1pMQmJMRWlsbEFZQWNBTHVGRUlWMnUvMFRjSkJIQVdJMm15Y0tJZFlDV0llQmkxaEZRb2pOTEdJUkVSRVIzUmdPRk1rdkZoVW9HSGlkVWFEbDVlVVo2K3Jxc29RUUJRQld3ZWR4RzFWVnZZL2JhSnAyOWVNMm5BU1VpSWlJNkFid0JwNzg0bUNQZ29IWEdRVktXbHJhcExDd01NK3lwcmN5TVdpOUVLS291N3Q3ODZGRGg4NWZleVlpSWlJaUFsaFVvT3ZnWUkrQ2dkY1ozWXE4dkR6anlaTW5sL1UrUnJNU2dBRUFKaytlREp2TmhsV3JWZzE2Q2RNZE8zWkEwN1ErUzVnS0lVcUVFSVhUcGszN21OMExSRVJFUkgzeEJwNzg0bUNQZ29IWEdkMk1qSXlNeVc2Myswa0FUd0dZRFBSMEpTeGF0QWlxcXNKaXNmVHBTaGdzWGRkaHQ5dWhhUnIyN2R1SDd1NXV6NmF6UW9paXJxNnV6VlZWVmVmOEhZT0lpSWpvZHNFYmVQS0xnejBLQmw1bk5GaFdxeldzcGFVbEJ6MUxreTVIYjFkQ1VsSVNWRlhGeXBVcmtaQ1FFTER6TlRZMm9xU2tCSnFtb2I2KzNoUFdBZXdFVUdneW1Vckx5OHU3Qno0Q0VSRVIwZWpHRzNqeWk0TTlDZ1plWjNROUZvc2xTZGYxcDRRUVR3R1lCQURoNGVGWXZIZ3hWRldGb2lnUVl1Z3VIeWtsSEE0SE5FM0QzcjE3MGRYVkJRQVFRcHlUVW03cVhUbWkvanFISVQ5aVkyUFRwaytmWG5iOCtIRkxSMGRIVXorN0dIcC9mTFdBSzhVUUVSR0ZGRy9neVM4TzlpZ1llSjFSZjZ4V2ExaFRVOU1LSVVTQkVDSUh2ZjltVFpreXhkdVZFQjhmSC9TOG1wcWF2TjBMWjg2YzhZUjFBTHVsbElWanhvelp4ZTZGR3pkdTNMaG54NDhmLzg5ZmZQRkY5cng1ODQ1ZXZiMnJxK3RTZUhqNGVOOVlkWFYxaXN2bE9oYThMSW1JaU9ocVlhRk9nSWlJeUpmWmJKNWlNQmpXdGJTMFBHa3dHQ1lDUUVSRWhMY3J3V3cyRDJsWHd2WEV4OGZqMFVjZnhULzkweitob3FMQzA3MWdjTGxjSzRRUUsxcGFXcjQwbTgyYkFHeXFxS2c0YzkwREVnQWdMaTV1U1hOejh3N1BhNGZERVE0QUVSRVJzK2ZObTFkOStQRGhlM3ozOXhRamlZaUlLTFJZVkNBaW9wQ3pXQ3poVXNxVkFQSUJMSk5TQ2dDWU5tMGFWRlhGaWhVck1HYk1tTkFtZVJVaEJCUkZnYUlvK05uUGZvYWRPM2RpNjlhdE9IMzY5RVFoeENzQVhsWVVwVlFJVVFoZ3A5MXU3d3AxenNOWXJNbGt5cTZycTF2dUUvTjBlM0RGRFNJaW9tR01SUVVpSWdxWitmUG5Ud3NMQzFzbnBYd1N3RDFBVDFmQzBxVkxvYW9xMHRMU1F0cVZNRmhqeG96Qkk0ODhnb2NmZmhpSERoMkNwbW5ZczJlUGNMbGNPVkxLSEFBWEZFWFpyT3Q2VVdWbDVlbFE1enZjSkNRazJBd0dRN1RMNWJyb0U0NEhnTEN3c0xqZTEvZGMrMDRpSWlJS3RlRi9wMFloeFdmZEtSaDRuZDFlTEJaTHVLN3JxNFVRK1FDeTBQdHZVWEp5TW5KemM3RjgrWEtZVEtiUUpoa0FMUzB0MkxWckY3WnUzWXFUSjA5NndoSkFHWUJDSWNRT2RpLzBtRDE3OW1leHNiR1oxZFhWS1FEUTM1d0tVa3FuNzJzaFJDVG5WQ0FpSWdvOWRpb1FFVkZRWkdSa0pIZDNkK2ZydXI1V0NERWU2T2xLeU1yS2dxcXFtRDkvL29qb1NoZ3NrOG1FZi96SGY4UkREejJFcXFvcWFKcUdzckl5NFhLNXNnRms2N3AreVd3MmJ3NExDeXM2Y09EQXllc2VjSlNLaTR1N1B6bzZlc0hWY1o4aTQ5MkppWW4vY3U3Y3VSLzdicDgyYmRvZlhDNVhjMUNTSkNJaW9nR05ucnMzdXE2a3BLVC9VMTlmLzBzQWx3YjdIbjZEVE1IQTYyejBTazFOallpS2l2cWVydXY1UW9pbG52ajA2ZE9SbTV1TG5KeWNVZEdWTUZndExTM1l2WHMzdG03ZGloTW5UbmpqVXNvOUFBcGRMdGYybXBvYVYrZ3lETDVaczJidGEydHJxeGcvZnZ5THZwMEtWMzhlOURjeG85UHBQRkZUVXpNaldMa1NFUkhSdGRpcGNCdTU2NjY3bnI1NDhlSy91Vnl1UVJjVmlJaHVocUlvTTlBejZlSmFLZVU0SVFRaUl5T1JuWjBOVlZVeGI5NjhVZFdWTUZnbWt3a1BQZlFRdnYvOTc2TzZ1aHFhcHVIamp6K0cwK2xjQ21CcFpHVGtWeGFMNVcwcFpaSEQ0YWdMZGI3Qm9PdTY4L3o1ODYrTkh6LytSZCs0YnhIaC9QbnpMem1kenJvVEowNHM3ZXpzUEFjZzJtdzJOemlkemkrQ25qQVJFUkgxd2FMQ0tITzlKYmI2ZTA3Vm83R3g4WStuVHAxNk5QQlpFZEh0SURVMU5TSXlNdklCQUFVQUZudmlNMmZPUkc1dUxwWXRXNGE0dUxpQkQzQWJFVUxnM252dnhiMzMzb3NYWDN3UnBhV2wyTHAxSzQ0ZlAzNjNsUEovQXZpZmlxTHNCVkRvZERxM2plYnVoYnE2dWp3QTMxd2RkemdjQ1Q0dk8ySmlZc3pSMGRIM2QzWjIvc2xrTW4xSENCSFcwTkN3SlhpWkVoRVJVWDlZVkJobHJyb0o2ME5SbE1aang0NzlYWHQ3Ky9FQmRobTFONjFFTkhUUzB0Sm1HWTNHZFFDZUFEQU9BS0tpb3JCczJUS29xb3E1YytmZWxsMEpneFVYRjRlOHZEdzgrT0NEcUttcDhYWXZkSFoyTGdhd09ESXk4cktpS08vb3VyNnhzckp5b00vdmtleWFna0t2SnQ4WHpjM05wWGZlZWVkampZMk5meG8zYnR6VFhWMWRYelkwTlB3cENQa1JFUkdSSDd6TEc2V3UxN0hneTkvczJYelduWUtCMTluSU0yUEdqTWk0dURpYkVLSUF3RUpQZlBiczJWQlZGVGs1T1lpTmpRMWhoaVBiTjk5OGc5TFNVbWlhaHRyYVd0OU4rNldVaGEydHJjVjFkWFhPZ2Q0L0VpbUtJZ2RhL2NIcGROYlcxTlJrcEtXbG5iOTA2ZEp2Sms2YytMOU9uRGp4L2VibTVnOURreTBSRVJGNXNGTmhGS3V0clUxcmEydnorN3lwb2lnZHdjcUhpRWErOVBUMDJXNjNPMThJOFFTQU93RWdPanJhMjVXUWtwTENyb1FBdU9PT08vRGdndzhpTnpjWFI0NGM4WFl2ZEhSMExCUkNMRFNaVEYrYnplWjNqRWJqeG9NSEQ5WmUvNGdqejFXZGQyNEFyVjk5OWRXL1Q1dzQ4VmRYcmx6WndJSUNFUkhSOE1DaXdpalcxZFhsQXRBWjZqeUlhR1N6V3ExUnJhMnRxcFN5UU5mMTczcUtCaWtwS1ZCVkZjdVdMVU5NVEV5SXM3eDVGb3NGV1ZsWldMOStmWi80MDA4L2pmbno1K1BaWjU4ZDFQNitMbDY4aUkwYk4rSXZmL2tMbXB1Yk1XWEtGT1RuNTJQcDBxVUR2cWMvUWdpa3BxWWlOVFhWTy9lQ3BtazRkdXpZblVLSW4raTYvaE5GVWY0c2hDaU1pNHZUeXN2TFI5Tm5mcC9ISDZLam94UEhqaDM3b0pUU0dSY1h0endtSnViZDl2WjJlNmlTSXlJaW9oNHNLb3hpcWFtcDFhSE9nWWhHTGtWUlVnRGtOemMzUHk2RUdBc0FNVEV4eU1uSmdjMW1RMHBLU29nekhCcFNTZ2doRUI4Zmo0U0VoRDZ4d2Zyb280OWd0OXZ4d0FNUHdHZzBZdXZXclhqcHBaZVFrSkNBOVBUMG04b3JOallXdWJtNXlNM054ZEdqUjZGcEdrcExTOUhlM3Y1ZEtlVjNtNXViR3hSRmVSZkFSb2ZETWVDa3ZDTlJmSHk4T25ueTVQOTB1VnpIVHAwNnRXaml4SW1iWjgrZS9mOGFHaHJldlhEaHdtOWRMbGROcUhNa0lpSzZYYkdvTUlyVjFOVE1HMml1Qkk4Ym1YdUJpRWEvek16TWFLZlRtWXVlRlJ5K0EvUjhXejUzN2x6azV1WWlLeXRyUkhjbFhNK1ZLMWZ3eEJOUDRJRUhIb0RiN1VaRFF3UFdyMStQSTBlTzRMMzMzaHYwY2U2Nzd6NnNYYnNXRVJFUkFBQ3IxWXBISG5rRWUvYnN1ZW1pZ3ErVWxCVDg0aGUvd0FzdnZJQ1BQLzRZbXFiaHlKRWpZd0c4QU9BRlJWSCtBcUF3TWpKeTYrZWZmejZpSDNNYk8zYnNVMU9uVHQxNCtmTGx0ODZlUGZzaUFHZGRYVjNPM1hmZi9jeUVDUk5lMVhYZGVmYnMyZjhSNmp5SmlJaHVWeXdxakdLcHFhbUhBTEJvUUVUWGxaYVdsbW8wR3ZPZFR1Y2FBQWxBVDFmQzh1WExvYW9xWnMrZUhlSU1neU1pSWdJRkJRV29xYW5Cbi8vOFoxUlZWV0hseXBWNDRva25vT3M2REFiRG9JNlRscGJXNTNWU1VoSUFvTHU3TzZENXhzVEV3R2F6d1dhejRkaXhZeWd1THNhdVhidlEzdDcrSFFEZmNUcWQvNjRveXUrbGxJVVZGUlZIQW5yeUFLdXZyODkzdVZ3WEFNaFRwMDQ5NW9rM05EVDh2ck96MDlIZTNsN2hzN3Y4NnF1di92T3JyNzc2STRCUk5XRWxFUkhSU01PaXdpaFdVMU9UeGs0RklocElabVptZEdkblp4NkFBaUhFdHozeDFOUlU1T2JtWXVuU3BVSHBTdWpvNk1DbVRadFFWbGFHUzVjdXdXUXk0ZHZmL2phZWZmWlpqQnMzenJ1Zlp5NkRwNTkrR3ErLy9qb09IVHFFc0xBd0xGeTRFQys4OEFMaTR1SnU2dngyKzk4ZXl6ZVpURmk5ZWpWYVcxc3hiOTQ4WExod0FZc1dMY0s4ZWZQNjNYK3dTa3RMQVFEZit0YTNiaXJId1pnelp3NWVldWtsUFAvODh5Z3JLNE9tYWFpcHFVa0E4THdRNG5tejJmeFhBSVZSVVZGYmhtUDN3cFVyVjRvOC85M1kyUGdIbjAxZFZ4VVVmRFVQYlZaRVJFUjBQWnlpZTVSU0ZFVktLVjI0VHFlQ0VDS1NTMHBTcVBFNkM2NzA5UFI1VXNvQ0tlVmpBT0tCbnVmMVY2eFlBWnZOaGxtelpnVXRGNWZMaGZ6OGZCdzVjZ1JaV1ZtWU5Xc1c2dXZyc1hQblR0eDU1NTE0Ly8zM1lUS1pBUFFVRlJSRndkbXpaNUdabVltcFU2ZWlzcklTbjM3NktjeG1Nelp1M09pZDkrRExMNy8wZTk2SkV5Y091SzJtcGdicjFxM0RwazJiVUZWVmhmZmVlNjlQSGpmcThPSEQrTUVQZmdDejJZd05HellFZFhXTTJ0cGFiL2RDVzF1Yko5d2toSGhQQ0ZGNDhPQkJ6cjFEUkVSRVJGNUc5QXdRNGhWRmtURXhNUm1lMXdQOTlMTmZINHFpU0hZejBGRGpkUlljaXFMWVBQK3ZQVCtQUC82NDNMNTl1Mnh2YjVlaDhQYmJiMHRGVVdSeGNYR2YrUDc5KzZXaUtQSjN2L3VkTitiSmVlL2V2WDMyZmUyMTE2U2lLUEt2Zi8zck5mc085T1BQeFlzWDVkdHZ2eTJsbE5MbGNzbi8rSS8va0IwZEhUZjErOVhYMTB1cjFTb2ZmdmhoMmRiV2RsUEhDSVQyOW5iNTBVY2Z5Y2NmZjd5Ly94KzJVRitiUkVSRU5ITHhXOEZSSkRvNityNlVsSlRQYitVWVYzOVR6RytRS1JoNG5RV0hvaWpmQUlqMXZINzExVmVSazVNVHdveUFSeDU1Qk0zTnpTZ3BLYm5tRzN5YnpRWWhCRFJOQTlEVHFUQno1a3g4OE1FSGZmWTdjK1lNVkZYRm1qVnI4UHp6endNQXlzdkwvWjdYYXJVRzdIZnc1NGMvL0NFcUt5dng0WWNmNHA1NzdnbktPYTluMTY1ZGVPV1ZWM3hEYmZDNUx0RFQ0ZWI1dWZyMURjZWxsQklBaEJDRGludGl2ZHVER3ZmazVaT1Q5L2U1aGZodWg4UHhiLzM5TFlpSWlFWUR6cWt3aW5SMGRQejNWWU95aEx2dnZudHRYRnpjUDV3NGNlSmhBQjBBY1BmZGQvODBLaXBxUmxOVDAwY3RMUzE3QWJoQ2tqQVJCZHRqQUxhaXQ2RDg4c3N2NDRNUFB2RE9ueEFkSFIzMGhFNmZQbzM3N3J1djMwY0NrcE9UOGRsbm4vV0pUWmt5NVpyOUVoTVRBUUJmZi8yMU54YXNvc0gxMk8xMlpHWm1ocnlnME5IUjRaMW5vYnE2enhNUEVqM1hoZVlURXdqZ2x3NERQZTdoN3pHUTNucEQwT1ArOHJyWnVKUXlEUUNMQ2tSRU5HcXhxREQ2aEpsTXBpVmp4NDU5Yk15WU1hcmI3ZjdxOHVYTGJ3RUlSMjlSb2FPajQxaHNiT3pmSlNjbmZ5aWw3RzVxYXRyZTNOeThwYW1wcVJRc01CQ05XZzZIb3hpQUlUMDlmWjdiN2M0WFFxeXBycTZPcjY2dXh1dXZ2NDdseTVmRFpyTUZkYVVIS2FYZndlWFZxeTMwdC9wQ1oyY25BSGlYYndSdWJVNkZRSXFMaTBOa1pHUlF6dFdmMnRwYWFKcUczYnQzOTVsVFFVcjVlNlBSdU5GblRnVlBJVUhrNWVXSnk1Y3ZDd0JvYlcwVm5aMmR3dWwwaXNURVJPRjBPZ1VBdUZ3dTBkWFZKZHh1dDRpUGp4ZmQzZDBDQUxxN3U0WGI3Ulp1dDF2Y2NjY2R3dTEyQ3dCd3U5MUMxM1hoZHJ0RmRIUzAwSFZkQUlDdTY4THpJNlVVQUJBWkdka241dG5YRS9mRVBQdUhoNGNMS2FYM3g3UC8xWEhQL21GaFlZT0tBNENVVXZRWEJ5Q01ScVBmT0lBSlVzcDNBdjVISlNJaUdtWllWQmhsWnMyYXRTODJOdmJ2bXB1YlM4NmNPZk9QVFUxTkpRRGN2dnUwdHJhV3RMYTJsZ0NJVFVoSWVPRE9PKzk4UERrNXVmakxMNzk4NmVMRmkvOWZhRElub21EcEhVZytuNW1aK2ZQT3pzNEhoUkFGYlcxdGY3OWx5eFpzMmJJRnFhbXBVRlVWV1ZsWlE3NzZ3NlJKazNEOCtQRit0NTA4ZWZLYXpvU0dob1pyOWp0eXBHZWx4R25UcG5sanExYXQ4bnZlbTFuQjRXWm9tamJvWlNnRHBiMjkzWGYxQjk5Ti95V2xMSXlLaXZwd2dOVWZKQUM1WmN1V2ZvOWJWMWMzQk5tT1hoa1pHZmU0M2U3cjcwaEVSRFRDc2Fnd3lwdzVjMmFkMCttOGhNRXRzOVhXMk5qNHg4Ykd4ai9HeE1STWJHOXYvL3I2YnlHaTBhSjNZUGtlZ1BmTVp2TmNJVVErZ01kcmFtb1NhbXBxOE1ZYmIzaTdGK2JNbVRNa09TeGV2QmhGUlVYWXZuMDdWcTllN1kyWGw1ZWp2cjRlUC9yUmovcnM3M0E0Y1BUb1VhU2twQUFBZEYzSHBrMmJZREFZc0hEaFF1OStiN3p4eHBEa2V6T0MxYWx3N05neGIxZENlM3U3Sjl3STRGMHA1Y2FLaW9valFVbUVpSWlJYml1Y0ZJMzg0Z1I2RkF5OHpvWVBxOVVhMWRMU2tndWdBTUEvZU9JcEtTbkl6YzFGZG5aMlFMc1gydHZic1diTkdwdzVjd2JaMmRuZUpTVkxTa293YTlZc0ZCVVZlUjlyc0Znc1NFcEtRbE5URTFhdFdvV0VoQVRzMzcvZnV3VGtNODg4RTdDOEFtWFZxbFhJeXNyQ2M4ODlOeVRIYjI5dlIybHBLVFJOdzlHalIzMDNmUXFnMEdReWJTMHZMKzhja3BPVFg3MmRDaGVrbEpjcUtpcUd4eXlkUkVSRVE0Q2RDa1JFNU5VN0FQMGpnRDlhTEpZNUFQSjFYWC9pNk5HalkxOTk5Vlg4OXJlL3hiSmx5NkNxcXJkYjRGYkV4TVJnOCtiTmVPdXR0N0IvLzM3czJiTUg0OGFOdzhNUFA0ejgvUHcrOHlRQXdKdzVjNUNkblkwMzMzd1Q1ODZkdzhTSkUvSFAvL3pQZU9paGgyNDVsNkdRa0pDQWhJU0VnQi8zeUpFajBEUU5wYVdsNk9qd1Bzbnd0UkRpWFFBYjdYYjdzWUNmbElpSWlLZ2YvRmFRL09JM3lCUU12TTZHTjZ2Vkd0WGMzR3dEVUNDRXNIcmljK2JNZ2FxcVdMWnNHV0pqWXdjK1FJQllMQlprWldWaC9mcjFRMzZ1NGFpdHJRMjdkKytHcG1tb3JhMzF4cVdVNVFBS3g0d1pVOHl1aE9HRG5RcEVSSFM3WUtjQ0VSSDUxVHRRZlIvQSsrbnA2Yk4xWFY4SDRJbGp4NDdkOWRwcnIrRjN2L3Nkc3JPem9hb3E1czZkNjNjMUI3b3hVc28rWFFtZWxTNEFYQUh3anNGZ0tEcDQ4R0N0bjBNUUVSRVJEU2tXRllpSWFOQjZCN0EvbXpGanhzc21rK2tCQUFVZEhSMkx0bTNiaG0zYnRtSDI3Tm5lN29VNzdyZ2oxT21PV045ODg0MjNLK0dMTDc3dzNiUVBRR0ZMUzh1MnVybzZaNGpTSXlJaUl2SmlVWUdJaUc1WTc0RDIvd0w0dndzV0xKaHBNQmpXQVZoYlcxczdidjM2OVgyNkYxSlRVOW05TUFoU1NsUlhWMFBUTkpTVmxmbDJKVndHOExhdTYwV1ZsWlg5cjc5SklaZVptUm5kM2QwOXh2UGFZRERjN1hhN0lZUXdaR1JrOUhuOFFkZjFyKzEyZTFmd3N5UWlJZ284M3VXUlgzelduWUtCMTlub2tKcWFHaEVWRmZVOUtXVUJnQ1dlK015Wk02R3FLbkp5Y2hBWEZ4ZkNESWVuMXRaV2IxZkM4ZU45YWdhZkNDRUtPenM3UDZxcHFYR0ZLajhhbkxTMHRGU2owVmc5aUYzYmhSRGo3SFo3Ky9WM0pTSWlHdjU0QTA5K2NiQkh3Y0RyYlBTeFdDelRBZVJMS2RjQ3VCc0FJaU1qa1pXVkJWVlZjZSs5OTk3VzNRdFNTaHcrZk5qYmxlQjBlcDlrK0VwS3VkbGdNQlRaN2ZZVG9jeVJicGhRRk9Vb2dObCtkeExpUTd2ZG5oZWtuSWlJaUlZY0gzOGdJcUtBNngwUS96dzFOZlZmSXlJaVZnc2g4cDFPWjlhT0hUdXdZOGNPVEo4K0hhcXFZdm55NVRDWlRLRk9OMmhhV2xxd2E5Y3VhSnFHRXlmNjFBektwSlNGTHBkckI3c1NSaXdKWUN1QWYvRzNrNjdyVzRPVERoRVJVWERjdmw4VDBhRHdHMlFLQmw1bnQ0ZU1qSXprN3U3dWRRQ2VGRUtNQjRDSWlBaHY5OEw4K2ZOSFpmZUNsQkpWVlZYZXJnU1h5MXN6dUFoZ3M5Rm8zSFRnd0lHVElVeVJBc1Jpc1NoU1NydWZYWnpSMGRIai92clh2N1lHTFNraUlxSWhOdnJ1M2lpZ09OaWpZT0IxZG51eFdDemhVc3BWQVBJQlpLUDMzNkxrNUdTb3Fvb1ZLMWFNaXU2RmxwWVc3Tnk1RTVxbTRlUkpiODFBQXZnWVFLRVFvb1NUOVkwNlFsR1Vrd0NtRHJCOXU4UGgrRjRROHlFaUlocHl2SUVudnpqWW8yRGdkWGI3V3JCZ3dkVGVsU09lQkRBQjZPbGVXTEprQ1ZSVnhZSUZDMFpVOTRLVUVwV1ZsZEEwRFo5ODhvbHZWOElGSWNRbXQ5dTlxYkt5OG5RSVU2UWhaamFiWHhkQy9LUy9iVkxLeHlzcUtuNGY3SnlJaUlpRzBzaTVVNk9RNEdDUGdvSFhHVmtzbG5BQUszUmR6eGRDNUtEMzM2ZXBVNmRDVlZXc1hMa1NZOGFNOFgrUUVHcHVia1pKU1FrMFRjUHAwNmM5WVNtbDNDMmxMSXlQajk5WlhsN2VIY0lVS1VqTVpuT21FT0t6ZmpaMWRYVjFqVDk4K0hCajBKTWlJaUlhUXJ5Qko3ODQyS05nNEhWR3ZzeG04eFFBVHdraG5nSXdFUURDdzhPeGVQRmlxS29LUlZHR1JmZUNsQklPaHdPYXBtSHYzcjNvNnZJK3lYQmVTcmtKd09hS2lvb3pJVXlSUXNPZ0tNcFo5RjY3UGtvZERrZE9LQklpSWlJYVNsejlnWWlJaHBYZWdmaS9XcTNXWHpVM055OFhRaFIwZFhYbGxKYVdHa3BMU3pGbHloUnY5MEo4Zkh6UTgydHFhdkoySlp3NTQ2MFo2QUIyQVNnMG1VeTcyWlZ3VzlNQmFBQis2QnNVUW5EVkJ5SWlHcFZDLzFVUERXdjhCcG1DZ2RjWlhZL0ZZa21TVWo0cGhIaEtTcGtJOUhRdkxGcTBDS3Fxd21LeERHbjNncFFTZHJzZG1xWmgzNzU5M3E0RUljUTVLV1dSMFdqY2ZPREFnYk5EbGdDTktPbnA2VlpkMS9mN2hOeENpSHZzZHZ1VmtDVkZSRVEwUkhnRFQzNXhzRWZCd091TUJzdHF0WWExdExRc0ExQUFZQVVBQXdBa0pTWEJack5oNWNxVkdEdDJiTURPMTlEUWdKS1NFaFFYRjZPK3Z0NFQxZ0dVQ0NFS2s1T1RTN2RzMmVJTzJBbHBWTWpMeXpPZU9ISGlFb0E3ZTBQN0hBN0g0bERtUkVSRU5GUjRBMDkrY2JCSHdjRHJqRzdHL1BuekU4UER3NStVVXE0RE1Ca0F3c0xDc0hEaFFxaXFpdlQwZEJnTWhocytycTdyT0hqd0lEUk53Lzc5KzlIZDdYMlNvVjRJVWRUVjFmVjJWVlhWdWNEOUpqUWFLWXJ5QndEL0JBQkNpR2Z0ZHZ0L2hqZ2xJaUtpSWNFNUZZaUlhRVRxSGRqL0tpOHY3MytmT25VcVcwcFowTjNkdlhMUG5qM0dQWHYySURFeEVUYWJEYXRYcng1VTkwSkRRd08yYjkrTzR1SmluRHZuclJtNEFleVFVaGJPbURHampGMEpORmdHZzJHbnJ1di8xUHV5T0tUSkVCRVJEU0YrSzBoKzhSdGtDZ1plWnhRb2FXbHBrd3dHdzFvaFJENkFKS0NuZThGcXRVSlZWV1JrWlBUcFh0QjFIUWNPSFBCMkpiamQzcHJCR1NsbEVYcFdjUGd5Nkw4SWpYaXpaOCtPaTQyTnZRRGdsTVBodURmVStSQVJFUTBWM3NDVFh4enNVVER3T3FOQTYzMm1mU2w2NWw1WURjQUlBSk1tVFlMTlpzUDk5OStQeno3N0RNWEZ4VGgvL3J6bmJXNEEyd0VVVHA4K2ZRKzdFdWhXV1N5V2Q2V1VGUTZINDk5Q25Rc1JFZEZRNFEwOCtjWEJIZ1VEcnpNYVNoYUxaWUtVY2kyQWZBQlQrOW5sTklDTlFvaTM3WGI3aFdEbVJxT1dRVkdVcFZMS0Q0UVE4UUJhQUh6ZjRYRHNRYzlFbjBSRVJLTUdiK0RKTHc3MktCaDRuVkdRR0N3V3l4SXBaUUdBSEFDN2hSQ0ZkcnY5RTNDZ1J3RmdOcHNuQ2lIV0FsaUhnUXRZUlVLSXpTeGdFUkhSYU1FYmVQS0xnejBLQmw1bkZHeTg1aWhROHZMeWpIVjFkVmxDaUFJQXErRHpxSTJxcXQ1SGJUUk51L3BSRzA0QVNrUkVvd0p2cHNndjNualR6VWhLU3ZvLzlmWDF2d1J3YVRENzh6cWpZT00xUjdjcUxTMXRVbGhZbUdkSjAxdVpGTFJlQ0ZIVTNkMjkrZENoUStldlBSTVJFZEh3eGlVbGlTamc3cnJycnFjdlhyejRieTZYYTFCRkJTS2lrU0F2TDg5NDh1VEpaYjJQMEt5VVVob0FZUExreWJEWmJGaTFhdFdBeTVjYURBWjg2MXZmd3JlKzlTMDBORFJneDQ0ZDBEUU41ODZkUzVKUy9zcG9OUDdTWXJHVUNDRUtwMDJiOWpHN0Y0aUlhS1RnTnpUa0Y3L05vNEY0cm8yYjBkalkrTWRUcDA0OWV2V3hlSjFSc1BDYW94dVJrWkV4MmUxMlB3bmdLUUNUZ1o2dWhFV0xGa0ZWVlZnc2xqNWRDWU9sNnpyc2RqczBUY08rZmZ2UTNkM3QyWFJXQ0ZIVTFkVzF1YXFxNmx6QWZoRWlJcUlod0pzcDhvczMzdVJIL0VBYkZFVnBQSGJzMk4rMXQ3Y2ZIMkFYRjRCMm4vMTVuVkZROFpxajY3RmFyV0V0TFMwNTZGbVdkRGtBQXdBa0pTVkJWVldzWExrU0NRa0pBVHRmWTJNalNrcEtvR2thNnV2clBXRWR3RTRBaFNhVHFiUzh2THg3NENNUUVSR0ZCbStteUMvZWVOUDEzRWpIUW5WMWRZckw1VG8yMERGNG5WR3c4SnFqZ1Znc2xpUmQxNThTUWp3RllCSUFoSWVIWS9IaXhWQlZGWXFpUUlpaHUyeWtsSEE0SE5BMERYdjM3a1ZYVnhjQVFBaHhUa3E1cVhmbGlQcnJISWFJaUNob09LY0NFZDJ5MnRyYXRMYTJ0aS84N2FNb1NrZXc4aUVpdWhGV3F6V3NxYWxwaFJDaVFFcVpJM3FyQmxPbVRQRjJKY1RIRDlpY0ZWQkNDRmdzRmxncy96OTdkeDdmUkozK0Fmd3phZWxKQ3dVNVJZNXlDQlF0U1lzdXVqOHRXRzVCU0VHRWxVT0VnaUJldUxDSUxPcXFGZkVHUlJFVlpUMVdhRGdMdEZ3VkZGd2hhWUVXcWJSeUk0ZmJreDVKbTVuZkgyMUMycVp0ZW1RbWJUN3YxNHZYaTh4TWtxZmxlWkh2UEhtZW1URDgvZTkvdDNZdm5EdDNyaE9BWlpJa0xkVm9ORHNsU1ZyVG9rV0xIZXhldU1uZjN6KzBlL2Z1Q2FkUG53NHJMQ3pNdG5PSXF1eVByVnp3bHJKRVJQWENvZ0lSMVZ0eGNiRUpRSkhTY1JBUjFZWmFyZTZpVXFsbTV1Ym16bENwVkIwQndNdkx5OXFWb0Zhcm5kcVZVSk9XTFZ2aTBVY2Z4ZC8rOWpja0pTVlp1aGRVSnBOcGxDQUlvM0p6Y3krcjFlclBBSHlXbEpSMFRyRkFYWVNmbjk5ZlJWRXNNcHZOelRVYXpZV0srNHVMaTY4MmE5YXNuZTIycWpyb2lJakljU3dxRUZHOWhZU0VwQ2dkQXhHUkk4TEN3cHBKa3ZRZ2dGa0Foa3VTSkFCQXQyN2RvTlZxTVdyVUtMUm8wVUxaSUNzUUJBRWFqUVlhalFaLy8vdmZFUmNYaDlqWVdKdzllN2FqSUFoTEFieW8wV2gyQ1lLd0JrQ2NYcTh2VmpwbUpRUUVCRVRtNU9Sc3N6dzJHQXpOQU1ETHkrdjJmdjM2cFp3NGNhSzk3ZkgxdWVBd0VSSGR4S0lDRVptWXZxTUFBQ0FBU1VSQlZOVmJhbXBxdjVxKzZlSGlqWWlVZE9lZGQzYno5UFNjS1VuU0RBRHRnZEt1aENGRGhrQ3IxU0kwTkZUUnJnUkh0V2pSQXBNblQ4YWtTWk53N05neDZIUTY3TjY5V3pDWlRDTWtTUm9CNEErTlJ2TzVLSXByazVPVHp5b2RyNHo4QXdNRGg2V25wNCswMldZWkRlSHRPWW1JbkloRkJTS3F0NUNRa0dNQVdEUWdJcGNTRmhiV1RCVEZNWUlnekFJd0ZHVVhxQTRPRGtaVVZCUkdqaHlKd01CQVpZT3NJMEVRMEw5L2YvVHYzeC9QUC84OGR1ellnZGpZV1B6KysrOGRBQ3hScVZRdmFEU2FCQUJyQkVIWTF0UzdGNEtDZ3NhcFZDcGZrOGwweFdaelN3RHc5UFFNS0h2Y3Z2SXppWWlvdmxoVUlLSjZTMDFORFdXbkFoRzVpZ0VEQmdTWGxKVE1Fa1h4TVVFUTJnR2xYUWxEaHc2RlZxdkZuWGZlMlNpNkVod1ZHQmlJUng1NUJCTW5Uc1R4NDhlaDArbVFrSkFnbUV5bVlRQ0dpYUo0VmExV2YrN3A2Ym4yeUpFanZ5c2Ryek8wYmR0MmJzVnRHbzBteS9heFdxMCtLMXRBUkVSdWhFVUZJcW8zZGlvUWtkSkNRa0s4Zkh4OEhoSkZjWmJaYkI1aUtScDA3OTRkVVZGUkdERmlSS1B0U25DVUlBZ0lEUTFGYUdnb0ZpeFlnSjA3ZHlJMk5oWVpHUm50QUN3Mm04MkwxV3IxYmdCclRDYlQxdFRVVkpQU01UZUVnSUNBZTN4OWZmdFgzRzV6eTlpMm5UcDFldUhpeFl2UDJPN3YxcTNidjAwbVU0NHNRUklSTldFc0toQlJYWGdBc0xTVElpMHQ3YThGQlFXbnEzdUNScVBKOHZUMEREQ1pUSmI3c3RtNzNSY1JVYTFvTkpvZUtMM280bU9TSkxVUkJBSGUzdDRZTm13WXRGb3QrdlhyMTZTNkVod1ZHQmlJaVJNbjR1R0hIMFpLU2dwME9oM2k0K05oTkJxSEFCamk3ZTE5TFN3czdBdEprdFlhRElaMHBlT3RqdzRkT3J4Ni9mcjExZTNhdFh1dWlrT3VYYng0OFJsN0hYTitmbjUvU1UxTjdlSGtFSW1JbWpRV0ZZaW8xbng5ZlFmMDZkUG5zT1Z4Nzk2OWYzSGtlYmJIMlh5RFJFUlVLeUVoSVY3ZTN0NWpBVVFEZU1DeXZXZlBub2lLaXNMdzRjTVJFQkJROVF1NEVVRVFjTWNkZCtDT08rN0FjODg5aDEyN2RpRTJOaGFuVDU5dUswblNJZ0NMTkJyTlhnQnJqRWJqNXNiWXZTQ0tvdkhTcFV1dlZ5d3EyQllSTGwyNnROaG9OS1puWkdRTUtTb3F1Z2pBVjYxV1p4cU54dDlrRDVpSXFJbGhVWUdJYXEyd3NQRG5Da1dCb0xadDJ6NFdFQkJ3WDBaR3hpUUFoUURRdG0zYjUzMThmSHBrWjJkdnljM04zUXVnMFMxV2ljaDFoSWFHOXZMdzhKZ0pZRHFBTmdEZzQrT0Q0Y09IUTZ2Vm9tL2Z2bTdabGVDb2dJQUFUSmd3QWVQSGowZHFhcXExZTZHb3FPZ0JBQTk0ZTN0ZjEyZzA2MFJSL0RRNU9ibmE3ak5Ya3A2ZVBnSEFqWXJiRFFaRGtNM0RRajgvUDdXdnIrODlSVVZGM3dRR0J2NmZJQWllbVptWkcrU0xsSWlvYVdKUmdZanF5ak13TURDeVZhdFdVMXEwYUtFMW04M1hybCsvdmhwQU01UVZGUW9MQzAvNSsvdmZGUndjdkZHU3BKTHM3T3l0T1RrNUc3S3pzM2VCQlFZaWNrQ1BIajI4QXdJQ3hnbUNFQTFna0dYNzdiZmZEcTFXaXhFalJzRGYzMS9CQ0JzZlFSRFFyMTgvOU92WHo5cTlvTlBwa0phVzFnYkEzMVVxMWQ4MUdzMStTWkxXNU9YbGJVcFBUemNxSFhNTktoVVV5cFFiczh2SnlkblZ1blhyS1ZsWldkKzBhZE5tZG5GeDhlWE16TXh2WklpUGlLaEpZMUdCaU9xa1Y2OWUrL3o5L2UvS3ljblpmdTdjdVVleXM3TzNvOEs5d1BQeThyYm41ZVZ0QitBZkZCUTB0blhyMXRPQ2c0TTNYYjU4ZWZHVksxZmVWQ1p5SW1vTXdzUERiemViemJNRVFaZ09vRFVBK1ByNldyc1MrdlRwdzY2RUJ0QzhlWE9NSHo4ZVVWRlJPSG55cExWN29iQ3djSkFnQ0lNQ0F3UC9wMWFyMTNsNGVIeDY5T2pSTktYanJRM2I4UWVqMFppV21wbzY0TGJiYm51L2ZmdjJTMXUwYURFNkl5UGpZUUN1WGpBaEluSjVMQ29RVVoyY08zZHVwdEZvdkFyQWtTdG41MmRsWlgyZGxaWDF0WitmWDhlQ2dvTC9PVHMrSW1wOElpSWlmUEx5OHJTU0pFV0xvbmkvcFdqUXAwOGZhTFZhREI4K0hINStmZ3BIV1hkaFlXRVlPblFvWW1KaTdPNC9jT0FBbm4zMldYejExVmVZT25WcXRjY0N3SlVyVi9EcHA1L2k0TUdEeU1uSlFaY3VYVEJyMWl3TUdUS2sxckVKZ29DUWtCQ0VoSVNVNjE0NGRlcFVhMEVRRm9paXVFQ2owZndnQ01LYWdJQUFYV0ppWWxHdDMwUm1GY1lmekFEeXJsMjc5a0hIamgxZitmUFBQMWZtNU9Sc1ZDbzJJcUttaEVVRklxcVR1bDdjcXFDZzRISkR4MEpFalp0R28ra0RZRlpPVHM0MFFSQmFBWUNmbng5R2pCaUJjZVBHb1UrZlBncEhLSTh0VzdhZ2UvZnVDQWtKY2ZoNHZWNlBzV1BId3NQREE3R3hzVmk4ZURHQ2dvSVFIaDVlNXpqOC9mMFJGUldGcUtnby9QcnJyOURwZE5pMWF4Y0tDZ3J1bHlUcC9weWNuRXlOUnZNbGdFOE5Cc092ZFg0ajV5czMvdURyNjl1cFZhdFc0eVZKTWdZRUJJejA4L1A3c3FDZ1FLOVVjRVJFVFFXTENrUkVSQ1M3Z1FNSCtocU54aWlVM3NIaC80RFNiOHY3OXUyTHFLZ29EQjA2dEZGM0pkUldabVltRGg0OGlLZWZmdHJoNS96bEwzL0JZNDg5Qmk4dkx3QkFSRVFFSmsrZWpOMjdkOWVycUdDclQ1OCtXTEprQ1o1OTlsbkV4OGREcDlQaDVNbVRyUUE4QytCWmpVWnpFTUFhYjIvdjJNT0hEeGMyeUpzNlFjdVdMYlczM1hiYlJ5YVQ2ZFNaTTJjR2Qrelk4ZlBiYjcvOXY1bVptVi8rOGNjZjc1aE1wbFNsWXlRaWFxeFlWQ0FpSWlMWmhJYUdobmg0ZU13eUdvMVRBUVFCcFYwSkkwZU9oRmFyeGUyMzM2NXdoTXJZdG0wYkJFSEF5SkVqSFg1T2FHaG91Y2VkTzNjR0FKU1VsRFJvYkVEcHY5RzRjZU13YnR3NG5EcDFDcHMyYmNLT0hUdFFVRkR3ZndEK3oyZzBmcURSYUw2U0pHbE5VbExTeVFZUG9CNWF0V3IxZU5ldVhUKzlmdjM2NmdzWExqd0h3Smllbmo2aWJkdTJUM1RvME9GVlVSU05GeTVjbUt0MG5FUkVqUldMQ2tSRVJPUlVBd2NPOUMwcUtwb0FJRm9RaEhzdDIwTkNRaEFWRllVaFE0YkkwcFZRV0ZpSXp6NzdEQWtKQ2JoNjlTb0NBd054NzczM1l0NjhlV2pUcG8zMU9NdTFEMmJQbm8yMzNub0x4NDRkZzZlbkp3WU5Hb1JubjMwV0FRRUJkWHAvdmI3cVR2dXRXN2ZpL3Z2dlIxQlFVSTNIVm1YWHJsMEFnTHZ2dnJ0TzhUbXFkKy9lV0x4NE1aNSsrbWtrSkNSQXA5TWhOVFUxQ01EVGdpQThyVmFyZndLd3hzZkhaNE9jM1F2bno1K2ZaVEtaL2dBZ25UbHpab3BsZTJabTVsZEZSVVdHZ29LQ0pKdkRwV3ZYcm4xMDdkcTFyOEdMTlJJUjFRc3ZtMHpWc2x3NTJXQXdNRmZJYVpobkpEZm1uRHpDdzhQN1NaSVVMVW5TRkFBdGdkSjUvVkdqUm1IY3VISG8xYXVYYkxHWVRDYk1talVMSjArZXhOQ2hROUdyVnkrY1AzOGVjWEZ4YU4yNk5iNzk5bHNFQmdZQ0tDMHFhRFFhWExod0FRTUhEa1RYcmwyUm5KeU1Bd2NPUUsxVzQ5TlBQN1hlZWVMeTVlb3ZFOU94WThjYVl6dDI3QmhtekppQkR6NzRBUGZlZTIrTng5dHo0c1FKekprekIycTFHaXRYcnBUOXpoaHBhV25XN29YOC9Iekw1bXhCRU5ZTGdyRG02TkdqS2JJR1JFUkVzdUZpaXFyRmhUZkpnWGxHY21QT09aZEdveGtIUUdlNzdZNDc3a0JVVkJRaUl5UGg2K3NyZTB6cjFxM0R5cFVyc1hUcFVvd2RPOWE2UFRFeEVRc1dMTUNVS1ZQd3pEUFBBQ2d0S2dEQWloVXJNSGp3WU91eE1URXgyTGh4STFhdVhJbDc3cm1uM0xGVmNhVGo0T1dYWDhiUFAvK011TGc0cUZTcVd2OXNGeTVjd05TcFU5R2hRd2VzWGJ0VzBXdFJGQllXWXZmdTNkRHBkRGh4NGtURjNWcUR3YkJKaWJpSWlNaDVPUDVBUkVSRURXMjk3WU5YWDMwVkkwYU1VQ29XQUVCQ1FnTGF0MitQaHg1NnFOejJpSWdJZE83Y0dRY09ITEFXRlFDZ1o4K2U1UW9LQURCNThtUnMzTGdSUjQ0Y3NSWVYzbjc3N1hyRlZWQlFnTjI3ZDJQU3BFbDFLaWdBd1BMbHkxRmNYSXgzM25sSDhZdGIrdnI2WXN5WU1SZ3paZ3gyN05pQnBVdVgydTVlcjlGby9HMGVTeFgrMk50VzB6N3Jka21TSkVFUUt1MnpzMTBDQUVFUUpFbVNITnBlOW56WTIxNjJEWTVzcnhBUHF0aGUzYzlWY2Jzb1NkTGFwS1FrM2g2VGlCVERvZ0lSRVJFMXRDa0FZbEhXRWZuaWl5L2l1KysrczE0L1FZbE9oYk5ueitJdmYvbUwzYkdBNE9CZ0hEcDBxTnkyTGwyNlZEcXVVNmRPQUlELy9lOS8xbTBSRVJIMWlpc2hJUUZGUlVXVmloMjFvZGZyTVhEZ1FMUnYzNzVlc1RTRXdzSkM2M1VXVWxMS1RUeElLTTBMMnc0V0FRM1lOVnZWeUVkVjIyK2U4OWU4dlRiSFZyZTl1bmpxdWwwUUJCOEFMQ29Ra1dKWVZDQWlJcUlHVmRiaXJnb1BEKzluTnB0bkNZSXdOU1VscFdWS1NncmVldXN0akJ3NUV1UEdqWlAxVGcrU0pGVjduWUdLWFFMMnVnYUtpb29Bd0hvTFI2RCsxMVRZc21VTE5CcU50V0JSRndFQkFmRDI5cTd6OHh0Q1dsb2FkRG9kZHU3Y1dlNmFDcElrZmVYaDRmR3B6VFVWTElVRVljS0VDY0wxNjllRnZMdzhBUUNLaW9vRW85RW9kT3JVU1RBYWpZTEpaQktLaTRzRkFEQ2J6VUxMbGkyRmtwSVNvYVNrUkRDYnpkYnR6WnMzRjh4bXMyQTJtd1ZSRkszN2ZIMTlCVkVVeS8yUkpFa0FBRzl2NzNMYlJGRXN0OTJ5VFpJa29WbXpaZ0lBU0pJa1dQNklvaWcwYTliTStucTIrenc5UGF2ZFhuR2Y3WGJMUGdDQ2g0ZEh0ZHRGVVJ3a0NNSS9uUFJQU2tUa01CWVZpSWlJeUNuS1RpU2ZIamh3NEQrS2lvckdDNElRblorZi85Y05HelpndzRZTkNBa0pnVmFyeGRDaFE1M2V0bi9ycmJmaTlPblRkdmY5L3Z2dmxUb1RNak16S3gxMzhtVHBuUks3ZGV0bTNUWjY5T2hxMzdlNmF5cWNPWE1HeDQ4Znh5dXZ2Rkx0YTlSRXA5UFZlWFNpUGdvS0NtenYvbUM3NjBkSmt0YjQrUGhzck9MdUR4SUFhY09HRFhaZk56MDkzUW5STmozaDRlRW1VUlJaVkNBaXhiR29RRVJFUkU1VmRtSzVIc0I2dFZyZFZ4Q0VXUUNtcGFhbUJxV21wdUx0dDkrMmRpLzA3dDNiS1RFODhNQURXTHQyTGJadTNZb3hZOFpZdHljbUp1TDgrZk40NnFtbnloMXZNQmp3NjYrL29rK2ZQZ0FBVVJUeDJXZWZRYVZTWWRDZ1FkYmo2bk5OaGMyYk44UGYzeCtSa1pGMWZnMExPVHNWVHAwNlplMUtLQ2dvc0d6T0F2Q2xKRW1mSmlVbG5aUXRHQ0lpVWh5TENrUkVSQ1Nic2hQT1p5TWlJaGJuNXVaR0FZZ3VLQ2k0YitQR2pkaTRjU1A2OU9tRHFLZ29EQnMyckVHN0Y2Wk5tNGE5ZS9maVgvLzZGMzc1NVJmckxTVzNiOStPa0pBUVRKbzBxZHp4blRwMXd0eTVjekY2OUdnRUJRVmgvLzc5U0UxTnhjeVpNOHVOTk5UMW1nb2xKU1hZc1dNSGhnOGZYdStDd0tSSmt6QjA2RkRNbnorL1hxOVRuWUtDQXV6YXRRczZuUTYvL3ZxcjdhNERBTllFQmdiR0ppWW1Gamt0QUNJaWNsa3NLaEFSRVpIc3lrNUF2d2J3ZFZoWVdHOEFzMFJSblA3cnI3KzJldlhWVi9IT08rOWcrUERoMEdxMTFtNkIrdkR6ODhQbm4zK08xYXRYWS8vKy9kaTllemZhdEdtRFNaTW1ZZGFzV2VXdWt3QUF2WHYzeHJCaHc3QnExU3BjdkhnUkhUdDJ4TUtGQ3pGeDRzUjZ4d0lBQnc4ZVJHWm1acjB1MEdnUkZCU0VvS0NnQm9pcXNwTW5UMEtuMDJIWHJsMG9MTFJPTXZ4UEVJUXZBWHlxMSt0UE9lV05pWWlvMFdCUmdZaUlpQlJWZG1LNklDSWlZa2xPVHM0NGxIWXZST2gwT3VoME92VHUzUnRhclJiRGh3K0h2NzkvVFM5WHBjREFRQ3hhdEFpTEZpMXk2UGlJaUloNjM5MmhLcHMzYjBiMzd0MFJFaEpTNzlmNjZxdXZHaUNpbS9Mejg3Rno1MDdvZERxa3BhVlp0MHVTbEFoZ1RZc1dMVGF4SzRHSWlDeFlWQ0FpSWlLWFVIYWkraTJBYjhQRHcyOFhSWEVtZ09tblRwMjY1ZlhYWDhlNzc3NkxZY09HUWF2Vm9tL2Z2dFhlemNHVlhiOStIWWNPSGNJenp6eWpkQ2hXa2lTVjYwcXczT2tDd0o4QTFxbFVxclZIang1TnErWWxpSWpJVGJHb1FFUkVSQzZuN0FUMjd6MTY5SGd4TURCd0xJRG93c0xDd1pzM2I4Ym16WnR4KysyM1c3c1htamR2cm5TNHRkS21UUnNjT1hKRTZUQUFBRGR1M0xCMkpmejIyMisydS9ZQldKT2JtN3M1UFQzZHFGQjRSRVRVQ0xDb1FFUkVSQzZyN0lUMlB3RCswNzkvLzU0cWxXb21nTWZTMHRMYXhNVEVsT3RlQ0FrSmFiVGRDM0tTSkFrcEtTblE2WFJJU0VpdzdVcTREdUFMVVJUWEppY24yNy8vSmhFUlVRVXNLaEFSRVZHalVIYWl1eWdrSkdTcGo0L1BRNUlrUlJjVkZVVnUyYklGVzdac1FjK2VQYUhWYWpGaXhBZ0VCQVRVK1gzMGVuM0RCZTFDOHZMeXJGMEpwMCtYcXhuc0VRUmhUVkZSMFpiVTFGU1RVdkVSRVZIanhLSUNFUkVSTlNwbEo3NGJBR3dJQ3d2ckRtQ1dKRW1QblQ1OXV1M3k1Y3Z4M252dlllalFvZEJxdGJqampqdmN1bnRCa2lTY09ISEMycFZnTkZvbkdhNUprdlM1U3FWYXE5ZnJNNVNNa1lpSUdqY1dGWWlJaUtqUktqc2gva2RJU01nL3ZieTh4Z2lDTU10b05BN2R0bTBidG0zYmh1N2R1ME9yMVdMa3lKRUlEQXhVT2x6WjVPYm1Zc2VPSGREcGRNaklLRmN6U0pBa2FZM0paTnJHcmdRaUltb0lMQ29RRVJGUm8xZDJncndSd01ZQkF3WUVsNVNVekFRd0l5TWpvOTJLRlN2dy92dnZXN3NYN3J6enppYlp2U0JKRW80ZlAyN3RTakNackRXREt3QSs5L0R3K096SWtTTy9LeGdpRVJFMVFTd3FFQkVSVVpOU2R1TDhRbGhZMkRKSmtrWURtR1V5bVladDM3NWQyTDU5TzRLRGc2SFZhakZxMUtnbTBiMlFtNXVMdUxnNDZIUTYvUDY3dFdZZ0FZZ0hzRVlRaE8xNnZiNVl1UWlKaUtncFkxR0JpSWlJbXFTeUUya2RBRjMvL3YyN2x0MDVZc2J2di8vZTRhMjMzc0lISDN5QXlNaElhTFZhOU8vZnYxRjFMMGlTaE9Ua1pPaDBPdXpaczhlMksrRVBRUkErTTV2Tm55VW5KNTlWTUVRaUluSVRMQ29RRVZHajE3bHo1NC9QbnorL0RNQlZwV01oMTFSMmd2MWlXRmpZeXdCR2lhSTR5MlF5amRpeFk0ZXdZOGNPZE8zYUZWcXRGZzgrK0NCYXRHaWhjTFJWeThuSndmYnQyNkhUNlhEMjdGbkxaa21TcEoyU0pLMXAyYkpsWEdKaVlvbUNJUklSa1p0aFVZR0lpQnE5VzI2NVpmYVZLMWZlTTVsTUxDcFF0Y3E2RnpZRDJLeFdxN3NBZUZ3UWhNZlBuajNiOFoxMzNzSEtsU3Z4d0FNUFFLdlZRcVBSdUVUM2dpUkpNQmdNME9sMDJMdDNMNHFMclpNTWx5UkorZ3pBNTBsSlNlY1VESkdJaU53WWl3cEVSTlFvYURRYXFicjkvZnIxKzdXcWZWbFpXVitmT1hQbTBZYVBpaHF6c2hQeGYwWkVSTHlTazVNelVoQ0U2T0xpNGhHN2R1MVM3ZHExQzEyNmRMRjJMN1JzMlZMMitMS3pzNjFkQ2VmT1dXc0dJb0FkQU5ZRUJnYnVaRmNDRVJFcGpVVUZJaUpxRkF3R1ExQlYrelFhVGRhcFU2ZnVLaWdvT0YzRklieDFIbFdwN01SOEs0Q3RZV0ZoblNWSm1pRUl3dVBuenAzcjlPNjc3MkxWcWxVWVBIZ3d0Rm90d3NMQ25OcTlJRWtTOUhvOWREb2Q5dTNiWisxS0VBVGhvaVJKYXowOFBENC9jdVRJQmFjRlFFUkVWRXNzS2hBUlVXT1JEVlRkc2RDN2QrOWZLbTVMU1VucFl6S1pUams3TUdvNjlIcjllUUF2UlVSRXZKcWJtenNjUUhSeGNmR28rUGg0Vlh4OFBEcDM3b3h4NDhiaHdRY2ZSS3RXclJyc2ZUTXpNN0Y5KzNaczJyUUo1OCtmdDJ3V0FXd1hCR0ZOY0hEd3JnMGJOcGdiN0EySmlJZ2FDSXNLUkVUVTZLU2xwWVhtNStmL1Z0MHhHbzJtVUs1NHFPa3A2MTdZRG1EN25YZmUyYWxaczJZekpFbWFlZjc4K2R2ZWYvOTlmUGpoaHhnMGFCQzBXaTNDdzhPaFVxbHEvUjZpS09MbzBhUFE2WFRZdjM4L1NrcXNrd3puQlVGWVcxeGMvTVh4NDhjdkFvQmVyMit3bjQySWlLZ2hzYWhBUkVTTlRuRnhzUWxBa2RKeGtIc29PN0YvWmNLRUNhK2RPWE5tbUNSSjBTVWxKUS91M3IzYlkvZnUzZWpVcVJQR2pSdUhNV1BHT05TOWtKbVppYTFidDJMVHBrMjRlUEdpWmJNWndEWkprdGIwNk5FamdWMEpSRVRVV0xDb1FFUkVqVTVJU0VpSzBqR1EreWs3MGQ4QllFZG9hT2l0S3BYcU1VRVFabDI4ZUxIenlwVXJzWHIxYWtSRVJFQ3IxV0xBZ0FIbHVoZEVVY1NSSTBlc1hRbG1zN1ZtY0U2U3BMVW92WVBEWlFCSVNrcVMrMGNqSWlLcU14WVZpSWlvMFVsTlRlMVgwN1VTYXJwYkJGRjlIRHQyN0JLQVZ5ZE1tQkNUa1pFeEJFQjBTVW5KbUQxNzluanMyYk1IdDk1Nks4YU5HNGQ3N3JrSGh3NGR3cVpObTNEcDBpWEwwODBvdlREa211N2R1KzltVndJUkVUVm1MQ29RRVZHakV4SVNjZ3dBaXdha3VMS0N3QzRBdThMQ3dqcElrdlFZZ0ZtWExsM3F1bXJWS3F4YXRjcjI4TE1BUGhVRTRRdTlYdjhIQUJnTUJ0bGpKaUlpYWtnc0toQVJVYU9UbXBvYXlrNEZjalZsaFlMWEFid1JGaFlXS1VsU05JQVJBSFlLZ3JCR3I5ZnZRZWtkSFlpSWlKb01GaFdJaUtqUllhY0N1VGhScjljbmFEU2FlQUF3R0F6amxRNklpSWpJV1ZoVUlDS2l4c0FEUUlEbFFWcGEybDhMQ2dwT1YvY0VqVWFUNWVucEdXQXltVnFXYmNwMlpvRFV0SFh1M1BuajgrZlBMd053VmVsWWlJaUlYQW1MQ2tSRTVQSjhmWDBIOU9uVDU3RGxjZS9ldlg5eDVIbTJ4eGtNQnNFWnNaRjd1T1dXVzJaZnVYTGxQWlBKeEtJQ0VSR1JEUllWaUlqSTVSVVdGdjVjb1NnUTFMWnQyOGNDQWdMdXk4akltQVNnRUFEYXRtMzd2SStQVDQvczdPd3R1Ym01ZXdHWUZBbVlHcVdhcnNQUnIxKy9YNnZhbDVXVjlmV1pNMmNlYmZpb2lJaUlYQnVMQ2tSRTFGaDRCZ1lHUnJacTFXcEtpeFl0dEdheitkcjE2OWRYQTJpR3NxSkNZV0hoS1g5Ly83dUNnNE0zU3BKVWtwMmR2VFVuSjJkRGRuYjJMckRBUURVd0dBeEJWZTNUYURSWnAwNmR1cXVhc1J2bUZ4RVJ1U1VXRllpSXFGSG8xYXZYUG45Ly83dHljbksybnp0MzdwSHM3T3p0QU15MngrVGw1VzNQeTh2YkRzQS9LQ2hvYk92V3JhY0ZCd2R2dW56NTh1SXJWNjY4cVV6azFJaGtBMVYzTE5nYnUwbEpTZWxUMDUxSWlJaUltaklXRllpSXFGRTRkKzdjVEtQUmVCVkFqZ09INTJkbFpYMmRsWlgxdForZlg4ZUNnb0wvT1RzK2FsclMwdEpDOC9QemY2dnVHSTFHVXloWFBFUkVSSzZLUlFVaUltb1VqRVpqdFNkNFZTa29LTGpjMExGUTAxZGNYR3dDVUtSMEhFUkVSSzZPUlFVaUlpS2lDa0pDUWxLVWpvR0lpS2d4WUZHQmlJaUlxSUxVMU5SK05WMHJvYWE3UlJBUkVia0RGaFdJaUlpSUtnZ0pDVGtHZ0VVRElpS2lHckNvUUVSRVJGUkJhbXBxS0RzVmlJaUlhc2FpQWhFUkVWRUY3RlFnSWlKeURJc0tSRVJFUklBSGdBRExnN1MwdEw4V0ZCU2NydTRKR28wbXk5UFRNOEJrTXJVczI1VHR6QUNKaUloY0VZc0tSRVJFNVBaOGZYMEg5T25UNTdEbGNlL2V2WDl4NUhtMnh4a01Cc0Vac1JFUkVia3lGaFdJaUlqSTdSVVdGdjVjb1NnUTFMWnQyOGNDQWdMdXk4akltQVNnRUFEYXRtMzd2SStQVDQvczdPd3R1Ym01ZXdHWUZBbVlpSWpJUmJDb1FFUkVSRlRLTXpBd01MSlZxMVpUV3JSb29UV2J6ZGV1WDcrK0drQXpsQlVWQ2dzTFQvbjcrOThWSEJ5OFVaS2trdXpzN0swNU9Ua2Jzck96ZDRFRkJpSWlja01zS2hBUkVSRUI2TldyMXo1L2YvKzdjbkp5dHA4N2QrNlI3T3pzN1FETXRzZms1ZVZ0ejh2TDJ3N0FQeWdvYUd6cjFxMm5CUWNIYjdwOCtmTGlLMWV1dktsTTVFUkVSTXBoVVlHSWlJZ0l3TGx6NTJZYWpjYXJBSEljT0R3L0t5dnI2NnlzcksvOS9QdzZGaFFVL00vWjhSRVJFYmtpWGxDSXJIcjA2T0VkRkJRVVpMdk5iRGIvQVFBZUhoNGRiTGRuWldWbHBhZW5HK1dNajVvRzVobkpqVGxIY21DZWtkekN3OE1qUkZIY0QrQUhnOEVRb1hROFJPUysyS2xBVmtGQlFVRm1zL2t5N0JTYkxBdWpNbUpRVU5DdEFLN0lGaHcxR2N3emtodHpqdVRBUENNaUluZWxVam9BY2gxSGpoeTVBdUNBQTRjZUxEdVdxTmFZWnlRMzVoekpnWGxHUkVUdWlrVUZLa2VTcEZnSER0dm85RUNvU1dPZWtkeVljeVFINWhrUkVia2pGaFdvSEZFVWRUVWRZemFiTjhrUkN6VmR6RE9TRzNPTzVNQThJeUlpZDhTaUFwVno3Tml4U3dCK3J1YVF3MlhIRU5VWjg0emt4cHdqT1REUGlJaklIYkdvUUpVSWdsQmwrMloxKzRocWczbEdjbVBPa1J5WVowUkU1RzVZVktCS2lvdUxxMXowRkJjWDE5amFTZVFJNWhuSmpUbEhjbUNlRVJHUnUyRlJnU281ZnZ6NEdRQkpkbllaeXZZUjFSdnpqT1RHbkNNNU1NK0lpTWpkc0toQVZiSDNUUXZiTnFtaE1jOUlic3c1a2dQempJaUkzQWFMQ21TWHZibFBsVXJGQlJFMUtPWVp5WTA1UjNKZ25oRVJrVHRoVVlIczB1djFwd0NjdER3V0JDSDE2TkdqYVFxR1JFMFE4NHpreHB3ak9URFBpSWpJbmJDb1FGV1NKTW42cllvb2l2eUdoWnlDZVVaeVk4NlJISmhuUkVUa0xsaFVvT3BZRjBHOERSWTVFZk9NNU1hY0l6a3d6NGlJeUMyd3FFQlZTa3BLT2c0Z0EwQzZ3V0E0b1hRODFEUXh6MGh1ekRtU0EvT01pSWpjaGFmU0FaQkxrd0RFQ29JZ2xmMmR5Qm1ZWnlRMzVoekpnWGxHUkVSdWdVVUZxcFpLcFlvdEtTbmhZb2ljaW5sR2NtUE9rUnlZWjBSRTVBNEVwUU5vNnRScTlYOEZRYmhMNlRqY2xTUkppVWxKU1lPVWprTU96RFZsdVZPdUFjdzNwYmxUdmpIWGxPVk91ZGJZaEllSFI0aWl1Qi9BRHdhRElVTHBlSWpJZmZHYUNrN0doWkN5QkVHSVVEb0d1VERYbE9WT3VRWXczNVRtVHZuR1hGT1dPK1VhRVJIVkRjY2ZaS0xYNjVVT3dlMkVoWVVwSFlJaW1HdnljOWRjQTVodlNuRFhmR091eWM5ZGM0MklpR3FIblFwRVJFUkVSRVJFVkNjc0toQVJFUkVSRVJGUm5iQ29RRVJFUkVSRVJFUjF3cUlDRVJFUkVSRVJFZFVKaXdwRVJFUkVSRVJFVkNjc0toQVJFUkVSRVJGUm5iQ29RRVJFUkVSRVJFUjF3cUlDRVJFUkVSRVJFZFVKaXdwRVJFUkVSRVJFVkNjc0toQVJFUkVSRVJGUm5iQ29RRVJFUkVSRVJFUjF3cUlDRVJGUkxjeWVQUnNmZnZpaDBtR1FHemx3NEFEQ3dzS1FtcHFxZENoRVJFU1ZzS2hBUkVUa0FFbVNBQUF0VzdaRVVGQlF1VzFFenJSbHl4WjA3OTRkSVNFaFNvZENSRVJVQ1lzS1JFUkVOZmp6eno4eGV2Um9yRjI3Rm1hekdabVptWWlKaWNIVXFWT1ZEbzJhdU16TVRCdzhlQkFQUGZTUTBxRVFFUkhaeGFJQ0VSRlJEYnk4dkJBZEhZM3IxNi9qaHg5K3dOYXRXK0h2NzQvcDA2ZERGRVdsdzZNbWJOdTJiUkFFQVNOSGpsUTZGQ0lpSXJ0WVZIQmhack1aLy83M3Z6Rng0a1FNSERnUWd3WU53alBQUE9QVTk5eTFheGZDd3NMdzhjY2ZsOXYrajMvOEF3TUhEc1NsUzVjY2ZxM0ZpeGNqTEN6TW9XTXZYTGlBc0xBd0xGMjZ0TksrdUxnNGhJV0Y0Y2NmZjNUNHZhbHVHbnZPVllYNTVab2FVNzRGQmdaaXpKZ3g2Tnk1TS9yMTZ3ZVZTb1hCZ3dmamdRY2VnRXBWK2FPVU9lZGFHbE91VmJSMTYxYmNmLy85MXBFYlc4d3pJaUp5Qlo1S0IwRDJTWktFaFFzWElqRXhFZUhoNFJnK2ZEZ0tDZ3F3ZS9mdUdwOTcrZkxsYXZkMzdOaXh5bjNEaHcvSHhvMGI4YzAzMzJEeTVNa0lEQXpFeVpNbnNXZlBIc3laTXdlMzNucHJyWDhXUjl4MjIyMVFxOVg0NFljZllES1o0T1hsWmQwWEh4K1BObTNhNEo1NzduSEtlMU9wcHB4enpDL1gweGp6TFRVMUZhdFdyY0pubjMyRzQ4ZVBZOUdpUmZqMjIyOFJHQmhZNlZqbW5PdG9qTGxtY2V6WU1adzlleGJQUGZlYzNmM01NeUlpY2dVc0tyaW9MVnUySURFeEVZODk5aGllZlBKSjYvYm82T2dhbnp0NjlPaHFFVVk4ZlFBQUlBQkpSRUZVOSt2MSttcjNMMXk0RUgvNzI5L3c1WmRmWXY3OCtWaTVjaVU2ZCs2TWFkT21PUlo4SFkwWk13WXZ2L3d5RGgwNmhJaUlDQUJBZG5ZMmZ2NzVaMHlaTXNYdXQ0SFVjSnA2empHL1hFdGp6TGRiYnJrRnMyZlBSdCsrZmRHelowOWtabWFXTzRtcmlEbm5HaHBqcmxsczNyd1piZHUyeGNDQkE2czhobmxHUkVSS1kxSEJSVzNkdWhXdFdyWENuRGx6eW0xdjFxeFpqYzk5KysyMzYvWGV2WHIxZ2xhcnhYZmZmWWZ1M2J2amwxOSt3VWNmZmVUUWU5dCtxMU5ZV0ZocFczWGY2a1JHUnVMTk45L0U3dDI3clF1alBYdjJ3R3cyWTh5WU1YWDhhY2hSalRIbjdIMkxXRldPTWI5Y1MyUE10M2J0Mm1INjlPbldPT2ZPblZ2dDhjdzUxOUFZY3cyQXRadGkwcVJKMVJZR21HZEVSS1EwRmhWYzFPblRwNkhSYU9EcFdmdC9Jc3Vpb2o3bXpadUhoSVFFTEZ1MkRNT0hEOGZkZDkvdDBQUHNmYXRqdTYyNmIzWDgvUHdRR1JtSnZYdjN3bWcwd3R2Ykd6dDM3a1JvYUNpNmRPbFMreCtDYXFVeDVweTlmS3NxeDVoZnJxVXg1bHR0TWVkY1EyUE50WVNFQkJRVkZkVjQxd2ZtR1JFUktZMUZCUmRsTXBucXRBQUM2amNEYXRHc1dUUDQrZmtoTnpjWDN0N2VEciszN2JjNjY5ZXZSM0p5Y3EyKzZSa3paZ3kyYmR1R0gzLzhFZjM2OWNPeFk4ZnNYb0NLR2w1anpMbmFmb3ZJL0hJZGpUSGY2b0k1cDd6R21tdGJ0bXlCUnFOQnAwNmRhanlXZVVaRVJFcGlVY0ZGZGV6WUVhZFBuNFlrU1JBRW9WYlByZThNS0FCODlORkh5TTNOeGJScDAvRFZWMS9ob1ljZVFtaG9hSTNQcy8xV0p6NCt2dEsybXFqVmFuVHExQW03ZCsvR3hZc1g0ZVBqZ3lGRGhqajhmS3E3eHBoenRmMFdrZm5sT2hwanZ0VUZjMDU1alRIWHpwdzVnK1BIaitPVlYxNXhLRTdtR1JFUktZbEZCUmYxd0FNUDRJc3Z2a0JzYkN6R2p4OXYzVjVZV0FoZlg5OXFuMXZmR2RDVEowL2l1Kysrdyt6WnN6RjE2bFFrSkNUZ2pUZmV3TmRmZiszMEN6NEpnb0F4WThaZzNicDF1SERoQWlJakkrSG41K2ZVOTZSUzdwQnp6Qy9YNFE3NUJqRG5YRUZqekxYTm16ZkQzOThma1pHUkRyMFA4NHlJaUtnSjAyZzBra2Fqa1dvclB6OWZpb3FLa3NMQ3dxVG5ubnRPV3JkdW5mVGVlKzlKSTBhTXFQVnIxVVpKU1lrMGFkSWthY1NJRVZKUlVaRWtTWkswWThjT1NhUFJTUC8rOTc5cjlWci8rTWMvNnZTelg3bHlSUW9QRDVjMEdvMWtNQmhxL1h3THkrOWU2UnlRUzExenphSXA1SndqR2lxL2JMbGJyZ0hNdDlwbzZKeHp0M3h6dDF3ckxpNldJaU1qcGRkZWU2MVc3OGYvMjl4UGVIaDRSTm0vVWFMU3NSQ1JlK045aGx5VW41OGZQdi84YzB5WU1NRjZiL1JkdTNZMXlFV2pxck4rL1hxa3BhWGh5U2VmdE01K0RoOCtITDE3OThiSEgzK002OWV2Ty94YU1URXhEcldHVnRTdVhUdDA3ZHJWZXY5dGtrZFR5RGxITUw5Y2c3dmtHOENjVTFwank3V0RCdzhpTXpPenhnczBWc1E4SXlJaWFxTHErdzJMT3pwejVveWswV2lreno3N3JGNnY0Mjdmc0REWEhOTlErV1hMM1hJTllMN1ZSa1Bubkx2bG03dmwybE5QUFNWTm1EQ2gxcy9qLzIzdWg1MEtST1FxMktsQUxtZjkrdlh3OHZLcTliYzBSSTVnZnBIY21IUGtxT3ZYcitQUW9VTjF5aFhtR1JFUktZVVhhaVNYc1hMbFN2ejU1NS9Zdm4wN1pzNmNpZGF0V3lzZEVqVWh6QytTRzNPT2FxdE5telk0Y3VSSXJaN0RQQ01pSXFXeHFFQXU0L3Z2djRkS3BjTDA2ZE14ZS9ac3BjT2hKb2I1UlhKanpwRWNtR2RFUktRMEZoWElaUnc4ZUZEcEVLZ0pZMzZSM0poekpBZm1HUkVSS1kzWFZDQWlJaUlpSWlLaU9tRlJnWWlJaUlpSWlJanFoRVVGSWlJaUlpSWlJcW9URmhXSWlJaUlpSWlJcUU1WVZDQWlJaUlpSWlLaU9tRlJnWWlJaUlpSWlJanFoRVVGSWlJaUlpSWlJcW9URmhXSWlJaUlpSWlJcUU0OGxRN0FYWVNGaFNrZEFya0o1aHJKaWZsR2NtR3VFUkVSdVNaMktqaVpKRW1KU3NmZ3p0enA5KzlPUDZzcmNyZmZ2N3Y5dks3R25YNy83dlN6dWlMKy9vbUlxQ2FDMGdHUWE5Tm9OQklBR0F3RzVnbzVEZk9NNU1hY0l6a3d6OGlad3NQREkwUlIzQS9nQjRQQkVLRjBQRVRrdnRpcFFFUkVSRVJFUkVSMXdxSUNFUkVSRVJFUkVkVUppd3BFUkVSRVJFUkVWQ2NzS2hBUkVSRVJFUkZSbmJDb1FFUkVSRVJFUkVSMXdxSUNFUkVSRVJFUkVkVUppd3BFUkVSRVJFUkVWQ2NzS2hBUkVSRVJFUkZSbmJDb1FFUkVSRVJFUkVSMTRxbDBBRVJFUkVSRVZEMjFXdjBJZ1BjRVFXZ2pTZEoxczluc0pRZ0NKRWthcUZhcnJ3aUMwQUpBSVlEZkRRYkRBQUNTc2hFVGtidGdVWUdJaUlpSXlNV3BWS285a2lTMUF3QkJFTnBadGd1QzRBWEE4dGdId0VHd29FQkVNdUw0QXhFUkVSR1JpOVByOVg4Q09GRFRjWUlneE1vUURoR1JGVHNWaUlpSWlPcHA0TUNCdm9XRmhlM3M3ZXZmdjM5WDI4ZSt2cjVYRHg4K1hDaExZTlNrQ0lMd0gwbVM3cXZta0N0NnZmNlFiQUVSRVlGRkJiSVJHaHA2cTRlSHg5L3Q3ZE5vTk8vWlBqYWJ6U3VPSFR0MlNaN0lxQ25wMGFPSGQxQlFVSkR0TnJQWkRBQVlNR0JBZTl2dFdWbFpXZW5wNlVZWnc2TW1hT0RBZ2EyTVJ1TTk5dlpwTkpvSGJSOTdlM3NmT256NGNLWThrVkZUSW9waW9FcWx5b0NkTGxDVlNuWEc5dEQ4L1B3T0tKMTlKNnF0VFFCV0FSRHM3WlFrYVJNQVVkYUlpTWp0c2FoQVZrRkJRVmR6YzNNbkEyaGpaL2ZUTm4rL0ZoUVU5THhNWVZFVEV4UVVGR1EybXkvRHpvTEliRGIvWWZOUURBb0t1aFhBRmRtQ295WkpwVklWQTlpQTBsbmppcmJaL0wxSXBWSzFsU2NxYW1yKys5Ly9YbFdyMVFjRVFZaW80ZEFmamg4L2ZrMk9tS2pwMGV2MWY2alY2a09DSU54YnhTRWNmU0FpMmZHYUNtU1ZtSmhZZ3RJS2VFMDJsUjFMVkd0SGpoeTVBZ2RtUWdFY0xEdVdxRjUrK3VtblBBQzdIRGgwVjlteFJIWGk0Q3c3VC9xb1hxckpzLysxYU5IaUIxbURJU0lDaXdwVWdTTUxJcFZLeFFVUjFZc2tTWTdrMEVhbkIwTHVoQ2Q3NUhSbXM3bkd3bnhaZXpwUm5VbVNwS3RpMXhaKzZVTkVTbUJSZ1NyYUR5Q3JtdjFaa2lRbHloUUxOVkdpS0ZhMUlMSnlaSEZPNUNoUkZMY0RLSzdta09LeVk0anFyT3hhUTRlck9lUlFVbExTWmJuaW9hWXBLU25wSElDakZiZnpTeDhpVWdxTENsU09YcTh2bGlScGF6V0hiTkhyOWRVdHpJbHFWTGJ3L3JtYVF3N3pRcURVa0pLVGs3TUI3S25ta0QxbHh4RFZTM1VkZnc1MmFSSFZ5RTZlNVdablorOVZKQmdpY25zc0tsQWxOWXhBY0VGRURhSzZQT005dHNrWnFqdWg0OGtlTlpUaTR1SXFPN0dxYVZzbnFoV3oyVnp4LzZ4dHZGc1NFU21GUlFXcUpEQXdjRGVBRzNaMjVlWG01dTZXT3g1cW1vcUxpNnM4aWF0dVVVNVVWeXFWYWdzQXM1MWQ1cko5UlBWMi9QanhNd0FNZG5icGs1T1R6OG9jRGpWUnljbkpwd0g4YnJPSmhWRWlVZ3lMQ2xSSlltSmlFWUJLczhXQ0lHeG5GWndhU3RuQ084bk9Ma1BaUHFJR3BkZnIvd1JnNzhyb1A1VHRJMm9vbFU3dzJJRkZUcEJzK1lzZ0NQRktCa0pFN28xRkJiTExYaXV3S0lwY0VGRkRzNWRUekROeUduc25kanpabzRabTc0SjVKU1VsekROcVVDcVY2aDBBRUFSaG4xNnZMMUE2SGlKeVh5d3FrRjFtczNrbmdFS2JUWVZtczltUis3d1RPY3pleVJ5dlhrMU90Z21BWlBOWUt0dEcxR0NPSGoyYUpnaENxczJtbEdQSGp2Mm1XRURVSkIwOWV2U1FJQWkvaWFMNHFkS3hFSkY3RTVRT2dGeVhScVBSQVJoWDlsQm5NQmlpbEl5SG1pYU5ScE1Lb0M4QUNJS1FxdGZyK3lrY0VqVnhhclg2UjBFUTdnVUFTWkorU2twSytxdlNNVkhUbzFhclh4WUU0WjlsRDE4MkdBd3ZLUm1QT3dnSkNmSHk5dlpPQnRCSDZWakl0UWlDOEsxZXI1K3NkQnhFVFJVN0ZhZzYxbStNMlI1TXptSTdhc01SRzVLRDdmOW4vTCtObklWNUpqOWZYOTlJc0tCQWRraVNORW5wR0lpYU1rK2xBeURYSlFqQ2RrbXlkZ25IS1JrTE5XbXhBSllDWEhpVFBDUkowZ21DOEk3bDcwckhRMDJUd1dBNG9kRm9MZ09ROUhwOWl0THh1QU96MmZ5d0lBaVlPM2N1SG4vOGNhWERJUmV3ZVBGaUpDUWtRQkNFNTVXT2hhZ3BZNmNDVlVtdjErZElrclFEUUp4ZXI4OVJPaDVxbXBLU2tvNEQrQVBBWllQQmNFTHBlS2pwUzBwS09nZmdLSUFqWlg4bmNnWkprcVN2SkVuNkN1V3Y0MEZPRUJJUzRpVUl3a01BRUJrWnFYUTQ1QUtNUmlNT0hqd0lBQkJGY2FQQzRSQTFhZXhVb0pyRWdvc2hjaTRKd0hwQkVDUXcxMGdtZ2lERWlxTElmR3NpTkJyTm5RQitBdEJjNlZqczBXZzBpNVdPb2FGSWtwU1lsSlEwU09rNEt2TDE5WTBVUmJGbHIxNjkwS1ZMRjZYRElSZncwMDgvb2JDd0VBRCt5d0l5a1hPeHFPQWlOQnJOUWdETGxZNmpLaHFONW5PbFk2Z3ZTWktHSkNVbDdWRTZEaVc1OHNKYmtpUm9OSnBGU3NmUlFMSTlQVDE3L1BMTEwvOVRPaEFsdVhxK0NZSUFqVWJ6aHRLeE5BUlhQZEdUMFhTNFlKNDFSWUlnUkNnZGd6MlcwWWZhZENrVUZCVEF6OCt2eXYyaUtNSm9OTUxYMTdjaFFuUjUxNjVkdzU0OWV4QVNFb0xRME5CeSt5Ukp3b1lORzNEMzNYYzNtcUxON3QyN0FRQ0NJR3hRT0JTaUpvOUZCZGNnQUhoUzZTQ2FPa0VRL2dyQXJZc0s0TUpiTGkzTlpuTkxBRzVkVkFEelRUYXVlcUluRTVVZ0NCTWtTY0tYWDM2SmZ2MTRBeGxuZVB2dHQvSE5OOThBd0x0S3gxSlJYVWNmNXMyYmgzdnZ2UmN6Wjg2c3RLK2twQVR6NTgvSHFWT25FQmNYVjIzeG9hTGs1R1E4L3ZqaldMZHVIZTY0NHc2SG4xZWRLMWV1WVBUbzBkaS9mejlTVWxMdzhzc3ZZK2ZPblFDQWt5ZFA0dU9QUDhZYmI3eGhqYk9rcEFRM2J0eW84WFZidG14cC9mdUhIMzZJbzBlUFl2MzY5WldPUzB4TXhFY2ZmWVNSSTBmVytKb3JWcXhBOCtiTjhjUVRUMVRhRng4Zmp6VnIxdURkZDk5RjU4NmRhM3l0dXVMb0E1RzhXRlJ3QVJxTjVtNEF0N1ZyMXc1eGNYRVFCTjdwczZGa1oyZGp5SkFoRUVYUjdPbnB1VkxwZUJUR2hiZVRKU1ltWXNHQ0JRQ1FwTmZyTTVTT1IySE1OeG00OG9tZVhOUnE5ZDJTSkhWcTM3NDlRa0pDbEE2blNSSkZFWHYybE5ia0pVbHl1Vzk5NnpMNllEYWJrWmFXaG1uVHB0bmR0MnpaTXFTa3BLQmJ0MjU0OGNVWDhkWmJiMEdscW53cHN1WExsMlBZc0dIbzM3OS9qZStabkp5TStQaDRMRnBVKzZhOFBYdjJvR2ZQbm1qZXZEbjI3TmtEdFZwdDNkZWhRd2Y4OXR0dldMaHdJVDc0NEFPb1ZDb2NQbndZenp6elRJMnZxOWZyQVFELy9lOS9FUmNYQnc4UEQ0d1pNNmJjTWRIUjBkaThlVFB5OC9NeGZQandTcSt4Y2VOR3RHL2ZIZ0J3OGVKRmJOaXdBWXNXTGNMWnMyZkxIZGV4WTBkODhza244UEx5Z2lpSzVmYTNidDBhQVFFQmp2NDZhc1RSQnlKNXNhamdBaXdMN3lGRGhyQ2cwTUQyNzk4UFVSUUJZSys3dDZKejRlMThiTFc4aWZubWZLNStvaWNYUVJBbUFLWGZVUE16MURsT25EaUJhOWV1UVJDRWl3YUQ0YjlLeDFOUmJVY2Y4dlB6Y2ZyMGFSaU5SblRyMWcxNWVYa0FnSUNBQU9UbjUyUHg0c1U0ZHV3WVZxMWFoYzZkTzJQeTVNbDQvdm5uRVJNVEEyOXY3M0t2OWYzMzM2Tjc5KzRPRlJYUzA5UHgvZmZmMTZtb3NIZnZYcWpWYW9paWlNVEVSTXlaTThlNkx5Z29DSys5OWhybXpKbURkOTk5RndzV0xNREFnUU94ZCs5ZWgxNzd3b1VMZU9HRkYvRHFxNjlpd0lBQm1EaHhJcDU5OWxtTUdqVUtBUERPTys4QUFBNGRPb1FQUHZnQVY2OWV4YXV2dmdvdkw2OUtyL1hXVzIvQmJEYmo5ZGRmcjdSdit2VHBPSGV1OVB3K0tpcXEzTDZGQ3hkaTRzU0pqdjB5SE1EUFl5SjVzYWlnUEVHU0pPdUNpQm9XUDFSdTRzTGJ1VXdtRXc0Y09BREF2VS93TEpodnp1ZnFKM295VWRrVzVzazVLaFN2UkdXakthOHVvdytqUjQ5R1RrN3BUYTIwV3ExMSs3cDE2N0JreVJJSWdvQjE2OWFoVzdkdUFJRFZxMWNqT2pvYWt5Wk53ckpseXlwZGI4RFpybDI3aGhNblR1RFJSeCtGWHE5SFZsWld1VTRGQUFnTEM4UHMyYk1SRkJRRUFQRDA5Q3czMmxBVms4bUVKNTU0QW1QR2pMRjJJU3hZc0FEcjE2L0hpQkVqb0ZLcFVGUlVoQ1ZMbHFCWnMyWjQ0b2tuTUdmT0hCdzRjS0RTN3pzMk5oYUhEaDNDNTU5L2pnc1hMdUR3NGNONCtlV1g0ZW5waWQ5Kyt3M1RwazNEK1BIanNYanhZaXhidGd4OSt2VEJJNDg4MGtDL3BaczQra0FrUHhZVkZHWTcrc0QyNElhVm5aMk5JMGVPQUlEWnc4TmprOUx4S0l3TGJ5YzdkT2dRQ2dvS0FDREpZRENrS3gyUHdwaHZNbkRsRXoyNXNDUEcrVVJSdEg3ajdZb0YwN3FNUHV6YnR3OXo1ODVGbno1OU1ILytmSmhNSml4ZnZod3pac3hBWkdRa0VoSVNNSDc4K0hMUDZkNjlPOXEzYjQ4Wk0yWmc3Tml4V0xwMHFUTitITHZhdG0yTG8wZVBXaDliUmhZcXNuZHRpSnA0ZVhuaGpUZmVRTDkrL1hELy9mZGJ0NHVpaUVHRGJsNzdOVDQrdnR5K2YvM3JYK2pYcjU5MTdPSFFvVU40ODgwMzhkUlRUeUUwTkJRZE8zYkUyclZyc1hMbFNzeVlNUVBQUC84OGdvT0RMU09DZVBqaGh6Rm56aHdNR0RBQTNidDNyM1hjMWVIb0E1SDhXRlJRR0VjZm5JZWpEemR4NGUxOGxoTThkc1V3MytUZzZpZDZjbUZIalBPZE9IRUNWNjllZGRtT21McmM5U0U3T3h0SGp4N0ZsQ2xURUJZV0JyMWVqeTVkdW1ERmloV0lpSWl3V3pEdzhQQ0F0N2MzZnZ6eFI3UnExYW9oZjRSNktTd3N4TldyVjYyUHUzYnRpbTNidHVHbGwxNXkrRFVzUllvYk4yNGdOallXWGJ0MnJmWjRrOG1FZ1FNSFd0WllBSUQyN2R2anlTZWZ4S09QUG9xMHREVE1temNQcTFhdFFuQndNRzdjdUlFQkF3YmdpU2Vlc0k1TWRPalFBZmZkZDErREZ4UUFkcWtTS1lGRkJXV3BPUHJnUEpZUEZVbVN2bGM0Rk1WeDRlMWNKcE1KUC96d0F3RDNQc0d6WUw0NW42dWY2TW1FSFRFeWNPV09tTExSaDdGQTdkWlI4Zkh4Nk5xMUszcjE2bVhkTm5YcVZJU0ZoVlU2VnEvWHcydzJ3OFBEQTFldVhNR1NKVXVzLzk5YnhNVEVJQ1ltcHRKenAwK2Y3bkJNZFpXVWxJVDU4K2RiSCt2MWVnd2FOTWg2MTRuczdHeEVSMGZqNFljZnJ0UjlZYys4ZWZQZzZWbjk2WUVrU1pXMkJRY0hJemc0R0pJazRjMDMzMFJFUkFSNjkrNE5BR2pWcWxXbFFrMXViaTUyN2RxRjExNTdyY2FZYXFPb3FJaWpEMFFLWUZGQlFScU41aTV3OU1FcGJFY2ZtalZydGxucGVCVEdoYmVUY2ZTaEhPYWJERno1UkU4dTdJaHhQbGZ2aVBIeDhSa2lTVktMbmoxN09qejZBQUE2blE2alI0KzJ1Mi9mdm4xbzNydzVidHk0Z2NHREJ5TXZMdzhSRVJIUTYvVVFSYkhTYlJwalkyTXJ2Y2FwVTZld1pNa1N4TVRFbEN0Y0pDUWs0Sk5QUG5FNFRrZmNjODg5ME92MU9IdjJyUFhpaDgyYk4wZno1cVYzOC8zd3d3L2g1K2VINk9ob0JBWUc0dXJWcS9EMzk3ZnVyK2pERHo5MHVGUEJubSsvL1JiSnljbDQ1WlZYN0JacEtySWNzMkRCQWt5ZVBMbkc0MnRpR1gyUUpPa1hqajRReVlkRkJRVng5TUY1T1Bwd0V4ZmV6c2ZSaDV1WWI4N242aWQ2Y21GSGpQTzVla2VNS0lvVEJFR29kUUV6UFQwZDc3MzNIdDU3N3owQXBTZTJscnNWcUZRcWVIaDQyTDE5cEQzMlRzQ3pzN01CbExiNDIrNlBqbzVHZEhSMHJXS3RqNnlzTEh6MzNYZVlPWE1tQWdNREFaVGVaYUZ0MjdaWXNXS0YzZWZNbVRPblRwMEtBSkNTa29JUFB2Z0FRT21GSWkwRmw2S2lJdmo0K0pRNzl0S2xTM2pxcWFlc3h6VFVTSW5sODFpbFVybDlseXFSbkZoVVVBNUhINXlJb3c4M2NlSHRYQng5S0kvNTVueXVmcUluRTNiRXlNQ1ZPMkxxT3ZvQWxIWU1BS1VuM1JNblRrUkNRZ0lDQWdJQUFHUEdqSUVnQ0ZXZU9OdEtTa3JDenAwNzhjSUxMemo4M3ErLy9qcEdqUm9seXgwa1B2bmtFd1FGQldIU3BFbldiVXVXTE1IVXFWUHgzWGZmMmIzendzY2ZmMXluVG9VTEZ5N2d1ZWVlZzFxdHhpKy8vQUtndE9DeWUvZHVyRml4QXV2WHIwZTdkdTBxdlZaTjcxVWJISDBnVWc2TENncmg2SVB6Y1BTaEhDNjhuWXlqRCtVdzMyVGd5aWQ2Y21GSGpQTzVla2RNWFVjZkFLQjE2OVpWUHQ2NmRTc0NBZ0tzWXcvVnljaklRR3hzYksyS0NyR3hzZWpidDYvVGl3b3BLU21JalkzRk8rKzhnMmJObWlFL1B4OTVlWGtBZ1B2dnZ4L3Z2LysrM1RzdlRKOCszZUV1RFZ1Yk4yK0duNThmWG5ycEpZd2NPZEs2L2U2Nzd3WUFMRjY4R0d2WHJxM1RhenVLb3c5RXltRlJRVGtQQTg3NU5xK2dvQUIrZm41VjdoZEZFVWFqRWI2K3ZnMzZ2cTRpTVRIUk12cXdoNk1QWEhnN0cwY2ZibUsrT1orcm4rakpSUkFFZm9ZNldVcEtpdVd1QWhlU2twSmNyaU9tcnFNUDlpUW5KenZVbWRCWW1Fd21QUHZzc3hCRkVVdVhMa1YrZnI3MVRnMWVYbDRJQ0FpQWw1Y1hsaTVkaXErKytzbzY3dkQyMjIvanJydnV3cFVyVjdCZ3dRSnMybFQ1YnR4YXJSYnZ2LzgrTWpJeXlvMHNQUHp3d3hnN2RxeTE0OE1pTURBUUw3endBaFlzV0lDdnYvNGFVNlpNY2RyUHpkRUhJdVd3cUtBTUZZRHhBSnp5YmQ2OGVmTnc3NzMzMnIxZmNVbEpDZWJQbjQ5VHAwNGhMaTZ1Mm9WVFJjbkp5WGo4OGNleGJ0MDY2MVdGWFpHbHJkR2RGOXdXWEhnN0YwY2Z5bk5tdmdITU9jRDFUL1Jrb2hJRVlieXpPbUxjL1RQVXdqSkdDR0FqWEt3anBqNmpEMERwZFFYKytPTVBYTDU4R1FEd3dnc3ZZTzdjdVFDQVVhTkdPVHorNEVwKy8vMTNBS1czaFd6ZXZEbWVmdnBwQUVDYk5tMFFGQlNFbGkxYm9rV0xGdkQyOWdZQW5ENTlHaDkvL0RGeWNuSXdkT2hRdTY5WjFZVVd4NDRkVys3eDh1WExyZjhPWloxNzVVUkVST0N4eHg3RHZmZmVXN2NmemdFY2ZTQlNsdk42a0toS3poeDlNSnZOU0V0TFE0OGVQZXp1Vzdac0dWSlNVbkRiYmJmaHhSZGZMSGVQWVZ2TGx5OUhjbkt5USsrWm5KeU01Y3VYMXl2dWhzTFJoM0pVZ2lBNHRYaTFkdTFhdS90S1Nrb3diOTQ4akJ3NTB1NENvenJKeWNrSUN3dkRpUk1uR2lKTXArTG9RemxPelRlQU9RZTQ5b21lWEp6WkVlUHVuNkVXcnQ0UjQrUGpNd1JBblVZZkFPQ3BwNTdDcWxXcjhNMDMzd0FBZHV6WWdRY2ZmQkFBRUJjWGh4OSsrQUZ4Y1hFQWdJQ0FBQncrZkxqQlltOW9vaWhpN2RxMVdMWnNHUVlQSG96Smt5ZGowNlpOQ0FzTHc0Z1JJM0QzM1hlalY2OWVhTnUycmJXZ0FBQTllL2JFaWhVcjRPdnJpNE1IRCtMdzRjTTRmUGd3NHVQamNkdHR0MEdyMVZxMzJmNEJnTysrKzY3Y3RzR0RCOWNZNTVOUFBvbmc0R0NuL1I0NCtrQ2tMSFlxS01NcDMrYmw1K2ZqOU9uVE1CcU42TmF0bTNWMkxpQWdBUG41K1ZpOGVER09IVHVHVmF0V29YUG56cGc4ZVRLZWYvNTV4TVRFbFB1Z0FZRHZ2LzhlM2J0M1IvLysvV3Q4My9UMGRIei8vZmRZdEdoUmcvMHNkY1hSaDV2a1dIaFBtemJON2o3THdydGJ0MjU0OGNVWDhkWmJiOW1kbzF5K2ZEbUdEUnZtVUo0bEp5Y2pQajdlSmZMTWdxTVBOemw3OUlFNTUvb25lbkp4VmtjTVAwTnZjdldPR012b1ExMHZkTjJwVXljQXBjWElpaVJKZ2lpS3lNM05oWWVIQjBwS1NwQ2VuZzUvZjMvbzlYcTczU2xWZmFNL2ZmcjBPc1ZYRzJmUG5zV1hYMzZKRHo3NEFHcTFHdHUyYmNOWFgzMkZWMTk5RlFEZzRlRUJUMDlQNng4UER3K1lUQ1lZalVZVUZ4ZkR5OHNMTzNmdVJHWm1KZzRjT0lCLy8vdmY4UGYzeDd4NTgrRGw1V1gzUFpzMWExYmx2dXFrcDZmRGFEVEN4OGNIUC8zMFU2VlJpZnF3R1gxdzIvOGJpWlRFb29MOG5EYjZNSHIwYU9UazVBQW9uWG16V0xkdUhaWXNXUUpCRUxCdTNUcDA2OVlOQUxCNjlXcEVSMGRqMHFSSldMWnNtU3hYSW5ZMmpqN2N4SVczYzNIMG9UeG5qajR3NTBxNStvbWVUS3lqRHcxOTV5UitodDVrT1VHREMzYkUySTQrT0tNcktpc3JDNE1IRDRZZ0NCZzVjaVJVS2hWbXo1Nk5nb0lDZUhsNTRmSEhIN2NlTzJ6WU1JU0hoOWZxOWFPaW9obzAzdURnWVB6blAvOUJ4NDRkQVpUbThlalJvNUdibTRzLy8vd1RKU1VsRUVVUlpyUFpPdEloQ0FJRVFZQktwWUt2cnkvOC9mMHhZOFlNbUV3bWpCczNEbzgrK3FoVHhzajI3dDJMTld2V0FBQzh2YjJ0SXlmMVZXSDB3ZTAvajRtVXdLS0N6TlJxOWQxdzB1akR2bjM3TUhmdVhQVHAwd2Z6NTgrSHlXVEM4dVhMTVdQR0RFUkdSaUloSVFIang0OHY5NXp1M2J1amZmdjJtREZqQnNhT0hZdWxTNWMyV0R4bXN4bmZmdnN0dG0zYmh2UG56OFBIeHdlaG9hSFcrMEkzTkp2Umh4S09QbkRoN1d5SER4L202TU5OVHNzM2dEbG40Y29uZW5LeDdZamhaNmh6aUtKWThRNGpMcVUrZDMyb3FHWExsbGkvZnIzMThmZmZmNC9iYnJzTlI0NGNnU1JKMW02bmd3Y1BRaFJGNjhtNFJVQkFRSzIvYmRmcjlmV0syUjVMUWNGV1lHQWdBZ01ESFg2TnI3LysycUZDUWszeCsvcjZZdHUyYldqVHBrMmxmYk5uejhiczJiTWhpbUtEM2dXQ293OUV5bU5SUVdiT3ZJZDdkblkyamg0OWlpbFRwaUFzTEF4NnZSNWR1blRCaWhVckVCRVJZWGV4NCtIaEFXOXZiL3o0NDQvbHJ1SmJYNUlrWWVIQ2hVaE1URVI0ZURpR0R4K09nb0lDMjNuZ0JtY3orckNYb3c5Y2VEdDc0VzNKWlk0K09EZmZBT1ljNFBvbmVuSnhaa2VNdTMrR1dyaDZSMHg5Ung5c2VYaDRvRy9mdnRiSHRyZFhySmhmenJ3Vm9pdG9xTTRFUVJEc0ZqbHNOZlR2a3FNUFJNcGpVVUZlVHIzclEzeDhQTHAyN1lwZXZYcFp0MDJkT3RYdXJKOWVyNGZaYklhSGh3ZXVYTG1DSlV1V1dGdTVMV0ppWWhBVEUxUHB1WTdNQ0c3WnNnV0ppWWw0N0xISDhPU1RUMXEzUjBkSDErSW5xaDJPUHR6RWhiZHpGOTRjZlNqUDJYZDlZTTY1L29tZVRKemFFZVB1bjZFV3J0d1IwNk5IRDI5bmpqNVE0MU5VVklRREJ3NEFBTXhtTSsvNlFLUVFGaFZrNU16UkJ3RFE2WFFZUFhxMDNYMzc5dTFEOCtiTmNlUEdEUXdlUEJoNWVYbUlpSWlBWHErSEtJcTRjZU5HdWVOalkyTXJ2Y2FwVTZld1pNa1N4TVRFbEZ0MEpTUWs0Sk5QUGlsMzdOYXRXOUdxVlN2TW1UT24zUFptelpyVjljZXJGa2NmeXVIQzI4a0xiNDQrbE9QVWZBT1ljNEJybitqSnhkSVJ3ODlRNTdIdGlBSHd2VlBmckE1YXRHZ1IyVkNqRDlRMC9QVFRUeWdxS29Ja1NiOGtKeWVmVlRvZUluZkZvb0tNbkRuNkFKUmVWT3k5OTk2enR1Q0doWVhoOWRkZkIxRGFhdWJoNGVGd3kxblhybDByYmN2T3pnWUFkT2pRb2R6KzZPam9TZ3ZxMDZkUFE2UFJ3Tk5UbmhUajZNTk5YSGc3ZitGdE0vcmdjb3R1dVRrNzN3RG1uS3VmNk1uRjBoRXpaTWdRZm9ZNmlXMUhqTUZnY0xtT21JWWNmUUNBZ29JQ3UzZHpzSGsvR0kxR3AxeTBzRHJGeGNVd0dvMW8zcnk1ck8vYkdISDBnY2cxc0tnZ0g1VWdDQk9jK1cyZXBmMC9LeXNMRXlkT1JFSkNndlVDUW1QR2pJRWdDTllyLzFZbktTa0pPM2Z1eEFzdnZPRHdlNy8rK3VzWU5XcVU5WUpvSnBOSjFzV1E1U1JQa2lTM1hYQmJjT0h0WExhakR3RGNmaEhqN0h3RG1IT3VmcUluRTZkM3hManpaNmhGaFk2WW1uOVlHVGxqOUdIZXZIbTQ5OTU3TVhQbXpFcjdTa3BLTUgvK2ZKdzZkUXB4Y1hIVkZoK0EwZ0xFRzIrOGdiWnQyOXA5dmRyWXZYczMvdm5QZjBLbjA2Rno1ODQxSG4vMTZsWDQrZmxaODFVVVJWeS9mcjNHNTdWcjE2NWVjVmFVa1pHQmh4OStHQjkvL0RIeTgvT3hZTUVDeE1YRm9YMzc5ZzM2UGhZY2ZTQnlIU3dxeUVRWndOcGFBQUFnQUVsRVFWU09iL05hdDI1ZDVlT3RXN2NpSUNEQStpMWVkVEl5TWhBYkcxdXJCVkZzYkN6Njl1MXJYUkIxN05nUnAwK2ZoaVJKVGp2UnNNak96c1l2di93Q0FDVStQajRjZmVEQzI2bHNSeC8wZW4yR3JHL3VlcHllYndCenpwVlA5T1RTdjMvL3YvQXoxTGxjdlNPbW9VY2Z6R1l6MHRMU01HM2FOTHY3bGkxYmhwU1VGSFRyMWcwdnZ2Z2kzbnJycldxTGx5cVZDbXExR3N1V0xVUHo1czN4eUNPUE9CU0g1UmE1dGpadTNJaStmZnNpS0NqSTduNWJBUUVCV0xod0lYeDhmUERoaHgvQzA5TVR1Ym01R0RseVpJM3Y3Y2lkS0hidDJvVWxTNWJnM1hmZnhYMzMzVmZ0c1VsSlNRZ0tDa0pZV0JqZWYvOTloSVNFT0syZ0FIRDBnY2lWc0tnZ0U5dlJCN211SUp5Y25PelFRdHNaSG5qZ0FYenh4UmVJalkwdGQxWDJ3c0xDQm04anRCMTlPSHo0Y0dhRHZuZ2p3NFczODFrVzNSeDlrQ2ZmQVBmT09WYy8wWk9MU3FXYUFEaTNJNllpZC9rTXRYRDFqcGlHSEgzSXo4L0g2ZE9uWVRRYTBhMWJOK3VKZTBCQUFQTHo4N0Y0OFdJY08zWU1xMWF0UXVmT25URjU4bVE4Ly96emlJbUpnYmUzZDVXdk8yTEVDT1RsNWVIdHQ5OUdlSGc0ZXZUb1VXMGNack81MnYrM2F2by9EU2d0REx6MjJtdDQvUEhIOGZiYmIyUFJva1hXZlh2MzdrWExsaTByUGVmczJiT0lpb3FxOGJVQldJdW9qb3g0R1F3R1JFUkVRS1ZTd1dBd09MWFlESEQwZ2NpVnNLZ2dENmVQUGdEQXdvVUw4Y2NmZitEeTVjc0FnQmRlZUFGejU4NEZBSXdhTmNyaGIvTWF3b3daTTVDWW1JZzMzbmdEaHc4ZnhwMTMzb25zN0d6RXg4ZGp4NDRkRGZwZUhIMjRpUXZ2VXM1YWVKdE1KaVFtSmxvZXV2MGlSb2w4QTl3cjUxejlSRThtc25URXVPdG5xSVVyZDhRMDlPakQ2Tkdqa1pPVEF3RFFhclhXN2V2V3JjT1NKVXNnQ0FMV3JWdUhidDI2QVFCV3IxNk42T2hvVEpvMENjdVdMYk1XR2UxNStPR0hzWC8vZnNURXhPQ3p6ejZyTmc0UER3OXJKeFpRT25JeGE5WXNkT25TQlMrOTlKTERQMCtuVHAyd2N1VktuRHQzenVIbk9NcFNWSENrUXlzcEtRbkxsaTFEUVVFQjB0TFM4TVliYnpSNFBCWWNmU0J5TFN3cXlFQ08wUWNBZU9xcHB4QVFFSUNpb2lLTUhEblN1dkJZdG13WjR1TGl5bjJiRnhBUWdNT0hEenN0Rmo4L1AzeisrZWRZdlhvMTl1L2Zqd01IRHVDV1cyN0JvRUdER3ZSOU9QcFFEaGZlVGw1NGMvU2hIRm55RFhEdm5IUGxFejI1eU5VUjQ0NmZvUmF1M2hGakdYM28wYU5IZzR3KzdOdTNEM1BuemtXZlBuMHdmLzU4bUV3bUxGKytIRE5tekVCa1pDUVNFaExLRlEwQm9IdjM3bWpmdmoxbXpKaUJzV1BIMnIyVnJZV0hod2VTazVPeGYvLytHdi9OYkR1dnZ2amlDL3o1NTUvNDhNTVBLM1ZvMWFSWHIxN2xMalFMbEJaQjY2czJSWVdkTzNkYS8xNjJObk1heStnRGdDTWNmU0JTSG9zS01yQzloN3N6Ung4NmRlb0VvTFRTWFpFa1NSQkZFYm01dWZEdzhFQkpTUW5TMDlQaDcrOFB2VjV2OXdKRTltN1hCamgyMnpVQUNBd014S0wvWisvZXc2S3E5LzcvdnhZZ21DaElhaDVMU25iYXlXS3dnNm1KcHpMTjA1Mm1tYVk3TlE5c002OTIxcTVkbHBWMnNEdTFNdnRwZTN2NDV0bHRhbVpxYmZVMk5FdkFUTjFacEdacVdpb0hIUlFZNXZQN1E1a05DZ2dJczJiZytiZ3VMcGxaYXo3ck5lUFNtZldlOWY2c1o1N0pkeXBlV2N2VCt2QUZyUTk4OEM3dkQ5NjBQdnlYdC9ZM3FmTHVjNzUrb09jdHVXZkVsTmVWazNKVnh2ZlFYTHQzNy9icE0ySnlXeC9LYW9MRzFOUlViZCsrWFFNSERsUk1USXdTRWhMVXVIRmp2ZlhXVzRxTmpTMndZQkFZR0tpUWtCQjk5ZFZYdXZMS0t3c2RPeU1qUXdrSkNZcUlpTkNISDM2bzJOallZdTIzMzMzM25XYk1tQ0dYeTZXZVBYdGVjdjNjK1JCKytlVVhUMUcxWWNPRytkb1VGaTFhNUpsL0pxOURodzRWK3pLNGdZR0Jrb3BYVlBBbTNvOEIzK0piLzBOVVRGNzdOcThvS1NrcGF0Kyt2U3pMVXBjdVhSUVFFS0RodzRjckl5TkR3Y0hCR2pKa2lHZmQrKzY3VHkxYXRDalIrTVh0elN0cmVWb2ZPQldkRDk3RmZ4S2x3RlVmOHZQVy9pWlYzbjNPMXcvMHZNVHpIbHBXQjVTbFVWSGZRM1BsdnBmS0I4K0lLWStyUHF4ZHUxYVJrWkg1dnRsLzlORkhDL3kvSVNFaFFUazVPUW9NRE5UUm8wZjEvUFBQNTMwdnVNaTZkZXZrY3JuMHhodHZhTVNJRWRxMGFkTWw1MFk0ZlBpd3hvMGJKNWZMcFduVHBxbGh3NFpGcnZ2RUUwOTRidmZyMTA5WldWbVN6czBCRXhrWktiZmJyUmRlZUVGWFhubGxnWE1oTkdyVVNDKzg4RUt4MnJaS01xZUN0OUQ2QVBnZWlncmx6RnV0RDNuVnJGbFQ4K2JOODl4ZXZIaXhycjc2YW4zNzdiY3l4bmpPbHRpOGViUGNicmNzeThwM1VGQ2pSbzBDSzl0RktjNE13bVdOMW9kOCtPQmR6clp1M1NxbjB5blIraUQ1eVA0bVZleDl6cGNQOUx6Rm0yZkU1S29zNzZHNWZQMk1tTEp1ZlpDa2YvM3JYK3JXclZ1QnkvNzk3MytyZXZYcU9uMzZ0TnEzYis4NUN5b2hJVUZ1dDF1blQ1OHVjdXhseTVicHpqdnZWRXhNak5xMmJhdFpzMmFwYmR1MmhSWmZqeDA3cHJpNE9FOEJ0R0hEaGdWZStyWXd1V2RtNVMySUZQZi81UTBiTm1qcTFLbEZybE9TOWdkdm9mVUI4RDIrOHo5RUJlV3Qxb2U4QWdNRGRlT05OM3B1TjJuU0pHK2VmT3Q2SzFONW9QWGh2L2pnWGY0NDFmSy83TmpmcE1xMXovbjZnWjYzZVBPTW1GeVY1VDAwbHgrY0VmT1FWSFpuS1VoU2NuS3lwa3lab2lsVHBrZzZkMEErY2VKRVNlZitUZ01EQTB2MWQ3dGx5eGJ0MmJQSE0rN1FvVU0xWU1BQXJWdTNUdmZkZDk5RjZ4ODhlRkFqUjQ1VVlHQ2daczZjcVM1ZHVwUkpJVFB2NUkrNTJ4azZkS2pXcmwyYmJ4OE9EZzYrNUZpK1dGVElVM0N0OUdjTkFyN0NkLzZIcUpoOG92V2hvcUwxNGIvNDRGMithSDNJejQ3OVRhcGMrNXdmSE9oNVE0QWt6NzZHOHBHbllMcEVQblpHVEZSVVZJZ3hwb2RVdHZ0QTdrRjNTa3FLK3ZidHEzWHIxbmtLanQyN2R5L1Y1Szh1bDB2dnZQT09icnp4UnJWcDAwYVMxS3haTTNYbzBFRlRwMDVWbXpadExtckhDZ2tKVWYzNjlmWDY2NityZHUzYWtzNWRhU0szNWFzZ2h3NGQwc2lSSTR2TWN1RWtqNGNPSFZKSVNJaG5HeVhoYTBXRnMyZlBhdlBtelpJa3Q5dGQ2ZCtQQVYvaEcvOURWRkIyZlp0WEdhU2xwZEg2OEY5ODhDNW5YMy85ZFc3clF5S3REK3h2M3VETEIzcmVjdHR0dDkwbHFTSHZvZVhIN1hiN2RJRStiK3REU1ZvQ0x1WENnKzY4dDFldVhKbHY4dGZpbWpsenB2YnYzNjlaczJibHUzL01tREhxM2J1MzNubm5IVDMvL1BQNWx0V3RXL2VpOWErNjZpbzFhTkNnME8za3pwOVFtQWNlZUVDLy9mWmJnY3NLbXpPaUtOZGRkNTNtejUrdnVuWHJGcm1ldDlENkFQZ21pZ3JsS08rM2VmNytyWm12MmJCaEE2MFA1L0hCdS96bGZ1ZytmNEJYcWJHL2xUOWZQOUR6RnQ1RHk1OGZuQkZUNXEwUEJkbXhZOGRsWFpZMlBqNWUvL2pIUDlTM2IxL2RkdHR0K1pZMWFOQkFJMGFNME5TcFUzWGJiYmVwYTlldVJZNTF1ZTBQSDN6d2diS3pzejMvWnR4dXQ1NTQ0Z21scGFXcFE0Y094WjZRTmxkSVNJaWFObTE2V1puS0VxMFBnRytpcUZCK2FIMG9SM3pnL2k4K2VKY3ZXaC95WTM4cmYzNXdvT2NObkJIakJiNThSa3g1dFQ1STByaHg0L1RiYjcvcHlKRWprcVRubm50T28wYU5raVIxN2RxMVJPMFBpWW1KR2pkdW5HNjg4VVk5K2VTVEJhNHpZTUFBYmRteVJSTW1URkQxNnRYVnRtM2JRc2Q3Ly8zM0wzbjFoN2k0dUFLWEhUdDJUSFBtek5INDhlTTlaeFpNbVRKRldWbFpldWVkZHpSbXpCajE2OWRQelpvMUs5WnprODU5M3Bvd1lZTEdqeDl2Kzc5RldoOEEzOFVud25KQzYwUDVvZlVoSHo1NGx6TmFIL0poZi9NQ1h6N1E4eGJPaUNsL3ZuNUdUSGg0ZUVkSlpkNzZJRWxQUFBHRTNudnZQYzJmUDErUzlObG5uK21CQng2UUpLMWV2VnFiTm0zUzZ0V3JKWjJiNERYM0Nnc1grdnp6enhVWEY2ZjY5ZXRyNnRTcGhWNTJNU0FnUUsrLy9yb2FOR2lndi83MXI1bzFhNWF5czdNTFhMZGV2WHE2K3VxckMvMHBhRjZFMU5SVVNlZGFMVnd1bDBKRFE1V2VucTRYWG5oQml4Y3YxcVJKazlTaVJRczk4c2dqR2pWcWxMWnRLMzZ0TWkwdFRSa1pHVXBQVHkvMlk4b0xyUStBNytKTWhYTEN0M25saDlhSC8rS0RkL21qOWVHLzJOL0tuNjhmNkhrTDc2SGx6dy9PaUNtMzFvZmNpUkJkTHRkRnk0d3hjcnZkU2s5UFYyQmdvRnd1bDVLVGt4VWFHcXFFaEFUUFpJdHo1ODdWMUtsVGRkTk5OMm5hdEdtcVdiTm1rZHVzV2JPbVpzeVlvYmk0T0gzd3dRY3l4bWpZc0dIRnlwdGJhQXdLQ3RLNmRlc3UybFo4Zkx3Q0F3TTFjdVJJdFd2WFRuUG56dFhpeFlzVkhoNnVtVE5uNnFhYmJwSWtqUnc1VXRuWjJZcUxpOU05OTl5ajd0MjdxMVdyVm9VV1F5U3BkKy9lNnR5NXM2cFhyMTZzck9XSjFnZkFkMUZVS0I5OG0xZU84cnlwVk5yTHJPWGlnM2Y1b3ZVaFAvYTM4dWNIQjNyZXdIdW9GL2p5R1RIbDJmcHdLU2twS1dyZnZyMHN5MUtYTGwwVUVCQ2c0Y09IS3lNalE4SEJ3Um95Wklna3FWdTNia3BKU2RISWtTT0xkV2xHNmR6RWpIUG16TkhDaFFzMWFOQ2dZbWRhczJaTjdobWFDZ3NMMDlpeFkvTXR2Ly8rK3hVWkdhbnJycnRPZ3dZTmt0UHAxTkNoUS9YUVF3L2x5MlpabHNhTUdhTldyVnBweG93Wm1qWnRtdWRLRlVYeGhZSkMzdFlIbDh1MTFPWTRBQzVBVWFFYzhHMWUrY25iK2hBU0VyTEM3ancyNDROM09hUDFJUi8yTnkvdzVRTTliK0U5dFB3WlkzejZqSmp5dXVyRGhXcldyS2w1OCtaNWJpOWV2RmhYWDMyMXZ2MzJXeGxqUE1YVHpaczN5KzEyeTdJc3orVnJJeUlpTkdiTW1CSnZNelEwMUZPWXVOQ3laY3NLbkUvaDdiZmZMbkxNZ0lBQXo5a0lzMmZQVnRXcVZZc3MvTFpvMFVLelpzMVNWbGFXQWdNRFM1RGVQbmxiSDNidTNMbmY3andBOHFPb1VBNzROcS84MFByd1gzendMbjhYSE9CVmF1eHY1Yy9YRC9TOGhmZlE4cmRyMXk1ZlB5UG1JVWxxMkxDaDl1elpVKzRieTd1TkgzNzRvZHkzVjVTZmZ2ckoxdTM3cW5mZmZUZjMxMHI3ZnlQZ3l5Z3FsSVBjcXo1OC9QSEgrdmpqaisyT1UxSFIrc0FINzNLVmxaV2xqUnMzNXQ2czlCOWkyTi9Lbng4YzZIa0Y3NkhlNDZ0bnhCaGp1a3ZTcGsyYjhyYWdBYlErQUQ2S29rSTVjTHZkeVpabE5iSTdSd1YyT0RzN3U3SmY5WUVQM3Q1RDY0UFkzN3pKVncvMHZJWDNVSzg1TFdtMjNTRUtNVXZTZlpLeTdBNENuN0taMWdmQU4xRlVLQWRKU1VudDdNNVFWaHdPaDVHa3hNUkV5KzRzeUk4UDNsN2hOc1pNdHp1RUwyQi84eHBmUHREemlncjJIanBEMG5CanpNaWtwS1FaZHVmeEY0bUppVTlMZXRydUhMNHVPanE2bjJWWkN5UXRTa3hNN0dkM0hnQ1ZGMFVGd0U5VnNBL2VGSzk4WEVYYTN5VDJPUUFBZ0xKQ1l5d0FBQUFBQUNnVmlnb0FBQUFBQUtCVUtDb0FBQUFBQUlCU29hZ0FBQUFBQUFCS2hhSUNBQUFBQUFBb0ZZb0tBQUFBQUFDZ1ZDZ3FBQUFBQUFDQVVxR29BQUFBQUFBQVNvV2lBZ0FBQUFBQUtCV0tDZ0FBQUFBQW9GUW9LZ0FBQUFBQWdGS2hxQUFBQUFBQUFFcUZvZ0lBQUFBQUFDaVZJTHNEQUVBdWg4TnhsOTBaVUxsRVIwY1B0RHNES3JSN3p2L1pPRG82dW9XdFNWQVJzVThCOEFtVzNRSGcyeHdPaHpuLzZ5WmJnNkNpYTJ0M0FBQUEvTlNpeE1URWZuYUhBRkI1Y2FZQ0x1V0VwRnJpb0E5QXhaUmhkd0JVZUM1anpLK1daWjIxT3dncXBDeEpIOXNkQWtEbFJsRUJSYklzcTVsbFdUZmJuUU1BeWtwT1RzNWd5N0lHU1ZKaVltS28zWGtBQUFEOEdlMFBBSUFLclc3ZHVxRTMzSEJEbGR6YlRxZnoyWnljbkdja0tTd3NMQ0wzL2xPblRwbUVoQVNuSkpjTk1RRUFBUHdTUlFVQVFJWG1jRGorVDFLYjRxeHJqQm1TbEpUMGozS09CQUFBVUdGd1NVa0FRSVZtV2RZYnhWMDNJQ0JnWG5sbUFRQUFxR2dvS2dBQUtyU3paOCt1bDJRdXRaNWxXZWtKQ1FuWlhvZ0VBQUJRWVZCVUFBQlVhTHQzNzg2eUxPdUhTNjJYazVQemtUZnlBQUFBVkNRVUZRQUFGWjdiN1g3aFV1dWNQbjM2Yjk3SUFnQUFVSkZRVkFBQVZIamg0ZUdyVlhRTGhETTVPVG5UVzNrQUFBQXFDb29LQUlBS2IrUEdqV2VOTVFlS1dHV1J0N0lBQUFCVUpCUVZBQUNWZ21WWkx4YXhiTFEzc3dBQUFGUVVGQlVBQUpWQ1ptYm1KNFVzT3B1UWtKRGgxVEFBQUFBVkJFVUZBRUNsc0h2Mzd0UEdtQ01GTEZybDlUQUFBQUFWQkVVRkFFQmw4c3FGZDJSblp3KzNJd2dBQUVCRlFGRUJBRkJwR0dNV1huQlgxdmZmZjU5aVN4Z0FBSUFLZ0tJQ0FLRFMyTEZqUjZveHhwM25yaTl0Q3dNQUFGQUJVRlFBQUZRcWxtWDlOZmYzckt5c1A5dVpCUUFBd045UlZBQUFWQ3BCUVVGempUR1NsTDFyMTY1amR1Y0JBQUR3WnhRVkFBQ1Z5amZmZkhQQ3NxeDlrcjZ5T3dzQUFJQy9zK3dPQUFDb1dHSmpZNFBTMDlQN1dwYlZSMUtNTWFhT3BCQzdjL21CVE11eS9wQ1VJR2x4alJvMUZtL2N1TkZsZHlnQUFJQ2lVRlFBQUpRVnkrRndQQzdwV1VtUk5tZXBDQTVJbXBTWW1EaFRrckU1Q3dBQVFJRW9LZ0FBTGx0VVZGUklXRmpZTEVrREpLbHAwNmJxMDZlUG9xS2lkTTAxMXlnOFBOem1oTDR2TFMxTkJ3OGVWSEp5c3BZc1dhSzllL2ZtTHBxWG5wNCtMRGs1T2RQT2ZBQUFBQVdocUFBQXVDd3hNVEhWakRHZlMycFRxMVl0alI4L1huZmZmYmNzaTdlWTBqTEdhTXVXTFhyNTVaZDE0c1FKU2Rwc1dWYm5oSVNFREx1ekFRQUE1TVZFalFDQXkrSjJ1NmRLYXRPa1NSUE5uVHRYclZxMW9xQndtU3pMVXF0V3JUUm56aHcxYWRKRWt0b1lZNmJZblFzQUFPQkNmT29EQUpSYVRFeE1mMlBNeDdWcjE5YkNoUXNWRVJGaGQ2UUtKeVVsUlgzNzl0V0pFeWRrak9tZmxKUzB3TzVNQUFBQXVUaFRBUUJRS3ExYXRhcGhqSG5Qc2l4Tm1EQ0Jna0k1aVlpSTBDdXZ2Q0pKc2l6ci9WYXRXdFd3T1JJQUFJQUhSUVVBUUttY1BYczJUbEpFdDI3ZGRPZWRkOW9kcDBLNzg4NDcxYTFiTjBtS3lNaklHR1YzSGdBQWdGd1VGUUFBSmRhOGVmTlFZOHhUbG1WcDhPREJkc2VwRkFZUEhpekxzbVJaMWxQTm16Y1B0VHNQQUFDQVJGRUJBRkFLUVVGQlBTWFZqbzJOVmVQR2plMk9VeWxFUmtZcU5qWldrdXBVcVZLbGg4MXhBQUFBSkZGVUFBQ1VUaTlKNnR5NXM2MGgxcTlmcjdTMHRBS1hwYWVuYTk2OGVTVWVNeXNyUzN2MzdyM2NhT1Vpeit2ZHk4NGNBQUFBdVNncUFBQktwR1hMbGxkSXVqOG9LRWd0VzdhMExjZXhZOGYwM0hQUGFkT21UUVV1UDNueXBLWk1LZmxWR0k4Y09hTCsvZnRmYnJ4eTBiSmxTd1VHQnNvWWMvLzV2d2NBQUFCYkJka2RBQURnWDdLeXN1NlNWQzA2T2xxaG9mYTE5di9yWC85UzdkcTFkZi85OTVmNHNRY09IQ2gwMmVIRGh5KzV6alhYWEtPQUFPL1g1VU5EUXhVZEhhM3QyN2VIWm1kbjN5bHBvOWREQUFBQTVFRlJBUUJRVXMwbHFWbXpacllGT0hQbWpCWXZYcXpodzRlclNwVXFraTR1QWhSV0hBZ0xDOU9ERHo1NHlXMFV0YzZYWDM2cG1qVnJsaXgwR1duV3JKbTJiOTh1WTB4elVWUUFBQUEybzZnQUFDaVI4d2V6dXU2NjYyekxzSFRwVWxXcFVrVzlldlZTZW5xNkxNc3F0QWh3NGYwUFBmU1FFaElTQ2gzN3dJRURldkRCQjR0Y3gwNTVYdmZtZHVZQUFBQ1FLQ29BQUVydUprbTY5dHByYmRuNHFWT245TTkvL2xPUFAvNjRRa0pDOUwvLys3OUtURXpVOXUzYlpWbVdaNzFMRlFkY0xwZCsvLzMzaSs3UHZlL0lrU01YTGJ2cXFxc1VGR1R2VzJkdVVjRVljNU90UVFBQUFFUlJBUUJRY3JVbDZjb3JyN1JsNCsrLy83NkNnb0owOTkxM0t6RXhVY3VYTDlkcnI3MldyNkJRSEljT0hTcXl4YUZidDI0WDNiZHMyVEpGUmthV05IS1ppb2lJeVAyMXRwMDVBQUFBSklvS0FJQ1NDNWRrMnlTTktTa3BPbkhpaFByMDZTT1h5NldXTFZ1cVU2ZE9tamR2WG9GWGU0aUppY2wzKzhJekZ5NjhYZGdaRGhlT1k1YzhyM3U0blRrQUFBQWtpZ29BZ0pJTGs2UnExYXJac3ZGSmt5WnAwcVJKK3ZlLy82M3g0OGZyMldlZmxTVDE2TkZEYmRxMHNTV1ROMUZVQUFBQXZvU2lBZ0RBcndRRUJDZzFOVlZ2dlBHR1JvOGVyVWFOR2trNmQxV0hzTEN3RW85MzRkd0pSYzJwQUFBQWdQd29LZ0FBU2lwZFV1Mk1qQXdGQndkN2ZlUEdHTDMwMGt1S2pJeFVuejU5OU91dnYrcmd3WU5xMmJLbERoNDhXT1JqR3paczZMa0VaYTZDNWs0bzZuNjdPWjNPM0YvVDdNd0JBQUFnVVZRQUFKUmNtcVRhVHFkVE5Xdlc5UHJHVjZ4WW9jMmJONnQyN2RwcTNicTFzck96MWFKRkN6VnYzcnpJaVJlbC9CTXQxcXhaVTQ4Ly9yaUdEeC91V2I1bXpScTkrZWFiU2s5UFY1TW1UZlR1dSsrcWJ0MjZrcVFQUC96UWx1ZDdJWW9LQUFBQUFBQy81WEE0dm5ZNEhHYm56cDNHRHYvNXozL01CeDk4WUQ3Ly9IUHp3dzgvbURObnpoaGpqRWxQVHpjT2g4TWNQMzY4d01jNUhBNnpmLy8rQXBlZFBYdld2UG5tbSthQkJ4NHdHelpzTUE2SHc2eFpzOFowN2RyVjdOcTFxN3llU3FuczNMblRPQndPNDNBNHR0cTlMd0FBQUhDbUFnQ2dwSFpMdW5QLy92MjY1Wlpidkw3eFpzMmFxVm16WnA3YlRxZFQyN2R2MTNYWFhWZXE4UklTRXZUYWE2K3BUcDA2bWoxN3RrNmRPaVZKNnR5NXN5UnB4SWdSR2pSb2tCNTk5RkZiMmowdXRHL2ZQa21TWlZtN2JZNENBQUJBVVFFQVVES1daZTAweG5nT2JyM3QyMisvMWU3ZHUvWGpqei9xaHg5KzBLKy8vcXFHRFJ0cTVzeVpKUnBuLy83OWV2Lzk5eFVmSDY4aFE0Ym9zY2NlVTBCQWdLZW9JSjByTERSbzBFRFBQZmVjVnF4WW9lSERoK3ZlZSsrMXRiaVE1M1hmYVZzSUFBQ0E4eWdxQUFCS2FxY2svZkRERDdac2ZPblNwVHA2OUtnY0RvZnV2LzkrM1hMTExhcFpzNmFuR0hEdnZmY1crZmlzckN6OTdXOS8wNlpObTNUSEhYZG80Y0tGYXR5NGNhSHJOMi9lWElzWEw5YTc3NzZyQ1JNbWFNYU1HWm8vZjM2cHJqUlJGbkpmZDh1eUtDb0FBQURiVVZRQUFKUkljSER3MTVtWm1jNmtwS1JRcDlPcDBOQlFyMjcvalRmZUtITDVSeDk5Vk9DRWlybVRPQVlIQjZ0VHAwN3EyN2V2N3JqamptSnRzMXExYW5ybW1XZjA4TU1QNi9qeDQ3WVZGSnhPcDVLU2tpVEpXYjE2OWE5dENRRUFBQUFBd09Wd09CeExIUTZIV2I5K3ZkM3pGbnFjUFh2V3ZQNzY2OGJwZEJhNC9QWFhYemNuVHB3bzFqaEpTVWxsSGE5TXJGKy8zamdjRGhNVEU3UEU3bjBBQUFCQWtnTHREZ0FBOEQvMTY5ZXZJdWwvY25KeUx0bHU0QzFCUVVGcTNicTFxbFNwVXVEeTFxMWI2NG9ycmlqV09QWHExU3ZyZUdWaSt2VHBPbkRnZ0N6TGV1MjMzMzc3M3U0OEFBQUFBWFlIQUFENEg1Zkw5WW1rNHhzM2J0UXZ2L3hpZDV4SzRjQ0JBOXE0Y2FNay9aR2RuYjNDNWpnQUFBQ1NLQ29BQUVwaDU4NmRUc3V5M2piR2FQYnMyWGJIcVJSbXo1NHRZNHlNTVcvdjNMblRhWGNlQUFBQWlhSUNBS0NVcWxhdCtyNmtsSlVyVjJyYnRtMTJ4Nm5RdG0zYnBsV3JWa2xTU3JWcTFhYmJuUWNBQUNDWFpYY0FBSUQvaW82T2Z0aXlyUG0xYXRYU29rV0xGQkVSWVhla0N1Zmt5WlBxMTYrZlRwdzRJV1BNdzBsSlNRdnR6Z1FBQUpDTGlSb0JBS1YyOU9qUlhmWHExV3QwNXN3WlIzeDh2RnEzYnEwYU5XcllIYXZDK08yMzN4UVhGNmNqUjQ1STBzeWtwS1JKZG1jQ0FBRElpL1lIQU1CbENRZ0lHQ05wODg4Ly82eEJnd1lwUGo1ZXhoaTdZL2sxWTR6aTQrTTFhTkFnN2R1M1Q1STJXNWIxcE4yNUFBQUFMa1Q3QXdEZ3NrVkZSWVdFaFlYTmtqUkFrcG8yYmFvK2ZmcW9TWk1tYXR5NHNjTER3MjFPNlB2UzB0TDB5eSsvNk9lZmY5YVNKVXUwZCsvZTNFWHowdFBUaHlVbkoyZmFtUThBQUtBZ0ZCVUFBR1hGY2pnY3d5VDlUVktrelZrcWdnT1NKaVVtSnM2VXhLa2ZBQURBSjFGVUFBQ1VxZGpZMktCVHAwNDlaSXpwSXlsR1VoMUpWVzJPNVEvT1N2cERVb0psV1V0cTFLaXhlT1BHalM2N1F3R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SlFIeSs0QXVMVFkyTmlnOVBUMHZwWmw5WkVVWTR5cEl5bkU3bHgrSU5PeXJEOGtKVWhhWEtOR2pjVWJOMjUwMlIwS0FBQUFBQ29LaWdxK3pYSTRISTlMZWxaU3BNMVpLb0lEa2lZbEppYk9sR1JzemdJQUFBQUFmbytpZ28rS2lvb0tDUXNMbXlWcGdDUTFiZHBVZmZyMFVWUlVsSzY1NWhxRmg0ZmJuTkQzcGFXbDZlREJnMHBPVHRhU0pVdTBkKy9lM0VYejB0UFRoeVVuSjJmYW1ROEFBQUFBL0IxRkJSOFVFeE5UelJqenVhUTJ0V3JWMHZqeDQzWDMzWGZMc3ZqcktpMWpqTFpzMmFLWFgzNVpKMDZja0tUTmxtVjFUa2hJeUxBN0d3QUFBQUQ0cXdDN0ErQmlicmQ3cXFRMlRabzAwZHk1YzlXcVZTc0tDcGZKc2l5MWF0VktjK2JNVVpNbVRTU3BqVEZtaXQyNUFBQUFBTUNmY2FUcVkySmlZdm9iWXo2dVhidTJGaTVjcUlpSUNMc2pWVGdwS1NucTI3ZXZUcHc0SVdOTS82U2twQVYyWndJQUFBQUFmOFNaQ2o2a1ZhdFdOWXd4NzFtV3BRa1RKbEJRS0NjUkVSRjY1WlZYSkVtV1piM2ZxbFdyR2paSEFnQUFBQUMvUkZIQmg1dzllelpPVWtTM2J0MTA1NTEzMmgyblFydnp6anZWclZzM1NZckl5TWdZWlhjZUFBQUFBUEJIRkJWOFJQUG16VU9OTVU5WmxxWEJnd2ZiSGFkU0dEeDRzQ3pMa21WWlR6VnYzanpVN2p3QUFBQUE0RzhvS3ZpSW9LQ2ducEpxeDhiR3FuSGp4bmJIcVJRaUl5TVZHeHNyU1hXcVZLblN3K1k0QUFBQUFPQjNLQ3I0amw2UzFMbHpaN3R6VkNwNVh1OWVkdVlBQUFBQUFIOUVVY0VIdEd6WjhncEo5d2NGQmFsbHk1WjJ4NmxVV3Jac3FjREFRQmxqN2ovLzl3QUFBQUFBS0NhS0NqNGdLeXZyTGtuVm9xT2pGUnJxMzYzOXk1WXQwOUtsU3d0Y2xwaVlxRmRlZVVYSGpoM3pjcXJDaFlhR0tqbzZXcEpDczdPem1SMFRBQUFBQUVvZ3lPNEFrQ1ExbDZSbXpaclpGaUFtSnFaVWo3dnFxcXUwWnMwYXorMzE2OWVyWHIxNjZ0Mjc5MFhyenBneFEyZlBubFdkT25WS25iTThOR3ZXVE51M2I1Y3hwcm1ralhibkFRQUFBQUIvUVZIQkI1dy9tTlYxMTExblc0Wmx5NVo1Zm4vd3dRZjE1cHR2cWttVEp2blcrZjMzM3pWeTVFaTk5dHBybmdKSVVGRCtYZWpRb1VPNisrNjdMeHAveTVZdCt2Nzc3N1Znd1FJRkJBUW9MUzFOQ1FrSmF0KytmVGs4bTVMSjg3bzN0ek1IQUFBQUFQZ2JpZ3ErNFNaSnV2YmFhMjBMRUJrWm1lOTIvZnIxTDdvdk9EaFlrbFN2WHIyTGxoMDRjRUF1bDB0SGp4NVZhR2lvRGh3NElPbmNtUXhWcWxUUjVNbVQ5ZFJUVDNrZWQrVElFYjM0NG9zS0R3OHY5VmtTWlNXM3FHQ011VnRGOEhRQUFDQUFTVVJCVk1uV0lBQUFBQURnWnlncStJYmFrblRsbFZmYW5hUFVIbnp3UWMvdkV5ZE85UHorOXR0dmE5ZXVYV3JhdEttbkpTSXpNMU4xNjliVm4vLzhaMDJZTUVHTEZ5OVdTRWlJMXpQbmlvaUl5UDIxdG0waEFBQUFBTUFQVVZUd0RlR1MvSHFTeG9TRUJDMWZ2bHdmZnZpaFB2LzhjMlZuWjZ0bHk1YmF0R21UVnE1Y3FkcTFhNnQ5Ky9ZNmZmcTBjbkp5UEkrekxFdHo1ODdWc0dIRGJNdWU1M1VQdHkwRUFBQUFBUGdoaWdxK0lVeVNxbFdyWm5lT3kvTEREei9vbGx0dWtTUWRQMzVjeGhqZGV1dXRPblhxbEs2Ly9ucGRkZFZWcWxPbmptclhycTJhTldzcUlpSkNYMzc1cFY1NzdUWDE3Tm5UdGdrY0tTb0FBQUFBUU9sUVZFQ0JjeG9NSERpdzBQV0hEQm1TNy9iRWlSTjEzMzMzNmZ2dnYxZVhMbDBrU2Z2MjdWTzFhdFhVdlh0MzllelpzOUN4MnJadHEyKy8vVmFCZ1lHbFRBOEFBQUFBc0F0RkJkK1FMcWwyUmthR1p6SkViOHA3NVlmTXpFejE3OTlmVTZkT1ZhTkdqZkt0VjlEVkg2UnprekZtWkdUb3A1OStrc1Boa0NUdDNyMWJ6Wm8xVTBCQWdHZlN4c0w4N1c5L1U1VXFWY3J1Q1pXUTArbk0vVFhOdGhBQUFBQUE0SWNvS3ZpR05FbTFuVTZuYXRhczZmV041NzJTdzhtVEp5VkpmL3JUbjFTM2J0MTg2eFYxOVlkdDI3Yko3WGJMNVhKSmtqWnYzcXpZMkZoSitTZHhMTWl5WmNzdUdzK2JLQ29BQUFBQVFPbFFWUEFOeHlVMU9YbnlwQm8yYkdocmtNT0hEeXNnSUVDMWE1ZnNRZ2kzMzM2Nyt2WHJwK0hEaDZ0Ly8vNzZ6My8rbzFkZmZkV3p2TERDZ2QyWGs1U2tsSlNVM0YrUDI1a0RBQUFBQVB3TlJRWGZzRnZTbmZ2MzcvZE1kR2lYN2R1MzY5cHJyeTN4SEFjQkFRRjYrdW1uVmI5K2ZiM3p6anVLaW9yU05kZGNVMDRweTlhK2Zmc2tTWlpsN2JZNUNnQUFBQUQ0bFFDN0EwQ3lMR3VuOU4rRFc3dWtwcVpxL3Z6NWF0dTJiYW5IQ0FvS1V0V3FWYlYvLzM2OTlOSkxjcnZkWlppd2ZPUjUzWGZhbVFNQUFBQUEvQTFuS3ZpR25kSzVTekxhNWVUSmt4b3pab3pjYnJjZWVlU1JVbzN4eFJkZjZPMjMzOWFFQ1JOMHhSVlg2Tmxubi9XME42U21wdXJFaVJObEdibk01TDd1dWNVZEFBQUFBRUR4VUZUd0FjSEJ3VjluWm1ZNms1S1NRcDFPcDBKRFE3MjYvZmo0ZUwzeXlpdHlPcDJhTm0xYXFTYUxuRDkvdnQ1NTV4ME5HelpNOTk5L3Z5UnAxcXhadXZIR0cvWHl5eTlmZEJsS1grRjBPcFdVbENSSnp1clZxMzl0ZHg0QUFBQUE4Q2NVRlh6QTFxMWJ6emdjanM5ZEx0ZURXN2R1VmNlT0hiMjYvWkNRRUZXdlhsMVRwa3pKZDZuSUN3VUZCYWxSbzBZS0NRbTVhTm0yYmRzMFlzU0lmTVdEbTIrKzJmUDd3b1VMMWJoeDQ0c2UxN0pseTh0TWYzbTJidDJxbkp3Y1daYTFadVBHaldkdERRTUFBQUFBUUdrNEhJNUhIQTZIZWVxcHA0d2QzRzczWlQwK0t5dXIwR1hyMTY4M1RxZXp3R1ViTm13b2RKazNQUFhVVThiaGNKaVltSmorZHU4REFBQUFBT0J2TExzRDRKem16WnVIQmdVRkhiQXNxL2F5WmNzSy9GWWZaZXZBZ1FQcTNidTNqREYvdUZ5dWEzZnUzT20wT3hNQUFBQUErQk91L3VBamR1N2M2YlFzNjIxampHYlBubTEzbkVwaDl1elpNc2JJR1BNMkJRVUFBQUFBS0RtS0NqNmthdFdxNzB0S1dibHlwYlp0MjJaM25BcHQyN1p0V3JWcWxTU2xWS3RXYmJyZGVRQUFBQURBSDlIKzRHT2lvNk1mdGl4cmZxMWF0YlJvMFNKRlJFVFlIYW5DT1hueXBQcjE2NmNUSjA3SUdQTndVbExTUXJzekFRQUFBSUEvQ3JRN0FQSTdldlRvcm5yMTZqVTZjK2FNSXo0K1hxMWJ0MWFOR2pYc2psVmgvUGJiYjRxTGk5T1JJMGNrYVdaU1V0SWt1ek1CQUFBQWdMK2kvY0VIQlFRRWpKRzArZWVmZjlhZ1FZTVVIeDh2WTR6ZHNmeWFNVWJ4OGZFYU5HaVE5dTNiSjBtYkxjdDYwdTVjQUFBQUFPRFBhSC93VVZGUlVTRmhZV0d6SkEyUXBLWk5tNnBQbno1cTBxU0pHamR1clBEd2NKc1QrcjYwdERUOThzc3Yrdm5ubjdWa3lSTHQzYnMzZDlHODlQVDBZY25KeVpsMjVnTUFBQUFBZjBkUndiZFpEb2RqbUtTL1NZcTBPVXRGY0VEU3BNVEV4Sm1TT1BVREFBQUFBQzRUUlFVL0VCc2JHM1RxMUttSGpERjlKTVZJcWlPcHFzMngvTUZaU1g5SVNyQXNhMG1OR2pVV2I5eTQwV1YzS0FBQUFBQUFjSjdENFRBT2g0TnYvZ0VBQUFDZ2ttR2lSZ0FBQUFBQVVDb1VGUUFBQUFBQVFLbFFWQUFBQUFBQUFLVkNVUUVBQUFBQUFKUUtSUVVBQUFBQUFGQXFGQlVBQUFBQUFFQ3BVRlFBQUFBQUFBQ2xRbEVCQUFBQUFBQ1VDa1VGQUFBQUFBQlFLaFFWQUFBQUFBQkFxVkJVQUFBQUFBQUFwVUpSQVFBQUFBQUFsSXBsZHdENGwrYk5temNLQ2dyNit3VjNEei8vNTRkNTczUzVYSy91M0xuemtIZVNBUUFBQUFDOGphSUNTcVJQbno2QnljbkpoeTNMcWx2VWVzYVlZMUZSVVEyWExGbVM0NjFzQUFBQUFBRHZDclE3QVB6TG5qMTdUTU9HRFp0SWFuR0pWZWQ5K2VXWG4zb2pFd0FBQUFEQUhzeXBnQkp6dTkzTGlyRmFjZFlCQUFBQUFQZ3hpZ29vc1lDQWdFM0dtSk5GckhJaVBEeDhrOWNDQVFBQUFBQnNRVkVCSlphUWtKQnRXZGFLSWxaWnNYSGpScGZYQWdFQUFBQUFiRUZSQWFWaVdWYWg3UTBCQVFHMFBnQUFBQUJBSlVCUkFhV1NscGIyaGFUMEFoYWxwNmFtZnVudFBBQUFBQUFBNzZPb2dGSkpUazdPTk1ZVWRIV0hWY25KeVpsZUR3UUFBQUFBOERxS0NpaTFRbG9nYUgwQUFBQUFnRXFDb2dKS3piS3N6eVZsNUxrcnc3S3N0WGJsQVFBQUFBQjRGMFVGbEZwQ1FrS0dwRFc1dHkzTCt1ejhmUUFBQUFDQVNvQ2lBaTZMTWNiVDd1QjJ1Mmw5QUFBQUFJQktoS0lDTGt0d2NQRHEzTityVmF1MnVxaDFBUUFBQUFBQThuRTRIS3NjRHNkS3UzTUFBQUFBQUx3cnlPNEFxQkNXV1pabDdBNEJBQUFBQVBBdXkrNEF2aXdtSnVaMVk4d3pkdWRBcGVhVzFDTXhNZkZUdTRNQUFBQUF3SVdZVTZFUVVWRlJJY2FZRVhiblFLVVhZRmxXYTd0REFBQUFBRUJCYUg4b1JGaFlXQ2RKNFUyYk50WDgrZlB0am9OS0pqVTFWWjA2ZFpMYjdjNlJOTm51UEFBQUFBQlFFTTVVS0lSbFdYMGtxVk9uVG5aSFFTVzBZY01HdWQxdVNmb3lJU0hodU4xNUFBQUFBS0FnRkJVS2NMNzFvWWNrZGV6WTBlNDRxSVRXcjE4dlNiSXNhNG5OVVFBQUFBQ2dVQlFWQ3BDMzllSHFxNisyT3c0cW1kVFVWSDM3N2JlU2xDUHBFNXZqQUFBQUFFQ2hLQ29VSUxmMWdiTVVZSWVOR3pmUytnQUFBQURBTDFCVXVBQ3REN0RidW5YckpOSDZBQUFBQU1EM1VWUzRRTjdXaDJ1dXVjYnVPS2hrYUgwQUFBQUE0RThvS2x5QTFnZllpZFlIQUFBQUFQNkVva0lldEQ3QWJyUStBQUFBQVBBbkZCWHl5RzE5dVA3NjYybDlnTmZSK2dBQUFBREEzMUJVeUNPMzlhRlRwMDVsTWw1R1JrYVJ5OTF1dDg2Y09WTW0yeXB2di8vK3UrYlBuNi92dnZ2dW9tWEdHQzFldkZpLy9QTExaVzNENlhRcU96djdzc2J3WjdRK0FBQUFBUEEzRkJYT085LzYwRk1xdTlhSHVMZzR6Wm8xcThCbExwZExjWEZ4NnRLbHl5V0xEOUs1QXNURWlSTUxIYTh3ZS9iczBSTlBQSkZ2R3k2WFM2bXBxWmY4eWV2OTk5L1h4eDkvckt1dnZ2cWliV3pjdUZIVHAwOVhyVnExQ3N4dzl1eFpmZjMxMTU3Yk1URXhPbkRnZ0NScHk1WXRTazlQbHlSTm16Wk53NGNQTDlIenEwaldyMTh2aWRZSEFBQUFBUDRqeU80QXZ1Sjg2ME5ZV2JVKzVPVGthTy9ldlJvMGFGQ0J5OGFQSDY5ZHUzYnAybXV2MWQvLy9uZE5uanhaQVFHRjEzZ0NBZ0lVSFIydDhlUEhxM3IxNnVyWHIxK3hjdFN2WDE4Ly92aWp4bzBicDJuVHBpa2dJRUJidDI3VmswOCtlY25ISmlRa1NKSzJiZHVtMWF0WEt6QXdVTjI3ZDgrM3p1T1BQNjVQUHZsRVRxZFRuVHQzdm1pTXBVdVg2dkRodzNyaWlTZjA1cHR2S2pZMjFyTnN6NTQ5R2pkdW5LWlBuNjdtelp2clAvLzVqKzY2NjY1aVBhK0tKalUxVmQ5ODg0MUU2d01BQUFBQStKK1ltSmc1RG9mRHpKbzF5MXl1MDZkUG02U2tKT053T015QkF3ZE1lbnE2U1U5UDl5d2JQWHEwdWVlZWU4eU9IVHZNeVpNblRlZk9uYzNZc1dQTjJiTm5Mem4yb2tXTHpCMTMzR0YrK3Vtbll1Zlp2bjI3YWRHaWhaazhlYkl4eHBqczdHeVRrcEp5eVI5ampEbDQ4S0JwMzc2OVdiTm1qVGwrL0xqcDBLR0QrZlRUVHoxanYvMzIyNlpYcjE0bUt5dkxUSjQ4MlR6OTlOTW1NelB6b2d6VHAwODN3NFlOTThZWTQzQTR6UDc5KzgzRER6OXNac3lZWVl3eEppMHR6YlJvMGNKOC8vMzN4WDVlRmNueTVjdU53K0V3RG9kanJkMy9GZ0FBQUFBQUpSQVZGUlhpY0RqU2Nvc0FsNnRkdTNhNUI0ajVmbmJ1M0dtNmRldG11bmZ2YnZidDIrZFpmLy8rL2FaVHAwNm1WNjllWnNlT0haY2NmOFNJRWVheHh4NHJVYWFaTTJlYXBVdVhsdWd4bVptWnBtdlhybWJLbENtZSt6Nzc3RFB6OE1NUG01eWNIR09NTWErOTlwclp2bjI3TWNZWXA5TnBCZzRjYU5hdlg1OXZuT1BIajV1alI0K2FvMGVQbXVQSGp4dUh3MkdTa3BMTUR6LzhZSDcvL1hlVG5aMXRWcTFhVmVCcmx2dTZWWFNqUm8weURvZkR4TVRFRExYNzN3TUFBQUFBRkpkbGR3QmY0SEE0SHBDMDZ2cnJyOWVDQlF2S1pNeFJvMGJwaGh0dTBPalJvNVdWbGFVMzNuaERLMWV1Vk1lT0hUMlhEY3lyU1pNbXFsZXZudUxqNDlXelowKzk4TUlMaFk3OWw3LzhSVnUzYnRYa3laUFZybDI3TXNsYm1GMjdkdW5tbTI5VzI3WnRQZmU1M2U1Q1d6VnlseTFhdEVqMTZ0V1RkRzRPaGFKODlORkhtanAxcXFLaW92VG5QLzlaMHJuV2lHZWVlVWF6Wjg5VzA2Wk45ZTkvLzF2UFAvKzhoZzBicGhFalJuZ2UrK3l6ejJyVHBrMWF1blNwR2pac2VGblA5ZGRmZjFYUG5qM1ZwVXNYdmZMS0svbVdyVjY5V2krKytLS21UcDJxMXExYlg5WjJMcFNXbHFhT0hUdks3WGJuV0paVmowa2FBUUFBQVBnTDVsVFF1YXMrR0dQS2JJTEcxTlJVYmQrK1hRTUhEbFJNVEl3U0VoTFV1SEZqdmZYV1c0cU5qUzJ3WUJBWUdLaVFrQkI5OWRWWHV2TEtLd3NkT3lNalF3a0pDWXFJaU5DSEgzNm8yTmhZV1ZiQnRhRXpaODdvMkxGam50dVJrWkZhdFdxVlhucnBwV0kvbDl4NUZVNmZQcTFseTVZcE1qS3l5UFd6c3JMVXNtWEwzS3NZNUJ0ajc5NjlldnJwcDNYNDhHR05IajFhdlhyMVVuaDR1SktTa3JSejUwNWRmLzMxYXRDZ2dhUnpSWVdBZ0FEZGNNTU5DZ29LVXVmT25iVjA2VkxObno5Zi9mdjNWMWhZbVBiczJhTXZ2dmhDSTBhTXVPeUNnaVJkZmZYVmlvNk8xcVpObTVTVmxhWGc0R0RQc3JWcjE2cE9uVHE2Kys2N0wzczdGOXF3WVFOWGZRQUFBQURnbHlwOVVhRThydnF3ZHUxYVJVWkc2dnJyci9mYzkraWpqeGI0algxQ1FvSnljbklVR0Jpb28wZVA2dm5ubjllbVRac0tIWHZkdW5WeXVWeDY0NDAzTkdMRUNHM2F0Q25mNUlkNUpTVWxhZlRvMGZtMjFhNWRPOTF5eXkyU3poVS9Ibi84Y1QzMDBFUHEzYnYzSlo5WFhGeWNnb0tLM21XTU1SZmQ1M2E3dFdUSkVyMzMzbnNhTTJhTUprMmFwSVNFQkMxYXRFaVRKazNTQng5OG9ORFFVQjA2ZE1qem1NT0hENnQrL2ZyNXRqZHUzRGc5OHNnam1qTm5qa2FQSHExMzMzMVgxMXh6VFlHVFlaWlc5KzdkOWZMTEwydkxsaTJlMXpVMU5WVmZmLzIxQmc0Y1dPUmttcVhGVlI4QUFBQUF3RTg1SEk0SEhBNkg2ZGV2WDVuMXh6LzAwRU5tN3R5NW52a0RjamtjRHBPYW1tcGNMcGRKVFUwMURvZkRwS2VuZTlZNWZQaHd2dlVMTW1EQUFCTVhGMmVNTWVhcHA1NHlqenp5aUhHNzNVVStadi8rL1FXTys5NTc3NW0yYmR1YXRMUTBZNHd4UjQ4ZU5hZE9uU3B3ak56SkZTOGxNelBUT0J3T2MvandZV1BNdVlrcCsvZnZienAwNkdDMmJObVNiNnhQUC8zVWRPblN4WHp4eFJkbStmTGxwbjM3OXA1eG5udnVPVE4yN05pTHhwODRjYUs1Kys2N3plclZxNDNENFRCZmYvMzFKVE9WaE5QcE5LMWF0VExQUGZlYzU3NGxTNWFZc3BwdjQwS3BxYW1tUllzV3h1Rnd1R0ppWW1yYi9lOEJBQUFBQUVxaTBwK3BJT2tocWV6T1VwQ2s1T1JrVFpreVJWT21USkYwYms2QmlSTW5TanAzYWNqQXdNQlNmZU85WmNzVzdkbXp4elB1MEtGRE5XREFBSzFidDA3MzNYZGZpY1pLU1VuUndvVUxOWFRvVUlXRmhVazZkeWJBVlZkZHBiZmVlcXZBeDR3WU1hTEVaeXFFaG9hcWJkdTI2dDI3dDZwWHIrNjV0R1dqUm8wVUdSbXBEaDA2cUdyVnFqcDgrTEJTVTFQMTg4OC9xMG1USmtwS1NsS2ZQbjB1R2o4dUxrN3IxcTNUK1BIajFibHpaOTE1NTUwbGV0NlhVcTFhTlhYczJGRmZmdm1sTWpNekZSSVNvalZyMXVqV1cyOVY0OGFOeTNSYkVxMFBBQUFBQVB4YnBTNHFSRVZGaFVqcUlaVnRVU0YzSXNhVWxCVDE3ZHRYNjlhdFU0MGFOU1NkTzczZXNxd0Myd1NLNG5LNTlNNDc3K2pHRzI5VW16WnRKRW5ObWpWVGh3NGROSFhxVkxWcDAwYlZxbFVyOW5nZmZ2aWhJaUlpOVBEREQzdnVlLzc1NS9Yb280OXE0Y0tGNnRldjMwV1BtVEZqUnJIblZNaXJkKy9lTXNab3hZb1YyckJoZ3g1Ly9IR2xwYVY1bGxldFdsVU5HelpVbzBhTnRHSERCdVhrNU9qWXNXTVhqU05KVmFwVVViVnExWlNlbnE2UWtKQmlQOStTNk42OXUxYXRXcVd2dnZwS045OThzNzc3N3JzaUo4NjhITFErQUFBQUFQQm5sYnFvRUJZVzFrbFMySi8rOUtjeS9SYTZWcTFhaGQ1ZXVYS2xhdFNvb1ZPblRoVTZGMEpCWnM2Y3FmMzc5MnZXckZuNTdoOHpab3g2OSs2dGQ5NTVSODgvLzN5eHh0cTFhNWVXTFZ1bS8vM2YvMVdWS2xYa2REcDE2dFFwU1ZMYnRtMDFkZXBVM1g3NzdXclNwRW0reHcwZVBMaFVaMWgwN2RwVldWbFpudHQ5Ky9iTnR6eDNJc2Q3NzcxWHk1Y3YxOUdqUjlXb1VTTTFhOWJzb3JHbVQ1K3U5UFIwRFJvMFNIUG56bFdQSGoxMDY2MjNsamhUVWFLam85V29VU090WDc5ZWh3NGRVdFdxVmRXcFU2Y3kzWVowN3FvUDMzenpqU1RsU1Bxa3pEY0FBQUFBQU9Xc1VoY1ZWQTZ0RHdYWnNXTkhpYzlNeUNzK1BsNy8rTWMvMUxkdlg5MTIyMjM1bGpWbzBFQWpSb3pRMUtsVGRkdHR0NmxyMTY1RmpwV1ZsYVd4WThmSzdYYnJoUmRla05QcDlGeXBJVGc0V0RWcTFGQndjTEJlZU9FRnpaMDcxOVB1OFBiYmIrdU9PKzdRMGFOSDlkUlRUMm41OHVVWGpmMC8vL00vbWpwMXFuNysrZWQ4VjdEWXVuV3IzbjMzWFczWXNFRUxGaXp3bkdIdzRvc3Y2dWpSby9rZVAyZk9IQzFmdmx4ang0NjlhUHc5ZS9abzRjS0ZHajU4dUI1OTlGR3RXN2RPcjcvK3VqNysrT05MRmp2Y2JyZlMwOU5WclZxMWZGZDFLSWhsV2VyZXZidG16NTZ0WDMvOVZSMDdkaXpSV1NERlJlc0RBQUFBQUg5WGFZc0tlVnNmeXZwYjZISGp4dW0zMzM3VGtTTkhKRW5QUGZlY1JvMGFKZW5jdC9ZbGFYOUlURXpVdUhIamRPT05OK3JKSjU4c2NKMEJBd1pveTVZdG1qQmhncXBYcjY2MmJkdm1XNzV2M3o1SjV5NExXYjE2ZFkwWk0wYVNWS2RPSFVWRVJLaG16Wm9LRHcvM0hPei85Tk5QbWpGamh0TFMwblR2dmZjV3VNMkNybVFoU1QxNzlzeDMrNDAzM3REdHQ5K3VUei85Vk9IaDRZcVBqMWRzYkt3Kysrd3pyVisvWHJObnovYXNXN3QyYlRWbzBFQy8vdnFyYnIvOTluemo1T1RrNk5WWFgxV2RPblUwY09CQUJRY0hLeTR1VG4vLys5KzFZTUVDUGZMSUk0VzhndWRzMmJKRlk4YU0wZno1ODlXMGFkTWkxNVdrQng1NFFETm16TkFQUC95Z3YvNzFyNWRjdnpSb2ZRQUFBQUFBUDVWNzFZZStmZnVXK1l6K3YvNzZxMGxOVFRWSGp4Njk2T29QNmVucHhoaVQ3Nm9QbVptWnhwaUxyLzZ3WnMwYWM5ZGRkNWtISDN6UXBLU2tGTG5ObEpRVTA3Tm5UOU9pUlFzemMrWk1rNVdWWlhKeWNzek1tVE5ONjlhdHpWLy8rbGZUclZzMzg2OS8vY3NjT1hMRXVGeXVJc2ZMeWNreFRxZlRPSjFPazVtWmFUSXpNODBmZi94aGV2VG9ZVjU5OVZYUGZYbC9IQTZIK2ZISEgvUGRsNU9UNDNtT1M1WXNNVjI3ZGpVUFBQQ0FhZEdpaFZteFlvVm5lMjYzMjd6NDRvdm1ycnZ1TWwyN2RqVTllL1kweDQ0ZDh5ei81ei8vYVJ3T2gxbTllblcreC9UdjM5KzBidDNhL1A3NzcwVStuMm5UcHBtdVhic1d1YzZGZXZmdWJYcjA2RkdpeHhRWFYzMEFBQUFBVUJGVTJqTVZWSTZ0RDQwYU5aSjBibkxGQ3hsalBLZmlCd1lHeXVWeUtUazVXYUdob1VwSVNQQ2NaajkzN2x4Tm5UcFZOOTEwazZaTm02YWFOV3NXdWMyYU5XdHF4b3daaW91TDB3Y2ZmQ0JqakRwMDZLQTVjK1pvMnJScGlvNk8xcXBWcXpSMzdseTkrdXFya3FUQXdFQUZCUVY1ZmdJREE1V1ZsYVhNekV4bFoyY3JPRGhZYTlhczBjbVRKL1YvLy9kLytuLy83LzhwTkRSVWNYRnhoYllRVktsU3BjQmx3Y0hCdXU2NjY5U2dRUVB0MjdkUE5XdlcxTFJwMDVTV2xxYisvZnZydGRkZTA1bzFhelJwMGlSRlJVVnB5SkFoR2p4NHNDWk5tcVJiYjcxVmd3Y1AxdURCZy9PTmFWbVdQdjc0NDB2K2ZValNkOTk5VjZJNUxBNGNPS0I5Ky9ZcExpNnUySThwQ1ZvZkFBQUFBRlFFbGJLb1VKNnRENWVTa3BLaTl1M2J5N0lzZGVuU1JRRUJBUm8rZkxneU1qSVVIQnlzSVVPR1NKSzZkZXVtbEpRVWpSdzU4cEp6QU9TcVc3ZXU1c3labzRVTEYyclFvRUVLQ2dyU29rV0wxS0JCQTgrWTNicDFVM3A2dW80ZlB5Nlh5eVczMjYyY25CeFBPNFpsV2JJc1N3RUJBYnJpaWlzVUdocXF4eDU3VEZsWldlclZxNWNHREJpZ0s2NjRvdGpQOTlTcFUvcm9vNCswYWRNbS9mSEhIM3J3d1FjMWVmSmtWYWxTUlFzV0xKQXhSaU5IanRTZVBYdjAxbHR2ZVZvM1pzNmNxVEZqeG1qbzBLSDZ4ei8rb1Z0dXVhVWtMM00rMmRuWjJyMTd0MGFPSEZuc3g4eWJOMC9Cd2NIcTBhTkhxYmRibEMrKytFSVNyUThBQUFBQTRIZktzL1VoTDVmTFpYYnYzdTI1blp5Y2JISnljb3piN2ZhMEJlVEt2ZDhYWldSa2xQcXgyZG5aWnR5NGNXYjU4dVhHNlhSZXROemxjcG1YWDM3WkpDY25YN1FzTFMzTnpKczNyOVRienVWME9zM2F0V3N2ZXMwTE1tM2FOUFBpaXk4YWg4TmhwaytmZnRuYkxnaXREd0FBQUFBcUNzdnVBSFp3T0J4ekpRMGNPWEtraGc0ZGFuY2MrSkEyYmRvb0lDQkF2WHYzVmx4Y1hLa3VvWGtwbjN6eWlWNTU1UlZKV3BlWW1IaGZtVzhBQUFBQUFMeWswclUvMk5uNkFOKzNlZlBtY3Q4R3JROEFBQUFBS29xeS94cld4NFdGaGQwcktTd3FLa3FOR3plMk93NHFtYlMwTkgzenpUZVNsQ1BwRTV2akFBQUFBTUJscVhSRkJVbDlKTTVTZ0QwMmJOaWduSndjaWFzK0FBQUFBS2dBS2xWUmdkWUgySTNXQndBQUFBQVZTYVVxS3RENkFEdWxwNmZUK2dBQUFBQ2dRcWxVUlFYUitnQWIwZm9BQUFBQW9LS3BORVdGdkswUEhUdDJ0RGtOS3FQMTY5ZExvdlVCQUFBQVFNVlJhWW9LZVZzZklpTWo3WTZEU29iV0J3QUFBQUFWVVpEZEFieW9qeVRWclZ0WDMzLy92ZDFaVU1tc1dMR0MxZ2NBQUFBQUZVNWxLaXAwazZUNCtIakZ4OGZiblFXVkZLMFBBQUFBQUNxU3lsUlUrUDhrZFpTVWJYY1FWRnAvU0tLb0FBQUFBQUJBTG9mRFlSd09oN0U3QndBQUFBREF1eXJOUkkwQUFBQUFBS0JzVVZRQUFBQUFBQUNsUWxFQkFBQUFBQUNVQ2tVRkFBQUFBQUJRS2hRVkFBQUFBQUJBcVZCVUFBQUFBQUFBcFVKUkFRQUFBQUFBbEFwRkJRQUFBQUFBVUNvVUZRQUFBQUFBUUtsUVZBQUFBQUFBQUtWQ1VRRUFBQUFBQUpTS1pYY0ErSmZtelp0ZlZhVktsZTU1N3pQR3pKUWt5N0tHNWIwL096dDc1YzZkTzMvM1pqNEFBQUFBZ1BjRTJSMEEvaVUwTlBSVVptYm1GRW1oRnk3TExTNmM1d3dORGYzWWU4a0FBQUFBQU41Ryt3TktaT3ZXcldja3JTN0dxcCtlWHhjQUFBQUFVRUZSVkVCcExMdlVDcFpsWFhJZEFBQUFBSUIvbzZpQUVzdk16UHhNMHRraVZqbDc5dXpaTmQ3S0F3QUFBQUN3QjBVRmxOanUzYnRQVzVhMXRvaFZQdCs5ZS9kcHJ3VUNBQUFBQU5pQ29nSkt4ZTEyRjlYZVFPc0RBQUFBQUZRQ0ZCVlFLc2FZVlpLeUMxaVU3WGE3UC9WMkhnQUFBQUNBOTFGVVFLbnMyTEVqVmRLWEJTejY0dnd5QUFBQUFFQUZSMUVCcFZiUUZSNk1NYlErQUFBQUFFQWxRVkVCcGVaMnUxZEljdWU1S3ljZ0lHQ0ZYWGtBQUFBQUFONUZVUUdsbHBTVTlJZWtUWG51MnBTUWtIRGNyandBQUFBQUFPK2lxSURMNVdsM0tLZ2RBZ0FBQUFCUWNWRlV3R1V4eGl6UGMzTjVvU3NDQUFBQUFBQmNLRG82K2l1SHc3SFo3aHdBQUFBQUFPOEtzanNBL04vNXRnZGpkdzRBQUFBQWdIZFpkZ2Z3VlRmZGRGTndTRWpJRGtrMzJKMEZsWnBiVW8vRXhNUlA3UTRDQUFBQUFCZGlUb1ZDWEhIRkZSMUZRUUgyQzdBc3E3WGRJUUFBQUFDZ0lMUS9GQ0luSitjaHk3STBhdFFvRFJreXhPNDRxR1JTVTFQVnFWTW51ZDN1bk1EQXdMZnN6Z01BQUFBQUJlRk1oUUxjZE5OTndaWmw5WkNramgwNzJoMEhsZENHRFJ2a2Ryc2w2Y3R2dnZubWhOMTVBQUFBQUtBZ0ZCVUtjTDcxb2ViMTExK3Z4bzBiMngwSGxkRDY5ZXNsU1pabExiRTVDZ0FBQUFBVWlxSkNBWEp5Y2g2U09Fc0I5a2hOVGRXMzMzNHJTVG1CZ1lITDdjNERBQUFBQUlXaHFIQ0I4NjBQUFNXS0NyQUhyUThBQUFBQS9BVkZoUXRVclZxMWs2UndXaDlnRjFvZkFBQUFBUGdMaWdvWGNMdmRmU1RPVW9BOWFIMEFBQUFBNEU4b0t1UkI2d1BzUnVzREFBQUFBSDlDVVNFUFdoOWdOMW9mQUFBQUFQZ1RpZ3A1MFBvQU85SDZBQUFBQU1EZlVGUTRMeW9xS3NTYnJROFpHUmxGTG5lNzNUcHo1a3k1NXlnTHYvLyt1K2JQbjYvdnZ2dnVvbVhHR0MxZXZGaS8vUEtMRGNuOHk4YU5HMmw5QUFBQUFPQlhLQ3FjRng0ZTNsRlMrSi8rOUNldnREN0V4Y1ZwMXF4WkJTNXp1VnlLaTR0VGx5NWRMbGw4a000VklDWk9uRmpvZUlYWnMyZVBubmppaVh6YmNMbGNTazFOdmVSUFh1Ky8vNzQrL3ZoalhYMzExUmR0WStQR2pabytmYnBxMWFwMXlUeHZ2ZldXUHZqZ2d3S1hyVjI3Vmc4KytLQU9IanhZb3Vmb1Q5YXRXeWRKTXNZc3Rqa0tBQUFBQUJSTGtOMEJmSVhiN2U1aldaWTZkZXBVN3R2S3ljblIzcjE3TldqUW9BS1hqUjgvWHJ0MjdkSzExMTZydi8vOTc1bzhlYklDQWdxdi93UUVCQ2c2T2xyang0OVg5ZXJWMWE5ZnYyTGxxRisvdm43ODhVZU5HemRPMDZaTlUwQkFnTFp1M2Fvbm4zenlrbzlOU0VpUUpHM2J0azJyVjY5V1lHQ2d1bmZ2bm0rZHh4OS9YSjk4OG9tY1RxYzZkKzU4MFJoTGx5NVZ2WHIxSkVtSERoM1NraVZMOU13enorakFnUVA1MW12UW9JRSsvUEJEQlFjSHkrMTI1MXRlcTFZdDFhaFJvMWpQMTVmbGJYMm9VcVhLSjNibkFRQUFBQUFVVTFSVVZJakQ0VWgxT0J6bXdJRURwanlkUG4zYUpDVWxtZHh0cGFlbm0vVDBkTSt5MGFOSG0zdnV1Y2ZzMkxIRG5EeDUwblR1M05tTUhUdlduRDE3OXBKakwxcTB5Tnh4eHgzbXA1OStLbmFlN2R1M214WXRXcGpKa3ljYlk0ekp6czQyS1NrcGwvd3h4cGlEQncrYTl1M2JtelZyMXBqang0K2JEaDA2bUU4Ly9kUXo5dHR2djIxNjllcGxzckt5ek9USms4M1RUejl0TWpNekM4d3hac3dZNDNBNEN2eVpObTFhb2NzV0xseFk3T2ZxeTVZdlg1NzduTmJhL2U4QkFBQUFBRkFDTVRFeFhSME9oK25idDIrNUh6eTJhOWV1d0lQam5UdDNtbTdkdXBudTNidWJmZnYyZWRiZjR0M0pxQUFBSUFCSlJFRlV2MysvNmRTcGsrblZxNWZac1dQSEpjY2ZNV0tFZWV5eHgwcVVhZWJNbVdicDBxVWxla3htWnFicDJyV3JtVEpsaXVlK3p6Nzd6RHo4OE1NbUp5ZkhHR1BNYTYrOVpyWnYzMjZNTWNicGRKcUJBd2VhOWV2WFh6VFcwcVZMemUyMzMyNTI3TmhoVnExYVpaNTc3am1UbloxdGpERm03OTY5NXE2NzdqSVRKMDQweGhqejRvc3ZtZ1VMRnBRb3F6OFlPWEtrY1RnY0pqbzZlb2pkL3g0QUFBQUFvTGdzdXdQNGdwaVltRG5HbUVkSGpoeXBvVU9IbHZ2MlJvMGFwUnR1dUVHalI0OVdWbGFXM25qakRhMWN1VklkTzNiMDlOWG4xYVJKRTlXclYwL3g4ZkhxMmJPblhuamhoVUxIL3N0Zi9xS3RXN2RxOHVUSmF0ZXVYWGsrRGUzYXRVczMzM3l6MnJadDY3blA3WFlYMnFxUnUyelJva1dldG9jdFc3Wm83Tml4R2oxNnRBWU1HS0EvL3ZoRHc0WU5VOXUyYmZYWVk0OXA0TUNCcWxHamh2NzV6MzhxT0RoWXUzZnYxb2dSSXpSNzltdzFhZElrMy9obnpwelJSeDk5cEhYcjF1bllzV01LQ3d0VHExYXRGQmNYcHpwMTZualdpNG1KMGIzMzNxdmh3NGRyOHVUSit1Njc3eFFVRktSMjdkcHA3Tml4WG0rblNFMU5WYWRPbmVSMnUzT0Nnb0xxTWtrakFBQUFBSDlSNmVkVWlJcUtDakhHOUpEa2xma1VVbE5UdFgzN2RnMGNPRkF4TVRGS1NFaFE0OGFOOWRaYmJ5azJOcmJBZ2tGZ1lLQkNRa0wwMVZkZjZjb3JyeXgwN0l5TURDVWtKQ2dpSWtJZmZ2aWhZbU5qWlZrRjE0M09uRG1qWThlT2VXNUhSa1pxMWFwVmV1bWxsNHI5WEhMblZUaDkrclNXTFZ1bXlNaklJdGZQeXNwU3k1WXRjNjl3SUVtcVY2K2UvdktYdjJqQWdBSGF1M2V2NHVMaTlONTc3K202NjY3VDZkT25kZnZ0dDJ2a3lKRUtEZzZXZEc0ZWlIdnV1ZWVpZ2tKV1ZwWkdqQmloUFh2MjZONTc3L1ZNNnJoNjlXcDkrKzIzV3JCZ2djTEN3anpySHo5K1hDTkdqRkRMbGkwMWRPaFE3ZGl4UXl0V3JOREJnd2MxYytiTVFsKzM4c0JWSHdBQUFBRDRxMHBmVkFnUEQrOW9qUEhhVlIvV3JsMnJ5TWhJL2YvczNYbDRWR1dhTi83dlUxWFpTWkdnaUd3QlFsaENJcUZPUWJmZytGcHNDUUdDNU1Sb3l5aUtFTlQyVmR1bEY3WDV6YndPMDR5amRydjB2UGFFUUx2MHRNNEZPU2hyQ0FMUm5zWjVHNm9TSUdHUnNBVlFHRFdyV2FwU1ZjL3ZqNlRLQ21TQkxGVlp2cC9yeW5WWjl6bDF6cDFRVjFuUFhmZnpQQk1uVHZUR2xpOWZEclBaZk0yNVZxc1ZMcGNMZXIwZWx5OWZ4a3N2dllUUFB2dXN6V3ZuNStmRDZYVGlsVmRld1dPUFBZYlBQdnNNRm91bDFYTUxDd3Z4NUpOUHRyalg3Tm16Y2R0dHR3Rm9LbjZzWHIwYTk5NTdMKzY1NTU0T2Y2OG5ubmdDQmtQN0x5Y3A1VFd4Mk5oWXhNYkdRa3FKZi8zWGY0WEZZc0hreVpNQkFFT0dETG1teUZKZFhZMjh2RHo4OHovL2M0djRuLy84WnhRWEYyUE5talZZdW5TcE4zN25uWGZpdWVlZXc4YU5HMXNzUUdtejJmRHFxNjlpenB3NUFJQ0hIbm9JNjlhdHcrYk5tL0hGRjE5ZzFxeFpIZjdPM1lXN1BoQVJFUkVSVVY4MTRJc0tBTzRGZ0huejV2bmxacHFtSVMwdHJkVmorL2J0dzZCQmcvRDk5OTlqenB3NXFLbXBnY1ZpZ2RWcWhkdnR4dmZmZjkvdXRYTnpjL0hqSC84WVpyTVpkOTExRjNKeWNuRFhYWGUxK3EzN3JGbXpZTFZhY2U3Y09XUmtaQUFBQmcwYWhFR0RCZ0ZvMmlZeVBEd2NxMWV2aHRGb3hKVXJWeEFSRWVFOWZyVi8rN2QvdSs1T2hkWjgrT0dIS0NvcXdzc3Z2OXhxZ2VWcW5uT2VlKzQ1TEZ1MkRQbjUrYmoxMWx0eDk5MTN0empQWXJFZ0ppWUduMy8rZVl1aXdvUUpFN3dGQlk5bHk1Wmg4K2JOT0hqd29OK0tDdHoxZ1lpSWlJaUkrcklCWFZUdzk5UUhBQ2d0TGNVYmI3eUJOOTU0QTBEVDRQZzN2L2tOZ0thdElmVjZmYnZiUjdibHdJRURPSGJzbVBlNnExYXR3Z01QUElEOC9IeWtwS1RjMExVcUtpcncwVWNmWWRXcVZkNHBBNy80eFM5d3l5MjM0TlZYWDIzMU9ZODk5bGluT2hXQXByVVozbnJyTFFDQXdXQkFibTR1QUtDaG9RR2hvYUV0enIxMDZSS2VldW9wN3ptZTZTRG56cDNEN2JmZjNtb0JKVFkyRmdjT0hHZ1JhNjByWmRTb1VRQ0E3Nzd6M3d3RW42a1BuM0xxQXhFUkVSRVI5VFVEdXFoZ05Ccm5BL0RiMUFmZ2gxYjNpb29LM0hmZmZjalB6L2N1RExoa3lSSUlJZG9jZkxmRjZYVGlkNy83SGFaTW1ZSTc3N3dUQURCNThtVE1uVHNYYjc3NUp1Njg4MDZFaDRkZjkvWCsvZC8vSGRIUjBiai8vdnU5c1pkZWVnbkxseS9IUng5OWhKLzg1Q2ZYUE9jUGYvaERwem9WTGx5NGdHZWZmUllta3dsLys5dmZBRFN0NzdCbnp4NjgrdXFyK09DRER6QnMyTEJycm5YMXZhU1U3YTZEY0hXaHByWENUVU5EQXdCNDEyL3doejE3OWdBQXBKU2IvSFpUSWlJaUlpS2liaktnaXdwQ2lFd3BwZCttUGdEQVRUZmQxT2JqclZ1M0lqSXkwanZ0NFhxdFg3OGVaOCtlUlU1T1RvdjQwMDgvalh2dXVRZS8rOTN2OE5KTEwxM1h0WXFMaTVHYm00dmYvdmEzQ0FvS1FtMXRMV3BxYWdBQWQ5MTFGOTU4ODAzTW1ESGptb1VTSDM3NDRVNTFXSHo4OGNjSUR3L0hQLzdqUDJMaHdvWGUrSTkvL0dNQXdBc3Z2SUNjbkp3T3J6MXk1RWljT25XcTFXTm56cHk1cG1oVVhsNSt6WG5IamgwREFJd2JOKzZHZm9mT3FxeXM5QlJTT1BXQmlJaUlpSWo2cEFGYlZBakUxSWZXRkJVVjNYQm5ncSsvL3ZXdjJMaHhJKzY3N3o1TW16YXR4YkVSSTBiZ3NjY2V3NXR2dm9scDA2WmgwYUpGN1Y3TDRYRGdtV2VlZ2R2dHhwbzFhMUJiVyt2ZHFTRTRPQmlSa1pFSURnN0dtalZyOFA3NzczdW5PN3orK3V2NDBZOStoTXVYTCtPNTU1N0RsaTFicnJtMnFxcDQ4ODAzY2ZyMDZSWTdXTng3NzcxWXVuVHBOZHM0R28xR3ZQamlpM2p1dWVmd0gvL3hIM2p3d1FmYnpYM3UzTG5JeWNuQjFxMWJzV1RKRW0rOG9LQUFaV1ZsZU9xcHAxcWNiN1BaY1B6NGNjVEh4d05vMnU1eXc0WU4wT2wwUGI0VnAyOXVuUHBBUkVSRVJFUjkyWUF0S25pbVBzVEZ4Zmx0NmdQUXREYkIxMTkvamErKytnb0E4T0tMTCtLblAvMHBBR0RSb2tVM05QM0JaclBoRjcvNEJhWk1tZEppRVVKZkR6endBQTRjT0lDWFgzNFpnd1lOd2wxMzNkWGkrSmt6WndBMGJRczVhTkFnUFAzMDB3Q0FvVU9ISWpvNkdsRlJVUmc4ZURCQ1FrSUFBS2RPbmNJZi92QUhWRlZWSVRrNXVkVjd0clhRb3UrdURBRHd5aXV2ZUx0RTZ1cnFyam5mWXJGZ3hZb1Z1T09PTzlyNkUzZzk5TkJEMkx0M0wvN3BuLzRKZi92YjN6Qng0a1NVbFpWaCsvYnRTRWhJYURHVkEyaGFQK0duUC8wcDB0TFNFQjBkamYzNzk2T2twQVNyVnEzQ2lCRWpPcnhmZCtEVUJ5SWlJaUlpb2o3S2JEYS9weWlLWEw5K3ZmU25DeGN1eU1yS1NubjU4bVdwS0lvM3JpaUtySzZ1bGxKS1dWMWQ3VDFtdDl1bGxGSmV1blNweGZtN2R1MlN0OTkrdTh6SXlKQVZGUlh0M3JPaW9rSXVYYnBVVHA4K1hhNWZ2MTQ2SEE3cGNybmsrdlhyNWQvOTNkL0o1NTkvWHFhbHBVbE4wK1JYWDMwbG5VNW51OWR6dVZ5eXRyWlcxdGJXU3J2ZEx1MTJ1L3ptbTIvazNYZmZMZGV1WGV1TitmNG9paUsvL1BMTEZqR1h5K1c5Wm0xdHJWUVVSVjYrZkxuZGU1ODllN2JGMzhGWFZWV1YvSmQvK1JlWmtwSWlmL1NqSDhsRml4YkpOOTU0UTliVzFyWTRUMUVVK2F0Zi9VcnUzNzlmWm1Sa3lCLy8rTWN5UFQxZGZ2VFJSKzNldXp0VlZGVEk2ZE9uUzBWUm5ELzYwWTl1NnZnVlMwUkVSRVJFMVBzTXlFNkY1cWtQU3dIL1QzM3c3RERnZERxdk9TYWxoTnZ0Um5WMU5mUjZQWnhPSjBwTFN4RVJFUUdyMWVwZGJQSDk5OS9IbTIrK2lZU0VCTHoxMWx1SWlvcHE5NTVSVVZINHd4LytnQ2VlZUFMdnZQTU9wSlNZTzNjdTNudnZQYnoxMWxzd21Vell0bTBiM24vL2ZheGR1eFlBb05mcllUQVl2RDk2dlI0T2h3TjJ1eDJOalkwSURnN0dybDI3VUY1ZWpzOC8veHgvK3RPZkVCRVJnU2VlZUtMTmhRNkRnb0k2dFFoaWFXa3A3SFk3UWtORDhkZS8vdldhcVJJZVJxTVJ2L3psTC9ITFgvN3l1cTVyc1ZodWFPMks3c1NwRDBSRVJFUkUxQjhNeUtKQzg5UUhvNytuUG5Ta29xSUNjK2JNZ1JBQ0N4Y3VoRTZudzZPUFBvcTZ1am9FQndkajVjcVZBSUMwdERSVVZGVGc4Y2Nmdis1QityQmh3L0RlZSsvaG80OCt3a01QUFFTRHdZRC8vTS8vOUxiNnA2V2xJUzB0RGRYVjFmajIyMi9oZERyaGRydmhjcm04MHpHRUVCQkNRS2ZUSVN3c0RCRVJFWGpra1VmZ2NEaVFucDZPQng1NEFHRmhZZDMrZDltN2R5K3lzN01CQUNFaElkN3BJbjBacHo0UUVSRVJFUkgxVVlHYSt1REw2WFRLa3BJUzcrUFMwbExwY3JtazIrMXVNUzFBU3VtTjkwWjFkWFhkY2gyMzJ5MHZYYnAwemUvdXE3MWpOOEl6L1NGUU9QV0JpSWlJaUlqNml3SFhxUkRJcVErKzlIbzlwa3laNG4zc3UwV2pFS0xGdVozWnF0RmZ1cXN6UVFqUjRRS0p2Zm52Y0NNNDlZR0lpSWlJaVBxTEFWZFU2SzFUSDhoL3JGWnJRTy9QcVE5RVJFUkVSTlJmOUkrdmZtL012VUJndXhSbzRLcXFxc0xmL3ZZM0FIQUdCUVY5SE9oOGlJaUlpSWlJdW1KQUZSWGk0dUpDQU53TkFQUG16UXR3TmpRUTdkKy8zelAxWVMrblBoQVJFUkVSVVY4M29Jb0t2bE1meG80ZEcraDBhQURpMUFjaUlpSWlJdXBQQmxSUkFaejZRQUhFcVE5RVJFUkVSTlRmREppaUFxYytVS0J4NmdNUkVSRVJFZlUzQTZhb1lEUWFrOEdwRHhSQW5QcEFSRVJFUkVUOXpVRGFVaklUQUlZTkc0YWpSNDhHT2hjYVlLcXFxdkRmLy8zZkFLYytFQkVSRVJGUlB5SUNuWUMvS0lwU0FTQXEwSG5RZ0xmYlpyTXRDSFFTUkVSRVJFUkUzV0VnZFNwa0E1Z0hvREhRaWRDQTVkTHBkUDhTNkNTSWlJaUlpSWlJZWcxRlVhU2lLRExRZVJBUkVSRVJFWkYvRFppRkdvbUlpSWlJaUlpb2U3R29RRVJFUkVSRVJFU2R3cUlDRVJFUkVSRVJFWFVLaXdwRVJFUkVSRVJFMUNrc0toQVJFUkVSRVJGUnA3Q29RRVJFUkVSRVJFU2R3cUlDRVJFUkVSRVJFWFVLaXdwRVJFUkVSRVJFMUNrc0toQVJFUkVSRVJGUnA3Q29RRVJFUkVSRVJFU2R3cUlDRVJFUkVSRVJFWFVLaXdwRVJFUkVSRVJFMUNrc0toQVJFUkVSRVJGUnA3Q29RRVJFUkVSRVJFU2RJZ0tkQVBVdFU2ZE92U1VvS0dpSmIweEt1UjRBaEJCWnZ2SEd4c2F0UjQ0YytSOS81a2RFUkVSRVJFVCtZd2gwQXRTM1JFUkUxTmp0OWpjQVJGeDl6Rk5jYUZZYkVSSHhILzdMaklpSWlJaUlpUHlOMHgvb2huenh4UmYxQUhaY3g2bmJtODhsSWlJaUlpS2lmb3BGQmVxTTNJNU9FRUowZUE0UkVSRVJFUkgxYlN3cTBBMnoyKzA3QVRTMGMwcERRMFBETG4vbFEwUkVSRVJFUklIQm9nTGRzSktTa3UrRkVMdmJPU1d2cEtUa2U3OGxSRVJFUkVSRVJBSEJvZ0oxaXR2dGJtOTZBNmMrRUJFUkVSRVJEUUFzS2xDblNDbTNBV2hzNVZDajIrM2U3dTk4aUlpSWlJaUl5UDlZVktCT0tTb3FxZ1N3dDVWRG56WWZJeUlpSWlJaW9uNk9SUVhxdE5aMmVKQlNjdW9ERVJFUkVSSFJBTUdpQW5XYTIrMytCSURiSitUUzZYU2ZCQ29mSWlJaUlpSWk4aThXRmFqVENnc0x2d0h3bVUvb002dlYrbTJnOGlFaUlpSWlJaUwvWWxHQnVzbzczYUcxNlJCRVJFUkVSRVRVZjdHb1FGMGlwZHppODNCTG15Y1NFUkVSRVJFUkVWM05aREw5bDZJb2Z3bDBIa1JFUkVSRVJPUmZoa0FuUUgxZjg3UUhHZWc4aUlpSWlJaUl5TDlFb0JPZ1BrMm5LTXA4QUg4Q2NET0FhZ0QzMm15MlBXaTVLd1FSRVJFUkVSSDFReXdxMEEwem1Vd2poQkFyQUt3Q01MYVZVODRCeUJGQ2JMUmFyVi83TXpjaUlpSWlJaUx5SHhZVjZMcGtabWJxUzB0TGs0VVFxd0drQWRBRHdNaVJJNkdxS21iTm1vVURCdzVBMHpSY3VuVEo4elFYZ0cxU3l1eTR1TGo4VFpzMnVRS1VQaEVSRVJFUkVmVUFGaFdvWFVsSlNTTU5Cc01qVXNwVkFHSUF3R0F3d0dLeFFGVlZ6Smd4QXpyZEQ1dUl1TjF1SER4NEVKcW1ZZi8rL1hDNXZIV0VNaUZFanRQcDNIajQ4T0ZMMTk2SmlJaUlpSWlJK2hvV0ZlZ2FtWm1aK2pObnppeVFVcTRHc0JqTlc0K09IajBhNmVucFNFdEx3NUFoUXpxOFRubDVPYlp0MndaTjAzRHg0a1ZQMkNXRTJDNkV5QjQzYnR4dWRpOFFFUkVSRVJIMVhTd3FrTmVNR1ROR3UxeXVSd0NzQkRBYWFPcEttRE5uRGxSVmhkbHNidEdWY0wzY2JqZXNWaXMwVGNPK2ZmdmdkRG85aHk0SUlYSWFHeHMzSGpseTVHSjcxeUFpSWlJaUlxTGVoMFdGQWM1aXNSaXFxNnRUQWF3R3NCRE5YUWt4TVRGUVZSV0xGeTlHZEhSMHQ5MnZvcUlDMjdkdmg2WnBLQ3NyODRUZEFIWUF5RFlhalhrRkJRWE90cTlBUkVSRVJFUkV2UVdMQ2dPVTJXeU9jYnZkSzRVUUt3R01CSUNnb0NETW5Uc1hxcXBDVVJRSTBYTXZEeWtsYkRZYk5FM0QzcjE3MGRqWUNBQVFRbHlVVW01bzNqbWlySVBMRUJFUkVSRVJVUUN4cURDQVdDd1dRMlZsNVNJaHhHb2hSQ3FhLy8zSGpCbmo3VXFJaW9yeWUxNlZsWlhlN29YejU4OTd3bTRBdTZTVTJZTUhEOTdKN29YT2lZaUlTQm8vZm56K3FWT256UFgxOVpXdG5LSnIvdkZWamFhL1B4RVJFUkVSVWJ0WVZCZ0FUQ2JUR0oxT3QwcEsrUWlBRVFBUUhCenM3VW93bVV3OTJwVnd2YVNVS0N3czlIWXZPQndPejZHdnBKUWJBR3dvTEN3ODM4NGw2Q3BEaHc1OVl0aXdZYi80OHNzdlV4SVRFNDlmZmJ5eHNmRktVRkRRTU45WWNYRnh2TVBoT09HL0xJbUlpSWlJcUs4Sy9FaVNlb1RaYkE2U1VpNEdrQVZnQVpyL3JjZU5Hd2RWVmJGbzBTSU1Ianc0b0RtMnA2cXFDanQyN0VCdWJpN09uVHZuQ1VzQWVVS0liQUE3ckZaclk4QVM3Q05pWTJPM05EWTJYcnB5NWNydkV4TVRqOXRzdGlBQUNBNE9ucFNZbUZoc3M5bGF2QWNvaWlKWlZDQWlJaUlpb3V0bENIUUMxTDJtVHAwNnptQXdlTG9TYmdXYXVoTG16NThQVlZXUmxKVFVLN29TT2pKNDhHQXNXN1lNOTk5L1B3NGZQZ3hOMDdCbnp4N2hjRGhTcFpTcEFMNVdGR1dqMiszT0tTb3FPaGZvZkh1cENLUFJtRkphV3JyUUorYVpSc0t0UEltSWlJaUlxTXRZVk9nSHpHWnprTnZ0WGlLRXlBS1FqT2F1aE5qWVdHUmtaR0Rod29Vd0dvMkJUYktUaEJDWU5tMGFwazJiaHVlZmZ4NDdkKzVFYm00dXpwdzVNeHpBU3pxZDdrVkZVZklCWkFzaHRyRjc0UWZSMGRIcE9wMHV6T0Z3WFBZSlJ3R0F3V0NJYkg1OHEvOHpJeUlpSWlLaS9xTDNmMlZOYlpveFkwYXMwK25NQXJCQ0NERU1hT3BLU0U1T2hxcXFtRHAxYXAvb1NyaFJVa29jT1hJRW1xWWhQei9mdS9hQ2xQSUtnSTBHZ3lIbjRNR0Rad0tiWmVCTm1qVHBRRVJFeE16aTR1SjRBR2h0VFFVcHBkMzNzUkFpaE5NZmlJaUlpSWpvZXZXL0VXYy9sNUNRRUJ3YUducTMyKzNPRWtMTTk4VEhqeCtQakl3TXBLYW05dG11aE02b3JxN0dybDI3a0p1Ymk5T25UM3ZqVXNvOUFMSWREc2ZXa3BJU1I5dFg2SjhpSXlObmpSOC8vbE9kVGhmbVcxVHdXVVBobGxHalJyMTQ4ZUxGbi9rK2I5eTRjWDg2ZS9ic3p3Rjg3ZStjaVlpSWlJaW83MkZSb1k5UUZDVU9UWXN1cmdBd0ZBQkNRa0tRa3BJQ1ZWV1JtSmpZTDdzU3JwZVVFc1hGeGRBMERidDM3NGJkN3YwQy9uK0VFSCtVVXViWWJMYlNRT2JvVHhNblR0eFhXMXRiT0d6WXNHZmJLQ29BYUZxWThlcm4ydTMyMHlVbEpYSCt5cFdJaUlpSWlQcXVnVHNLN1FNU0VoS0NRMEpDbGdKWURXQ3VKejVod2dSa1pHUmd3WUlGaUl5TWJQc0NBMVJOVFEzeTh2S1FtNXVMVTZkTytSN2FDeURiYnJkLzNOKzdGK0xpNG5hVmxwWStvQ2pLdDIxTmY3aDA2ZElMTjk5ODg4clRwMC9QYjJob3VBZ2d6R1F5bGRmVTFPeTVhbkZISWlJaUlpS2lWbkdoeGw0b0tTbHBvbDZ2WHdYZ1lUUjNKWVNHaG1MQmdnVlFWUlZUcGt3WjBGMEpIWW1NakVSbVppYnV1ZWNlbEpTVWVMc1hHaG9hNWdLWUd4SVM4bzJpS08rNjNlNzFSVVZGcHpxOFlCOVVXbHFhQ2VEN3ErTTJteTNhNTJGOWVIaTRLU3dzYkZaRFE4T2ZqVWJqblVJSVEzbDUrU2IvWlVwRVJFUkVSSDBaUjZhOVJGeGNYRWhrWkdTNkVHSTFnTm1lK0tSSms2Q3FLbEpUVXhFUkVSSEFEUHUyNzcvL0hubDVlZEEwRFNkUG52UTl0RjlLbVYxVFU3T2x0TFRVM3Rieit5cEZVV1I3MHgrR0RCbXlZc2lRSWZlV2xwYW1qaDgvL3BQdzhQRHBSNDhlalFYUTcvNFdSRVJFUkVUVS9WaFVDTERwMDZkUGNybGNXVUtJaHdIY0JBQmhZV0hlcm9UNCtIaDJKWFFqS1NXT0hUdm03VjZvcjYvM0hQcE9Tdm11WHE5ZmYralFvWlB0WGFNdnVicW80SHZNYnJlZkxDa3BtWkdVbEhUcHlwVXJyNDRZTWVML25ENTkrdDZxcXFyTmdjbVdpSWlJaUlqNkdvNVdBOEJpc1lUVzFOU29Vc3JWQU83eXhPUGo0NkdxS2hZc1dJRHc4UEFBWnRnNVpyTVp5Y25KV0xkdVhZODkvL0xseTFpL2ZqMys4cGUvb0txcUNtUEdqRUZXVmhibXo1L2Y1blBhVWx0YjYrMWVPSEdpeFE2S253a2hzaU1qSTdXQ2dvS0dHLzlOZW85V09oVjhweis0QU5RTUh6NTg3ZkRodzEvNjl0dHYzeTRySzNzcU1Ka1NFUkVSRVZGZnhEVVYvRWhSbEhnQVdWVlZWUThKSVlZQVFIaDRPRkpUVTVHZW5vNzQrUGdBWjlqN2ZmTEpKN0JhclZpNmRDbjBlajF5YzNQeHdnc3ZJRG82R3RPblQ3K2hhMFZFUkNBakl3TVpHUms0ZnZ3NE5FMURYbDRlNnVycTdwSlMzbFZWVlZXdUtNcDdBTmJiYkxiakhWNndiNmowZlJBV0ZqWnF5SkFoOTBncDdaR1JrUXZEdzhQZnE2dXJzd1lxT1NJaUlpSWk2bHRZVk9oaE0yZk9ETFBiN1JsbzJzSGhUZ0FRUW1ES2xDbkl5TWhBY25KeW4reEtDSlRiYjc4ZEsxYXNRSEJ3TUFEQVlyRmcyYkpsMkxObnp3MFhGWHpGeDhmanBaZGV3alBQUElQZHUzZEQwelFjTzNac0NJQm5BRHlqS01wZkFHU0hoSVRrZnZIRkYvVWRYSzVQaUlxS1VrZVBIdjEvSFE3SGliTm56ODRaTVdMRXhrbVRKdjIvOHZMeTk3NysrdXZmT2h5T2trRG5TRVJFUkVSRXZSdUxDajBrS1NrcFFhL1haOW50OXVVQW9vR21yb1NGQ3hkQ1ZWVk1talFwd0JuMlRVbEpTUzBleDhURUFBQ2NUbWUzWEQ4OFBCenA2ZWxJVDAvSGlSTW5zR1hMRnV6Y3VSTjFkWFYzQXJqVGJyZS9wU2pLKzFMSzdNTEN3bVBkY3RNQUdESmt5TXF4WThldS8rYWJiOTY1Y09IQ3N3RHNwYVdscWJmY2Nzdmp3NGNQWCt0MnUrMFhMbHo0YWFEekpDSWlJaUtpM28xcktuU2ptVE5uaGpVME5HUUNXQzJFdU1NVFQwaElRRVpHQnViUG45K2pYUW4xOWZYWXNHRUQ4dlB6Y2VYS0ZSaU5SdHh4eHgxNDRva25NSFRvVU85NW5yVUxIbjMwVWJ6MjJtczRmUGd3REFZRFpzK2VqV2VlZVFhUmtaRTlrdDhMTDd5QS9QeDhXSzNkMTEyL1pjc1dyRjI3RnV2V3JVTnljbkszWGRkWFhWMGQ4dlB6b1drYVNrcCsrUEplU3ZsWEFObWhvYUdiZW12M3dzMDMzN3pxMjIrLzNRUkFSa2RITDZtb3FQaFQ4NkdnOFBEd3hMcTZ1c0pXbmpZWVRicy85T24xSklpSWlJaUlxT2V4cU5BTnBrK2ZuaWlsWEMybGZCQkFGTkEwWDMvUm9rVklUMC9IeElrVGV6d0hoOE9Cckt3c0hEdDJETW5KeVpnNGNTTEt5c3F3WThjTzNIVFRUZmp3d3c5aE5Cb0JOQlVWRkVYQmhRc1hNSFBtVEl3ZE94WkZSVVg0L1BQUFlUS1pzSDc5ZXUrT0UxOTk5Vlc3OXgweFlzUjE1OWpkUllXalI0L2lzY2NlZzhsa3d0dHZ2KzJYWFRKT25qenA3VjZvcmEzMWhDdUZFQjhJSWJJUEhUcFUzT05KRUJFUkVSRVI5UklzS25TQm9panBBRFRmMkcyMzNZYU1qQXpNbXpjUFlXRmhmc3ZsM1hmZnhkdHZ2NDAxYTlaZzZkS2wzbmhCUVFHZWUrNDVQUGpnZy9qWnozNEdvS21vQUFDdnZ2b3E1c3laNHoxMzNicDEyTHg1TTk1KysyM01taldyeGJsdHVaRUNRWGNXRlM1Y3VJRGx5NWRqK1BEaHlNbko4ZnU2RlBYMTlkaXpadzgwVGNQUm8wZXZQcXphYkxZdGZrMklpSWlJaUlnb0FMaW1RdGQ4NFB0ZzdkcTFTRTFORFVnaStmbjV1UFhXVzNIMzNYZTNpRnNzRnNURXhPRHp6ei8zRmhVQVlNS0VDUzBLQ2dDd2JOa3liTjY4R1FjUEh2UVdGVjUvL2ZVdTVlWGI2VkJmWDM5TjdFWTZIWHk5OHNvcmFHeHN4RzkvKzl1QUxIUVpGaGFHSlV1V1lNbVNKZGk1Y3lmV3JGbmplL2dEUlZFaWZCNUxuNStySDk5d1hFb3BBVUFJY1YxeFQ2ejV1TC9pM3J5bGxOSW5weTdIcFpUL1hWaFkrQSt0LzhzUUVSRVJFWkUvc2FqUU5ROEN5RVZ6eDhldmYvMXJmUFRSUjk3MUUvelpxWER1M0RuY2Z2dnRyVTRCaUkyTnhZRURCMXJFeG93WmM4MTVvMGFOQWdCODk5MTMzcGpGWXVsU1htbHBhZTNHT3R1MVlMVmFNWFBtVE54NjY2MmR6cTByNnV2cnZlc3NGQmUzbVBFZzBmUzY4TzFnRWVqR3JxQzJwbm0wTi8yanVkN2c5M2g3ZVhVMkxvUklCc0NpQWhFUkVSRlJMOENpUWhjMHQ3anJwaytmbnVoeXViS0VFTXVMaTR1amlvdUw4ZHBycjJIaHdvVklUMC8zeTA0UFVzcDJCNVU2bmE3ZHh3RFEwTkMwTHA5bnUwYWc2MnNxK0hZNmZQREJCeWdxS3VweTl3TUFSRVpHSWlRa3BNdlh1VkVuVDU2RXBtbll0V3RYaXpVVnBKVHY2L1g2OVQ1cktuZ0tDU0l6TTFOODg4MDNBZ0JxYW1wRVEwT0RzTnZ0WXRTb1VjSnV0d3NBY0RnY29yR3hVYmhjTGhFVkZTV2NUcWNBQUtmVEtWd3VsM0M1WEdMUW9FSEM1WElKQUhDNVhNTHRkZ3VYeXlYQ3dzS0UyKzBXQU9CMnU0WG5SMG9wQUNBa0pLUkZ6SE91Sis2SmVjNFBDZ29TVWtydmorZjhxK09lOHcwR3d6VXhLYVc0a1RnQW9kZnJPNHdEeU92K2YxVWlJaUlpSXVvc0ZoVzZRZk5BOHVtWk0yZitxcUdoNFI0aHhPcmEydHEvMjdScEV6WnQyb1NFaEFTb3Fvcms1T1FlYTlVZk9YSWtUcDA2MWVxeE0yZk9YTk9aVUY1ZWZzMTV4NDQxN1pBNGJ0dzRiNnkxVGdOZkhYVWErSFk2N042OSs1cFlaMm1hMW1waHBDZTB0ZnNEZ1ArU1VtYUhob1p1Ym1QM0J3bEFidHEwcWRYcmxwYVc5a0MyL1p1aUtJRk9nWWlJaUlpSWZMQ28wSTJhQjVZZkFQakFaREpORVVKa0FYaW9wS1FrdXFTa0JLKy8vcnEzZTJIeTVNbmRldSs1YytjaUp5Y0hXN2R1eFpJbFM3enhnb0lDbEpXVjRhbW5ubXB4dnMxbXcvSGp4eEVmSHc4QWNMdmQyTEJoQTNRNkhXYlBudTA5cnp1NkNucEtUM2NxbkRoeHd0dVZVRmRYNXdsWEFIaFBTcm0rc0xEd1dJOG1RRVJFUkVSRTFNdHg5NGNlWnJGWVFxdXJxek1BckFid3Z6engrUGg0WkdSa0lDVWxwVnU2RitycTZyQjgrWEtjUDM4ZUtTa3AzaTBsdDIvZmpva1RKeUluSjhjN3JjRnNOaU1tSmdhVmxaVklTMHREZEhRMDl1L2ZqNUtTRXF4YXRRcVBQLzU0bC9OcFRYZnUvcENXbG9iazVHUTgrZVNUM1pEWkQrcnE2cENYbHdkTjAzRDgrSEhmUTU4RHlEWWFqYmtGQlFVTjNYcFR1bTZLb2tnQXNObHNmTzhpSWlJaUl1b0YrTUhjajh4bTgyUUFXVzYzKzJFaHhCQUFDQThQeDRJRkM2Q3FxcmRyb0xPcXE2dnh6anZ2WVAvKy9haW9xTURRb1VNeGYvNThaR1ZsdFNoY21NMW1KQ2NuSXlVbEJiLy8vZTl4OGVKRmpCZ3hBdmZkZHgvdXUrKytMdVhnTDh1WEwwZHljakllZU9DQmJybmVzV1BIb0drYTh2THl2THRVQVBoT0NQRWVnUFZXcS9WRXQ5eUl1b1JGQlNJaUlpS2kzb1VmekFQQVlyR0VWbFZWcFFOWUxZU3dlT0tUSjArR3FxcFlzR0FhUlRFVkFBQWdBRWxFUVZRQklpSWkycjVBRjNtS0N1dldyZXV4ZS9RRnRiVzEyTFZyRnpSTnc4bVRKNzF4S1dVQmdPekJnd2R2WVZkQzc4S2lBaEVSRVJGUjc4SVA1Z0UyZmZyMFNXNjNleFdBaHdIY0RBQmhZV0ZJU1VtQnFxcVlNbVZLdTdzNmRNWkFMaXBJS1Z0MEpYaDJ2QUR3TFlCM2RUcGR6cUZEaDA2MmN3a0tJQllWaUlpSWlJaDZGeTdVR0dETkE5aWZ4OFhGL2Rwb05DNEZzTHErdm43T3h4OS9qSTgvL2hpVEprM3lkaThNR2pRbzBPbjJXZDkvLzcyM0srSExMNy8wUGJRUFFIWjFkZlhIcGFXbDlnQ2xSMFJFUkVSRTFDZngyNzVlYU5xMGFSTjBPdDBxQUNzQURBV0EwTkJRYi9kQ1FrSkNsN29YQmtxbmdwUVN4Y1hGMERRTitmbjV2bDBKM3dENG85dnR6aWtxS21wOUgwNEt1TGk0dUpEbzZPaG8zNWpMNWZvYUFQUjYvWERmZUVWRlJRV0xRa1JFUkVSRS9zZWlRaStXa0pBUUhCb2FlcmVVY2pXQWVaNzRoQWtUb0tvcVVsTlRFUmtaR2NBTWU2ZWFtaHB2VjhLcFV5MXFCcDhLSWJJYkdobytLU2twY1FRcVA3bytNMmJNdU5YbGNuMkZqdCtuM0hxOWZ1VEJnd2N2K3lNdklpSWlJaUw2QVlzS2ZZVFpiQjRQSUV0S3VRTEFMUUFRRWhLQzVPUmtxS3FLMjI2N3JkdlhYdWhMcEpRNGV2U290eXZCYnZkK2FmMC9Vc3FOT3AwdXgycTFuZzVram5UakZFVXBBSEJYQjZkOVpyUFpMRDJmRFJFUkVSRVJYVzNnamtMN3FJU0VoT0RnNE9BbFFvZ3NBTW1lK1BqeDQ2R3FLaFl1WEFpajBSakFEUDJydXJvYU8zZnVoS1pwT0gyNlJjMGdYMHFaN1hBNHRyRXJvZTh5bVV4UENpSGU2dUMwSjIwMjIrLzlraEFSRVJFUkViWEFva0lmTm1QR2pGaW4wN2tLd0NOQ2lHRUFFQndjN08xZW1EcDFhci9zWHBCUzRzaVJJOTZ1QklmRFd6TzRER0NqWHEvZmNQRGd3VE1CVEpHNlNWSlMwa2k5WG4reHZYTmNMdGVvdzRjUFgvSlhUa1JFUkVSRTlJUCtOK0ljZ014bWM1Q1VNZzFBRm9BVU5QKzd4c2JHUWxWVkxGcTBxRjkwTDFSWFYyUEhqaDNRTkExbnpuaHJCaExBYmdEWlFvanRWcXUxTVhBWlVrOVFGT1VMQUxlM2NmZ0xtODAyeTUvNUVCRVJFUkhSRDFoVTZHZW1UWnMydG5ubmlFY0FEQWVhdWhmbXpac0hWVlV4YmRxMFB0VzlJS1ZFVVZFUk5FM0RwNTkrNnR1VjhMVVFZb1BMNWRwUVZGUjBMb0FwVWc4em04M1BTeWxmYmUyWUVPSjVxOVg2dXI5eklpSWlJaUtpSm4xbmRFazN4R3cyQndGWTVIYTdzNFFRcVdqK3R4NDdkaXhVVmNYaXhZc3hlUERnd0NiWmpxcXFLbXpmdmgyYXB1SGN1WE9lc0pSUzdwSlNaa2RGUmUwb0tDaHdCakJGOHBPcFU2ZU9NeGdNclU1bmNUcWRzVWVPSERucjc1eUlpSWlJaUtnSml3b0RnTWxrR2dOZ3BSQmlKWUFSQUJBVUZJUzVjK2RDVlZVb2l0SXJ1aGVrbExEWmJOQTBEWHYzN2tWam8zY213eVVwNVFZQUd3c0xDODhITUVVS0VFVlJiQUJNVjRWdE5wdk5ISWg4aUlpSWlJaW9TZUJIa3VRM0ZvdkZVRlZWdFZBSXNScEFLZ0FkQUl3Wk04YmJ2UkFWRmVYM3ZDb3JLNzFkQ2VmUGUyc0diZ0E3QVdRYmpjWmQ3RW9ZMkJSRmVRbkEycXZDTDlsc3R0OEVJaDhpSWlJaUltckNvc0lBWlRhYlk2U1Vqd2doVmtvcFJ3Rk4zUXR6NXN5QnFxb3dtODA5MnIwZ3BZVFZhb1dtYWRpM2I1KzNLMEVJY1ZGS21hUFg2emNlUEhqd1FvOGxRSDJLMld5ZUxLVTg3aHZUNlhTVER4MDZkREpRT1JFUkVSRVJFWXNLQTU3RllqRlVWMWN2QUxBYXdDSTBkeS9FeE1RZ1BUMGRpeGN2eHBBaFE3cnRmdVhsNWRpK2ZUdTJiTm1Dc3JJeVQ5Z05ZTHNRSWpzMk5qWnYwNlpOcm02N0lmVWJpcUtVQUpnQ0FFS0lFcXZWbWhqZ2xJaUlpSWlJQmp3V0ZjaHI2dFNwbzRLQ2doNlJVcTRDTUJvQURBWURacytlRFZWVk1YMzZkT2gwdWh1K3J0dnR4cUZEaDZCcEd2YnYzdytuMHp1VG9Vd0lrZFBZMlBqSEkwZU9YT3krMzRUNkk1UEo5TElRWWcwQVNDbGZMaXdzL0lkQTUwUkVSRVJFTk5DeHFFRFh5TXpNMUo4OWV6WkZTcmxhU3JrWWdCNEFSbzBhaGZUMGRDeFpzdVM2dWhmS3k4dXhkZXRXYk5teUJSY3ZlbXNHTGdEYnBKVFpjWEZ4K2V4S29PdGxNcG1TaEJCRnpRK1RiRGJia1lBbVJFUkVSRVJFTENwUSs1S1Nra2JxZExvVlFvZ3NBREZBVS9lQ3hXS0JxcXFZTVdOR2krNEZ0OXVOZ3djUGVyc1NYQzV2emVDOGxESUhUVHM0Zk9YM1g0VDZBNkVveWlVQTBtYXpqUUlnQTUwUUVSRVJFZEZBeDZJQ1haZk16RXo5NmRPbjU2TnA3WVVsYU81ZUdEbHlKTkxUMHpGcjFpd2NPSEFBVzdac3dhVkxsenhQY3dIWUNpQjcvUGp4ZTlpVlFGMmxLTW9yUWdocHRWcC9GZWhjaUlpSWlJaUlSUVhxQkxQWlBGeEt1UUpBRm9DeHJaeHlEc0I2SWNRZnJWYnIxLzdNamZvbG5hSW84NldVN3draGhra3BhNFVRR1RhYmJRK2FGdmtrSWlJaUlxSUFZVkdCdWtKbk5wdm5TU2xYQTBnRnNFc0lrVzIxV2o4RkIzdlVSU2FUYVlRUVlnV0FWV2k3ZUpVamhOakk0aFVSRVJFUlVXQ3dxRUJkcGlpS0JBQ2J6Y2JYRTNWSlptYW12clMwTkZrSXNScEFHbnltMmFpcTZwMW1vMm5hMWROc3VQZ25FUkVSRVZFQWNCQklYY2FpQW5WVlVsTFNTSVBCNE5uT3RDc0xncFlKSVhLY1R1Zkd3NGNQWDdyMlRrUkVSRVJFMUowNENLUXVZMUdCT2lNek0xTi81c3laQmMzVFp4WUQwQUhBNk5HamtaNmVqclMwdE92ZXVuVGJ0bTNRTkszRjFxVkNpTzFDaU94eDQ4YnRadmNDRVJFUkVWSFA0Q0NRdW94RkJib1JNMmJNR08xeXVSNEJzQkxBYUtDcEsySE9uRGxRVlJWbXM3bEZWOEwxY3J2ZHNGcXQwRFFOKy9idGc5UHA5Qnk2SUlUSWFXeHMzSGpreUpHTDdWMkRpSWlJaUlodURBZUIxR1VzS2xCSExCYUxvYnE2T2hWTlc1SXVSSE5YUWt4TURGUlZ4ZUxGaXhFZEhkMXQ5NnVvcU1EMjdkdWhhUnJLeXNvOFlUZUFIUUN5alVaalhrRkJnYlB0S3hBUkVSRVIwZlhnSUpDNmpFVUZhb3ZaYkk1eHU5MHJoUkFyQVl3RWdLQ2dJTXlkT3hlcXFrSlJGQWpSY3k4YktTVnNOaHMwVGNQZXZYdlIyTmdJQUJCQ1hKUlNibWplT2FLc2c4c1FFUkVSRVZFYk9BaWtMbU5SZ1h4WkxCWkRaV1hsSWlIRWFpRkVLcHJmWjhhTUdlUHRTb2lLaXZKN1hwV1ZsZDd1aGZQbnozdkNiZ0M3cEpUWmd3Y1Azc251aGE2SmlJaElHajkrZlA2cFU2Zk05ZlgxbGEyY29tdis4VlVOYmtGTFJFUkUxR2R4RUVoZHhxSUNBWURKWkJxajArbFdTU2tmQVRBQ0FJS0RnNzFkQ1NhVHFVZTdFcTZYbEJLRmhZWGU3Z1dIdytFNTlKV1VjZ09BRFlXRmhlZmJ1UVMxWWVqUW9VOE1HemJzRjE5KytXVktZbUxpOGF1UE56WTJYZ2tLQ2hybUd5c3VMbzUzT0J3bi9KY2xFUkVSRVhXbndIL0NwejZQUllXQnkydzJCMGtwRndQSUFyQUF6ZThwNDhhTmc2cXFXTFJvRVFZUEhoelFITnRUVlZXRkhUdDJJRGMzRitmT25mT0VKWUE4SVVRMmdCMVdxN1V4WUFuMk1iR3hzVnNhR3hzdlhibHk1ZmVKaVluSGJUWmJFQUFFQndkUFNreE1MTDc2UFVKUkZNbWlBaEVSRVZIZlpnaDBBa1RVOTB5ZE9uV2N3V0R3ZENYY0NqUjFKY3lmUHgrcXFpSXBLYWxYZENWMFpQRGd3VmkyYkJudXYvOStIRDU4R0pxbVljK2VQY0xoY0tSS0tWTUJmSzBveWthMzI1MVRWRlIwTHRENTluSVJScU14cGJTMGRLRlB6RE9kaEZ0NkVoRVJFZlZUTENvUTBYVXhtODFCYnJkN2lSQWlDMEF5bXJzU1ltTmprWkdSZ1lVTEY4Sm9OQVkyeVU0U1FtRGF0R21ZTm0wYW5uLytlZXpjdVJPNXViazRjK2JNY0FBdjZYUzZGeFZGeVFlUUxZVFl4dTZGYTBWSFI2ZnJkTG93aDhOeDJTY2NCUUFHZ3lHeStmR3QvcytNaUlpSWlIcFM3Lzhxa1hvOVRuL28zMmJNbUJIcmREcXpBS3dRUWd3RG1yb1NrcE9Ub2FvcXBrNmQyaWU2RW02VWxCSkhqaHlCcG1uSXo4LzNycjBncGJ3Q1lLUEJZTWc1ZVBEZ21jQm0yWHRNbWpUcFFFUkV4TXppNHVKNEFHaHRUUVVwcGQzM3NSQWloTk1maUlpSWlQcTIvamNTSUw5alVhSC9TVWhJQ0E0TkRiM2I3WFpuQ1NIbWUrTGp4NDlIUmtZR1VsTlQrMnhYUW1kVVYxZGoxNjVkeU0zTnhlblRwNzF4S2VVZUFOa09oMk5yU1VtSm8rMHI5RytSa1pHenhvOGYvNmxPcHd2ekxTcjR2Q2ZjTW1yVXFCY3ZYcno0TTkvbmpSczM3azluejU3OU9ZQ3YvWjB6RVJFUkVYVVBEZ0tweTFoVTZEOFVSWWxEMDZLTEt3QU1CWUNRa0JDa3BLUkFWVlVrSmliMnk2NkU2eVdsUkhGeE1UUk53KzdkdTJHM2U3OTQveDhoeEIrbGxEazJtNjAwa0RrR3dzU0pFL2ZWMXRZV0RoczI3TmsyaWdvQWZuaXY4R1czMjArWGxKVEUrU3RYSWlJaUl1cGVBM2QwUU4yR1JZVytMU0VoSVRna0pHUXBnTlVBNW5yaUV5Wk1RRVpHQmhZc1dJREl5TWkyTHpCQTFkVFVJQzh2RDdtNXVUaDE2cFR2b2IwQXN1MTIrOGNEcFhzaExpNXVWMmxwNlFPS29uemIxdlNIUzVjdXZYRHp6VGV2UEgzNjlQeUdob2FMQU1KTUpsTjVUVTNObnFzV2R5UWlJaUtpUG9RTE5SSU5VRWxKU1JQMWV2MHFBQStqdVNzaE5EUVVDeFlzZ0txcW1ESmx5b0R1U3VoSVpHUWtNak16Y2M4OTk2Q2twTVRidmREUTBEQVh3TnlRa0pCdkZFVjUxKzEycnk4cUtqclY0UVg3c05MUzBrd0EzMThkdDlsczBUNFA2OFBEdzAxaFlXR3pHaG9hL213MEd1OFVRaGpLeThzMytTOVRJaUlpSXVwdUxDb1FEU0J4Y1hFaGtaR1I2VUtJMVFCbWUrS1RKazJDcXFwSVRVMUZSRVJFQURQc2U0UVFTRXhNUkdKaUlwNTk5bG5rNWVWQjB6U2NQSGx5S0lDZjYzUzZueXVLc2w5S21WMVRVN09sdExUVTN1RkYrNTVyQ2dyTktuMGZWRlZWNWQxMDAwMFBWbFJVL0hubzBLR1BOalkyZmxWZVh2NW5QK1JIUkVSRVJEMkVYME5TbDNINlErODNmZnIwU1M2WEswc0k4VENBbXdBZ0xDek0yNVVRSHgvUHJvUnVKS1hFc1dQSHZOMEw5ZlgxbmtQZlNTbmYxZXYxNnc4ZE9uUXlrRG4yQkVWUlpGdlRIK3gyKzhtU2twSVpTVWxKbDY1Y3VmTHFpQkVqL3MvcDA2ZnZyYXFxMmh5WWJJbUlpSWlvTzNBVVFWM0dva0x2WkxGWVFtdHFhbFFwNVdvQWQzbmk4Zkh4VUZVVkN4WXNRSGg0ZUFBejdCcXoyWXprNUdTc1c3ZXVXODY5ZlBreTFxOWZqNy84NVMrb3FxckNtREZqa0pXVmhmbno1N2Y1bk90UlcxdnI3VjQ0Y2FMRnpvbWZDU0d5SXlNanRZS0Nnb1l1M2FTWHVMcW9jTlgwQnhlQW11SERoNjhkUG56NFM5OSsrKzNiWldWbFR3VW1VeUlpSWlMcUxweitRTlRQS0lvU0R5Q3JxcXJxSVNIRUVBQUlEdzlIYW1vcTB0UFRFUjhmSCtBTWU2ZFBQdmtFVnFzVlM1Y3VoVjZ2UjI1dUxsNTQ0UVZFUjBkait2VHBuYjV1UkVRRU1qSXlrSkdSZ2VQSGowUFROT1RsNWFHdXJ1NHVLZVZkVlZWVjVZcWl2QWRndmMxbU85N2hCZnVXRnRNZndzTENSZzBaTXVRZUthVTlNakp5WVhoNCtIdDFkWFhXUUNWSFJFUkVSRjNIb2dKUlB6Qno1c3d3dTkyZWdhWWRITzRFbXViNlQ1a3lCUmtaR1VoT1R1N1RYUW4rY1B2dHQyUEZpaFVJRGc0R0FGZ3NGaXhidGd4Nzl1enBVbEhCVjN4OFBGNTY2U1U4ODh3ejJMMTdOelJOdzdGang0WUFlQWJBTTRxaS9BVkFka2hJU080WFgzeFIzOEhsK3BTb3FDaDE5T2pSLzlmaGNKdzRlL2JzbkJFalJteWNOR25TL3lzdkwzL3Y2NisvL3EzRDRTZ0pkSTVFUkVSRWRPTllWQ0RxdzVLU2toTDBlbjJXM1c1ZkRpQWFhT3BLV0xod0lWUlZ4YVJKa3dLY1lkK1JsSlRVNG5GTVRBd0F3T2wwZHZ1OXdzUERrWjZlanZUMGRKdzRjUUpidG16QnpwMDdVVmRYZHllQU8rMTIrMXVLb3J3dnBjd3VMQ3c4MXUwSitObVFJVU5XamgwN2R2MDMzM3p6em9VTEY1NEZZQzh0TFUyOTVaWmJIaDgrZlBoYXQ5dHR2M0Rod2s4RG5TY1JFUkVSM1RqT2dhY3U0NW9LL2pWejVzeXdob2FHVEFDcmhSQjNlT0lKQ1FuSXlNakEvUG56L2RLVlVGOWZqdzBiTmlBL1B4OVhybHlCMFdqRUhYZmNnU2VlZUFKRGh3NzFudWRaeitEUlJ4L0ZhNis5aHNPSEQ4TmdNR0QyN05sNDVwbG5FQmtaMmVPNWRzYVdMVnV3ZHUxYXJGdTNEc25KeVQxK3Y3cTZPdVRuNTBQVE5KU1UvUENsdlpUeXJ3Q3lRME5ETi9YMjdvV2JiNzU1MWJmZmZyc0pnSXlPamw1U1VWSHhwK1pEUWVIaDRZbDFkWFdGclR4dE1BQTdnSDZ4cmdRUkVSSFJRTU5CSUhVWml3citNWDM2OUVRcDVXb3A1WU1Bb29DbStmcUxGaTFDZW5vNkprNmM2TGRjSEE0SHNyS3ljT3pZTVNRbkoyUGl4SWtvS3l2RGpoMDdjTk5OTitIRER6K0UwV2dFMEZSVVVCUUZGeTVjd015Wk16RjI3RmdVRlJYaDg4OC9oOGxrd3ZyMTY3MDdUM3oxMVZmdDNuZkVpQkU5L3JzQndOR2pSL0hZWTQvQlpETGg3YmZmOXZ2T0dDZFBudlIyTDlUVzFuckNsVUtJRDRRUTJZY09IU3IyYTBKRVJFUkVSRzNnSUpDNmpFV0ZucVVvU2pvQXpUZDIyMjIzSVNNakEvUG16VU5ZV0pqZmMzcjMzWGZ4OXR0dlk4MmFOVmk2ZEtrM1hsQlFnT2VlZXc0UFB2Z2dmdmF6bndGb0tpb0F3S3V2dm9vNWMrWjR6MTIzYmgwMmI5Nk10OTkrRzdObXpXcHhibHVzMXA1ZjArL0NoUXRZdm53NWhnOGZqcHljbklDdVJWRmZYNDg5ZS9aQTB6UWNQWHIwNnNPcXpXYmJFb2k4aUlpSWlJZzhPQWlrTG1OUm9XY3Bpdkk5Z0FqUDQ3VnIxeUkxTlRXQUdRSExsaTFEVlZVVnRtL2ZmczIzK09ucDZSQkNRTk9hNmlCbXN4a1RKa3pBUng5OTFPSzg4K2ZQUTFWVkxGKytIRTgvL1RTQXBxSkVleXdXUzV2SFd1dHk2RXhudy8vKzMvOGJSVVZGMkx4NU0yNjk5ZFliZm41UDJibHpKOWFzV2VNYnFvWFA2d0tBOVBtNStuR25ZbEpLS1lSb0w5N2krWjZZbFBLYWF3b2g1SFhHNGJtV1R4eSs5MmlPWDVPN0orNlRzL2Y1Vi8wdTN1ZDM5RHRLS2YrN3NMRHdIMEJFUkVSRXJlSkNqVVM5MzRNQWN0RmNCUHoxcjMrTmp6NzZ5THQrUWlBNkZjNmRPNGZiYjcrOTFXa0JzYkd4T0hEZ1FJdlltREZqcmpsdjFLaFJBSUR2dnZ2T0cydXZhTkNSdExTMGEyS2Q2V3l3V3EyWU9YTm1yeWdvMU5mWGU5ZFpLQzV1TWVOQm91bDE0ZHZCSXRETmhlSzJwbjIwRmY5aHJILzl4N29yM2w1ZTdSM3JLQzZFU0FiQW9nSVJFUkZSRzFoVUlPcmxtbHZjZGRPblQwOTB1VnhaUW9qbHhjWEZVY1hGeFhqdHRkZXdjT0ZDcEtlbiszV25CeWxsdXdNNG5VN1g3bU1BYUdob1dwZlBzNFVqMExVMUZWNS8vZlYybjN1OUlpTWpFUklTMGkzWDZxeVRKMDlDMHpUczJyV3J4Wm9LVXNyMzlYcjllcDgxRlR5RkJKR1ptU20rK2VZYkFRQTFOVFdpb2FGQjJPMTJNV3JVS0FFQWRydGRPQndPMGRqWUtGd3Vsd0NBcUtnbzRYUTZoZFBwOU1aY0xwY1lOR2lRY0xsY3d1VnlDYmZiN1kySGhZVUp0OXZ0alhuK1cwb3BRa0pDcm9sNXpnc0pDV2tSazFJS0FBZ0tDaEpTU3UrUDUvbStjUUR3L0xmQllMZ20xbEg4NmxqejN3dDZ2ZjZhZXdNUXZuRUFlZDM5YjB0RVJFVFUzN0NvUU5SSE5BOGtuNTQ1Yythdkdob2E3aEZDcks2dHJmMjdUWnMyWWRPbVRVaElTSUNxcWtoT1R1N3hkUUJHamh5SlU2ZE90WHJzekprejEzUW1sSmVYWDNQZXNXTk5PeVdPR3pmT0cydXQyOEJYZTUwSFhlbHk4S1ZwV3F0RmtKN1cxdTRQQVA1TFNwa2RHaHE2dVkzZEh5UUF1V25UcGxhdlcxcGEyZ1BaRGd5S29nUTZCU0lpSXFKZWowVUZvajZtZVdENUFZQVBUQ2JURkNGRUZvQ0hTa3BLb2t0S1N2RDY2Njk3dXhjbVQ1N2NJem5NblRzWE9UazUyTHAxSzVZc1dlS05GeFFVb0t5c0RFODk5VlNMODIwMkc0NGZQNDc0K0hnQWdOdnR4b1lORzZEVDZUQjc5bXp2ZWQzVmJkQlYvdXhVT0hIaWhMY3JvYTZ1emhPdUFQQ2VsSEo5WVdIaE1iOGxRMFJFUkVSMGc3aXdIblVaRjJvTVBJdkZFbHBkWFowQllEV0EvK1dKeDhmSEl5TWpBeWtwS2QzYXZWQlhWNGZseTVmai9QbnpTRWxKOFc0cHVYMzdka3ljT0JFNU9UbmVhUTFtc3hreE1UR29yS3hFV2xvYW9xT2pzWC8vZnBTVWxHRFZxbFY0L1BISHV5MnY3cENXbG9iazVHUTgrZVNUUFhhUHVybzY1T1hsUWRNMEhEOSszUGZRNXdDeWpVWmpia0ZCUVVPUEpVRFhoZTl0UkVSRVJCM2pCeVhxTW43dzdsM01adk5rQUZsdXQvdGhJY1FRQUFnUEQ4ZUNCUXVncXFxM1c2Q3JxcXVyOGM0NzcyRC8vdjJvcUtqQTBLRkRNWC8rZkdSbFpiVW9ZSmpOWmlRbkp5TWxKUVcvLy8zdmNmSGlSWXdZTVFMMzNYY2Y3cnZ2dm03SnBUc3RYNzRjeWNuSmVPQ0JCN3I5MnNlT0hZT21hY2pMeTBOOXZYY213M2RDaVBjQXJMZGFyU2U2L2FiVWFYeHZJeUlpSXVvWVB5aFJsL0dEZCs5a3NWaENxNnFxMGdHc0ZrSllQUEhKa3lkRFZWVXNXTEFBRVJFUmJWK2dtM2lLQ3V2V3JldnhlL1ZHdGJXMTJMVnJGelJOdzhtVEo3MXhLV1VCZ096Qmd3ZHZZVmRDNzhUM05pSWlJcUtPY1UwRm9uNnFlYUQ2SVlBUHAwK2ZQc250ZHE4QzhQQ0pFeWR1L3MxdmZvUGYvZTUzU0VsSmdhcXFtREpsU3J1N09kQ05rVksyNkVydzdIUUI0RnNBNytwMHVweERodzZkYk9jU1JFUkVSRVI5QW9zS1JBTkE4d0QyNTNGeGNiODJHbzFMQWF5dXI2K2Y4L0hISCtQamp6L0dwRW1Udk4wTGd3WU5DblM2ZmRiMzMzL3Y3VXI0OHNzdmZRL3RBNUJkWFYzOWNXbHBxVDFBNlJFUkVSRVJkVHQrTlVsZHhoYmh2bW5hdEdrVGREcmRLZ0FyQUF3RmdORFFVRy8zUWtKQ1FyZDBML1QzNlE5U1NoUVhGMFBUTk9UbjUvdDJKWHdENEk5dXR6dW5xS2lvOWYwM3FkZUlpNHNMaVk2T2p2YU51Vnl1cndGQXI5Y1A5NDFYVkZSVXNEaEVSRVJFMUlTRFFPb3lGaFg2dG9TRWhPRFEwTkM3cFpTckFjenp4Q2RNbUFCVlZaR2Ftb3JJeU1nQVp0ZzcxZFRVZUxzU1RwMXFVVFA0VkFpUjNkRFE4RWxKU1lralVQblJqWmt4WThhdExwZnJLM1Q4LzBXM1hxOGZlZkRnd2N2K3lJdUlpSWlvdCtNZ2tMcU1SWVgrdzJ3Mmp3ZVFKYVZjQWVBV0FBZ0pDVUZ5Y2pKVVZjVnR0OTAyb05kZWtGTGk2TkdqM3E0RXU5MzdaZlgvU0NrMzZuUzZIS3ZWZWpxUU9WTG5LWXBTQU9DdURrNzd6R2F6V1hvK0d5SWlJcUsrWWVDT0RxamJzS2pRL3lRa0pBUUhCd2N2RVVKa0FVajJ4TWVQSHc5VlZiRnc0VUlZamNZQVp1aGYxZFhWMkxsekp6Uk53K25UTFdvRytWTEtiSWZEc1kxZENYMmZ5V1I2VWdqeFZnZW5QV216Mlg3dmw0U0lpSWlJK2dBT0FxbkxXRlRvMzJiTW1CSHJkRHBYQVhoRUNERU1BSUtEZzczZEMxT25UdTJYM1F0U1NodzVjc1RibGVCd2VHc0dsd0ZzMU92MUd3NGVQSGdtZ0NsU04wdEtTaHFwMStzdnRuZU95K1VhZGZqdzRVdit5b21JaUlpb3QrdC9Jd0h5T3hZVkJnYXoyUndrcFV3RGtBVWdCYzN2SDdHeHNWQlZGWXNXTGVvWDNRdlYxZFhZc1dNSE5FM0RtVFBlbW9FRXNCdEF0aEJpdTlWcWJReGNodFNURkVYNUFzRHRiUnord21henpmSm5Qa1JFUkVTOUhRZUIxR1VzS2d3ODA2Wk5HOXU4YzhRakFJWURUZDBMOCtiTmc2cXFtRFp0V3AvcVhwQlNvcWlvQ0pxbTRkTlBQL1h0U3ZoYUNMSEI1WEp0S0NvcU9oZkFGTWxQekdiejgxTEtWMXM3Sm9SNDNtcTF2dTd2bklpSWlJaDZzNzd6cVo5NkxSWVZCaTZ6MlJ3RVlKSGI3YzRTUXFTaStUMWw3Tml4VUZVVml4Y3Z4dURCZ3dPYlpEdXFxcXF3ZmZ0MmFKcUdjK2ZPZWNKU1NybExTcGtkRlJXMW82Q2d3Qm5BRk1uUHBrNmRPczVnTUxRNnJjWHBkTVllT1hMa3JMOXpJaUlpSXVyTk9BaWtMbU5SZ1FEQVpES05BYkJTQ0xFU3dBZ0FDQW9Ld3R5NWM2R3FLaFJGNlJYZEMxSksyR3cyYUpxR3ZYdjNvckhSTzVQaGtwUnlBNENOaFlXRjV3T1lJZ1dZb2lnMkFLYXJ3amFieldZT1JENUVSRVJFdlpraDBBa1FVZi9RUEJELy95d1d5OHRWVlZVTGhSQ3JHeHNiVS9QeThuUjVlWGtZTTJhTXQzc2hLaXJLNy9sVlZsWjZ1eExPbi9mV0ROd0FkZ0xJTmhxTnU5aVZRTTF5Y1cxUklUY1FpUkFSRVJIMWRvSC8ycEQ2UEhZcVVGdk1abk9NbFBJUkljUktLZVVvb0tsN1ljNmNPVkJWRldhenVVZTdGNlNVc0ZxdDBEUU4rL2J0ODNZbENDRXVTaWx6OUhyOXhvTUhEMTdvc1FTb1R6S2J6Wk9sbE1kOVl6cWRidktoUTRkT0Jpb25JaUlpb3Q2S2cwRHFNaFlWcUNNV2k4VlFYVjI5QU1CcUFJc0E2QUFnSmlZRzZlbnBXTHg0TVlZTUdkSnQ5eXN2TDhmMjdkdXhaY3NXbEpXVmVjSnVBTnVGRU5teHNiRjVtelp0Y25YYkRhbmZVUlNsQk1BVUFCQkNsRml0MXNRQXAwUkVSRVRVSzNFUVNGM0dvZ0xkaUtsVHA0NEtDZ3A2UkVxNUNzQm9BREFZREpnOWV6WlVWY1gwNmRPaDArbHUrTHB1dHh1SERoMkNwbW5ZdjM4L25FN3ZUSVl5SVVST1kyUGpINDhjT1hLeCszNFQ2czlNSnRQTFFvZzFBQ0NsZkxtd3NQQWZBcDBURVJFUlVXL0VRU0IxR1lzSzFCbVptWm42czJmUHBrZ3BWMHNwRndQUUE4Q29VYU9RbnA2T0pVdVdYRmYzUW5sNU9iWnUzWW90VzdiZzRrVnZ6Y0FGWUp1VU1qc3VMaTZmWFFsMG8wd21VNUlRb3FqNVlaTE5aanNTMElTSWlJaUllaWtPQXFuTFdGU2dya3BLU2hxcDArbFdDQ0d5QU1RQVRkMExGb3NGcXFwaXhvd1pMYm9YM0c0M0RoNDg2TzFLY0xtOE5ZUHpVc29jTk8zZzhKWGZmeEhxVDRTaUtKY0FTSnZOTmdxQURIUkNSRVJFUkwwUkI0SFVaU3dxVUhmSnpNelVuejU5ZWo2YTFsNVlndWJ1aFpFalJ5STlQUjJ6WnMzQ2dRTUhzR1hMRmx5NmRNbnpOQmVBclFDeXg0OGZ2NGRkQ2RSZEZFVjVSUWdoclZicnJ3S2RDeEVSRVZGdnhVRWdkUm1MQ3RRVHpHYnpjQ25sQ2dCWkFNYTJjc281QU91RkVIKzBXcTFmK3pNMzZ2ZDBpcUxNbDFMK1dRZ3hCRUExZ0h0dE50c2VOQzM0U1VSRVJFVE5PQWlrTG1OUmdYcVl6bXcyejVOU3JnYVFDbUNYRUNMYmFyVitDZzd3cUJ1WlRLWVJRb2dWQUZhaDdVSldqaEJpSXd0WlJFUkVSRTA0Q0tRdVkxR0IvSVd2TmVwdW1abVordExTMG1RaHhHb0FhZkNaY3FPcXFuZktqYVpwVjArNTRVS2dSRVJFUkdCUmdib0JCM3JrTDN5dFVYZEpTa29hYVRBWVBGdWJkbVZ4MERJaFJJN1Q2ZHg0K1BEaFM5ZmVpWWlJaUtoLzR3ZHo2aklPOU1oZitGcWpyc2pNek5TZk9YTm1RZk5VbXNVQWRBQXdldlJvcEtlbkl5MHQ3YnEzTWQyMmJSczBUV3V4amFrUVlyc1FJbnZjdUhHNzJiMUFSRVJFQXdVL21GT1hjYUJIL3NMWEduWEdqQmt6UnJ0Y3JrY0FyQVF3R21qcVNwZ3padzVVVllYWmJHN1JsWEM5M0c0M3JGWXJORTNEdm4zNzRIUTZQWWN1Q0NGeUdoc2JOeDQ1Y3VSaWU5Y2dJaUlpNnV2NHdaeTZqQU05OGhlKzF1aDZXU3dXUTNWMWRTcWF0aWRkaU9hdWhKaVlHS2lxaXNXTEZ5TTZPcnJiN2xkUlVZSHQyN2REMHpTVWxaVjV3bTRBT3dCa0c0M0d2SUtDQW1mYlZ5QWlJaUxxbS9qQm5McU1BejN5Rjc3V3FDTm1zem5HN1hhdkZFS3NCREFTQUlLQ2dqQjM3bHlvcWdwRlVTQkV6NzE4cEpTdzJXelFOQTE3OSs1RlkyTWpBRUFJY1ZGS3VhRjU1NGl5RGk1RDdZaUlpRWdhUDM1OC9xbFRwOHoxOWZXVnJaeWlhLzd4VlEzdUZrTkVSTlFqK01HY3Vvd0RQZklYdnRhb05SYUx4VkJaV2JsSUNMRmFDSkdLNXYrM2pSa3p4dHVWRUJVVjVmZThLaXNydmQwTDU4K2Y5NFRkQUhaSktiTUhEeDY4azkwTE4yN28wS0ZQREJzMjdIS0RKcXNBQUNBQVNVUkJWQmRmZnZsbFNtSmk0dkdyanpjMk5sNEpDZ29hNWhzckxpNk9kemdjSi95WEpSRVIwY0JoQ0hRQ1JFUkVuV0V5bWNib2RMcFYxZFhWaitoMHVoRUFFQndjN08xS01KbE1QZHFWMEpHb3FDZzg4TUFEK1B1Ly8zc1VGaFo2dWhkMERvZGprUkJpVVhWMTlWY21rMmtEZ0EyRmhZWG5PN3dnQVFBaUl5UG5WVlZWYmZNOHR0bHNRUUFRSEJ3OEtURXhzZmpvMGFPMytwN3ZLVVlTRVJGUnoyQlJnWWlJK2d5ejJSd2twVndNSUF2QUFpbWxBSUJ4NDhaQlZWVXNXclFJZ3djUERteVNWeEZDUUZFVUtJcUNuLy84NTlpeFl3ZHljM054N3R5NUVVS0lOUUIrclNoS25oQWlHOEFPcTlYYUdPaWNlN0VJbzlHWVVscGF1dEFuNXVuMjRJNGJSRVJFQWNDaUFoRVI5WHBUcDA0ZFp6QVlWa2twSHdGd0s5RFVsVEIvL255b3FvcWtwS1NBZGlWY3I4R0RCMlBac21XNC8vNzdjZmp3WVdpYWhqMTc5Z2lIdzVFcXBVd0Y4TFdpS0J2ZGJuZE9VVkhSdVVEbjI5dEVSMGVuNjNTNk1JZkRjZGtuSEFVQUJvTWhzdm54cmRjK2s0aUlpSHBLNy84RVJyMGU1N21Udi9DMU5yQ1l6ZVlndDl1OVJBaVJCU0FaemYvUGlvMk5SVVpHQmhZdVhBaWowUmpZSkx0QmRYVTFkdTdjaWR6Y1hKdzVjOFlUbGdEeUFXUUxJYmF4ZTZISnBFbVREa1JFUk13c0xpNk9CNERXMWxTUVV0cDlId3NoUXJpbUFoRVJVYzlocHdJUkVmVXFNMmJNaUhVNm5WbHV0M3VGRUdJWTBOU1ZrSnljREZWVk1YWHExRDdSbFhDOWpFWWpmdktUbitDKysrN0RrU05Ib0drYTh2UHpoY1BoU0FHUTRuYTdyNWhNcG8wR2d5SG40TUdEWnpxOFlEOFZHUms1S3l3c2JOclZjWjhpNHkyalJvMTY4ZUxGaXovelBUNXUzTGcvT1J5T0tyOGtTVVJFTkFEMW4wOWwxQzFpWW1MK1VGWlc5ZzhBcmx6dmMvanRNZmtMWDJ2OVYwSkNRbkJvYU9qZGJyYzdTd2d4M3hNZlAzNDhNakl5a0pxYTJpKzZFcTVYZFhVMWR1M2FoZHpjWEp3K2Zkb2JsMUx1QVpEdGNEaTJscFNVT0FLWG9mOU5uRGh4WDIxdGJlR3dZY09lOWUxVXVQcjlvTFdGR2UxMisrbVNrcEk0ZitWS1JFUTBrTEJUZ1ZxNCtlYWJINzE4K2ZJYkRvZmp1b3NLUkVTZHBTaEtISm9XWFZ3aHBSd3FoRUJJU0FoU1VsS2dxaW9TRXhQN1ZWZkM5VElhamZqLzJidnp1S2p1ZTMvOHI4K0FyTTZ3V0hIZmNNVkJjYzVBRTVMbUJqY0V0OGdnTWRwc0ptSjYyOXRhazZhdGJkUCttcHR2L1BVMlM1dWtOMzNna3FUZUxQY3F4NmlvcURIYXBFMTZxek80TUFvUlZIRFhCQmlJQXpNdzgvbitJY3gzTUlMSU1zUHllajRlUGg1elB1ZHp6bmxQT1kvMG5QZThQNS9Qa2lWTDhPQ0RENkt3c0JDcXFtTFBuajF3T0J5ekFjd09EZzYrYWpRYTM1SlNycmRZTENYK2p0Y1gzRzYzNDhLRkN5OE9HalRvYWU5Mjd5VENoUXNYMWpnY2pwTFMwdExaZFhWMTV3R0VHZ3lHQ29mRDhZWFBBeVlpSXVvam1GVG9nMjYzdk5hdHhxZzJxYXlzZlBmTW1UTVBkMzVVUk5SWDZQWDZvT0RnNEVVQVZnS1kyZFErZnZ4NFpHWm1JaTB0RFZxdHR1VVQ5Q0ZDQ0V5Wk1nVlRwa3pCMDA4L2pmejhmT1RtNXVMVXFWTXhVc3FmQWZpWm9pajdBZVE0SEk0UGUzUDFRa2xKU1JhQXIyOXV0MWdzVVY2YnRXRmhZWWJRME5CNzZ1cnEzdFBwZFBjSklRSXJLaW8yK3k1U0lpS2l2b1ZKaFQ3b3BnZXdaaFJGcVN3cUt2cTIzVzQvMVVLWFh2dkFTa1JkS3lFaFlVSkFRTUFLQUk4REdBZ0FJU0VoU0V0TGc4bGt3dVRKay90a1ZVSmJhYlZhWkdWbFlmSGl4YkJhclo3cWhicTZ1cGtBWmdZSEIxOVRGT1Z0dDl1OTdzaVJJeTM5Tjd3biswWkNvVkdWOTRiTlpzc2ZNR0RBSTVXVmxlOE5IRGp3cWZyNitvc1ZGUlh2K1NBK0lpS2lQb2xQYjMzWTdTb1d2TFUyY3piSHVaT3Y4RjdyZWNhTkd4ZXMxV296aEJBckFVeHZhcDg0Y1NKTUpoUFMwOU1SSGg3dXh3aDd0cSsvL2hyNStmbFFWUlhGeGNYZXV3NUlLWE5xYW1xMmxwU1VPRm82dmlkU0ZFVzJ0UHFEdytFb3RscXRTUWtKQ1JldVhMbnkrNkZEaC82MnRMVDBRWnZOdHNVLzBSSVJFZlYrckZUbzQ0cUxpeE91WDcvZTZsaFRSVkZxZlJVUEVmVU9pWW1KRTEwdVY3WVE0bkVBQXdBZ05EVFVVNVVRRnhmSHFvUk8wTDkvZnl4ZXZCaVptWms0Y2VLRXAzcWh0cloydWhCaXVrNm4rOHBnTUx3ZEVCQ3c3dkRodzhXM1AyUFBjMVAxblF0QXpkV3JWMThiT25UbzgxOSsrZVhyVENnUUVSRjFMU1lWK3JqNitub25nRHAveDBGRVBWOUtTa3BJVFUyTlNVcTUwdTEyMzkrVU5JaUxpNFBKWkVKYVdockN3c0w4SEdYN0dZMUdwS2FtWXUzYXRjM2FuM3JxS1V5ZE9oVS8rTUVQMnRUZjIrWExsN0Z1M1RwOCt1bW5zTmxzR0RWcUZMS3pzekY3OXV3V2o3a1ZJUVQwZWozMGVyMW43Z1ZWVlZGVVZEUkFDUEdNMisxK1JsR1V2d29oY3JSYXJYcnc0TUhlOU4vOVpzTWZRa05EaDBkSFJ5K1dVanEwV3UzY3NMQ3dkK3gydTlsZndSRVJFZlYyVENyMGNYcTl2dERmTVJCUno2WW9TaHlBYkp2TjlwZ1FJaG9Bd3NMQ2tKNmVqb3lNRE1URnhmazV3cTRocFlRUUFwR1JrWWlLaW1yVzFsYmJ0bTJEMld6R29rV0xFQkFRZ056Y1hLeFpzd1pSVVZGSVRFeHNWMXpoNGVISXpNeEVabVltVHA0OENWVlZrWitmRDd2ZGZyK1U4bjZielZhaEtNbzdBTlpaTEpZV0orYnRpU0lqSTAwalJvejRUNmZUV1hUbXpKa1pRNGNPM1RoeDRzVC9yYWlvZU9mU3BVdXZPSjFPcTc5akpDSWk2bTJZVk9qanJGWnJmRXR6SlRTNWs3a1hpS2h2U0U1T0RuVTRISm00c1lMRGZjQ05YOHNuVDU2TXpNeE1wS2FtOXVpcWhOdjU4c3N2OGZqamoyUFJva1Z3dVZ5b3FLakEyclZyY2VMRUNXemF0S25ONTduNzdydXhmUGx5QkFVRkFRQlNVbEt3Yk5reTdOdTNyOTFKQlc5eGNYSDQ1UzkvaWRXclYyUFBuajFRVlJVblRweUlCckFhd0dwRlVUNEZrQk1jSEp6NytlZWY5K2loYnRIUjBVK09IajE2M2JWcjE5NDhkKzdjMHdBY0pTVWw2VEV4TWY4NlpNaVFGOXh1dCtQY3VYUGY5M2VjUkVSRXZRMlRDbjJjWHE4L0NvQkpBeUpxazRTRUJIMUFRRUMydytGNEZFQVVjS01xWWU3Y3VUQ1pUSmc0Y2FLZkkvU05vS0FnckZ5NUVsYXJGWC85NjE5eDdOZ3h6SjgvSDQ4Ly9qamNiamMwR2syYnpwT1FrTkJzZStUSWtRQ0Fob2FHVG8wM0xDd01HUmtaeU1qSVFGRlJFYlp1M1lwZHUzYkJicmZmQitBK2g4UHhtcUlvZjVGUzVoUVVGSnpvMUl0M3N2THk4bXluMDNrSmdEeHo1c3dqVGUwVkZSVi9xYXVyczlqdDlnS3Y3dkxxMWF2L2VmWHExWGNCOUtvSks0bUlpTG9MSmhYNk9LdlZtc0JLQlNKcVRYSnljbWhkWFYwV2dKVkNpSHViMnZWNlBUSXpNekY3OW15ZlZDWFUxdFppdzRZTjJMdDNMNjVjdVFLZFRvZDc3NzBYUC9qQkR6Qnc0RUJQdjZhNURKNTY2aW04OU5KTE9IcjBLQUlEQXpGOStuU3NYcjBhV3EyMlhkYzNtLy9mc0h5ZFRvZUZDeGVpcHFZRzhmSHh1SFRwRW1iTW1JSDQrUGhiOW0rci9QeDhBTUJkZDkzVnJoamJZdEtrU1ZpelpnMVdyVnFGdlh2M1FsVlZXSzNXS0FDcmhCQ3JEQWJEM3dIa2hJU0ViTzZPMVF0ZmZ2bmwrcWJQbFpXVi8rVzFxLzZtaElJM1c5ZEdSVVJFMUhkeDZ1MCtURkVVS2FWMDRqYVZDa0tJWUM0cFNkMEI3elhmU2t4TWpKZFNycFJTUGdJZ0VyZ3hYbi9ldkhuSXlNakFoQWtUZkJhTDArbEVkblkyVHB3NGdkVFVWRXlZTUFIbDVlWFl1WE1uQmd3WWdQZmZmeDg2blE3QWphU0NvaWc0ZCs0Y2twT1RNWHIwYUJ3NWNnU2ZmUElKREFZRDFxMWI1NW4zNE9MRmk2MWVkK2pRb1MzdXMxcXRXTEZpQlRaczJJQmp4NDVoMDZaTnplSzRVOGVQSDhmM3Z2YzlHQXdHdlA3NjZ6NWRIYU80dU5oVHZYRDkrdldtNWlvaHhDWWhSTTdodzRjNS93NFJFUkVSQVFBQ2NPUGxJRkpSRkJrV0ZwYlV0TjNTdjF2MGEwWlJGTWxxQnZJRjNtdStvU2hLUnRQLzFrMy9IbnZzTWJsOSszWnB0OXVsUDd6MTFsdFNVUlM1ZGV2V1p1MEhEaHlRaXFMSVYxOTkxZFBXRlBQKy9mdWI5WDN4eFJlbG9pank3My8vK3pmNnR2U3ZOWmN2WDVadnZmV1dsRkpLcDlNcC8vU25QOG5hMnRwMmZiL3k4bktaa3BJaWx5NWRLcTlmdjk2dWMzUUd1OTB1dDIzYkpoOTc3TEZiL2UrUjRlOTdrNGlJaUxvZi90clh4NFNHaHQ0ZEZ4ZjNlVWZPY2ZPdnhQejFtSHlGOTVwdktJcnlOWUR3cHUwWFhuZ0I2ZW5wZm93SVdMWnNHV3cyRy9MeThyN3hDMzVHUmdhRUVGQlZGY0NOU29YeDQ4ZmpndzgrYU5hdnJLd01KcE1Kano3NktGYXRXZ1VBT0hqd1lLdlhUVWxKNmJUdjBKcC8rN2QvdzVFalI3Qmx5eFlNSGp6WUo5ZThuVjI3ZHVHNTU1N3picm9Pci9zQ042cmNtdjdkdkgzSDdWSktDUUJDaURhMU43VTE3dmRwZTFOY1hqRjV2azhIMm5kYkxKWS8zT3B2UVVSRTFKMXhUb1UrcHJhMjloODN2WkJGeGNURUxOZHF0ZjlTV2xxNkZFQXRBTVRFeFB3a0pDUmtYRlZWMWJicTZ1cjlBSngrQ1ppSS9PRVJBTGxvVER6LzZsZS93Z2NmZk9DWlB5RTBOTlRuQVowOWV4WjMzMzMzTFljRXhNYkc0clBQUG12V05tclVxRy8wR3o1OE9BRGdxNisrOHJUNUttbHdPMmF6R2NuSnlYNVBLTlRXMW5ybVdTZ3NiRGJpUWVMR2ZhRjZ0UWwwNG84VExRMzNhRzBZU0dPK3dlZnRyY1hWM25ZcFpRSUFKaFdJaUtqSFlWS2hid3JVNlhTem9xT2pING1JaURDNVhLNnIxNjVkZXhOQVB6UW1GV3ByYTR2Q3c4Ty9IUnNidTBWSzJWQlZWYlhkWnJOdHJxcXF5Z2NUREVTOW1zVmkyUXBBazVpWUdPOXl1YktGRUk4V0ZoWkdGaFlXNHFXWFhzTGN1WE9Sa1pIaDA1VWVwSlN0dmx6ZXZOckNyVlpmcUt1ckF3RFA4bzFBeCtaVTZFeGFyUmJCd2NFK3VkYXRGQmNYUTFWVjdONjl1OW1jQ2xMS3Z3UUVCS3p6bWxPaEtaRWdzckt5eExWcjF3UUExTlRVaUxxNk91RndPTVR3NGNPRncrRVFBT0IwT2tWOWZiMXd1VndpTWpKU05EUTBDQUJvYUdnUUxwZEx1Rnd1MGI5L2YrRnl1UVFBdUZ3dTRYYTdoY3ZsRXFHaG9jTHRkZ3NBY0x2ZG91bWZsRklBUUhCd2NMTzJwcjVON1UxdFRmMzc5ZXNucEpTZWYwMzliMjV2Nmg4WUdOaW1kZ0NRVW9wYnRRTVFBUUVCcmJZREdDS2xmTHZULzZoRVJFUSt3cVJDSHpSaHdvU1B3OFBEdjIyejJmTEt5c29lcXFxcXlnUGc4dTVUVTFPVFYxTlRrd2NnUENvcWF0R0FBUU1laTQyTjNYcng0c1UxbHk5Zi9nLy9SRTVFdnRUNElya3FPVG41NTNWMWRZdUZFQ3V2WDcvK25jMmJOMlB6NXMzUTYvVXdtVXhJVFUzdDh0VWZoZzBiaGxPblR0MXkzK25UcDc5Um1WQlJVZkdOZmlkTzNGZ3BjY3lZTVo2MkJRc1d0SHJkOXF6ZzBCNnFxclo1R2NyT1lyZmJ2VmQvOE43MU55bGxUa2hJeUpZV1ZuK1FBT1Rtelp0dmVkNlNrcEl1aUxiM1NrcEtHdXh5dVc3ZmtZaUlxSnRpVXFFUEtpc3JXK0Z3T0s2Z2JVdHNYYStzckh5M3NyTHkzYkN3c0tGMnUvMnIyeDlDUkwxSjQ0dmxKZ0NiREFiRFpDRkVOb0RIckZacmxOVnF4Y3N2dit5cFhwZzBhVktYeERCejVreXNYNzhlMjdkdng4S0ZDejN0Qnc4ZVJIbDVPWDcwb3g4MTYyK3hXSER5NUVuRXhjVUJBTnh1TnpaczJBQ05Sb1BwMDZkNytyMzg4c3RkRW05NytLcFNvYWlveUZPVllMZmJtNW9yQWJ3anBWeFhVRkJ3d2llQkVCRVJVYS9BeWM2b3d6aDVIdmtLNzdYdUl5VWxKYVM2dWpvVHdFb0EvOUxVSGhjWGg4ek1UTXlaTTZkVHF4ZnNkanNlZmZSUmxKV1ZZYzZjT1o0bEpmUHk4akJod2dTc1g3L2VNNnpCYURSaTVNaVJxS3Fxd29JRkN4QVZGWVVEQnc1NGxvRDgxMy85MTA2THE3TXNXTEFBcWFtcCtPRVBmOWdsNTdmYjdjalB6NGVxcWpoNThxVDNyazhBNU9oMHV0eURCdy9XZGNuRnFWV05sUXFYcEpSWENnb0t1c2NzblVSRVJIZUFsUXBFUkhUSEdsOUEzd1h3cnRGb25BUWcyKzEyUDM3eTVNbm9GMTU0QWErODhnclMwdEpnTXBrODFRSWRFUllXaG8wYk4rTE5OOS9FZ1FNSHNHL2ZQZ3djT0JCTGx5NUZkbloyczNrU0FHRFNwRW1ZTTJjTzNuampEWncvZng1RGh3N0ZUMy82VXl4WnNxVERzWFNGcUtnb1JFVkZkZnA1VDV3NEFWVlZrWitmajlwYXowaUdyNFFRN3dCWVp6YWJpenI5b2tSRVJOU244TmMrNmpEK2VreSt3bnV0ZTB0SlNRbXgyV3daQUZZS0lWS2EyaWRObWdTVHlZUzB0RFNFaDRlM2ZJSk9ZalFha1pxYWlyVnIxM2I1dGJxajY5ZXZZL2Z1M1ZCVkZjWEZ4WjUyS2VWQkFEa1JFUkZiV1pYUWZiQlNnWWlJZWpwV0toQVJVYWRvZkZGOUg4RDdpWW1KRTkxdTl3b0FqeGNWRlgzcnhSZGZ4S3V2dm9vNWMrYkFaREpoOHVUSnJhN21RSGRHU3Rtc0txRnBwUXNBWHdKNFc2UFJyRDk4K0hCeEs2Y2dJaUlpYWhjbUZZaUlxTk0xdnNBK08yN2N1Ri9wZExwRkFGYlcxdGJPK1BEREQvSGhoeDlpNHNTSm51cUYvdjM3K3p2Y0h1dnJyNy8yVkNWODhjVVgzcnMrQnBCVFhWMzlZVWxKaWNOUDRSRVJFVkVmd0tRQ0VSRjFtY1lYMnY4RzhOL1RwazBicjlGb1ZnQllYbHhjUEhEdDJyWE5xaGYwZWoyckY5cEFTb25Dd2tLb3FvcTllL2Q2VnlWY0EvQ1cyKzFlZitUSWtWdXZ2MGwrbDV5Y0hOclEwQkRSdEszUmFHSmNMaGVFRUpxa3BLUm13eC9jYnZkWFpyTzUzdmRSRWhFUnRSMmYzcWpET002ZGZJWDNXdStnMSt1RFFrSkNIcEJTcmdRd3E2bDkvUGp4TUpsTVNFOVBoMWFyOVdPRTNWTk5UWTJuS3VIVXFXWTVnNCtFRURsMWRYWGJyRmFyMDEveFVkc2tKQ1RvQXdJQ0N0dlExUzZFR0dnMm0rMjM3MHBFUk9RL2ZEQ25EdU9MSHZrSzc3WGV4MmcwamdXUUxhVmNEaUFHQUlLRGc1R2FtZ3FUeVlRcFU2YjA2ZW9GS1NXT0h6L3VxVXB3T0R3akdhNUtLVGRxTkpyMVpyTzUxSjh4MGgwVGlxS2NCREN4MVU1Q2JER2J6VmsraW9tSWlLamRPUHlCaUlqOHB2R0YrT2Q2dmY3WFFVRkJDNFVRMlE2SEkzWEhqaDNZc1dNSHhvNGRDNVBKaExsejUwS24wL2s3WEorcHJxN0dybDI3b0tvcVNrdWI1UXoyU2lsem5FN25EbFlsOUZnU1FDNkFYN1RXeWUxMjUvb21IQ0lpb283cHV6Ly9VS2Zocjhma0s3elgrb2FrcEtUWWhvYUdGUUNlRUVJTUFvQ2dvQ0JQOWNMVXFWTjdaZldDbEJMSGpoM3pWQ1U0blo2Y3dXVUFHd01DQWpZY09uVG90QjlEcEU1aU5Cb1ZLYVc1bFM2TzBORFFnWC8vKzk5cmZCWVVFUkZSTy9XK3B6THlPYjdva2Evd1h1dGJqRVpqUHlubEFnRFpBT2FnOGYrelltTmpZVEtaTUcvZXZGNVJ2VkJkWFkyZE8zZENWVldjUHUzSkdVZ0Fld0RrQ0NIeU9GbGZyeU1VUlRrTllIUUwrN2RiTEpZSGZCZ1BFUkZSdS9IQm5EcU1MM3JrSzd6WCtxNXAwNmFOYmx3NTRna0FRNEFiMVF1elpzMkN5V1RDdEduVGVsVDFncFFTUjQ0Y2dhcXErT2lqajd5ckVpNEpJVGE0WEs0TlI0NGNPZXZIRUttTEdReUdsNFFRejl4cW41VHlzWUtDZ3IvNE9pWWlJcUwyNkRsUFlOUnQ4VVdQZklYM0dobU54bjRBNXJuZDdtd2hSRG9hLzM5czlPalJNSmxNbUQ5L1BpSWlJbG8vaVIvWmJEYms1ZVZCVlZXY1BYdTJxVmxLS1hkTEtYTWlJeU4zSGp4NHNNR1BJWktQR0F5R1pDSEVaN2ZZVlY5Zlh6L28rUEhqbFQ0UGlvaUlxQjM0WUU0ZHhoYzk4aFhlYStUTllEQ01BdkNrRU9KSkFFTUJvRisvZnBnNWN5Wk1KaE1VUmVrVzFRdFNTbGdzRnFpcWl2Mzc5Nk8rM2pPUzRZS1VjZ09BalFVRkJXVitESkg4UTZNb3lqazAzcnRlOGkwV1M3by9BaUlpSW1vUHJ2NUFSRVE5VXVPTCtLOVRVbEtldDlsc2M0VVFLK3ZyNjlQejgvTTErZm41R0RWcWxLZDZJVEl5MHVmeFZWVlZlYW9TeXNvOE9RTTNnRjBBY25RNjNXNVdKZlJwYmdBcWdIL3piaFJDY05VSElpTHFVZnovRXc3MWVQejFtSHlGOXhyZGp0Rm9IQ21sZkVJSThhU1Vjamh3bzNwaHhvd1pNSmxNTUJxTlhWcTlJS1dFMld5R3FxcjQrT09QUFZVSlFvanpVc3IxQVFFQkd3OGRPblN1eXdLZ0hpVXhNVEhGN1hZZjhHcHlDU0VHbTgzbUwvMFdGQkVSMFIzaWd6bDFHRi8weUZkNHIxRmJwYVNrQkZaWFY2Y0JXQWxnSGdBTkFJd2NPUklaR1JtWVAzOCtvcU9qTysxNkZSVVZ5TXZMdzlhdFcxRmVYdDdVN0FhUUo0VElpWTJOemQrOGViT3IweTVJdlVKV1ZsWkFhV25wRlFBREdwcyt0bGdzTS8wWkV4RVIwWjNpZ3psMUdGLzB5RmQ0cjFGN1RKMDZkWGkvZnYyZWtGS3VBREFDQUFJREF6RjkrblNZVENZa0ppWkNvOUhjOFhuZGJqY09IejRNVlZWeDRNQUJORFI0UmpLVUN5SFcxOWZYdjNYczJMSHpuZmROcURkU0ZPVy9BSHdYQUlRUVB6Q2J6Zi9wNTVDSWlJanVDT2RVSUNLaVhxM3h4Zjc1ckt5cy8zUG16Sms1VXNxVkRRME44L2Z0Mnhld2I5OCtEQjgrSEJrWkdWaTRjR0dicWhjcUtpcXdmZnQyYk4yNkZlZlBlM0lHTGdBN3BKUTU0OGFOMjh1cUJHb3JqVWF6MCsxMmY3ZHhjNnRmZ3lFaUltb0gvdHBISGNaZmo4bFhlSzlSWjBsSVNCaW0wV2lXQ3lHeUFZd0VibFF2cEtTa3dHUXlJU2twcVZuMWd0dnR4cUZEaHp4VkNTNlhKMmRRSnFWY2p4c3JPRnowK1JlaEhtL2l4SW5hOFBEd1N3RE9XQ3lXS2Y2T2g0aUk2RTd4d1p3NmpDOTY1Q3U4MTZpek5ZNXBuNDBiY3k4c0JCQUFBTU9HRFVOR1JnYnV1ZWNlZlBiWlo5aTZkU3N1WExqUWRKZ0x3SFlBT1dQSGp0M0hxZ1RxS0tQUitJNlVzc0Jpc2Z6QjM3RVFFUkhkS1Q2WVU0ZnhSWTk4aGZjYWRTV2owVGhFU3JrY1FEYUEwYmZvY2hiQU9pSEVXMmF6K1pJdlk2TmVTYU1veW13cDVUdENpRUZTeXErRkVJc3RGc3MrM0pqa2s0aUlxRWZnZ3psMUdGLzB5RmQ0cjVHUGFJeEc0eXdwNVVvQTZRQjJDeUZ5ekdielIrRExIbldRd1dBWUtvUllEbUFGV2s1ZXJSZENiR1R5aW9pSWVnSSttRk9IOFVXUGZJWDNHdmtTN3pmcUxGbFpXUUVsSlNXcFFvaVZBQmJBYTVpTnlXVHlETE5SVmZYbVlUYWMvSk9JaUxvOVBpaFJoL0hCbTlwcjVNaVJmeTR2TC84TmdDdHQ2Yzk3alh5Sjl4dDFWRUpDd3JEQXdNQ201VXc3TWlGb3VSQmlmVU5EdzhhalI0OWUrT2FWaUlpSS9JZExTaEtSMzN6clc5OTY2dkxseTM5d09wMXRTaW9RRVhWM1dWbFpBYWRQbjA1ckhENHpYMHFwQVlBUkkwWWdJeU1EQ3hZc2FISHBVbzFHZzd2dXVndDMzWFVYS2lvcXNHUEhEcWlxaXZQbno0K1VVajRmRUJEd0c2UFJtQ2VFeUJrelpzd2VWaThRRVZGM3dGOWZxTVA0YXg2MXB1bithSS9LeXNwM3o1dzU4L0RONStLOVJyN0ErNDN1UkZKUzBnaVh5L1VFZ0NjQmpBQnVWQ1hNbURFREpwTUpScU94V1ZWQ1c3bmRicGpOWnFpcWlvOC8vaGdORFExTnU4NEpJZGJYMTlkdlBIYnMyUGxPK3lKRVJFUjNpQTlLMUdGODhLYmJpR3hwaDZJb2xVVkZSZCsyMisybld1amlCR0QzNnM5N2pYeUc5eHZkVGtwS1NtQjFkWFU2Yml4Sk9oZUFCZ0JHamh3Sms4bUUrZlBuSXlvcXF0T3VWMWxaaWJ5OFBLaXFpdkx5OHFabU40Q2RBSEowT2wzK3dZTUhHMW8rQXhFUlVlZmpneEoxR0IrOHFTM3VwR0toc0xBd3p1bDBGclYwRHQ1cjVBdTgzNmdsUnFOeHBOdnRmbElJOFNTQVlRRFFyMTgvekp3NUV5YVRDWXFpUUlpdXUyMmtsTEJZTEZCVkZmdjM3MGQ5ZlQwQVFBaHhYa3E1b1hIbGlQTGJuSVo2Z2ZEdzhJU3hZOGZ1UFhYcWxMRzJ0cmJxRmwwMGpmKzhWWU1yMlJCUkorS2NDa1RrTThYRnhRblhyMS8vb3JVK2lxTFUraW9lSXFLMlNrbEpDYXlxcXBvbmhGZ3BwVXdYalZtRFVhTkdlYW9TSWlOYkxNenFWRUlJR0kxR0dJMUdQUHZzczU3cWhiS3lzdUVBZmlPbGZFNVJsTjFTeXB5SWlJaGRyRjdvdmNMQ3dyN2pkcnZyWEM1WGYwVlJ6dDI4djc2Ky9rcS9mdjBHZWJlMWxMZ25JbW92SmhXSXlHZnE2K3VkQU9yOEhRY1JVVnNaRElaUkdvMW1SWFYxOVJNYWpXWW9BQVFGQlhtcUVnd0dRNWRXSmR4T1pHUWtIbjc0WVh6M3U5OUZRVUZCVS9XQ3h1bDB6aE5Dekt1dXJyNW9NQmcyQU5oUVVGQlE1cmRBcVV0b3RkcFpOcHR0UjlPMnhXTHBCd0JCUVVFVDQrUGpDNDhmUHo3WXUzOUg1amtpSW1vSmt3cEU1RE42dmI3UTN6RVFFZDJPMFdqc0o2V2NEeUFiUUpxVVVnREFtREZqWURLWk1HL2VQRVJFUlBnM3lKc0lJYUFvQ2hSRndiUFBQb3VkTzNjaU56Y1haOCtlSFNxRWVBN0FyeFJGeVJkQzVBRFlhVGFiNi8wZE0zVll1RTZubTFOU1VqTFhxNjJwS29Vcmd4Q1J6ekNwUUVRK1k3VmE0MjlYY3NsZlVZaklYNlpPblRvbU1EQndoWlR5Q1FDRGdSdFZDYk5uejRiSlpFSkNRb0pmcXhMYUtpSWlBc3VXTGNQU3BVdHg5T2hScUtxS2ZmdjJDYWZUbVM2bFRBZHdTVkdValc2M2UvMlJJMGZPK2p0ZWFwK29xS2dNalVZVDZuUTZMM3MxUndKQVlHQ2d0bkY3OERlUEpDTHFYRXdxRUpIUDZQWDZvd0NZTkNDaWJzTm9OUFp6dTkwTGhSRFpBRkxST0lsMWJHd3NNak16TVhmdVhPaDBPdjhHMlU1Q0NFeWJOZzNUcGszRFQzN3lFK3phdFF1NXViazRmZnIwRUFDLzFHZzB2MUFVWlMrQUhDSEVEbFl2OUN3eE1USGZ2N2xOVVpSSzcyMkR3WERXWndFUlVaL0ZwQUlSK1l6VmFrMWdwUUlSZFFkSlNVbXhEUTBOMlc2M2U3a1FZaEJ3b3lvaE5UVVZKcE1KVTZkTzdSRlZDVzJsMCtudzBFTVBZY21TSlRoMjdCaFVWY1hldlh1RjArbWNBMkNPMisyK1lqQVlOZ1lHQnE0L2RPalFhWC9IUzYzVGFyWDNoSWFHVHJ1NTNXdTFtcGpodzRmLzR2ejU4ei8yM2o5bXpKai9janFkTnA4RVNVUjlCcE1LUk9RenJGUWdJbi9TNi9WQklTRWhEN2pkN215WHl6VzdLV2t3ZHV4WVpHWm1JajA5dmNkV0piU1ZFQUlKQ1FsSVNFakFNODg4ZzkyN2R5TTNOeGVscGFXREFLeHh1VnhyREFiRFBnQTVUcWR6dTlWcWRmbzdadnFtSVVPR3ZIRHQyclUzQncwYTlIUUxYYTZlUDMvK3g3ZEsxSWVGaGQxdHRWckhkWEdJUk5TSE1LbEFSRjBwQUVEVHVFNFVGeGQveDI2M24ycnRBRVZSS2dNREE3Vk9wN05wYmJaYnJidE5STlJtaXFLTXc0MUpGNWRMS1FjS0lSQWNISXc1YytiQVpESWhQajYrVjFVbHRKVk9wOE9TSlV2dzRJTVBvckN3RUtxcVlzK2VQWEE0SExNQnpBNE9EcjVxTkJyZmtsS3V0MWdzSmY2T2wvNGZ0OXZ0dUhEaHdvczNKeFc4a3dnWExseFk0M0E0U2twTFMyZlgxZFdkQnhCcU1CZ3FIQTVIcTBzN0V4SGRLU1lWaUtqTGhJYUdKc1hGeFgzZXREMXAwcVIvdHVVNDczNWVwWnhFUkcybTErdURnb09ERndGWUNXQm1VL3Y0OGVPUm1abUp0TFEwYUxYYWxrL1Fod2doTUdYS0ZFeVpNZ1ZQUC8wMDh2UHprWnViaTFPblRzVklLWDhHNEdlS291d0hrT053T0Q1azlZTC9sWlNVWkFINCt1WjJpOFVTNWJWWkd4WVdaZ2dORGIybnJxN3VQWjFPZDU4UUlyQ2lvbUt6N3lJbG9yNkFTUVVpNmpLMXRiWC91Q2twRUJVVEU3TmNxOVgrUzJscDZWSUF0UUFRRXhQems1Q1FrSEZWVlZYYnFxdXI5d1BnQXlzUnRVdENRc0tFZ0lDQUZRQWVCekFRQUVKQ1FwQ1dsZ2FUeVlUSmt5ZjN5YXFFdHRKcXRjakt5c0xpeFl0aHRWbzkxUXQxZFhVekFjd01EZzYrcGlqSzIyNjNlOTJSSTBkYXJUeWpMdldOaEVLalp0VjlOcHN0ZjhDQUFZOVVWbGErTjNEZ3dLZnE2K3N2VmxSVXZPZUQrSWlvRDJGU2dZaTZXcUJPcDVzVkhSMzlTRVJFSFpveDJRQUFJQUJKUkVGVWhNbmxjbDI5ZHUzYW13RDZvVEdwVUZ0Yld4UWVIdjd0Mk5qWUxWTEtocXFxcXUwMm0yMXpWVlZWUHBoZ0lLTGJHRGR1WExCV3E4MFFRcXdFTUwycGZlTEVpVENaVEVoUFQwZDRlTGdmSSt4NWhCQ0lqNDlIZkh5OHAzcEJWVlVVRnhjUEJQQ3NScU41VmxHVUExTEtuSnFhbXEwbEpTVU9mOGRNelljL09CeU9ZcXZWbWpSaXhJZy9EaDQ4K0xtSWlJZ0ZwYVdsRHdMZzM0cUlPaFdUQ2tUVXBTWk1tUEJ4ZUhqNHQyMDJXMTVaV2RsRFZWVlZlUUJjM24xcWFtcnlhbXBxOGdDRVIwVkZMUm93WU1CanNiR3hXeTlldkxqbTh1WEwvK0dmeUltb3UwdE1USnpvY3JteWhSQ1BBeGdBQUtHaG9aNnFoTGk0T0ZZbGRJTCsvZnRqOGVMRnlNek14SWtUSnp6VkM3VzF0ZE9GRU5OMU90MVhCb1BoN1lDQWdIV0hEeDh1OW5lOGZkbE53eDljQUdxdVhyMzYydENoUTUvLzhzc3ZYN2ZaYkZ2OEZSc1I5VjVNS2hCUmx5b3JLMXZoY0RpdUFHakxFbGJYS3lzcjM2MnNySHczTEN4c3FOMXUvNnFyNHlPaW5pVWxKU1drcHFiR0pLVmM2WGE3NzI5S0dzVEZ4Y0ZrTWlFdExRMWhZV0YranJMOWpFWWpVbE5Uc1hidDJsdnUvK1NUVDdCNjlXcjg1Uzkvd2FPUFB0cHFYd0M0ZlBreTFxMWJoMDgvL1JRMm13MmpSbzFDZG5ZMlpzK2VmY2V4Q1NHZzErdWgxK3ViVlM4VUZSVU5FRUk4NDNhN24xRVU1YTlDaUJ5dFZxc2VQSGl3N280dlFoM1ZiUGhEYUdqbzhPam82TVZTU29kV3E1MGJGaGIyanQxdU4vc3JPQ0xxblpoVUlLSXUxZDVacHUxMis4WE9qb1dJZWk1RlVlSUFaTnRzdHNlRUVORUFFQllXaHZUMGRHUmtaQ0F1THM3UEVmckd0bTNiTUhic1dPajEramIzTjV2TldMUm9FUUlDQXBDYm00czFhOVlnS2lvS2lZbUo3WTRqUER3Y21abVp5TXpNeE1tVEo2R3FLdkx6ODJHMzIrK1hVdDV2czlrcUZFVjVCOEE2aThWeXN0MFhvbmFMakl3MGpSZ3g0aitkVG1mUm1UTm5aZ3dkT25UanhJa1QvN2Vpb3VLZFM1Y3V2ZUowT3EzK2pwR0llZ2NtRllpSWlLaGJTazVPRG5VNEhKbTRzWUxEZmNDTlg4c25UNTZNek14TXBLYW05dWlxaER0VlVWR0JUei85Rkt0V3JXcnpNWGZmZlRlV0wxK09vS0FnQUVCS1NncVdMVnVHZmZ2MmRTaXA0QzB1TGc2Ly9PVXZzWHIxYXV6WnN3ZXFxdUxFaVJQUkFGWURXSzBveXFjQWNvS0RnM00vLy96ejJrNjVLTFVxT2pyNnlkR2pSNis3ZHUzYW0rZk9uWHNhZ0tPa3BDUTlKaWJtWDRjTUdmS0MyKzEybkR0Mzd2ditqcE9JZWdjbUZZaUlpS2hiU1VoSTBBY0VCR1E3SEk1SEFVUUJONm9TNXM2ZEM1UEpoSWtUSi9vNVF2L1lzV01IaEJDWU8zZHVtNDlKU0Vob3RqMXk1RWdBUUVORFE2ZkdCdHo0RzJWa1pDQWpJd05GUlVYWXVuVXJkdTNhQmJ2ZGZoK0EreHdPeDJ1S292eEZTcGxUVUZCd290TUQ2SVBLeTh1em5VN25KUUR5ekpremp6UzFWMVJVL0tXdXJzNWl0OXNMdkxyTHExZXYvdWZWcTFmZkJTZHJKS0pPeEtRQ0VSRVIrVjF5Y25Kb1hWMWRGb0NWUW9oN205cjFlajB5TXpNeGUvWnNuMVFsMU5iV1lzT0dEZGk3ZHkrdVhMa0NuVTZIZSsrOUZ6LzR3UTh3Y09CQVQ3K211UStlZXVvcHZQVFNTemg2OUNnQ0F3TXhmZnAwckY2OUdscXR0bDNYTjV0Ykh1NitmZnQyM0gvLy9ZaUtpcnB0MzViazUrY0RBTzY2NjY1MnhkZFdreVpOd3BvMWE3QnExU3JzM2JzWHFxckNhclZHQVZnbGhGaGxNQmorRGlBbkpDUmtNNnNYMnUvTEw3OWMzL1M1c3JMeXY3eDIxZCtVVVBEV2xqbU9pSWphakZNaVU0YzFMVjlrc1ZoNFAxR1g0cjFHdnNUN3pUY1NFeFBqcFpRcnBaU1BBSWdFYm96WG56ZHZIakl5TWpCaHdnU2Z4ZUowT3BHZG5ZMFRKMDRnTlRVVkV5Wk1RSGw1T1hidTNJa0JBd2JnL2ZmZmgwNm5BM0FqcWFBb0NzNmRPNGZrNUdTTUhqMGFSNDRjd1NlZmZBS0R3WUIxNjlaNVZwNjRlTEgxS1dLR0RoMTYyOWlPSGoyS0o1NTRBcSs5OWhydXZmZmUyL2EvbGVQSGorTjczL3NlREFZRFhuLzlkWit2akZGY1hPeXBYcmgrL1hwVGM1VVFZcE1RSXVmdzRjT0ZQZzJJaUlnNkJSK1VxTVA0NEUyK3dudU5mSW4zVzlkU0ZDVURnT3JkTm1YS0ZHUm1abUxXckZrSURRMzFlVXh2di8wMlhuLzlkVHozM0hOWXRHaVJwLzNnd1lONDVwbG44TWdqaitESFAvNHhnQnRKQlFENC9lOS9qeGt6Wm5qNnJsMjdGbHUyYk1IcnI3K09lKzY1cDFuZmxyU2w0dUMzdi8wdC92R1BmMkRuenAzUWFEUjMvTjNPblR1SFJ4OTlGRU9HRE1INjlldjlPaGRGYlcwdDl1M2JCMVZWY2Z6NDhadDNteXdXeTFaL3hFVkVSTzNENFE5RVJFVGtENXU4TjE1NDRRV2twNmY3S3hZQXdONjllekY0OEdBODhNQUR6ZHBUVWxJd2N1UklmUExKSjU2a0FnQ01IeisrV1VJQkFKWXRXNFl0VzdiZzBLRkRucVRDeXkrLzNLRzQ3SFk3OXUzYmg2VkxsN1lyb1FBQXYvdmQ3MUJmWDQ5WFhubkY3NU5iaG9hR1l1SENoVmk0Y0NGMjdkcUY1NTU3em52M0prVlJ3bHM1WExiaGMxdjdkWnZqcFpUTmpoZEMrUFQ0bS9yZmZMNDJmV2Z2Yy9URjQ5SEMzNk9OZnd0L0hOL2krVm80WGdMNGI0dkY4aGFJYnNLa0FoRVJFZm5ESXdCeTBWZzErYXRmL1FvZmZQQ0JaLzRFZjFRcW5EMTdGbmZmZmZjdGh3WEV4c2Jpczg4K2E5WTJhdFNvYi9RYlBudzRBT0Nycjc3eXRLV2twSFFvcnIxNzk2S3VydTRieVk0N1lUYWJrWnljak1HREIzY29sczVRVzF2cm1XZWhzTERaaUFlSkcvZUZldXNqQVRTdnN1MDFWVVFkSFlyUzBlTnZ5a240NVJ3OS9YaHYvdjU3ZHVIeHd3QXdxVURmd0tRQ0VSRVIrVnhqaWJzbU1URXgzdVZ5WlFzaEhpMHNMSXdzTEN6RVN5KzloTGx6NXlJakk4T25LejFJS1Z0OUdMKzVTdUJXVlFOMWRYVUE0Rm5DRWVqNG5BcmJ0bTJEb2lpZWhFVjdhTFZhQkFjSHQvdjR6bEJjWEF4VlZiRjc5KzVtY3lwSUtmOFNFQkN3em10T2haWVNCNTdQV1ZsWm5zL1hybDFyOWtlcnFhbnhiTmZWMVhrK094d096K2ZodzRmZnNoMEFuRTZuWjd1K3Z0N3oyZVZ5ZVQ1SFJrWjZQamMwTkRRNzNudmIreGp2ei8zNzk3OWwrODNiYnJmN2x2MUNRME52MmVmbTdaWStTeWs5bjRPRGc5dDB2UGN4TjEvVCt4eHRPY2E3SFFENjlldDN5MzB0ZmI3NStuZDYvTTNYRHd3TTdGSEg0NmFFV2tCQXdCMWYwL3NjdHp0ZUNCRXZwWHhKK0hvaUZ1b3htRlFnSWlJaXYybDhrVnlWbkp6ODg3cTZ1c1ZDaUpYWHIxLy96dWJObTdGNTgyYm85WHFZVENha3BxWjJlZG4rc0dIRGNPclVxVnZ1TzMzNjlEY3FFeW9xS3I3Ujc4U0pHeXNsamhrenh0TzJZTUdDVnEvYjJwd0taODZjd2JGangvRDg4OCszZW83YlVWVzEzVU1uT3NKdXQzdXYvdUM5NjI5U3lweVFrSkF0dDFuOTRaYmwyWnMzYis1UVhDVWxKUjA2bnFndlNVeE12Q0NsZk1uZmNWRDN4YVFDRVJFUitWM2ppK1VtQUpzTUJzTmtJVVEyZ01lc1ZtdVUxV3JGeXkrLzdLbGVtRFJwVXBmRU1IUG1US3hmdng3YnQyL0h3b1VMUGUwSER4NUVlWGs1ZnZTakh6WHJiN0ZZY1BMa1NjVEZ4UUVBM0c0M05tellBSTFHZytuVHAzdjZkV1JPaFE4Ly9CRGg0ZUdZTld0V3U4L1J4SmVWQ2tWRlJaNnFCTHZkM3RSY0NlQWRLZVc2Z29LQ0V6NExob2lJdWhTVENrUkVSTlN0Tkw1d3JrNUpTVmxUWFYyZENXQ2wzVzcvbHkxYnRtRExsaTJJaTR0RFptWW01c3laMDZuVkM0ODk5aGoyNzkrUGYvLzNmOGMvLy9sUHo1S1NlWGw1ME92MVdMcDBhYlArdzRjUHgvZS8vMzBzV0xBQVVWRlJPSERnQUt4V0sxYXNXTkZzU0VONzUxUm9hR2pBcmwyN2tKYVcxdUdFd05LbFM1R2Ftb29mL3ZDSEhUcFBhK3gyTy9Mejg2R3FLazZlUE9tOTZ4TUFPVHFkTHZmZ3dZTjFYUllBRVJINUJaTUtSRVJFMUMwMXZvQytDK0JkbzlFNENVQzIyKzErL09USms5RXZ2UEFDWG5ubEZhU2xwY0ZrTW5tcUJUb2lMQ3dNR3pkdXhKdHZ2b2tEQnc1ZzM3NTlHRGh3SUpZdVhZcnM3T3htOHlRQXdLUkprekJuemh5ODhjWWJPSC8rUElZT0hZcWYvdlNuV0xKa1NZZGpBWUJQUC8wVUZSVVZIWnFnc1VsVVZCU2lvcUk2SWFwdk9uSGlCRlJWUlg1K1BtcHJQU01admhKQ3ZBTmduZGxzTHVxU0N4TVJVYmZBeVRhb3c3aVdPL2tLN3pYeUpkNXYzVk5LU2txSXpXYkxBTEJTQ0pIUzFENXAwaVNZVENha3BhVWhQTHkxRlFrN2g5Rm9SR3BxS3RhdVhkdGwxMWkxYWhVdVhicUUvL21mLytteWE3VFg5ZXZYc1h2M2JxaXFpdUxpWWsrN2xQSWdnSnlJaUlpdHJFb2c2aDBTRXhQajNXNzNjU0dFMVd3MngvczdIdXArV0tsQVJFUkVQVWJqaStyN0FONVBURXljNkhhN1Z3QjR2S2lvNkZzdnZ2Z2lYbjMxVmN5Wk13Y21rd21USjAvdThOSnEvbkx0MmpWODl0bG4rUEdQZit6dlVEeWtsTTJxRXBwV3VnRHdKWUMzTlJyTitzT0hEeGUzY2dvaUl1cUZtRlFnSWlLaUhxbnhCZmJaY2VQRy9VcW4weTBDc0xLMnRuYkdoeDkraUE4Ly9CQVRKMDcwVkMvMDc5L2YzK0hla1lFREIrTFFvVVArRGdNQThQWFhYM3VxRXI3NDRndnZYUjhEeUttdXJ2NndwS1RFNGFmd2lJakl6NWhVSUNJaW9oNnQ4WVgydndIODk3UnAwOFpyTkpvVkFKWVhGeGNQWEx0MmJiUHFCYjFlMzJPckYzeEpTb25Dd2tLb3FvcTllL2Q2VnlWY0EvQ1cyKzFlZitUSWtWdXZ2MGxFUkgwS2t3cEVSRVRVYXpTKzZQNU1yOWMvRnhJUzhvQ1VjbVZkWGQyc2JkdTJZZHUyYlJnL2ZqeE1KaFBTMDlPaDFXcmJmUjJ6MmR4NVFYY2pOVFUxbnFxRVU2ZWE1UXcrRWtMazFOWFZiYk5hclU1L3hVZEVSTjBQa3dwRVJFVFU2elMrK0c0R3NObG9OSTRGa0MybFhIN3ExS21ZMy8zdWQvakRILzZBMU5SVW1Fd21USmt5cFU5WEwwZ3BjZno0Y1U5VmdzUGhHY2x3VlVxNVVhUFJyRGViemFYK2pKR0lpTG92SmhXSWlJaW9WMnQ4SWY2NVhxLy9kVkJRMEVJaFJMYkQ0VWpkc1dNSGR1ellnYkZqeDhKa01tSHUzTG5RNlhUK0R0ZG5xcXVyc1d2WExxaXFpdExTWmptRHZWTEtIS2ZUdVlOVkNVUkVkRHRNS2hBUkVWR2YwUGlDdkFYQWxxU2twTmlHaG9ZVkFKNG9MUzBkOVB2Zi94NS8vT01mUGRVTFU2ZE83WlhWQzFKS0hEdDJ6Rk9WNEhSNmNnYVhBV3dNQ0FqWWNPalFvZE4rREpHSWlIb1lKaFdJaUlpb3oybDhjZjZGMFdqOGpaUnlBWUJzcDlNNUp5OHZUK1RsNVNFMk5oWW1rd256NXMzckZkVUwxZFhWMkxsekoxUlZ4ZW5UbnB5QkJMQUhRSTRRSXM5c050ZjdMMElpSXVxcG1GUWdJaUtpUHF2eFJWb0ZvRTZiTm0xMDQ4b1JUNXcrZlhySVN5KzloTmRlZXcyelpzMkN5V1RDdEduVGVsVDFncFFTUjQ0Y2dhcXErT2lqajd5ckVpNEpJVGE0WEs0TlI0NGNPZXZIRUltSXFCZGdVb0dJaVBxTWtTTkgvcm04dlB3M0FLNzRPeGJxZmhwZnNIOWxOQnAvQzJDZTIrM09kanFkNmJ0MjdSSzdkdTNDNk5HallUS1pNSC8rZkVSRVJQZzUycGJaYkRiazVlVkJWVldjUFh1MnFWbEtLWGRMS1hNaUl5TjNIang0c01HUElSSVJVUy9DcEFJUkVmVVozL3JXdDU2NmZQbnlINXhPSjVNSzFLTEc2b1VQQVh4b01CaEdBWGhTQ1BIazJiTm5oNzd5eWl0NC9mWFhNWFBtVEpoTUppaUswaTJxRjZTVXNGZ3NVRlVWKy9mdlIzMjlaeVREQlNubEJnQWJDd29LeXZ3WUloRVI5VkpNS2hBUlVhK2lLSXBzYlg5OGZQekpsdlpWVmxhK2UrYk1tWWM3UHlycXFScGZ4SCtka3BMeXZNMW1teXVFV0ZsZlg1K2VuNSt2eWMvUHg2aFJvenpWQzVHUmtUNlByNnFxeWxPVlVGYm15Um00QWV3Q2tLUFQ2WGF6S29HSWlMb1Nrd3BFUk5TcldDeVdxSmIyS1lwU1dWUlU5RzI3M1g2cWhTNWNQbzl1cWZIRmZEdUE3VWFqY2FTVThna2h4Sk5sWldYRFgzMzFWYnp4eGh1WU1XTUdUQ1lUakVaamwxWXZTQ2xoTnB1aHFpbysvdmhqVDFXQ0VPSzhsSEo5UUVEQXhrT0hEcDNyc2dDSWlJaThNS2xBUkVTOVRSWFFjc1hDcEVtVC9ubHpXMkZoWVp6VDZTenE2c0NvZHpDYnplVUEvcitVbEpRWHFxdXIwd0Nzcksrdm43ZG56eDdObmoxN01ITGtTR1JrWkdEKy9QbUlqbzd1dE90V1ZGUWdMeThQVzdkdVJYbDVlVk96RzBDZUVDSW5OalkyZi9QbXphNU91eUFSRVZFYk1LbEFSRVM5Vm5GeGNjTDE2OWUvYUsyUG9paTF2b3FIZXBmRzZvVThBSGxUcDA0ZDNxOWZ2eWVrbEN2S3k4dEgvUEdQZjhTZi92UW5USjgrSFNhVENZbUppZEJvTkhkOERiZmJqY09IRDBOVlZSdzRjQUFORFo2UkRPVkNpUFgxOWZWdkhUdDI3RHdBbU0zbVR2dHVSRVJFYmNXa0FoRVI5VnIxOWZWT0FIWCtqb042djhZWCsrZXpzckwrejVrelorWklLVmMyTkRUTTM3ZHZYOEMrZmZzd2ZQaHdaR1JrWU9IQ2hXMnFYcWlvcU1EMjdkdXhkZXRXbkQ5L3ZxblpCV0NIbERKbjNMaHhlMW1WUUVSRTNRR1RDa1JFMUd2cDlmcENmOGRBZlV2amkvNHVBTHNTRWhLR2FUU2E1VUtJN1BQbno0OTgvZlhYOGVhYmJ5SWxKUVVta3dsSlNVbk5xaGZjYmpjT0hUcmtxVXB3dVR3NWd6SXA1WHJjV01IaElnQVVGQlQ0K3FzUkVSSGRFcE1LUkVUVWExbXQxdmpielpWd3U5VWlpTnJyNk5HakZ3QzhrSldWdGJhMHRIUTJnSlVORFEwTFAvcm9vNENQUHZvSXc0WU5RMFpHQnU2NTV4NTg5dGxuMkxwMUt5NWN1TkIwdUFzM0pvYk1HVHQyN0Q1V0pSQVJVWGZGcEFJUkVmVmFlcjMrS0FBbURjaXZHaE1DK1FEeWpVYmpFQ25sY2dEWkZ5NWNHUDNHRzIvZ2pUZmU4TzUrRnNBNkljUmJaclA1RWdCWUxCYWZ4MHhFUk5SV1RDb1FFVkd2WmJWYUUxaXBRTjFKWTZMZ1JRRC92OUZvbkNXbFhBa2dIY0J1SVVTTzJXeitDRGRXZENBaUl1b1JtRlFnSXFKZWk1VUsxSTI1eldielhnQjdHeE5ibVdhemViRy9neUlpSXJwVFRDb1FFVkZ2RWdCQTI3UlJYRno4SGJ2ZGZxcTFBeFJGcVF3TUROUTZuYzdJeHFhcXJneVFlcStSSTBmK3VieTgvRGNBcnZnN0ZpSWlJbDloVW9HSWlIcU4wTkRRcExpNHVNK2J0aWRObXZUUHRoem4zYzlpc1lpdWlJMTZ2Mjk5NjF0UFhiNTgrUTlPcDVOSkJTSWk2ak9ZVkNBaW9sNmp0cmIySHpjbEJhSmlZbUtXYTdYYWZ5a3RMVjBLb0JZQVltSmlmaElTRWpLdXFxcHFXM1YxOVg0QVRyOEVURDNPN2ViZ2lJK1BQOW5TdnNyS3luZlBuRG56Y09kSFJVUkU1RDlNS2hBUlVXOFRxTlBwWmtWSFJ6OFNFUkZoY3JsY1Y2OWR1L1ltZ0g1b1RDclUxdFlXaFllSGZ6czJObmFMbExLaHFxcHF1ODFtMjF4VlZaVVBKaGlvRlJhTEphcWxmWXFpVkJZVkZYMjdsU0UzdkxlSWlLalhZVktCaUloNmxRa1RKbndjSGg3K2Jadk5sbGRXVnZaUVZWVlZIZ0NYZDUrYW1wcThtcHFhUEFEaFVWRlJpd1lNR1BCWWJHenMxb3NYTDY2NWZQbnlmL2duY3VvaHFvQ1dLeFp1TmVTbXNMQXc3bmFya0JBUkVmVlVUQ29RRVZHdlVsWld0c0xoY0Z3QllHdEQ5K3VWbFpYdlZsWld2aHNXRmpiVWJyZC8xZFh4VWU5UlhGeWNjUDM2OVM5YTY2TW9TcTJ2NGlFaUl2SUhKaFdJaUtoWGNUZ2NyYjdrdGNSdXQxL3M3RmlvZDZ1dnIzY0NxUE4zSEVSRVJQN0VwQUlSRVJGUk8rajEra0oveDBCRVJPUnZUQ29RRVJFUnRZUFZhbzIvM1Z3SnQxc3Rnb2lJcUtkalVvR0lpSWlvSGZSNi9WRUFUQm9RRVZHZnhxUUNFUkVSVVR0WXJkWUVWaW9RRVZGZng2UUNFUkVSVVR1d1VvR0lpSWhKQlNJaUlxSzJDZ0NnYmRvb0xpNytqdDF1UDlYYUFZcWlWQVlHQm1xZFRtZGtZMU5WVndaSVJFVGthMHdxRUJFUkViVkJhR2hvVWx4YzNPZE4yNU1tVGZwblc0N3o3bGRkWFIwU0ZSVVY1YjNmNVhJQkFKS1NrZ1o3dDFkV1ZsYVdsSlE0T2hRMEVSRlJGMk5TZ1lpSWlLZ05hbXRyLzJHeFdJUlhVMVJNVE14eXJWYjdMNldscFVzQjFBSkFURXpNVDBKQ1FzWlZWVlZ0cTY2dTNnL0EyWFJBVWxMU1lKZkxkUkdBd0UxY0x0Y2xyMDEzVkZUVU1BQ1h1K2JiRUJFUmRRNk52d01nSWlJaTZrRUNkVHBkMnVqUm85OU5TRWk0R0JNVHMrcnJyNy8rQjRCK1RSMXFhMnVMQWdJQ29tTmpZN2NrSkNSY0d6VnExS2JJeU1pRkFJSU9IVHAwR2NBbmJiak9wNDE5aVlpSXVqVldLaEFSRVJHMTBZUUpFejRPRHcvL3RzMW15eXNySzN1b3Fxb3FENERMdTA5TlRVMWVUVTFOSG9Ed3FLaW9SUU1HREhnc05qWjI2OFdMRjlkY3ZuejVQNlNVdVVLSSsyOXpxUzFkOWlXSWlJZzZFWk1LUkVSRVJHMVVWbGEyd3VGd1hBRmdhMFAzNjVXVmxlOVdWbGErR3hZV050UnV0MzhGQUc2M1d3MElDSGl0dFFOZEx0Zld6b2lYaUlpb3EzSDRBeEVSRVZFYk9SeU9MOUMyaEVJemRydjlJZ0FIQUJ3OWV2UUNnSCswMHYzenhqNUVSRVRkSHBNS1JFUkVSRDRtaE1odHp6NGlJcUx1aGtrRklpSWlJaCtycjY5dk1YRlFYMSt2K2pJV0lpS2lqbUJTZ1lpSWlNakhqaDA3ZGdaQXdTMTJXUnIzRVJFUjlRaE1LaEFSRVJINXg2MnFGVGowZ1lpSWVoUW1GWWlJaUlqODRGWnpKMmcwR2lZVmlJaW9SMkZTZ1lpSWlNZ1B6R1p6RVlBVFRkdENDT3ZodzRlTC9SZ1NFUkhSSFdOU2dZaUlpTWhQcEpTZXlnUzMyODBxQlNJaTZuR1lWQ0FpSWlMeUgwOGlnVXRKRWhGUlQ4U2tBaEVSRVpHZkZCUVVIQU5RQ3FERVlyRWM5M2M4UkVSRWR5clEzd0VRRVJFUjlXRVNRSzRRUWpaK0ppSWk2bEdZVkNBaUlpTHlJNDFHazl2UTBNQ0VBaEVSOVVnYy9rQkVSRVRrZXhwRlVlWVlESWJMYnJmN2Z6VWF6VWVLb3N3Qm44MklpS2lIWWFVQ0VSRVJrWThZRElhaFFvamxBRllBR0MyRWFOcWxBNUN2S01wWkFPdUZFQnZOWnZNbFA0VkpSRVRVWmt3cUVCRVJFWFdockt5c2dKS1NrbFFoeEVvQUN3QUVBTUN3WWNOZ01wbHd6ejMzNExQUFBvT3Fxcmh3NGNKb0FDOUlLWCtyS01vT0tXWE91SEhqOW03ZXZObmx6KzlBUkVUVUVpWVZpSWlJaUxwQVFrTENzTURBd0NkS1MwdFhDQ0ZHQWtCZ1lDQlNVbEpnTXBtUWxKUUVqZWJHYUljSkV5YmcwVWNmeGFGRGg2Q3FLZzRjT0JEZ2Nya1dDU0VXbFphV2xodU54dlVORFEwYmp4NDllc0d2WDRxSWlPZ21UQ29RRVJFUmRaS3NyS3lBMDZkUHAwa3BWd0tZTDZYVUFNQ0lFU09Ra1pHQkJRc1dJRG82K3BiSGFqUWEzSFhYWGJqcnJydFFVVkdCSFR0MlFGVlZuRDkvZnFTVTh2bUFnSURmR0kzR1BDRkV6cGd4WS9hd2VvR0lpTG9ESmhXSWlJaUlPaWdwS1dtRXkrVjZvclMwOUVrQUk0QWJWUWt6WnN5QXlXU0MwV2owVkNXMFJYUjBOQjU3N0RFODhzZ2pNSnZOVUZVVkgzLzhjVUJEUThNRFVzb0hTa3RMenhtTnh2WDE5ZlViangwN2RyNnJ2aGNSRWRIdE1LbEFSRVJFMUE0cEtTbUIxZFhWNlFCV3VseXV1V2hjdVdIa3lKRXdtVXlZUDM4K29xS2lPblFOalVhRHBLUWtKQ1Vsb2JLeUVubDVlVkJWRmVYbDVTT2tsTDhOREF6OGphSW9Pd0hrNkhTNi9JTUhEelowL0pzUkVSRzFIWk1LUkVSRVJIZkFhRFNPZEx2ZFQxWlhWejhKWUJnQTlPdlhEek5uem9USlpJS2lLUEJhMWFIVFJFVkY0WkZISHNIRER6OE1pOFVDVlZXeGYvOStUWDE5L1FJQUMycHFhczRyaXJLaGNlV0k4azRQZ0lpSTZCYVlWQ0FpSWlLNmpaU1VsTUNxcXFwNVFvaVZVc3AwMFpnMUdEVnFsS2NxSVRJeTBpZXhDQ0ZnTkJwaE5Ccng3TFBQZXFvWHlzcktoZ1A0alpUeU9VVlJka3NwY3lJaUluYXhlb0dJaUxvU2t3cEVSRVJFTFRBWURLTTBHczJLNnVycUp6UWF6VkFBQ0FvSzhsUWxHQXlHTHFsS2FLdkl5RWc4L1BERCtPNTN2NHVDZ2dKUDlZTFQ2WnduaEpoWFhWMTkwV0F3YkFDd29hQ2dvTXh2Z2ZwUWVIaDR3dGl4WS9lZU9uWEtXRnRiVzNXTExwckdmOTZxQWJpN1Bqb2lvdDZIU1FVaUlpSWlMMGFqc1orVWNqNkFiQUJwVWtvQkFHUEdqSUhKWk1LOGVmTVFFUkhoM3lCdklvU0FvaWhRRkFYUFB2c3NkdTdjaWR6Y1hKdzllM2FvRU9JNUFMOVNGQ1ZmQ0pFRFlLZlpiSzczZDh4ZEpTd3M3RHR1dDd2TzVYTDFWeFRsM00zNzYrdnJyL1RyMTIrUWQxdGhZV0djMCtrczhsMlVSRVM5QjVNS1JFUkVSQUNtVHAwNkpqQXdjSVdVOGdrQWc0RWJWUW16WjgrR3lXUkNRa0tDWDZzUzJpb2lJZ0xMbGkzRDBxVkxjZlRvVWFpcWluMzc5Z21uMDVrdXBVd0hjRWxSbEkxdXQzdjlrU05IenZvNzNzNm0xV3BuMld5MkhVM2JGb3VsSHdBRUJRVk5qSStQTHp4Ky9QaGc3LzZLb2toZngwaEUxSnN3cVVCRVJFUjlsdEZvN09kMnV4Y0tJYklCcEFJUUFCQWJHNHZNekV6TW5Uc1hPcDNPdjBHMmt4QUMwNlpOdzdScDAvQ1RuL3dFdTNidFFtNXVMazZmUGowRXdDODFHczB2RkVYWkN5QkhDTEdqbDFRdmhPdDB1amtsSlNWenZkcWE1cFJ3K1NNZ0lxTGVqa2tGSWlJaTZuT1NrcEppR3hvYXN0MXU5M0loeENEZ1JsVkNhbW9xVENZVHBrNmQyaU9xRXRwS3A5UGhvWWNld3BJbFMzRHMyREdvcW9xOWUvY0twOU01QjhBY3Q5dDl4V0F3YkF3TURGeC82TkNoMC82T3Q3MmlvcUl5TkJwTnFOUHB2T3pWSEFrQWdZR0Iyc2J0d2Q4OGtvaUkyb3RKQlNJaUl1b1Q5SHA5VUVoSXlBTnV0enZiNVhMTmJrb2FqQjA3RnBtWm1VaFBUKyt4VlFsdEpZUkFRa0lDRWhJUzhNd3p6MkQzN3QzSXpjMUZhV25wSUFCclhDN1hHb1BCc0E5QWp0UHAzRzYxV3AzK2p2bE94TVRFZlAvbU5rVlJLcjIzRFFiRFdaOEZSRVRVQnpDcFFFUkVSTDJhb2lqamNHUFN4ZVZTeW9GQ0NBUUhCMlBPbkRrd21VeUlqNC92VlZVSmJhWFQ2YkJreVJJOCtPQ0RLQ3dzaEtxcTJMTm5EeHdPeDJ3QXM0T0RnNjhhamNhM3BKVHJMUlpMaWIvanZSMnRWbnRQYUdqb3RKdmJMUlpMMHg4M1p2anc0Yjg0Zi83OGo3MzNqeGt6NXIrY1RxZk5KMEVTRWZWQ1RDb1FFUkZScjZQWDY0T0NnNE1YQVZnSllHWlQrL2p4NDVHWm1ZbTB0RFJvdGRxV1Q5Q0hDQ0V3WmNvVVRKa3lCVTgvL1RUeTgvT1JtNXVMVTZkT3hVZ3Bmd2JnWjRxaTdBZVE0M0E0UHV5dTFRdERoZ3g1NGRxMWEyOE9HalRvNlJhNlhEMS8vdnlQYnpVeFkxaFkyTjFXcTNWY0Y0ZElSTlFyTWFsQVJFUkV2VVpDUXNLRWdJQ0FGUUFlQnpBUUFFSkNRcENXbGdhVHlZVEpreWYzeWFxRXR0SnF0Y2pLeXNMaXhZdGh0Vm85MVF0MWRYVXpBY3dNRGc2K3BpaksyMjYzZTkyUkkwZE8rVHRlYjI2MzIzSGh3b1VYYjA0cWVDY1JMbHk0c01iaGNKU1VscGJPcnF1ck93OGcxR0F3VkRnY2ppOThIakFSVVMvQnBBSVJFUkgxYU9QR2pRdldhclVaUW9pVkFLWTN0VStjT0JFbWt3bnA2ZWtJRHcvM1k0UTlqeEFDOGZIeGlJK1A5MVF2cUtxSzR1TGlnUUNlMVdnMHp5cUtja0JLbVZOVFU3TzFwS1RFNGUrWVMwcEtzZ0I4ZlhPN3hXS0o4dHFzRFFzTE00U0dodDVUVjFmM25rNm51MDhJRVZoUlViSFpkNUVTRWZVdVRDb1FFUkZSajVTWW1EalI1WEpsQ3lFZUJ6QUFBRUpEUXoxVkNYRnhjYXhLNkFUOSsvZkg0c1dMa1ptWmlSTW5UbmlxRjJwcmE2Y0xJYWJyZExxdkRBYkQyd0VCQWVzT0h6NWM3TWRRdjVGUWFGVGx2V0d6MmZJSERCandTR1ZsNVhzREJ3NThxcjYrL21KRlJjVjdQb2lQaUtoWFlsS0JpSWlJZW95VWxKU1FtcG9hazVSeXBkdnR2cjhwYVJBWEZ3ZVR5WVMwdERTRWhZWDVKYlkxYTlaZzc5NjlNSnZOblg1dXQ5dU45OTU3RDF1MmJNR1ZLMWN3Wk1nUUxGdHRwWGsrQUFBZ0FFbEVRVlMyRElzWEwyNzF1TXVYTDJQZHVuWDQ5Tk5QWWJQWk1HclVLR1JuWjJQMjdObDNISU1RQW5xOUhucTl2bG4xUWxGUjBRQWh4RE51dC9zWlJWSCtLb1RJMFdxMTZzR0RCK3ZhKzMwN2svZndCNGZEVVd5MVdwTkdqQmp4eDhHREJ6OFhFUkd4b0xTMDlFRUFmcSswSUNMcXFaaFVJQ0lpb201UFVaUTRBTmsybSsweElVUTBBSVNGaFNFOVBSMFpHUm1JaTR2emM0UmQ2NVZYWHNINzc3K1BXYk5tNFlFSEhzRCsvZnV4ZHUxYXVGd3VMRm15cE1YanRtM2JCclBaakVXTEZpRWdJQUM1dWJsWXMyWU5vcUtpa0ppWTJPNTR3c1BEa1ptWmljek1USnc4ZVJLcXFpSS9QeDkydS8xK0tlWDlOcHV0UWxHVWR3Q3NzMWdzSjl0OW9VNXcwL0FIRjRDYXExZXZ2alowNk5EbnYvenl5OWR0TnRzV2Y4VkdSTlFiTUtsQVJFUkUzVkp5Y25Lb3crSEl4STBWSE80RGJ2eGFQbm55WkdSbVppSTFOZFZ2VlFtK1ZGcGFpZzgrK0FCWldWbjQrYzkvRGdENDduZS9pNGNlZWdoLy92T2ZzV2pSSWdRSEI5L3kyTHZ2dmh2TGx5OUhVRkFRQUNBbEpRWExsaTNEdm4zN09wUlU4QllYRjRkZi92S1hXTDE2TmZiczJRTlZWWEhpeElsb0FLc0JyRllVNVZNQU9jSEJ3Ym1mZi81NWJhZGM5TTQwRy80UUdobzZQRG82ZXJHVTBxSFZhdWVHaFlXOVk3ZmJPNys4aElpb2o5RDRPd0FpSWlJaWJ3a0pDWHBGVWY3Z2NEZ3VBTmdFNEw2d3NEQXNYcndZNzczM0hqWnQyb1JGaXhiMWlZUUNBT3pjdVJOU1NpeGZ2dHpURmhRVWhBY2ZmQkRWMWRXdERyZElTRWp3SkJRQVlPVElrUUNBaG9hR1RvOHpMQ3dNR1JrWjJMUnBFOTU5OTEwc1hyeTQ2VzkwSDRCTkRvZmpncUlvZnpBWURKTTcvZUp0RkJrWmFSbzNidHpoaG9hR3k4WEZ4YkVPaDZOazRzU0ovenRxMUtnTlFVRkJlbi9GUlVUVWt6R3BRRVJFUkg2WG5Kd2NhakFZSGpVWURIOExDQWdvQkxBS1FKUmVyOGV2Zi8xcjdObXpCMnZXck1IRWlSTzc1UHJuenAyRDBXakVjODg5OTQxOU8zZnVoTkZveE4vKzlyY3V1ZmJ0SERseUJNT0dEY09nUVlPYXRVK2JOZzBBVUZ6Yzlya1I4L1B6QVFCMzNYVlg1d1Y0QzVNbVRjS2FOV3V3Wjg4ZVBQZmNjOURyOVFBUUJXQ1ZFTUpxTUJqK1pqQVlIazFPVGc3dDBrQzhSRWRIUHhrYkc3dWxxcW9xdDdpNGVJN2RicjlZVWxLU2Z1SENoUjlGUmtabURCbzA2QWUraW9XSXFEZmg4QWNpSWlMeW04VEV4SGdwNVVxSHcvR0lFQ0lTdURGZWY5NjhlY2pJeU1DRUNSTjhFc2VJRVNOZ01CancxNy8rRlU2bnM5bXYrM3YyN01IQWdRTnh6ejMzdE92Y0Z5OWViSFgvMEtGRFc5MS83dHc1akI4L3ZzWGpMbCsrM0tZNGpoOC9qcGRlZWduSnljbnRtcWl4UGNMQ3dyQm8wU0lzV3JRSXhjWEYyTHAxSzNidDJvWHIxNi9mQytCZWg4UHhSNlBSdUVrSWtYUDQ4T0hDeHNNRUFKR1ZsU1VBNE5xMWE2S21wa1lBUUYxZG5YQTRIR0w0OE9FQ0FCd09oM0E2blFJQTZ1dnJoY3ZsRW9HQmdUODBHbzAxamZ1Zk1ocU5FUzZYUzdqZDdoMUJRVUV6aGc4ZmZteklrQ0gvbDcwN2o0dXFldjhBL3JremJDb2dhTG1pb05oaW1zb00xcytXYjJoVXJwUm9pNVliR2xxbXJWL04wS3h2S3JtVnVhU1dHV2FyQ2k2NElpb3VTYVhEb21LYW1udHFtU0FLeWpKemZuL0FqRE15d0RETW5RVSs3OWZMVjh5OWQyYk93TlBjYzU1N25uTzl0VnF0RHdEb2RMcVZoWVdGU1kwYU5TcHMxcXhaWTUxT0orbDBPcWwwbitGbklZVGs2ZWxwc2s4SVlmalplSjhRd3VSbmQzZDN3N0ZDQ0pQbmxiZFBDQ0c1dWJtWmJLOW9YK252NE9qQmd3ZXpaZmhURWhHVmkwa0ZJaUlpc2p1VlN0VVhRSUpPcHpOc3UvLysrOUd2WHorRWg0ZWpUaDI3WGNBMmlJaUl3SWNmZm9pOWUvY2lMQ3dNQUpDVGs0TmZmdmtGZ3dZTmdrSmgzUVRQUG4zNlZMaS9zcnRGWEw5K0hkN2UzbVcyNjhzLzh2UHpLMjNEMmJObk1YYnNXQVFHQm1MR2pCa091ZFhtUGZmY2czZmZmUmV2di80NnRtN2Rpb1NFQkJ3OGVOQlBDREZHQ0RGR3BWSUJRQ1NBQktCa0xZbmJlWHA2d3RQVEU3bTV1V1gydWJtNXdjM05EY1hGeFNndUxwNm4zeTZFV0t4UUtLQlFLRkJZV0ZqbWVaSWt3ZFBURTBJSUZCVVZsZG1uVkNvTmo3VmFyY2srL2U5Um9WQ1k3Tk52MHpPT2MvMXpBVUNwVkphN1Q1S2tLdTBEQUhkMzkyc0FmTXZzSUNLU0VaTUtSRVJFNUFqTGpSOU1tVElGUFhyMGNGUmJBQURoNGVHWU1XTUd0bTdkYWtncUpDY25RNnZWSWlJaXd1clhuVDE3ZHJYYVZWeGNiRFlKb0IrMFdwTHNtRDU5T29xS2l2REpKNTg0ZkMyS09uWHFJQ0lpQWhFUkVkaTRjZVB0SlNmR2NTRksvNVgzYzdYMkNTR0VKRWxWMlFjQVFwSWtJWVN3Nno1OW04cjdiRUtJbHBJa05RYmdBeUlpTzJOU2dZaUlpQnhoRUlCNGxFeDF4OFNKRS9Iamp6K2lYNzkrZU9LSkp4d3lVNkZ1M2JvSUR3L0h0bTNiVUZCUUFFOVBUMnphdEFrZE8zWkVZR0NnMWErclQxQll5OHZMQ3pkdWxMMXBRbDVlSGdDWW5jVndPNDFHZ3k1ZHVxQkpreWJWYW9zdDNMaHhBMGxKU1VoSVNNQ2hRNGVNZHdrQWc5TFMwbFk3cUdrdXEwT0hEZ0Z1Ym01bkFaeDNkRnVJcVBaaFVvR0lpSWpzcm5UZ3FBZ05EVzJ2MVdwZmxpUnA4S0ZEaC93T0hUcUVXYk5tb1dmUG51amJ0NjlzQ3pPV0p5SWlBb21KaWRpelp3L2F0MitQek14TXM0czNWa1YxMTFSbzJyU3AyWFVUTGx5NEFBQUlDQWlvdEEwK1BqN2wzbmJTWG80ZVBZcUVoQVJzMnJUSmtCQUJrQ09FK0VhcFZINXB0S1lDRVJHNUVDWVZpSWlJeUdGS0I1S3ZkK25TNWQyYk4yLzJseVFwT2k4djc1R1ZLMWRpNWNxVmFOZXVIU0lqSS9Ia2swL2FaZHArU0VnSUFnSUNzSFhyVnB3N2R3NWVYbDRXTDJvWUd4dUwyTmpZTXR1cnU2WkMyN1p0c1hIalJseTllaFgxNjljM2JNL016QVJ3Nnk0UUZVbElTTEI2VFlqcXlNL1BOOHhLeU1yS010NjFSd2p4aFplWDE2clUxTlN5MHpDSWlNaGxNS2xBUkVSRURsYzZzRndPWUhsSVNNaDlraVM5REdCSVZsYVdmMVpXRm1iUG5tMll2WER2dmZmSzFnNUpraEFSRVlHNHVEaWNQWHNXNGVIaEZpY3o5QXNtM241OGRkZFVlUExKSjdGKy9YcDgrKzIzR0QyNjVLNkhoWVdGK09tbm54QWNIR3p4NzhPZU14V09IRGxpbUpWZ3RKQmtOb0JsUW9ndjA5UFREOXV0TVVSRUpDc21GWWlJaU1pcGxBNDQzd3dMQzV1UW01dmJEMEIwZm43K2YxYXRXb1ZWcTFhaGJkdTI2TmV2SDU1NjZpbFpaaS8wN3QwYml4WXR3cEVqUi9ET08rOVkvTHdYWDN3UmtpUWhJU0hCWkh0MTExUjQrT0dIOGRCREQySHAwcVc0ZVBFaVdyZHVqVzNidHVIczJiTll1SENoUlhkeUdEQmdBSjU4OGttTUdUT21XbTJwU0g1K1BqWnYzb3lFaEFUOC92dnZ4cnQyQWZqQzE5YzNQaVVsNWFac0RTQWlJb2RnVW9HSWlJaWNVdWtBOURzQTM2blY2bnNCdkt6VDZZYisvdnZ2RGFaTW1ZSlBQdmtFM2J0M1IyUmtKTnEyYld1ejkyM2N1REdDZ29KUVZGU0VrSkFRaTU5M3h4MTNtTDNObnkzTW1ERUQ4K2ZQeDVZdFc3QnQyemEwYmRzV0N4Y3VST2x0R0N2bDcrOFBmMzkvV2RwMitQQmhKQ1FrWVBQbXpjWUxTdjRyU2RJeUFGOXFOSm9qc3J3eEVSRTVCZnZmcEpocUhKVktKUUFnTFMyTjhVU3lZcXlSUFRIZW5GTllXSmpYMWF0WCt3S0lsaVFwVEwvOTNudnZSV1JrSkxwMzc0NTY5ZXBWNnoxT25UcUZmdjM2WWZUbzBZaUtpcXBtaTJ1bXZMdzhiTnEwQ1FrSkNUaDY5S2hodXhBaUJjQVg5ZXZYWDgxWkNmWmpmUGVIdExTMHlsZnVKS3FDME5EUTlqcWQ3cUFrU1ZrYWphYTlvOXREem9jekZZaUlpTWhsbEE1VWZ3RHdRMmhvNkQwNm5XNEVnS0ZIamh5NVk5cTBhZmowMDAveDFGTlBJVEl5RXZmZGQ1OUZwUUczVzc1OE9UdzhQUEQwMDAvYnV2a3VUUWhoTWl2aDVrMUR6dUF5Z0RpRlFyRmsvLzc5Unl0NENTSWlxb0dZVkNBaUlpS1hWRHFBL1crYk5tMG0rdnI2UGdNZytzYU5HOTNXckZtRE5Xdlc0SjU3N2pITVh2RDI5cTcwOWViTm00ZkxseTlqL2ZyMUdERmlCQm8yYkNqN1ozQUYxNjlmTjh4SytPT1BQNHgzYlFmd1JXNXU3cHJqeDQ4WE9LaDVSRVRrWUV3cUVCRVJrVXNySGREK0JPQ25UcDA2M2FWUUtFWUFHSGIwNk5FN1kyTmpUV1l2dEd2WHJ0elpDeXRXcklCQ29jRFFvVU14Y3VSSWUzNEVweU9Fd0tGRGg1Q1FrSUNrcENUaldRbi9BUGhhcDlNdHljaklPT2JBSmhJUmtaTmdVb0dJaUlocWpOS0I3dmgyN2RwTjh2THllbG9JRVgzejVzM3d0V3ZYWXUzYXRianJycnNRR1JtSkhqMTZ3TWZIeCtTNXUzZnZka3lqbmNpMWE5Y01zeEtPSFRQSkdTUkxrdlRGelpzMzEyWmxaUlU2cW4xRVJPUjhtRlFnSWlLaUdxZDA0THNTd0VxMVdoME00R1VoeExCang0NDFtajU5T3ViTW1ZTW5uM3dTa1pHUnVQLysrNjFhZTZHbUVFTGc0TUdEaGxrSkJRV0dTb2EvaFJCTEZRckZFbzFHYzhLUmJTUWlJdWZGcEFJUkVSSFZhS1VENG5mYnRXdjN2b2VIUjRRa1NTOFhGQlE4bVppWWlNVEVSQVFIQnlNeU1oSTllL2FFcjYrdm81dHJON201dWRpNGNTTVNFaEp3NG9SSnppQkpDUEZGWVdGaEltY2xFQkZSWlpoVUlDSWlvbHFoZElDOENzQ3F6cDA3dHk0dUxoNEJJT3JFaVJPTlo4NmNpYzgrKzh3d2U2RkRodzQxY3ZhQ0VBSUhEaHd3ekVvb0xEVGtEQzRDV0twVUtyL2F0Mi9mbnc1c0loRVJ1UmdtRllpSWlLaldLUjA0djZkV3F5Y0xJZm9BZUxtd3NQQ3A5ZXZYUyt2WHIwZnIxcTBSR1JtSlhyMTYxWWpaQzdtNXVkaXdZUU1TRWhMdzU1K0duSUVBc0FYQUY1SWtyZGRvTkVXT2F5RVJFYmtxSmhXSWlJaW8xaW9kU0NjQVNPalVxVk5RNlowam92Nzg4OCttczJiTnd0eTVjeEVlSG83SXlFaDA2dFRKcFdZdkNDR1FrWkdCaElRRUpDY25HODlLdUNCSjBsZGFyZmFyakl5TVV3NXNJaEVSMVFCTUtoQVJFUkVCS0IxZ1QxU3IxUjhDNktYVDZWNHVMQ3pzc1hIalJtbmp4bzBJQ2dwQ1pHUWtldmZ1amZyMTZ6dTR0ZVc3ZXZVcTFxOWZqNFNFQkp3NmRVcS9XUWdoTmdraHZ2RHo4OXVRa3BKUzdNQW1FaEZSRGNLa0FoRVJFWkdSMHRrTGF3Q3NDUWtKQ1FRd1hKS2s0YWRPbldyMnlTZWZZTjY4ZVhqODhjY1JHUmtKbFVybEZMTVhoQkJJUzB0RFFrSUN0bTNiaHFJaVF5WERlU0hFVndDV3BxZW5uM1pnRTRtSXFJWmlVb0dJaUlpb0hLVUQ4ZmZEd3NMK2QvWHExWjZTSkVVWEZSWDEyTHg1czJMejVzMElEQXcwekY3dzgvT3plL3R5Y25JTXN4Sk9uemJrREhRQU5nTDR3dGZYZHhObkpSQVJrWnlZVkNBaUlpS3FST25BZkIyQWRXcTF1cVVRSWtxU3BPR25UNThPK1BUVFR6Ri8vbngwNjlZTmtaR1JVS3ZWc3M1ZUVFSkFvOUVnSVNFQjI3ZHZOOHhLa0NUcG5CQmlpVktwWExwdjM3NnpzaldBaUlqSUNKTUtSRVJFUkZXZzBXak9BUGdnTEN4c1NtNXVibmNBMFVWRlJiMjJiTm1pMkxKbEMxcTJiSW0rZmZ1aWQrL2VhTkNnZ2MzZTk4cVZLMWkvZmoxV3IxNk5NMmZPNkRmckFLeVhKT21MMXExYmIxNjVjcVhXWm05SVJFUmtBU1lWaUlpSWlLeFFPbnRoUFlEMUhUcDBDSEIzZDQ4U1FvdzRjK1pNaTg4Kyt3d0xGaXhBMTY1ZEVSa1ppZERRVUNnVWlpcS9oMDZudy83OSs1R1FrSUFkTzNhZ3VOaFF5WEJHa3FRbFJVVkZYeDg0Y09BY0FHZzBHcHQ5TmlJaUlrc3hxVUJFUkVSVVRhVUQrLzg5Kyt5elUwK2VQUG1VRUNLNnVMaTQ5OWF0VzVWYnQyNUZRRUFBK3ZidGk0aUlDSXRtTDF5NWNnWHIxcTNENnRXcmNlN2NPZjFtTFlCRUljUVhiZHEwU2VLc0JDSWljZ1pNS2hBUkVSSFpTT2xBZnlPQWpSMDdkbXl1VUNpR1NaTDA4cmx6NTFyT216Y1BDeGN1UkZoWUdDSWpJOUc1YzJlVDJRczZuUTc3OXUwenpFclFhZzA1ZzlOQ2lDVW91WVBEWHdDUW5wNXU3NDlHUkVSa0ZwTUtSRVJFUkRMSXpNdzhEMkRLczg4K0czdml4SWtuQUVRWEZ4ZEhKQ2NuSzVPVGs5RzhlWFAwN2RzWER6MzBFUGJ1M1l2VnExZmovUG56K3FkclViSXc1QmZCd2NGYk9TdUJpSWljRlpNS1JFUkVSRElxVFFoc0JyQlpyVlkzRlVJTUEvRHkrZlBuZytiUG40LzU4K2NiSDM0S3dKZVNKSDJ0MFdndUFFQmFXcHJkMjB4RVJHUXBKaFdJaUlpSTdLUTBVVEFOd01kcXRUcGNDQkVOb0FlQVRaSWtmYUhSYUpKUmNrY0hJaUlpbDFEMVpZaUppSWlJcUl5V0xWc3VBdERZd3NOMUdvMG1LUzB0clQrQXVnRDZhVFNhSkRDaFFFUkVMb1pKQlNJaUlpSWJ1T09PTzBaNmVIajRPN29kUkVSRTlzVHlCeUlpSWlJTHFWUXFVZEgrOXUzYi8xN2V2dXpzN085T25qejVrdTFiUlVSRTVEaE1LaEFSRVJGWktDMHRyZHlaQ0NxVkt2dklrU01QNU9mbkh5dm5rRUtabWtWRVJPUXdUQ29RRVJFUldTNEhLSC9Hd3IzMzN2dmI3ZHNPSFRyVXRyQ3c4SWpjRFNNaUluSUVKaFdJaUlpSXJIRDA2TkdPZVhsNWYxUjBqRXFsdW1HdjloQVJFVGtDa3dwRVJFUkVWaWdxS2lvRWNOUFI3U0FpSW5Ja0poV0lpSWlJck5DdVhidERqbTRERVJHUm96R3BRRVJFUkdTRnJLeXM5cFd0bFZEWjNTS0lpSWhjSFpNS1JFUkVSRlpvMTY1ZEpnQW1EWWlJcUZaalVvR0lpSWpJQ2xsWldSMDVVNEdJaUdvN0poV0lpSWlJck1DWkNrUkVSRXdxRUJFUkVWbEtDY0JILytEbzBhT1A1T2ZuSDZ2b0NTcVZLdHZOemMybnNMRFFyM1JUanB3TkpDSWlzamNtRmFoSzJyUnA0K252Nys5dnZFMnIxUUlBT25mdTNNUjRlM1oyZHZieDQ4Y0w3Tmc4cWtFWWEyUlBqRGV5UkowNmRUcTNiZHMyVmYvNDNudnYvYzJTNXhrZmw1YVdKc25STmlJaUlrZGhVb0dxeE4vZjMxK3IxZjRGb0V5blNLdlZYakI2cVBQMzkyOE80S0xkR2tjMUNtT043SW54UnBhNGNlUEdMN2NsQmZ3Yk5XbzB6TWZINXo4blRwd1lBT0FHQURScTFPZ2RMeSt2TmprNU9XdHpjM08zQVNqVVA2RkRodzRCYm01dUU4Mjl2a3FsV21UOHVMaTRlTXFCQXdmT3lmQlJpSWlJYkViaDZBYVFhOW0zYjk5RkFMc3NPSFIzNmJGRVZtR3NrVDB4M3FnSzNIeDlmYnNIQlFWOTE3Rmp4NzhhTldyMCt2WHIxMzhCNEs0LzRNYU5HMGVVU21XRDFxMWJyK3JZc2VNL2dZR0J5LzM4L0NJQWVOeHp6ejBYaEJEUEFCaHA5RS9Qc0UwSThjdzk5OXhqbk5BaUlpSnlTa3dxVUpVSkllSXRPR3lWN0EyaEdvK3hSdmJFZUNOTDNIMzMzZHVEZzRQWEtCUUt6OU9uVDc5dzZOQ2gxcGN1WGZvWVFLNyttR3ZYcnEwL2VmTGtjeGtaR1kzT25EbnpxcnU3ZStQV3JWdXZidEtreVJzclY2N1VLaFNLMVJhOFZjTEtsU3UxOG4wU0lpSWkyMkQ1QTFXWlRxZExVQ3FWY3lzNlJxdlZXdEpoSXFvUVk0M3NpZkZHbGpoOSt2U0lnb0tDU3dDdVduQjRYbloyOW5mWjJkbmYxYTFidDFsK2Z2Ni9BS0RUNmVJbFNScFZ5WE10U1hJUkVSRTVIR2NxVUpWbFptYWVCL0JMQllla2xoNURWQzJNTmJJbnhodFpvcUNnNEE5WWxsQXdrWitmL3hlQUFnQlFLQlE3aFJCWEtqajgzL3IxNisrMHNvbEVSRVIyeGFRQ1dVV1NwSEt2b0ZTMGo2aXFHR3RrVDR3M3NnZU5SbE1rU2RMYUNnNVptNUtTVW15M0JoRVJFVlVEa3dwa2xhS2lvbkk3MTBWRlJRbjJiQXZWYkl3MXNpZkdHOWxMUlVrcWhVTEJCQllSRWJrTUpoWElLZ2NPSERnSklOM01yclRTZlVRMndWZ2plMks4a2IxY3ZYbzFHVWFMT3hySnpjbkoyV2J2OWhBUkVWbUxTUVdxRG5OWFVuaDFoZVRBV0NON1lyeVI3STRmUDE0Z2hGaHZabGZpOGVQSEMremVJQ0lpSWlzeHFVQldNemQxazFNMlNRNk1OYklueGh2WlN6a2xFSXcxSWlKeUtVd3FrTlUwR3MwUkFJZjFqeVZKeXRxL2YvOVJCemFKYWlqR0d0a1Q0NDNzUlpLa3pRRHlqVGJsUzVLMHhWSHRJU0lpc2dhVENsUXRRZ2pERlJXZFRzZXJLeVFieGhyWkUrT043RUdqMGVRRDJLUi9MRW5TeHRKdFJFUkVMb05KQmFvdVEyZWJ0MXNqbVRIV3lKNFliMlFYVEdBUkVaR3JZMUtCcWlVOVBmMEFnQk1BanFlbHBSMTBkSHVvNW1Lc2tUMHgzc2hlUER3OE51aC9ybHUzN29hS2ppVWlJbkpHYm81dUFMazhBU0Jla2lSUitqT1JYQmhyWkUrTU43S0xYMy85TlZlbFVxMEhJSDcrK2VkcmptNFBFUkZSVlRHcFFOV21VQ2ppaTR1TDJla20yVEhXeUo0WWIyUkgrZ1FXRVJHUnkyRlN3VW1FaElUOEtrblNBNDV1aHpWME9oMFVDZ1ZVS3BXam0ySTFJVVJLZW5wNlYwZTNRMjZ1SEdlQTY4ZGFiWWt6WTY0Y2M2NGViMER0aVRsWGpqTTlJUVJVS2xXY285dGhqZG9TWjBSRVpCN1hWSEFTcnQ0WmNuV1NKSVU1dWczMndEaHpyTm9TWjhZWWM0NVZXMktPY2VaWXRTWE9pSWpJUE01VWNESWFqY2JSVGFoMTFHcTFvNXRnZDR3eis2dU5jV2FNTVdkL3RUSG1HR2YyVnh2ampJaUlUSEdtQWhFUkVSRVJFUkZaaFVrRklpSWlJaUlpSXJJS2t3cEVSRVJFUkVSRVpCVW1GWWlJaUlpSWlJaklLa3dxRUJFUkVSRVJFWkZWbUZRZ0lpSWlJaUlpSXFzd3FVQkVSRVJFUkVSRVZtRlNnWWlJaUlpSWlJaXN3cVFDRVJFUkVSRVJFVm1GU1FVaUlpSWlJaUlpc2dxVENrUkVSRVJFUkVSa0ZTWVZpSWlJWkRCeTVFZ3NXTERBMGMyZ1dtTFhybDFRcTlYSXlzcHlkRk9JaUtpV1lWS0JpSWpJaG9RUUFBQS9Qei80Ky91YmJDT1N5OXExYXhFY0hJeDI3ZG81dWlsRVJGVExNS2xBUkVSa0k1Y3ZYMGFmUG4yd1pNa1NhTFZhWExseUJiR3hzUmc4ZUxDam0wWTEySlVyVjdCNzkyNDgvZlRUam00S0VSSFZRa3dxRUJFUjJZaUhod2VpbzZQeHp6Ly9ZT2ZPblZpM2JoM3ExYXVIb1VPSFFxZlRPYnA1VkVNbEppWkNraVQwN05uVDBVMGhJcUphaUVtRkdrQ3IxZUxiYjcvRjg4OC9qeTVkdXFCcjE2NTQ0NDAzWkgzUHpaczNRNjFXWTlHaVJTYmIzMzMzWFhUcDBnWG56NSszK0xVbVRKZ0F0VnB0MGJGbno1NkZXcTNHcEVtVHl1emJzR0VEMUdvMTl1elpZL0Y3VTlXNWVyeVZoN0hsdkZ3cDVueDlmUkVSRVlHV0xWdWlmZnYyVUNnVTZOYXRHeDUvL0hFb0ZHVlB1WXc3NStGS2NYYTdkZXZXNGJISEhqT1UyeGhqakJFUmtkemNITjBBcWg0aEJNYU5HNGVVbEJTRWhvYWllL2Z1eU0vUHg5YXRXeXQ5N2w5Ly9WWGgvbWJObXBXN3IzdjM3bGkxYWhXKy8vNTdEQnc0RUw2K3ZqaDgrRENTazVNeGF0UW9ORy9ldk1xZnhSSXRXclJBU0VnSWR1N2NpY0xDUW5oNGVCajJiZG15QlhmZWVTY2VldWdoV2Q2YmFuYThNYmFja3l2R1hGWldGdWJQbjQrdnZ2b0tCdzRjd1BqeDQvSEREei9BMTllM3pMR01PK2ZnaW5HbWw1bVppVk9uVHVHdHQ5NHl1NTh4UmtSRWNtTlN3Y1d0WGJzV0tTa3BHRFpzR0Y1NzdUWEQ5dWpvNkVxZjI2ZFBud3IzYXpTYUN2ZVBHemNPTDc3NElwWXRXNFl4WThaZzNyeDVhTm15SllZTUdXSlo0NjBVRVJHQkR6LzhFSHYzN2tWWVdCZ0FJQ2NuQjcvODhnc0dEUnBrOW1vZzJVWk5qemZHbHZOeHhaaTc0NDQ3TUhMa1NOeDMzMzI0NjY2N2NPWEtGWk9CM08wWWQ0N25pbkdtdDJiTkdqUnExQWhkdW5RcDl4akdHQkVSeVlsSkJSZTNidDA2TkdqUUFLTkdqVExaN3U3dVh1bHpaOCtlWGEzM3Z2dnV1eEVaR1lrZmYvd1J3Y0hCK08yMzMvRDU1NTliOU43R1YzWnUzTGhSWmx0RlYzYkN3OE14WThZTWJOMjYxZEE1U2s1T2hsYXJSVVJFaEpXZmhpemhpdkZtN2lwaWVmSEYySEkrcmhoempSczN4dENoUXczdGZQWFZWeXM4bm5IbmVLNFlad0FNc3lrR0RCaFFZV0tBTVVaRVJISmlVc0hGSFR0MkRDcVZDbTV1VmY5VDZqc1cxVEY2OUdna0pTVmg4dVRKNk42OU94NTg4RUdMbm1mdXlvN3h0b3F1N05TdFd4Zmg0ZUhZdG0wYkNnb0s0T25waVUyYk5xRmp4NDRJREF5cytvY2dpN2xpdkptTHRmTGlpN0hsZkZ3eDVxcUtjZWQ0cmhwblNVbEp1SG56WnFWM2ZXQ01FUkdSbkpoVWNIR0ZoWVZXZFlLQTZ0V0I2cm03dTZOdTNickl6YzJGcDZlbnhlOXRmR1ZuK2ZMbHlNaklxTkxWbm9pSUNDUW1KbUxQbmoxbzM3NDlNak16elM1Q1JiYmxpdkZXMWF1SWpDM240b294WnczR25XTzVhcHl0WGJzV0twVUtBUUVCbFI3TEdDTWlJcmt3cWVEaW1qVnJobVBIamtFSUFVbVNxdlRjNnRhQkFzRG5uMytPM054Y0RCa3lCTjk4OHcyZWZ2cHBkT3pZc2RMbkdWL1oyYkpsUzVsdGxRa0pDVUZBUUFDMmJ0MktjK2ZPd2N2TEMwODg4WVRGenlmcnVHSzhWZlVxSW1QTHViaGl6Rm1EY2VkWXJoaG5KMCtleElFREIvQy8vLzNQb25ZeXhvaUlTQzVNS3JpNHh4OS9IRjkvL1RYaTQrUFJ2Mzkvdy9ZYk4yNmdUcDA2RlQ2M3VuV2dodzhmeG84Ly9vaVJJMGRpOE9EQlNFcEt3c2NmZjR6dnZ2dE85a1dmSkVsQ1JFUUU0dUxpY1Bic1dZU0hoNk51M2JxeXZpZlZqbmhqYkRtWDJoQnpBT1BPMFZ3eHp0YXNXWU42OWVvaFBEemNvdmRoakJFUkVkVndLcFZLcUZRcVVWVjVlWG1pWDc5K1FxMVdpN2ZlZWt2RXhjV0pPWFBtaUI0OWVsVDV0YXFpdUxoWURCZ3dRUFRvMFVQY3ZIbFRDQ0hFeG8wYmhVcWxFdDkrKzIyVlh1dmRkOSsxNnJOZnZIaFJoSWFHQ3BWS0pkTFMwcXI4ZkQzOTc5N1JNV0FQMXNhWlhrMklOMHZZS3JhTTFhWTRNOGFZczV5dDQ2NDJ4Vnh0aTdPaW9pSVJIaDR1cGs2ZFdxWDM0M2RiemRXaFE0ZUEwci9GT1VlM2hXcWUwTkRROWlxVlNxalY2a09PYmdzNUo5NUR5TVhWclZzWFM1Y3V4YlBQUG11NE4vcm16WnR0c25CVVJaWXZYNDZqUjQvaXRkZGVNOVIvZHUvZUhmZmVleThXTFZxRWYvNzV4K0xYaW8yTnRXaDY2TzBhTjI2TW9LQWd3ejI0U1g0MUlkNHN3ZGh5SHJVbDVnREduU081V3B6dDNyMGJWNjVjcVhTQnh0c3h4b2lJaUdxdzZsNWxxWTFPbmp3cFZDcVYrT3FycjZyMU9yWHBLZ3ZqekRLMmlpMWp0U25PakRIbUxHZnJ1S3ROTVZmYjRtenMyTEhpMldlZnJmTHorTjFXYzNHbUFzbUpNeFdvTXB5cFFDNXIrZkxsOFBEd3FQS1ZHcUxLTUxiSUVSaDNaSWwvL3ZrSGUvZnV0U3BPR0dORVJDUUhMdFJJTG1mZXZIbTRmUGt5MXE5Zmp4RWpScUJodzRhT2JoTFZFSXd0Y2dUR0hWWEZuWGZlaVgzNzlsWHBPWXd4SWlLU0U1TUs1SEpXckZnQmhVS0JvVU9IWXVUSWtZNXVEdFVnakMxeUJNWWR5WTB4UmtSRWNtSlNnVnpPN3QyN0hkMEVxcUVZVytRSWpEdVNHMk9NaUlqa3hEVVZpSWlJaUlpSWlNZ3FUQ29RRVJFUkVSRVJrVldZVkNBaUlpSWlJaUlpcXpDcFFFUkVSRVJFUkVSV1lWS0JpSWlJaUlpSWlLekNwQUlSRVJFUkVSRVJXWVZKQlNJaUlpSWlJaUt5Q3BNS1JFUkVSRVJFUkdRVk4wYzNnRXlwMVdwSE40RnFBY1laMlJ0amp1eUJjVVpFUkdSL25LbmdKSVFRS1k1dVEyMVdXMzcvdGVWek9xdmErUHV2alovWm1kU1czMzl0K1p6T2lyOS9JcUxhalRNVm5FUjZlbnBYUjdmQldpcVZTZ0JBV2xxYTVPaTJVTVZjT2M0QXhwb3JjdVdZWTd5NURsZU9NNEN4UmtSRXJvMHpGWWlJaUlpSWlJaklLa3dxRUJFUkVSRVJFWkZWbUZRZ0lpSWlJaUlpSXFzd3FVQkVSRVJFUkVSRVZtRlNnWWlJaUlpSWlJaXN3cVFDRVJFUkVSRVJFVm1GU1FVaUlpSWlJaUlpc2dxVENrUkVSRVJFUkVSa0ZTWVZpSWlJaUlpSWlNZ3FUQ29RRVJFUkVSRVJrVlhjSE4wQUlpSWlJaUt5WEdobzZBTTZuZTV6QUI0QUNrdi9Dd0NOVkNyVmZwVDA4WFVBQ21yaVNpNEFBQ0FBU1VSQlZDVko2cWJSYVBJZDFGUWlxZ1dZVkNBaUlpSWljaUhlM3Q0SGNuTno3d05RNTdaZDdnRFVSbyszTTZGQVZkV3BVeWMvaFVKeGg5R21sZ0FnaFBCUXFWUnRqSThORGc0K3VYTGxTcTFkRzBoT2gwa0ZJaUlpSWp2cDBxVkxuUnMzYmpRMnQ2OVRwMDVCeG8vcjFLbHpLVFUxOVlaZEdrWXVKU1VsNWFaS3BWb0g0UG1LanBNa0tkNU9UYUlheE0zTnJaTk9wOXVoZjZ6VDZmUS8zZ1hnbVA2QkpFbm5WcTVjMmRMT3pTTW54S1FDVlVuSGpoMmJLNVhLLzVyYnAxS3A1aGcvMW1xMU16TXpNOC9icDJWVTA3UnAwOGJUMzkvZjMzaWJWbHVTQ08vY3VYTVQ0KzNaMmRuWng0OGZMN0JqODZpRzZkS2xTNE9DZ29LSHpPMVRxVlM5alI5N2VucnVUVTFOdldLZmxsRk5vOVBwZkJVS3hRbVlXZGRLb1ZDY05ENDBMeSt2S1FBbUZjZ3NJY1JLU1pJcVNpb0lBS3Z0MVI2cU9ieTl2ZmZrNXVZV281S3hvazZuUzBCSm5GRXR4NlFDVlltL3YvK2wzTnpjZ1FEdU5MUDdkYU9mLy9iMzkzL0hUczJpR3NqZjM5OWZxOVgrQlVDNmZaOVdxNzFnOUZEbjcrL2ZITUJGdXpXT2FoeUZRbEVFWUNVQUx6TzdFNDErdnFsUUtCclpwMVZVRS8zNjY2K1hRa0pDZGttU0ZGYkpvVHNQSERqd3R6M2FSSzVKcTlWdWRuTnp1NEd5SlJBQUFDSEUzclMwdEF2bTloRlZKQ1VscFZpbFVuME40T1ZLRHVWTUdBTEF1ejlRRmFXa3BCVERzcXozNnRKamlheXliOSsraXdCMldYRG83dEpqaWF6Mjg4OC9Yd093MllKRE41Y2VTMlExQzZla3M3Tk9GVHB3NEVBZWdFM2w3V2ZwQTFWVFpmSHpkNXMyYlg2MlMwdkk2VEdwUUZWbXlVbEtvVkR3UkViVkpvU3dKSTVXeWQ0UXFpMDQwQ083MEdxMWxTYm5oUkNjdGs2VkVrS1VldzRVUWlUWXN5MVVzMGlTdEIxQWRnV0hyT1lDamFUSHBBSlpZd2NxL3BMSkZrS2syS2t0VklPVjF1cFZ5SkxPT1pFbGREcmRlZ0JGRlJ4U1ZIb01VYldVcmplVVdzRWhlOVBUMC8reVYzdklkWGw0ZUd4QXlTMGxiN2MvUFQzOXRMM2JReldIUnFNcEVrS3NLMjgvTHlDU01TWVZxTW9xKzVJQnNGYWowVlRVTVNleVNHbkgrNWNLRGtubFlxQmtLeGtaR1RrQWtpczRKTG4wR0tKcXEyalduNFd6dElqdzY2Ky81Z0pJdW4wN1N4L0lGaXFJSTE1QUpCTk1LcEJWS2psWjhVUkdObE5SckxIVFJMWlcwV0NPQXoyeXBhS2lvbkpuWW5IYU9sV0ZKRWxsU2lDMFdpMi9yNmphZkgxOXR3SXd0NDRRTHlDU0NTWVZ5Q3FsWHpMWHpleTZscHVidTlYZTdhR2FxNmlvcU55T1VVV2RjaUpyS0JTS3RRRE0xWWhxUy9jUjJjU0JBd2RPQWtnenMwdVRrWkZ4eXM3TklSZFdXRmk0RHFiZld3Y3pNaktPT2FvOVZIT2twS1RjbENUSlhOa2ZrMVprZ2trRnNrcEtTc3BOQUdXK1pDUkpXbi84K1BFQ0J6U0phcWpTam5lNm1WMXBwZnVJYkVhajBWd0dzTlBNcnAybCs0aHNxVXpIbkRPd3FLb09IanlZTFlRd1hvV2ZNVVEybzlQcGJvOG5Ya0NrTXBoVUlLdVptd3BzNW91SHlCYk14UlZqaldSaGJsREhnUjdKd2R4Q1o4WEZ4WXcxcWpJaFJLTCtaeTZnUjdha1VDZzJBYmlwZjh3TGlHUU9rd3BrTmExV3V3bkFEYU5OTjdSYXJTWDNlU2VxRW5NRE9uYWFTRWFyQVFpang2SjBHNUZON2QrLy82Z2tTVmxHbXc1bFptYis0YkFHa2N1U0pHbFo2WS9uOSsvZm4xWGh3VVJWb05GbzhpVkoycTEvekF1SVpBNlRDbVMxQXdjTzVBRXdUaUpzS3QxR1pGTWFqZVlJZ01QNng1SWtaZTNmdi8rb0E1dEVOWmhHbzdrZ2hOaXJmeXlFMkt2UmFDNDRzazFVYzkzV1FXZG5uYXlTbnA3K2p4QWlSUWp4RFV5VG9rVFZKa21Tb1N5UUZ4REpIQ1lWcUxvTUhTQk9EeVk1R1pmYk1FdE9jalArUHVOM0c4bUpzVWEySWtuU0tvVkNVZVpPRUVUVlZhZE9uYVVBaWdEczVBVkVNc2ZOMFEwZzF5Wkowbm9oREFueERZNXNDOVY0OFFBbUFleDRrL3lFRUFtU0pIMmkvOW5SN2FHYUt5MHQ3YUJLcGZvTGdOQm9OSWNjM1o2YVNLVlNyUUxRejlIdHNBY2hCRlFxbGFPYjRldytUMHRMRyszb1JyaVMzYnQzWDFDcFZKdUZFRDg0dWkza25DUkhONEJjWDBoSXlBWkpra1JhV2xwdlI3ZUZhalJKcFZLZEJ5RFMwdElDd09tZEpET1ZTclVQSmZIMmdLUGJRalZiU0VoSUxBQ1JucDcrbnFQYlV0TjA2TkFod00zTjdheWoyMEhPSlMwdHJkcGpvSkNRa0xja1NacHRpL1pRamZLWFVxbjh2MzM3OXRXcTd4M09WQ0JiaUFjSGVDUS9BV0M1SkVrQ2pEZXlBMG1TNG5VNkhXT3RobENwVkIwQS9BekEyOUZ0S1k5S3Bacmc2RGJZZ2hBaUpUMDl2YXVqMndFQWJtNXUvUUVnUER3YzA2ZFBkM1J6eUlGZWVlVVYvUGJiYnhCQ0RMZkJ5MGtLaGVJMW85bTZSSHJOZERxZEh3QW1GY2g1cVZTcWNRQ2M4cXlvVXFtV09yb050aUNFZUNJOVBUM1owZTF3SkdmdWZKZE83Unp2NkhiWVNJNmJtMXViMzM3NzdWOUhOOFNSbkRYZWhCQ1FKQWtxbGVwalI3ZkZWcHhwc09jQVErRmtNVlpUU1pJVTV1ZzJHSGtXQUo1NDRnbEh0NE1jS0RzN0cvdjM3d2VBWWk4dnJ6WFZmYjJRa0JDMUVLTFZuWGZlaVkwYk4wS2g0REoxdFYxS1NncmVmdnR0QUVqWGFEUUhIZDBlZTJOU3diVklBRjV6ZENOcU9rbVNIZ0ZRcTVNS1lPZmJYdnkwV3EwZmdGcWRWQURqelc2Y2JMQm5Ud3BKa3A0VlFtRFpzbVZvMzc2OW85dFRJODJlUFJ2ZmYvODlBSHpxNkxZQUphVVBBQjd5OVBURXd3OC9YT254K2ZuNXFGdTNicm43ZFRvZENnb0tVS2RPSFJ1MjBuWGw1ZVhCdzhNRDd1N3VqbTVLcFhiczJBR2RUZ2NBMjFKVFU2OVU5L1VrU1hvV0FCNS8vSEdMRWdxTUxWTi8vLzAza3BPVDBhNWRPM1RzMk5Ga254QUNLMWV1eElNUFBvakF3RUFIdGJEcXRtN2RDZ0NRSkdtbGc1dENWREdWU3ZWL0twVks5T2pSUStoME9rRzJrNTJkTFVKRFE0VktwU3ArNElFSEdqcjZiKzFnQ3JWYWZWYWxVb21EQnc4NitrOVRJKzNZc1VPb1ZDcWhVcW5TSFAzSGRnS01OenVZTld1V1B1WStjZlFmM0JGQ1FrSzZxRlFxMGJOblQ1NC9aYUxWYWtYMzd0MkZTcVVTSVNFaFhSejlOd2NBbFVyMWhrcWxFdVBHamJQb013d2RPbFI4K2VXWFp2Y1ZGUldKVWFOR2liQ3dNSkdYbDFlbDMwMTZlcnBRcVZUaXdJRURWWHBlUlM1Y3VDQkNRMFBGdFd2WFJHcHFxdWpldmJ0aDM4bVRKMDMrWGI1ODJlUzVCUVVGWXNHQ0JlTDA2ZE5tWC92R2pSc2lOVFhWOEZpbFVvbVRKMDhLSVlUNCtlZWZ4ZFdyVjRVUVFreWJOazBNR3piTVpwOUpUcU5HamRMSFpwUU5Ra3RTcTlWL3FsUXFrWjZlYnRINzE1VFl5c3JLRW1QR2pERnBaMUZSa2NqT3pxNzBuN0gzMzM5ZjlPelpVL3o3Nzc5bDNuLzc5dTNpc2NjZUU5ZXVYYXUwclRObXpCQ2ZmLzY1MlgyYk4yOFdrWkdSNWNhNUxSVVVGSWhISG5sRWY1NXRZNE1ZY3ptY3FlQkM5RmRabm5qaUNVZ1MxOWkwSmVNTWRtMmZpaDRTRXZLZ0VDS2dTWk1tYU5ldW5hT2JVeU14bTMwTDQwMStPcDBPeWNrbGs2K0VFTFV5NXZSWEZjUER3M24rbE1uQmd3Zng5OTkvUTVLa2MybHBhYjg2dWoybERILzN5bWkxV2h3OWVoUkRoZ3d4dTIveTVNazRkT2dRV3JWcWhZa1RKMkxXckZsbXIxQlBuejRkVHozMUZEcDE2bFRwZTJaa1pHRExsaTBZUDc3cUZYM0p5Y200NjY2NzRPM3RqZVRrWklTRWhCajI5ZXRuZXFPTFo1NTVCcE1tVFRJOC91cXJyN0IwNlZMOCtlZWZtRFZyVnBuWHpzckt3dGl4WXpGanhneUVoWVVadGg4K2ZCamp4bzNENTU5L2pnNGRPdUQzMzMvSC8vM2YvNVhiUnJWYVhlWFBwUmNjSEl3VksxWlkvWHhqY3BZK2RPalFvZExqYTFKc05XM2FGSC84OFFmR2pSdUh1WFBuUXFGUUlEVTFGVys4OFVhbHI2dlJhQUFBdi83Nkt6WnMyQUNsVW9tSWlBaVRZNktqbzdGbXpScms1ZVdoZS9mdVpWNWoxYXBWYU5La0NRRGczTGx6V0xseUpjYVBINDlUcDA2WkhOZXNXVE1zWHJ3WUhoNGUwT2wwSnZzYk5td0lIeDhmUzM4ZEZ0bTdkeS95OC9NQklEMHRMZTI0VFYvY1JUQ3A0RG9rSVlURkowZXFHZzd5Ym1IblcxNkZoWVhZdFdzWGdObzd3RFBHZUpPZmt3NzI3RWxobkpRbmVkeVd1Tkk1dGpXbXBRK1BQUEpJaGNmbTVlWGgyTEZqS0Nnb1FLdFdyWER0MmpVQWdJK1BEL0x5OGpCaHdnUmtabVppL3Z6NWFObXlKUVlPSEloMzNua0hzYkd4OFBUME5IbXRGU3RXSURnNDJLS0IzL0hqeDdGaXhRcXJCbjdidG0xRFNFZ0lkRG9kVWxKU01HclVLSlA5OGZIeENBb0tRdS9ldlJFVUZHVFlucEdSZ2VYTGwrT3p6ejdEQng5OGdDKy8vQkl2di95eXlYUFZhaldHRFJ1Rzc3Ly8zaVNwTUdYS0ZBd2FOQWdkT25SQWJtNHVmdi85ZDR3Yk42N2NOc2JIbDMvMzU4VEVSTVRGeGVIVlYxL0Y0NDgvWG1hL0xVc3FIRm42VU5OaXk5L2ZIMU9uVHNXb1VhUHc2YWVmNHUyMzMwYVhMbDJ3YmRzMmkxNzc3Tm16ZU8rOTl6Qmx5aFIwN3R3Wnp6Ly9QTjU4ODAzMDZ0VUxBUERKSnlXVDZmYnUzWXU1YytmaTBxVkxtREpsQ2p3OFBNcTgxcXhaczZEVmFqRnQyclF5KzRZT0hZclRwMDhES0p0a0d6ZHVISjUvL25uTGZoa1c0amlDU1FXWG9WS3BIZ1RRb25Ianhxd0Z0YkdjbkJ6czI3Y1BBTFJLcFhLMW85dmpZT3g4eTR6WmJCT01OenR3dHNHZXZYRTJqUHgwT3AxaFVPRXN5Vkw5WFI4ZWZmVFJTdXZVKy9UcGc2dFhyd0lBSWlNakRkdmo0dUlRRXhNRFNaSVFGeGVIVnExYUFRQVdMbHlJNk9ob0RCZ3dBSk1uVHk1VEV5NjN2Ly8rR3djUEhzUkxMNzBFalVhRDdPeHNrNnZKZWlkUG5zU0ZDeGZ3MkdPUEFTaTVzdnZmLy80WEkwYU13TU1QUDR3Wk0yWmc5T2pSdUhuekprYVBIbTBZSVAvNzc3K0lqSXhFWkdRay92MjNaUEptVGs0T0prK2VqQVlOR3FDNHVCaTdkdTJDVHFjemUvVTlMaTRPOTk5L3Ywa3l3MWhPVGc1V3IxNk5nSUFBREI0OFdQWTFHZlFEUGlHRUxhWStTQUNlQXl4Yi9MTW14cFphcmNiSWtTUGg3KzhQQUhCemM0T2ZuMStscjExWVdJaFhYbmtGRVJFUmhsa0liNy85TnBZdlg0NGVQWHBBb1ZEZzVzMmJpSW1KZ2J1N08xNTU1UldNR2pVS3UzYnRLbk5CTlQ0K0hudjM3c1hTcFV0eDl1eFpwS2FtNHNNUFA0U2JteHYrK09NUERCa3lCUDM3OThlRUNSTXdlZkprdEczYkZpKzg4SUtOZmt0bFB4Y3ZGakdwNERKWStpQWZsajdjd3M2My9QUUR2TnFjemRaanZNblBHUWQ3OXNiWk1QSTdlUEFnTGwyNjVHeXpZU3llM2JsOSszYTgrdXFyYU51MkxjYU1HWVBDd2tKTW56NGRVVkZSQ0E4UFIxSlNFdnIzNzIveW5PRGdZRFJwMGdSUlVWRmx5Z3ZrMXFoUkkvMTBmZ0MzcHBYZkxqVTFGVUZCUVdqWnNpWE9uRG1EVWFOR1FhVlNZZGl3WVFDQWtKQVF3OVhtek14TVRKbzBDWUdCZ1hqeXlTZkx2TmJ3NGJmdXd2alZWMThoUGo0ZWtaR1JodGM2ZlBnd3hvOGZqN2k0T054enp6MFZ0bi9hdEdtNGV2VXEzbi8vZmRrVENuS1VQZ0FJc3JUMG9hYkcxb2dSSTZyODJoNGVIdmo0NDQvUnZuMTdRNklMS0RsUGRlMTY2NlpFVzdac01kbjMwVWNmb1gzNzlvYXloNzE3OTJMR2pCa1lPM1lzT25ic2lHYk5tbUhKa2lXWU4yOGVvcUtpOE00Nzc2QjE2OWI2T3pIZ3VlZWV3NmhSbzlDNWMyY0VCd2RYdWQyVjRjV2lFa3dxdUFZRlN4L2tZK01NdGt0ajUxdGVoWVdGMkxseko0RGFPOEF6eG5pVG41TU85dXlKczJIc3dObG13MVNsOUFFb3VYSytmLzkrREJvMENHcTFHaHFOQm9HQmdaZzVjeWJDd3NMTUR1cVVTaVU4UFQyeFo4OGVOR2pRUUlaUFVYMTc5KzVGMTY1ZHNYZnZYc1RFeEtCSmt5WVlQbnk0WVZvNEFEUnUzQmdmZlBBQlpzMmFoZjc5KzJQa3lKR0dnZVRSbzBmeDMvLytGK2ZQbjhlWU1XUFF0MjlmMUs5ZkgrbnA2VGh3NEFEdXZ2dHVOR3ZXREVCSlVrR2hVS0J0Mjdad2N5dC9lTEZ5NVVwczI3WU5IVHQyeElNUFBpanZMd0NPdit0RFRZcXRHemR1NE5LbFM0YkhRVUZCU0V4TXhBY2ZmR0R4YStoajYvcjE2NFlTbllvVUZoYWlTNWN1K3I4aEFLQkpreVo0N2JYWDhOSkxMK0hvMGFNWVBYbzA1cytmajlhdFcrUDY5ZXZvM0xrelhubmxGVVBKUk5PbVRmR2YvL3hIbG9RQ3dOSUhQU1lWWElCS3BYb0FMSDJRaFhIcGc3dTdlN1V6MkM2T25XK1pNWnR0Z3ZGbUI4NDIyTE0zem9hUm56UE9ocWxLNlFOUWNtVTBLQ2dJZDk5OXQySGI0TUdEelM0MHFORm9vTlZxb1ZRcWNmSGlSY1RFeEJpU3hYcXhzYkdJalkwdDg5eWhRNGRXOWFOWVRhZlRJVE16RTMzNzlzVytmZnZ3eUNPUFlPUEdqUmd3WUlEWjR4Y3VYSWpkdTNlalRaczIwT2wwV0xseUplYlBuNC9YWDM4ZHNiR3gwR2cwK09tbm54QWJHNHVGQ3hlaVhyMTZPSGZ1bk9INTU4K2ZSOU9tVFN0TUtHZzBHc3llUFJ1QmdZSEl6TXpFdW5YcjBLTkhEL3p5eXk5bVowZllnaU5MSDRDYUZWdnA2ZWtZTTJhTTRiRkdvMEhYcmwxeC8vMzNBeWpwVTBkSFIrTzU1NTRyTS92Q25OR2pSMWNZTDBESjdTVnYxN3AxYTdSdTNScENDTU5pb3ZmZWV5OEFvRUdEQm1VU05ibTV1ZGk4ZVRPbVRwMWFhWnVxaXFVUHR6Q3A0QUpZK2lBZmxqN2N3czYzL0ZqNmNBdmpUWDdPT05pek44NkdrWitUem9hcDB1ek9oSVFFOU9uVHgreSs3ZHUzdzl2Ykc5ZXZYMGUzYnQxdzdkbzFoSVdGUWFQUlFLZlQ0ZnIxNnliSG0xdWM4TWlSSTRpSmlVRnNiS3pKNERJcEtRbUxGeSsyK0VOVmhVS2h3TUNCQTdGZ3dRSjgvLzMzOFBMeXdrY2ZmV1RZcjFhcnkxd3BmdUNCQjVDWGw0ZEJnd2JoMHFWTG1ERmpCcnAwNllMWTJGaTgvZmJieU1yS1FreE1ETjU2NnkxY3UzWU44K2JOTXp6M2p6LytRSnMyNWQ5SjcralJvM2o3N2JmaDdlMk5lZlBtR1ZiOVg3OStQV2JQbm8zVnExZmozWGZmUldCZ29NMStCNDR1ZlFCcVZtdzk5TkJEMEdnME9IWHFsR0h4UTI5dmIzaDdld01BRml4WWdMcDE2eUk2T2hxK3ZyNjRkT2tTNnRXclo5aC91d1VMRmxnOFU4R2NIMzc0QVJrWkdmamYvLzVuMFoxRzlNZTgvZmJiR0Rod1lLWEhXNElYaTI1aFVzSDVzZlJCUml4OXVJV2RiM214OU1FVTQwMStUanJZc3lmT2hyRURaNXNOMDdsejV4WmFyZGJpMGdlZ1pLWDhPWFBtWU02Y09RQktCaC82RmVVVkNnV1VTcVZGVTkwQm1CMGs1ZVRrQUNpWmhtMjhQem82R3RIUjBSYTlyaldHRHgrT2hJUUViTnEwQ2FHaG9kQnF0U2I3ejU4L1grWTVRVUZCZU95eHg5Qy9mMzk0ZTNzYmJoMFlFQkNBb0tBZ1BQNzQ0L0R5OHNMNTgrZVJrNU9ERXlkT0lEZzRHT25wNlhqMjJXZk50aU1yS3d0anhveUJKRW1ZUDM4K21qZHZidGczY09CQXRHalJBdE9tVGNNTEw3eUFZY09HSVNvcXF0SXIySmJZdm4yNy9zSlJzbzFLSDU0RExDOTlBR3B1Yk4wdU96c2JQLzc0STBhTUdBRmZYMThBSlhkWmFOU29FV2JPbkduMk9hTkdqYkpxcGdJQUhEcDBDSFBuemdWUXNsQ2tQdUZ5OCtaTmVIbDVtUng3L3Z4NWpCMDcxbkNNTFV0S2pDNFcxZnB4QkpNS1RvNmxEL0poNllNSmRyNWx4bXkyQ2NhYkhUamJZTS9lT0J0R2ZzNDRHMGFyMWZZRExDOTlBRXF1NmdJbEE2UG5uMzhlU1VsSmh2dllSMFJFUUpLa2NnYzN4dExUMDdGcDB5YTg5OTU3RnJkMzJyUnA2TldybHl5ci9IdDRlT0NoaHg1Q2Ftb3E1czJiWjdnTGdkN1lzV1BMUEVlajBhQi8vLzRRUW1EdDJyWFlzV01Ib3FPalRaN3I1ZVdGNXMyYkl5QWdBRHQyN0lCV3E4V2xTNWZNWGxIZXVYTW5KazZjQ0M4dkx5eFlzTURrYXJyZW80OCtpcFVyVjJMbXpKbFl2SGd4a3BPVDhmNzc3MWU3MzN2YmQyQjFTU2lkQVZPVjgxWk5qYTNiTFY2OEdQNysvaWJsTlRFeE1SZzhlREIrL1BGSHMzZGVXTFJva1ZVekZjNmVQWXUzM25vTElTRWgrTzIzM3dDVUpGeTJidDJLbVRObll2bnk1V2pjdUhHWjE2cnN2YXJLK0dJUkFLZjQvbk1rSmhXYzMzT0E3YS9tNWVmbm8yN2R1dVh1MStsMEtDZ29zUGlFN0lwU1VsSU1HV3lXUHJEekxUZVdQdHpDZUpPZk13NzI3RTEvVlZHdTJUQThqNVpjTFN4ZHVPMXNlbnE2czh5R3FmTHN6b1lORzViN2VOMjZkZkR4OFRGTVRhL0lpUk1uRUI4Zlg2V0JYM3g4UE82Nzd6N1pCbjcxNjlmSHhZc1hzWDM3ZHR5NGNjTVFqOGJsRDBJSWsvOUhldlhxaGNMQ1FzUGo1NTkvM3VRMTlZdnRQZm5razFpOWVqVXVYcnlJZ0lBQVExMDdBQlFYRjJQUm9rV0lpNHREbXpadE1HZk9ITVBxL2VaNGUzdmp3dzgvUkZoWUdENzY2Q084K2VhYmh0bWsxbkNHMGdlZ1pzZVczcUZEaHhBZkg0OVBQdmtFN3U3dXlNdkx3N1ZyMXdBQWp6MzJHRDc3N0RPemQxNFlPblNveGJNMGpLMVpzd1oxNjliRkJ4OThnSjQ5ZXhxMjZ4ZituREJoQXBZc1dXTFZhMWVGOGNVaWpVWnpRdFkzY3dIeS9yYXB1aFFBK2dOVnk0cGFZdlRvMFZpeVpJblpmY1hGeFJnOWVqUjY5dXlwLzUvRlloa1pHVkNyMVRoNDhLQXRtaWtyZmZhNHRuYTRqY25aK2E0c2huUTZIVzdjdUdIVDkzUTJMSDB3eFhpVG41TU85dXhKSVVtU0xPZFBQWjVIWVR6b1d3VW5tQTNUdVhQbkZxakNYUi9LazVHUmdmVDBkTnMxekFFU0V4T3hkT2xTYk5xMENhMWF0VUoyZGpaNjkrNXRjdWNIb0dTQUZoVVZaUmdFQWlXM29odzZkQ2dDQXdPeGQrOWVhRFFhYURRYTlPclZ5NlIyUFRJeUV2Lzg4dzlXcjE1ZHB2VGg4T0hEV0xac0daNSsrbWw4L2ZYWEZTWVVqSFh0MmhVLy9mUVRaczJhVlkxUDd4eWxEK2JVaE5neVZsaFlpRGZmZkJNNm5RNlRKazNDQXc4OGdQLzg1ei9vMWFzWGhnd1pndlQwZEhoNGVHRFNwRWtvTGk0MlBHLzI3Tm5ZdUhFamxpeFpndnIxNjJQNzl1MWwvdm41K1dIWnNtV1lQWHUyU2NuQ2M4ODloM256NWhsbWZPajUrdnJpdmZmZVEyWm1Kcjc3N2p2WlB6dExIMHh4cG9JVGs2djBRYXZWNHVqUm94Z3laSWpaZlpNblQ4YWhRNGZRcWxVclRKdzRFYk5telRMN0JUcDkrblE4OWRSVDZOU3BVNlh2bVpHUmdTMWJ0bUQ4K1BFMitRelZ4ZElIRXdwSmt2ckxOUlY5OU9qUmVQamhoODNlMDdpNHVCaGp4b3pCa1NOSHNHSERoZ3F2K3QwdUl5TUR3NGNQUjF4Y25HSGxZV2ZGMGdjVGpEYzdjTGJCbnIzSlBSdUc1MUhubkExalRla0RVRkw3ZmVIQ0JmejExMThBZ1BmZWV3K3Z2dm9xZ0pLcjlwWk9VWGNtbHk5ZnhvNGRPNkJTcVRCeTVFaDgrZVdYQ0F3TUxMTVFZdWZPbmZIRkYxOWc1TWlSV0xSb0VYeDlmWEgxNmxXc1g3OGU5ZXZYeDg4Ly80eXdzREJzM0xnUlc3ZHVSVnhjbk9HNWQ5eHhCNW8xYTRhelo4K2ljK2ZPSnEvYm9VTUhyRnExeXFxRkYrKzg4MDdjZWVlZFZuMXVQV2NvZlFCcVptejkrZWVmQUVwdUMrbnQ3WTNYWDM4ZFFNbmZ6ZC9mSDM1K2ZxaGZ2ejQ4UFQwQkFNZU9IY09pUll0dzllclZjdS95VWQ1Q2k4ODg4NHpKNCtuVHB4dG1JWmxMMklhRmhXSFlzR0Y0K09HSHJmdHdGbUxwUTFtY3FlRGNiSDQxTHk4dkR3Y1BIa1JCUVFGYXRXcUZhOWV1R2JMVGVYbDVlUFBOTjdGbnp4N01uejhmbjMzMkdYNy8vWGU4ODg0N0tDZ29LUE5hSzFhc3dQSGpsbzJQamg4L2poVXJuQ2VSeDlLSFcrVHNmT3M3M3VaV2hEYnVlTGRvMFFJVEowNDB1USt4c2VuVHB5TWpJOE9pOTh6SXlNRDA2ZE9yMVc1YlkrbkRMWXczK1RuallNL2U1SndOdy9Ob0NTZWREV1BWd3Raang0N0YvUG56OGYzMzN3TUFObTdjaU42OWV3TUFObXpZZ0owN2QyTERoZzBBQUI4Zkg2U21wdHF5emJJWU5td1lFaElTTUgzNmRGeTRjQUdyVnEzQ0cyKzhVZWE0NXMyYlkvSGl4Ymg4K1RKZWVlVVZYTHQyRGZYcjEwZGlZaUtlZSs0NWZQTEpKM2o2NmFmeDRZY2ZZc0tFQ2Jqbm5uc0FsQ3lnTjJYS0ZGeTZkQWxObXpiRnUrKytpNy8vL3R2a3RXMTVKNGVxc0hYcFE2ZE9uVUpoUmVrRFVMTmlTNmZUWWNtU0paZzhlVEs2ZGV1R2dRTUhZdlhxMVZDcjFlalJvd2NlZlBCQjNIMzMzV2pVcUpFaG9RQUFkOTExRjJiT25JazZkZXBnOSs3ZFNFMU5SV3BxS3JaczJZSVdMVm9nTWpMU3NNMzRId0Q4K09PUEp0dTZkZXRXYVR0ZmUrMDF0RzdkV3JiZkEyQnlzU2lOcFE4bE9GUEJlY2xTK3RDblR4L0RZanVSa1pHRzdYRnhjWWlKaVlFa1NZaUxpME9yVnEwQWxOeTNPRG82R2dNR0RNRGt5WlB0c3RpTFBiRDA0UmE1T3Q5NWVYazRkdXlZU2NjYktEbHA1dVhsWWNLRUNjak16TVQ4K2ZQUnNtVkxEQnc0RU8rODh3NWlZMk5OVGtaQVNjYzdPRGpZb3F0NStvNjNzMXpOWSttREtjYWIvSngwc0dkUGh0a3djdHcxaWVmUkV2cGtLWnhrTm93MWQzM1FDd2dJQUFDVDZkbDZRZ2pvZERyazV1WkNxVlNpdUxnWXg0OGZSNzE2OWFEUmFNek9lQ3J2cXV2UW9VT3IxQzVibVQxN05wNSsrbWswYk5nUWYvenhoK0dxZWIxNjlRQUFMVnEwd01LRkMvSFdXMi9oekpremFOZXVIVHc4UE5DNmRXczBhOVlNZi83NUovejgvREIzN2x4Y3ZYb1ZBd2NPeE5TcFU3RnAweWJFeHNhaVRaczJHRDU4T0lZT0hZclkyRmlIeDdpdFN4OFVDc1d6Z0hXbER6VXB0azZkT29WbHk1Wmg3dHk1Q0FrSlFXSmlJcjc1NWh0TW1USUZBS0JVS3VIbTVtYjRwMVFxVVZoWWlJS0NBaFFWRmNIRHd3T2JObTNDbFN0WHNHdlhMbno3N2Jlb1Y2OGVSbzhlRFE4UEQ3UHY2ZTd1WHU2K2lody9maHdGQlFYdzh2TEN6ei8vWEtaVW9ycDRzYWdzSmhXY1ZFaEl5SU9Rb2ZSaCsvYnRlUFhWVjlHMmJWdU1HVE1HaFlXRm1ENTlPcUtpb2hBZUhvNmtwQ1QwNzkvZjVEbkJ3Y0ZvMHFRSm9xS2k4TXd6ejJEU3BFazJhNDlXcThVUFAveUF4TVJFbkRsekJsNWVYdWpZc2FQaDFqdHlNQ3A5S0dicGczeWRiM2E4UzZTbXByTDA0UmJHbXgwNDIyRFAzb3hudzhoeDF5U2VSMHV1V05wNGVubTE2VXNmSG5ua0Vac3VqcG1kblkxdTNicEJraVQwN05rVENvVUNJMGVPUkg1K1BqdzhQREI4K0hERHNVODk5UlJDUTBPcjlQcjkrdld6V1Z2TE0zdjJiTGk1dVNFNU9SbFRwa3lCbTVzYmV2ZnViVkppRUJ3Y2pOV3JWeU12THc5ejVzekJ6cDA3OGM4Ly82QmZ2MzZZTldzVzNOM2Q4Y01QUDBBSWdWZGVlUVdIRHgvR3pKa3o4ZGhqandFQXZ2enlTN3orK3VzWU1XSUVsaTVkNnRBeU1XY3BmYWlNcThWVzY5YXQ4ZE5QUDZGWnMyWUFTczY3ZmZyMFFXNXVMaTVmdm96aTRtTG9kRHBvdFZwRFNZY2tTWkFrQ1FxRkFuWHExRUc5ZXZVUUZSV0Z3c0pDOU8zYkZ5Kzk5SklzaTlsdTI3WU5YM3p4QlFEQTA5UFRVSEppQ3l4OU1JOUpCU2NsMXozY2MzSnlzSC8vZmd3YU5BaHF0Um9halFhQmdZR1lPWE1td3NMQ3pIWjBsRW9sUEQwOXNXZlBIcHZlMjFVSWdYSGp4aUVsSlFXaG9hSG8zcjA3OHZQenE3WGFyeVdNU2grMnNmUkJ2czQzTzk0bDlQSE1iRGJqelI3eDVveURQWHVUKzY0UFBJODY3V3lZYWcvOC9QejhzSHo1Y3NQakZTdFdvRVdMRnRpM2J4K0VFSWFyMUx0Mzc0Wk9wek1NbVBSOGZIeXFmRVZVZnljRlcvcnFxNi9RdEdsVHcyTS9QejhBSmZYcHQ5ZW9HOU1QL0M1Y3VJQWhRNGJneVNlZk5MbGFIaFVWQmExV2kxT25UbUg4K1BFbXEvbTNhdFVLMzM3N0xkYXRXMmRSUW1IT25EbGw3Z1pnQzg1VSttQ3Nwc1NXUHFGZ3pOZlhGNzYrdmhhL3huZmZmV2RSSXFHeTl0ZXBVd2VKaVlsbTE5OFlPWElrUm80Y0NaMU9aL083UUxEMHdUd21GWnlUYkhkOTJMSmxDNEtDZ2t6dUV6eDROa294OEFBQUlBQkpSRUZVOEdDejA2azBHZzIwV2kyVVNpVXVYcnlJbUpnWTQ4d2NBQ0EyTmhheHNiRmxubXZKTkt5MWE5Y2lKU1VGdzRZTncydXZ2V2JZSGgwZFhZVlBWSFVzZmJoRnpzNDNPOTRzZmJnZDQwM2VlQU9jZHJCblQ3S1dQZ0E4andMT054dW1PcVVQeHBSS0plNjc3ejdEWStOQjcrM2ZXWExmcnE0NkxDbmRLbytibTF1RjY4UW9sVXE4Ly83N1p2ZjUrdnJpcFpkZXN1aDlIbjMwVWF2YVZ4bG5LbjB3VmxOaXl4WnNOVE5Ca2lTelNRNWpjdnd1V2ZwZ0hwTUtUa2l1MGdjQVNFaElRSjgrZmN6dTI3NTlPN3k5dlhIOStuVjA2OWJOY045Y2pVWURuVTZINjlldm14d2ZIeDlmNWpXT0hEbUNtSmdZeE1iR21uUzRrcEtTc0hqeFlwTmoxNjFiaHdZTkdtRFVxRkVtMjkzZDNhMzllSlZpNllNSldUdmY3SGl6OU9FMmpEZVo0dzF3dnNHZXZlbG53OGh4L3RTcjdlZFI0OWt3QUp4aTVVaTVTaC9JOWNoVitpQlhrcEpjQzBzZnlzZWtnaE9TcS9RQktGbTRaTTZjT1lZcHVHcTFHdE9tVFFOUWtzMVRLcFVXWi9XQ2dvTEtiTXZKeVFFQU5HM2ExR1IvZEhSMG1RNzFzV1BIb0ZLcDRPWm12ekJrNmNNdGNuZSthM3ZIR3pBcGZYQ0tqcmNqTWQ3a2p6ZG5IT3pabTM0MnpCTlBQQ0ZMNlFQQTg2anhiSmkwdERSbm1RMWptQVZGdGRlVksxZGtLWDI0NDQ0N2F0UzZPMlE5bGo2VWowa0Y1Nk9RSk9sWnVhN202YWYrWjJkbjQvbm5uMGRTVXBLaFJpc2lJc0xpKytXbXA2ZGowNlpOZU8rOTl5eCs3Mm5UcHFGWHIxNkdMK2JDd2tLN2RvU0FXNE04SVVTdDdIQWJrN3Z6WGRzNzNzeG1tMks4eWM5SkIzdjJKSHZwQThEejZHMnpZU3Ivb0RJckxYM29VdDNTQjBzbEp5ZWpjZVBHWmRZTjJMVnJGMVFxRmJ5OXZTdDh2cmw2K1JNblRpQWpJOE11aXpiV1pEdDI3SkNsOUNFOFBMemEwK2p6OC9QTjNzMUJUNmZUb2FDZ3dPNHpiWXFLaWxCUVVGQnAzRklKbGo2VXIyWVg3YmdndWEvbU5XellFQTBiTm9TL3Y3L2hzZjVXTGV2V3JjUDI3ZHV4YnQyNlNsL254SWtUWnEvbVZTUStQaDRuVDU0MFBHN1dyQm1PSFR0bVVlZkxGbkp5Y3ZEYmI3OEJOc3BndXppRkpFbjlBZm11N0NRbEpTRXBLUWsvL2ZTVDRYSFhybDBCbEhTOHUzWHJob2lJaUVwZkp6MDkzVEE0dE5TMGFkT1FtWmxwZU95SWpyZHg2UU96Mll3M2UzQzJ3WjY5ZGVyVTZmL2tMbjBBYXZkNTFCbG53eGlYUGxRMGFMT0ZJMGVPWU1LRUNkaTdkMitaZmVQSGo4ZjU4K2NOajNOemMvSE5OOS9vQjdrR0V5Wk1RRXhNREFvTEN3M2JVbE5UOGZISEgxdlVoc0xDUWx5N2RxM0svMnp0eElrVFVLdlYyTGR2SDFKU1VxQldxM0h4NGtXYnYwOVZ5RkQ2WUxNWk1LTkhqOGFTSlV2TTdpc3VMc2JvMGFQUnMyZFBmYitoUWpxZER0T21UU3YzOWFwaTY5YXRDQXNMdzVrelp5dzYvdEtsU3lieHBOUHBjT25TcFVyLzJab2o0bzhYaXlyR21RcE94cmowd1I0THRXUmtaTml0TTNLN3h4OS9IRjkvL1RYaTQrTk5WbVcvY2VPR0xKbGE0OUlIVzJTd1haazlPdDhOR3pZczkvRzZkZXZnNCtOam1JWmVFWDNIdXlwWDgrTGo0M0hmZmZjWnJ1WVpkN3psbWhKOU82TnN0bE4wdkIySjhTWS9aeHpzMlp2K3FxS2NwUS9tMUtienFKUE9ockZMNmNQTm16Y1JFeE9EUng5OUZOSFIwVGg5K2pUbXpwMkxhZE9td2RQVDAzQmNUazRPVnF4WWdXKy8vUmJ1N3U0SURRMDFXYUJ2MEtCQkdETm1ERjU1NVJYTW1UTUhQajQrS0NvcU1pU21Lck5nd1FKOCsrMjNWVzYvSlhjQzJMeDVNMkppWXZEcHA1L2lQLy81VDRYSHBxZW53OS9mSDJxMUdwOTk5aG5hdFd1SEprMmFWTGxkdGlKVDZVT2dMVW9mdEZvdGpoNDlpaUZEaHBqZE4zbnlaQnc2ZEFpdFdyWEN4SWtUTVd2V3JBckhBQXFGQWlFaElaZzhlVEs4dmIzeHdnc3ZXTlFPYzhtbFZhdFc0Yjc3N29PL3YzK2x5U2NmSHgrTUd6Y09YbDVlV0xCZ0FkemMzSkNibTR1ZVBYdFcrdDQxSWY1WStsQXhKaFdjaTZ5bER3QXdidHc0WExod0FYLzk5UmNBNEwzMzNqUGN1N1ZYcjE0V1Q5dTBoYWlvS0tTa3BPRGpqejlHYW1vcU9uVG9nSnljSEd6WnNnVWJOMjYwK2Z1eDlPRVdSM1MrYTFQSHU3Q3dFQ2twS2ZxSHRUNmJ6WGdySVZlOEFVNDcyTE1udTVRK0FMWDdQT3BzczJIc1ZmcWcwK253d1FjZm9GNjllcGc2ZFNva1NVS2pSbzF3OXV4WmZQUE5OM2o1NVpjQmxBejQ5KzNiWjFoVEpUSXlFbDVlWGlhdjFiNTlleXhldkJpalJvMUNZbUlpQmc0Y2lOemNYSXVubjQ4WU1RSWpSb3dvcy8zTW1UTVlQSGl3OGJuSHhMVnIxeXE5SmFGK2hwVWw2NytrcGFVaExDd01Db1VDYVdscERsL1B3bGxMSC9MeThuRHMyREVVRkJTZ1ZhdFdob0c3ajQ4UDh2THlNR0hDQkdSbVptTCsvUGxvMmJJbEJnNGNpSGZlZVFleHNiRW15YXJiOWVqUkE5ZXVYY1BzMmJNUkdocUtObTNhVk5nT3JWWmJZVks5c29RN1VKSVltRHAxS29ZUEg0N1pzMmRqL1BqeGhuM2J0bTB6M0xyVTJLbFRweXd1NjNIMitHUHBROFdZVkhBaTlsaTFldXpZc2ZEeDhjSE5temZSczJkUFE2ZGo4dVRKMkxCaGc4blZQQjhmSDZTbXBzclNEZ0NvVzdjdWxpNWRpb1VMRjJMSGpoM1l0V3NYN3JqakRzT1VaVnRpNllNSnUzUythM1BIbTZVUEpoaHZNc2NiNEh5RFBYdXpWK2tEVUh2UG84NDRHOFplcFE4VEowNUVTa29LeG80ZGkvWHIxeU0zTnhlNXVibG8wS0FCbGkxYlpoZzBYYjkrSFI5OTlCRzZkZXNHaFVLQkgzLzhFWC8vL1RmR2poMXI4bnAzMzMwMzR1UGpEU1UwVjY1Y01meGNtY29HZnhYdHIreHFzWDVRWjBuNVZucDZPaVpQbm96OC9Id2NQWHJVNHZJTnVUaHI2VU9mUG4xdzllcFZBRUJrWktSaGUxeGNIR0ppWWlCSkV1TGk0dENxVlNzQXdNS0ZDeEVkSFkwQkF3Wmc4dVRKRmM2U2VPNjU1N0JqeHc3RXhzYmlxNisrcXJBZFNxWFNzQjRNVUZKeThmTExMeU13TUJBZmZQQ0J4WjhuSUNBQTgrYk53K25UcHkxK2pxV2NPZjVZK2xBNUpoV2NpUEU5M09VcWZRZ0lDQUJROG1WeU95RUVkRG9kY25Oem9WUXFVVnhjak9QSGo2TmV2WHJRYURSbVQ5am1idGNHV0hiYk5hRGtuc2JqeDQ4M3lYYkt3YWowd1NZWmJGZG1yODUzYmUxNEF5eDlNTVo0a3ovZW5IR3daMi9HVnhYbG5nMVRXOCtqV1ZsWnpqZ2J4aTZsRHo0K1BxaFhyeDRTRWhMZzcrOFBQejgvK1BuNW9YMzc5dkR5OHNLeVpjc0FsS3lyY004OTl4aWVkL2JzV2NNYUdCa1pHUmcrZkhpRjcxTmVMRXllUE5sa1RaajQrUGd5QzhycXJ3aWJTeHhZZXJXNEtvTzZUWnMyR1g0dXZXampNTTVjK3JCOSszYTgrdXFyYU51MkxjYU1HWVBDd2tKTW56NGRVVkZSQ0E4UFIxSlNrc21NTmdBSURnNUdreVpORUJVVmhXZWVlUWFUSmswcTkvV1ZTaVV5TWpLd1k4ZU9Tczh4eG1XQlgzLzlOUzVmdm93RkN4YVVLUitzek4xMzMyMXlGeVNnWklaZWRUbHovTEgwb1hKTUtqZ1B1MDNkTEU5MmRqYTZkZXNHU1pMUXMyZFBLQlFLakJ3NUV2bjUrZkR3OERBNUdUNzExRk1JRFEydDB1czdjbFZqbzlLSFdwOWR0RmZudTdaMnZKbk5Oc1Y0a3pmZUFLY2Q3Tm1UNGZ6NXhCTlBPTFFodGVFOENpZVpEYU12ZmZEdzhKRDlyZzhUSmt6QWhBa1R6TzY3Y3VVS0xseTRnQTBiTnVEdzRjT0dLODdYcjErSFJxT0JTcVVDQUxSdDI5YnN3cHhhclJZdnZ2Z2krdmJ0aStlZmY3N00vZ0VEQnBpZERoNFZGWVhmZi84ZEFOQ3RXemREQ1FZQWZQamhoOWk4ZWJQaGZkOS8vMzJMUHFkU3FRUmcyYURPbWNoUSttQ3ppM3c1T1RuWXYzOC9CZzBhQkxWYURZMUdnOERBUU15Y09STmhZV0ZtRXdaS3BSS2VucDdZczJjUEdqUm9VTzVyNStmblE2UFJ3Ti9mSDRzWEwwWllXSmhGNTluTXpFd3NXclFJeGNYRmVPYVpaeW85WHArb09uMzZ0R0hHWC9QbXpVM2k4cWVmZmpKYlhuUHUzTGt5ZDBncWp6UEhuOUZNbUZxWnVMZUU4LzNWYWlsN2xENFk4L1B6dy9MbHl3MlBWNnhZZ1JZdFdtRGZ2bjBRUWhpK1JIZnYzbTMyOWtjK1BqNlYxdWJkenBKRld1VEEwZ2NUVHRINXJza2Q3OVRVVk9UbDVRRXNmUUFZYjNiaGJJTTllN05uNllPeDJuUWVkY2JaTVByU2gwY2ZmVlQydXo0QTVTY2FnWksveTRzdnZvaXBVNmRpeXBRcGh1Mk5HalV5ZkQ5NGVucWF2VjN0a1NOSFVGUlVoQWNmZk5Ecy9xS2lJcFBCVzJwcUt0emQzUTBKQmIxZmZ2a0ZBSkNZbUdpeS9mZmZmMGRnWUtCRnM3T3FVdFB1VEdRb2ZUQWt3NnRyeTVZdENBb0tNcm15UDNqd1lMUHhwTkZvb05WcW9WUXFjZkhpUmNURXhCaGZwQ2dqS1NrSnhjWEZtRDU5T2thTkdvV2RPM2RXV2g1ei92eDVqQnMzRHNYRnhaZzdkeTZhTjI5ZTRiSEdwVHN2dlBDQzRhNGwrdGt5T3AwT2t5Wk5Rb01HRGN6R1RVQkFBQ1pObW1UUm1rTE9Hbi9HRjR2YzNOeHEvY1dpOGpDcDRDVHNVZnBnVEtsVW1xeEdIQndjYk53V2syUHQwUjQ1c2ZUaEZrZDB2bXRUeHh0ZzZZTXh4cHY4bkhHd1oyLzJMSDB3VnB2T28wNDZHOFl1cFEvR3Z2bm1HN1JzMmRMd1dMODRJZ0FNR3pZTUF3WU1NTlRQdTd1N3c4L1ByOUsvL1o0OWU2QlFLS0JTcVF3SkFIMlNwUEQvMjd2MzZLaXF1Ly9qbjVNTUNSSklnaUtncUZDd2l5eDV5Q0lUTG5KSFdGSlFBNC9WZ0lwdHJDSXhZcUZkdGxpeC9pS3hDTm9pQkI0RUhtZ0o1QWVsSUxiWVZqVDhsRmdhUkNFSkMwR2dSTGxJdVZnQk14QUl1Y3orL1FFWmN5ZUptVG1UbWZkckxkZkt6RGx6em5lU0xlZnM3OW5mdlV0S1pJeXAwc21xV0NXaUlrbFFVbEtpeFlzWGE4V0tGWHIrK2VlMWNPRkNUWmd3UWYvODV6ODlUMzRyZjY0K2pSbCs3aS84dWZSQmt0NTY2eTBsSkNUVXV1MkREejVRMjdadGRlSENCWTBjT2RKVG9wZWJteXUzMjYwTEZ5N1VlK3lOR3pkcXdJQUJpbytQMS9EaHc3Vml4UW9OSHo2OHpuOEhUNTgrcmFsVHAzcmFWNWN1WFdwTlpOV2xvczFWVG9nMDlJSEIxcTFibFo2ZVh1OCsvdHIrS3BjKzdOeTU4d3U3NC9GWC92VlhDMTYybHo0RU1rb2Z2bVhIelhjdzNYaFQrbEFWN2MzNy9MU3o1MHNoYXNhbmlxaGR0Vm5QYlI4TjQ4dlNoOG9pSWlLcUpCMGpJaUk4UDZla3BPaWxsMTVTcDA2ZFBPK2RPblZLMTExM25hS2lvdW84WmxaV2x1TGk0aFFaR2FscDA2YXBUWnMyU2s5UFY2dFdyVlJhV2lxcDdvUkFUazZPNXMyYnAram9hS1dscGFsdDI3WmF1WEtsWnN5WW9mZmVlMC9UcGszVGtDRkRHdnh2bmI5MjZ1cmp6NlVQa2xSUVVLQUZDeFpvd1lJRmtxNTB5Rjk1NVpXS2N5azBOTFJKNTltK2ZicysrK3d6ejNFblQ1NnNSeDk5VkZsWldmckJEMzVRWS85ang0NHBKU1ZGb2FHaFdyNTh1ZTY1NTU1bUdXVlhlZkxIaXZOTW5qeFo3NzMzWHBWcmJrdE9hbEg2MEREKzlWY0xVbllOM1F3R2hZV0ZsRDU4aTV0dkw5dXhZMGRGNlFNVCtkRGVmTUxmT251KzFxZFBuenNsZGVINjZUMXV0OXZ2a3ZQbDVlVVBTdDVmOWFHNitqcGhuM3p5aVM1ZHVpUzMyNjJkTzNkcXc0WU4rdkRERHpWcDBpVDk3R2MvcS9Nem4zLyt1V2JObWlWSm1qMTd0bjcwb3gvcE43LzVqV2JObWxYeGRMVEswb0psWldYS3pzNVdabWFtamg0OXFxZWVla29USmt6UTJyVnJ0WExsU3ExWnMwYVptWm5Lek16VUN5KzhvT2pvYUNVa0pPak9PKzlVcjE2OXFveGVxTTVmTzNYMXFWVCsxUndkdm1ZdGZaQys3WFNmTzNkT0V5ZE9WRlpXbGljeE5XN2N1Q2F0VEZSV1ZxYjU4K2Zyamp2dTBOQ2hReVZKTVRFeEdqVnFsTkxUMDJzdENRb1BEOWROTjkya3VYUG5xa09IRHBLdXJEUlJNUjlSYlk0ZlA2NlVsSlI2WTZrK3llUHg0OGNWSGg3dU9VZGorR1A3by9TaDRmem5yeGJFbW1zdFhOVFUzQm5zbG95YmIrK3J1TGxoRFdQYW15LzRZMmZQMTdoK2VwK2Zqb1pKbEJvKzlMcTVWRjkxb2ZxcUNrdVhMbFZlWHA2a0syMHlJeU5EdlhyMXF2Vll4aGk5OGNZYnV2SEdHelY2OUdoSlY0YWp6NWt6Ujg4ODg0eEdqaHlwcmwyN1NwSmF0MjR0U1ZxMmJKazJiTmlna3BJU0pTWW1hdEdpUllxTWpKUWtUWm8wU2J0MzcxWkJRWUU2ZCs2c3h4NTdURC84NFEvMXh6LytVVys5OVphV0xWdW1jZVBHS1RVMXRjN3YxNzE3ZDYxZHU3YkthQXQvZHZiczJZcnlzN0x3OFBCTjMvVjRmZnYyN2VkMnU1dXQ5RUdxMmVtdS9QcnR0OSt1c2pKUlF5MWZ2bHlIRHgvV2loVXJxcncvZmZwMFBmamdnNW8vZjc1ZWVPR0ZLdHM2ZGVwVVkvK09IVHZxNXB0dnJ2TThGZk1uMU9XKysrN1R5Wk1uYTkxVzE1d1I5ZkhIOWxkcGlmQmNTaC9xUjFMQmZwUStlRkd3MzNCWHhzMjNkMUg2VUJYdHpmdjh0TFBuUzR5RzhRRi9HdzFqVittRGRPMUpXYU9pb3ZTNzMvMU92WHYzbG1WWnlzckswa2NmZmFUSmt5ZlgySGZqeG8zNjlOTlA5ZUtMTDFZWkdqNWd3QUNscDZkcjRNQ0IrdXl6enlUSjg5UzVaOCtlZXZ6eHh6VisvSGlOR0RGQ0dSa1pOWTY3ZGV2V0txOXpjM1AxNUpOUGF1Zk9uZnIrOTc5ZmIvemg0ZUZWbHNUMGQ4Mzk0TWp0ZG52OXVyVjc5KzVHajB5b0xDY25SMy80d3g4MGNlSkU5ZW5UcDhxMm0yKytXVTg5OVpUUzA5UFZwMDhmM1h2dnZmVWU2N3VXUHl4WnNrU2xwYVdlMzVYYjdkYTBhZE5VV0Zpb1VhTkdOWGkxcEFyKzJQN29SelFjU1FXYlVmcmdQWlErVk1ITnQ1ZFIrbEFGN2MwSC9LMno1MnVNaHZFK2Z4d05ZMWZwZzNUdGtRb1BQL3h3bGUxSGp4N1YxcTFiYXlRVjl1L2ZyOWRmZjExOSsvYlYrUEhqYTV4bjBLQkJrdVNacUsvaWUxWittcjExNjFhVmxKUjQ2dklyeThySzBxSkZpenlkeXBDUUVBMFlNT0NhMzIvTGxpMUtTMHRUYW1wcWkvaTMyOTlMSHlScHhvd1pPbm55cEU2Y09DRkptamx6cHA1KyttbEowcjMzM3R1bzhvZTh2RHpObURGRGQ5eHhSNTBsTlk4KytxaTJiOS91bVdOaitQRGhkUjV2OGVMRjExejlZZXJVcWJWdU8zMzZ0RmF0V3FYVTFGVFB5SUlGQ3hhb3BLUkU4K2ZQMS9UcDAvWFFRdzhwSmlhbVFkOU44ci8yUitsRDQ1QlVzQmxQODd5SDBvZHZjZlB0ZlpRK2ZJdjI1bjMrMk5uek5hNmYzdWVubzJGc0tYMW9pS3YzSEI1bno1NnRNWlQ3MEtGRGV1YVpaeFFWRmFXWFgzNjUza2xzOSsvZkw0ZkRvZXV2djc3R3RyWnQyMnJKa2lWYXYzNjloZzBicHJ2dXVrczlldlRRL1BuemRlalFJYzJiTjYvZVpUQnJVMWhZcUlzWEw4cmxjalhxYzNab0NhVVBralJ0MmpTMWE5ZE94Y1hGdXVlZWUvVE9PKzlJa2xKVFUvWDN2Lys5U3ZsRHUzYnQ2bHo2ODkxMzM5V3NXYlBVcFVzWHowU2V0UWtKQ2RIY3VYUDFrNS84UkwvNHhTK1VuSnlzcEtTa1d2ZnYzTG16YnIzMTFqcGp2M3o1Y28zM3Z2bm1HMGxYU2kxaVkyTVZFUkVobDh1bDMvNzJ0M3IvL2ZlMWFORWl4Y2ZIYTlLa1NYcjY2YWMxWjg2Y0JpVzBKUDlyZjVRK05BNUpCWHZ4Tk0rTG1qbUQzYUp4OCsxZGxENVVSWHZ6UGovdDdQa1MxMDhmOExmUk1IYVdQbFIyK3ZScFJVUkVhUGZ1M1o0NURkcTJiYXQvL09NZm5zNWJjWEd4ZHV6WW9WR2pSbmsrOThFSEh5ZzFOVlZoWVdGYXVIQ2hPbmJzNk5sV1hsNnV4WXNYcTJQSGptcmR1clcrK3VvcnJWcTFTb01HRGFwejRycms1R1QxN2R0WFdWbFpTa3RMVTJGaG9jTER3NVdXbHFhNHVMaEdmNjhISDN4UVk4YU1VZHUyYlJ2OVdWOXJLYVVQRlJNaGxwV1YxZGhtakpIYjdaYkw1VkpvYUtqS3lzcFVVRkNnaUlnSTVlYm1la2FvckY2OVd1bnA2ZXJWcTVjV0xseW82T2pvZXM4WkhSMnRwVXVYYXVyVXFWcXlaSW1NTVhyeXlTY2JGRy9GLy9NT2gwTlpXVmsxenBXVGs2UFEwRkNscEtUb3JydnUwdXJWcTdWKy9YcEZSVVZwK2ZMbG5qbEVVbEpTVkZwYXFxbFRwMnJZc0dFYU4yNmNCZzhlWEdjeVJQSy85aGZzaWZ2R0lxbGdJNTdtZVUvbDBvZm15R0MzY054OGV4bWxEMVhRM256QTN6cDd2c2IxMC91TU1YNTNVMjFuNlVObHI3enlpZzRmUHF3MmJkcm8yV2VmbFNSTm1USkZ5NVl0MDZKRml5UmRlV0xjczJkUEpTWW1TcEt5czdQMXkxLytVcmZlZXF2UzA5TTlrekJXQ0EwTlZWWldsbWZpdTlEUVVQWHYzNy9HaEh1VmhZU0VxRisvZnVyWHI1K2VlKzQ1YmQrK1hlKzg4NDVlZlBGRkhUcDA2Sm96OTlmR1h6cDAxOUlTU2grdTVkeTVjeG81Y3FRc3k5STk5OXlqa0pBUUpTY242K0xGaXdvTEM5TVRUendoU1VwSVNOQzVjK2VVa3BMU29LVVpwU3NUTTY1YXRVcnIxcTFUVWxKU2cyUGF2SGx6eGYyeklpTWo5Zk9mLzd6SzlyRmp4NnBidDI3cTNyMjdrcEtTVkZSVXBNbVRKMnZDaEFsVllyTXNTOU9uVDlmZ3dZTzFkT2xTTFZ5NDBMTlNSWDM4cGYxUit0QjRKQlZzeE5NODc2SDA0VnZjZkh0ZnRRNWVVS085ZVo4L2R2WjhqZXVuOSszZHU5Y2ZSOFBZbHJDc1BITjllbnA2amUyVEprM1NwRW1UNnZ6ODhPSEROV1BHRENVa0pOU1pFUG5iMy80bVk0ekt5c29VR2hyYXFMYnRjRGcwYk5nd0RSczJUQmN1WEZCNWVYbURQOXZTdEpUU2g4cWlvNk9WbVpucGViMSsvWHJkZXV1dDJybHpwNHd4bnIvMXRtM2I1SGE3WlZtV3B6U21mZnYybWo1OWVxUFBHUkVSNFVsTVZMZHg0OFphNTFPWU4yOWV2Y2NNQ1FueGpFYkl5TWhRNjlhdDYyMm5mZnYyMVlvVksxUlNVbEx2Y3FiK2h0S0h4aU9wWUtPS1ZSL1dyRm1qTld2VzJCMU9vS0wwZ1p0dnJ5b3BLVkYyZG5iRnk2RHM0RlZHZS9NK1ArM3MrUlRYVDkveGw5RXdsVXNmR3ZMRTA5OVlscVdKRXljMmFMLzZob2czaEw4ODdmV1dsbEw2VUZsb2FLanV1T01PeitzZVBYcDRmcTQrcjRZdnJwMlZKeFJ0cXNhTUZtcm9DQXQvRWV5Sis2WWdxV0FqdDl0ZFlGbldMWGJIRWNEK1hWcGFHdXlyUG5EejdUdVVQb2oyNWt2KzB0bXpBOWRQbjdrZ0tjUHVJQ1QvS1gyQS9id3daOWFEa3JSdTNUcHQyaFRzRmJNd3hxaTR1RmdTcFErTlFWTEJSdm41K1hmWkhVTnpjRHFkUnBMeTh2THFuc0lZdHVIbTJ5ZmN4cGczN0E3Q0g5RGVmTVp2T250MkNKVHJweVE1bmM2bGtwS05NU241K2ZsTDdZN0hqeVZLVitZbStQV3ZmMjEzTExESjJiTm50WFBuVHFsNTU4ejZqNlJ1a25UcDBxVm1PaVFDd1ArajlLSGhTQ29BQVM3QWJyNUpZUGs1MmhzQUwva3Y2Y3F5alpzM2I3WTdGdGpNR0pQVlhITm01ZVhsRGVqVnExZEVjeHdyVUlXR2h0N2xjRGpldGl3cnU3aTRPTUh1ZUh4aDM3NTlGKzJPb1NVaHFRQUFBQUMvRmhJUzBzL3RkdmV6T3c1L1pZejVubVZaYVpabEhUYkcvQis3NC9FeTQzQTQzbS9PNCszYnQrOUNNeDR2NE1URnhWMlNKR05NT2I4cjFJYWtBZ0FBQVB6YXJsMjdEa282YUhjYy9pb3VMcTZ2cERSanpObTh2THovYTNjOEFJSUxVM01EQUFBQUFJQW1JYWtBQUFBQUFBQ2FoS1FDQUFBQUFBQm9FcElLQUFBQUFBQ2dTVWdxQUFBQUFBQ0FKaUdwQUFBQUFBQUFtb1NrQWdBQUFBQUFhQktTQ2dBQUFBQUFvRWxJS2dBQUFBQUFnQ1locVFBQUFBQUFBSnFFcEFJQUFBQUFBR2dTaDkwQkFFQmpPWjNPTysyT0FjR2pUNTgrL1N6TE1uYkhnWURWMSs0QUFBRDRMa2dxb05rNG5jNXN1Mk5BMFBqSTdnQVFQRUpDUWo2eE93WUVoWEh4OGZGZDdBNENMVmFNTVVhU0lraThvN2taWTJoVHFCZEpCVFNITTVKdWtEVGM3a0FBQUdpSkxNc2FhNHdaYTNjY2FQRmlST0lkemN5eUxMdERnSjhqcVlEdnpMS3NHTXV5L3N2dU9BQ2dPYm5kN3ExWGY3eDQ5VDhBOEdkRzB0ZVNYSFlIZ29CVUx1bC83UTRDL29tMEV3QWc2UFh1M2J0OTY5YXRZeDJPYjNQdGx5OWZ6cFlreTdKV2hZV0ZyYXg0MytWeUhkeTNiOThwMzBjSkFBRGdmeGlwQUFBSWVtRmhZVDhxTHk5UEx5OHZyN0hOR0pOMCtmTGxwRXI3ZmlScGtDL2pBd0FBOEZjc0tRa0FnTFNrb1R1R2hvYit4cHVCQUFBQXRDUWtGUUFBUVM4M043ZFVVbkVEZGpYR21DM2VqZ2NBQUtDbElLa0FBTUFWbWRmYXdSaHo2R29DQWdBQUFDS3BBQUNBSk1ubGN2MzBXdnRZbHZXOEwySUJBQUJvS1VncUFBQWdxYUNnNExLa2tucDJNWkdSa2UvNEtoNEFBSUNXZ0tRQ0FBQlh1ZDN1djlTMXpiS3NMN096c3hzeTd3SUFBRURRSUtrQUFNQlZicmY3OGJxMmxaZVhVL29BQUFCUURVa0ZBQUN1MnJOblQ1R2tzdHEydWQzdVRUNE9Cd0FBd08rUlZBQUFvS29hUzBZYVkwNWRUVGdBQUFDZ0VwSUtBQUJVVWxwYU9xbjZlNVpsdldSREtBQUFBSDZQcEFJQUFKVjgrdW1uNXlTVlYzN1BzcXgxTm9VREFBRGcxMGdxQUFCUTAwZVZmbmJuNXVZVzJoWUpBQUNBSHlPcEFBQkFOU1VsSlE5V2V2a0wyd0lCQUFEd2N5UVZBQUNvWnUvZXZhZU5NVzVKY2pnY3ErMk9Cd0FBd0Y4NTdBNEFBQUIvWkZsV25xUk9uM3p5eVJtN1l3RUFBUEJYbHQwQkFBQ0MwNGdSSXh3dWwydWlaVm1Ka3VLTk1UZEtDcmM3cmhiZ3NtVlovNUdVSzJsOXUzYnQxbWRuWjVmWkhSUUFBQWhPSkJVQUFMNW1PWjNPS1pKK0phbWJ6YkVFZ2lPUzV1VGw1UzJYWkd5T0JRQUFCQm1TQ2dBQW43bjk5dHZESXlNalYwaDZWSko2OXV5cHhNUkUzWDc3N2JydHR0c1VGUlZsYzRUK3I3Q3dVTWVPSFZOQlFZRTJiTmlnZ3djUFZtektkTGxjVHhZVUZGeTJNejRBQUJCY1NDb0FBSHdpUGo2K2pUSG1YVWxEYjdqaEJxV21wbXJRb0VHeUxDNUZUV1dNMGZidDJ6VnIxaXlkT1hOR2tyWlpsalVtTnpmM290MnhBUUNBNE1EcUR3QUFuM0M3M2VtU2h2Ym8wVU9yVjYvVzRNR0RTU2g4UjVabGFmRGd3VnExYXBWNjlPZ2hTVU9OTVF2c2pnc0FBQVFQN3VZQUFGNFhIeC8vaURGbVRZY09IYlJ1M1RxMWI5L2U3cEFDenJsejV6Ung0a1NkT1hOR3hwaEg4dlB6LzJoM1RBQUFJUEF4VWdFQTRGV0RCdzl1WjR6NUg4dXlsSmFXUmtMQlM5cTNiNitYWDM1WmttUloxdUxCZ3dlM3N6a2tBQUFRQkVncUFBQzhxcmk0ZUtxazlna0pDUm93WUlEZDRRUzBBUU1HS0NFaFFaTGFYN3g0OFdtNzR3RUFBSUdQcEFJQXdHdGlZMk1qakRIUFdwYWx4eDU3ek81d2dzSmpqejBteTdKa1dkYXpzYkd4RVhiSEF3QUFBaHRKQlFDQTF6Z2NqditXMUdIRWlCSHEycldyM2VFRWhXN2R1bW5FaUJHU2RHT3JWcTNHMnh3T0FBQUljQ1FWQUFEZWRMOGtqUmt6eHRZZ3Rtelpvc0xDd2xxM3VWd3VaV1ptTnZxWUpTVWxPbmp3NEhjTnpTc3EvYjd2dHpNT0FBQVErRWdxQUFDOFl1REFnZGRKR3V0d09EUnc0RURiNGpoOStyUm16cHlwRHovOHNOYnRaOCtlMVlJRmpWK0Y4Y1NKRTNya2tVZSthM2hlTVhEZ1FJV0doc29ZTS9icTN3RUFBTUFySEhZSEFBQUlUQ1VsSlhkS2FoTVhGNmVJQ1B0Sys5OTY2eTExNk5CQlk4ZU9iZlJuanh3NVV1ZTJmLy83MzlmYzU3YmJibE5JaU8vejl4RVJFWXFMaTlPdVhic2lTa3RMQjBqSzlua1FBQUFnS0pCVUFBQjRTNndreGNURTJCYkFwVXVYdEg3OWVpVW5KNnRWcTFhU2FpWUI2a29PUkVaRzZvRUhIcmptT2VyYjUvMzMzMWQwZEhUamdtNG1NVEV4MnJWcmw0d3hzU0twQUFBQXZJU2tBZ0RBSzY1Mlp0VzllM2ZiWW5qenpUZlZxbFVyM1gvLy9YSzVYTElzcTg0a1FQWDNKMHlZb056YzNEcVBmZVRJRVQzd3dBUDE3bU9uU3IvM1dEdmpBQUFBZ1kya0FnREFXM3BKMHZlKzl6MWJUbjcrL0htdFhMbFNVNlpNVVhoNHVGNS8vWFhsNWVWcDE2NWRzaXpMczkrMWtnTmxaV1g2NnF1dmFyeGY4ZDZKRXllaFV5UXpBQUFIbmtsRVFWUnFiT3ZZc2FNY0Ruc3ZzUlZKQldOTUwxc0RBUUFBQVkya0FnREFXenBJMHZYWFgyL0x5UmN2WGl5SHc2RkJnd1lwTHk5UGYvN3puelY3OXV3cUNZV0dPSDc4ZUwwbERna0pDVFhlMjdoeG83cDE2OWJZa0p0VisvYnRLMzdzWUdjY0FBQWdzSkZVQUFCNFM1UWsyeVpwUEhmdW5NNmNPYVBFeEVTVmxaVnA0TUNCdXZ2dXU1V1ptVm5yYWcveDhmRlZYbGNmdVZEOWRWMGpIS29meHk2VmZ1OVJkc1lCQUFBQ0cwa0ZBSUMzUkVwU216WnRiRG41bkRsek5HZk9ISDN3d1FkS1RVM1ZyMzcxSzBuUytQSGpOWFRvVUZ0aThpV1NDZ0FBd0JkSUtnQUFBbEpJU0lpKytlWWJ2ZnJxcS9ycFQzK3FXMjY1UmRLVlZSMGlJeU1iZmJ6cWN5ZlVONmNDQUFCQXNDQ3BBQUR3RnBla0RoY3ZYbFJZV0pqUFQyNk0wVXN2dmFSdTNib3BNVEZSWDM3NXBZNGRPNmFCQXdmcTJMRmo5WDYyUzVjdW5pVW9LOVEyZDBKOTc5dXRxS2lvNHNkQ08rTUFBQUNCamFRQ0FNQmJDaVYxS0NvcVVuUjB0TTlQdm1uVEptM2J0azBkT25UUWtDRkRWRnBhcXI1OSt5bzJOcmJlaVJlbHFoTXRSa2RIYThxVUtVcE9UdlpzMzd4NXMxNTc3VFc1WEM3MTZORkRpeFl0VXFkT25TUkp5NVl0cytYN1ZrZFNBUUFBQUFEUVlqbWR6aDFPcDlQczJiUEgyR0gvL3YxbXlaSWw1dDEzM3pVSERod3dseTVkTXNZWTQzSzVqTlBwTkY5Ly9YV3RuM002bmVidzRjTzFiaXN1TGphdnZmYWF1ZSsrKzh6V3JWdU4wK2swbXpkdk52ZmVlNi9adTNldnQ3NUtrK3paczhjNG5VN2pkRG8vc3JzdEFBQ0F3TVZJQlFDQXQreVROT0R3NGNQcTNidTN6MDhlRXhPam1KZ1l6K3Vpb2lMdDJyVkwzYnQzYjlMeGNuTnpOWHYyYk4xNDQ0M0t5TWpRK2ZQbkpVbGp4b3lSSkQzMTFGTktTa3JTajMvOFkxdktQYXI3NG9zdkpFbVdaZTJ6T1JRQUFCREFTQ29BQUx6Q3Nxdzl4aGhQNTliWGR1N2NxWDM3OXVsZi8vcVhEaHc0b0MrLy9GSmR1blRSOHVYTEczV2N3NGNQYS9IaXhjckp5ZEVUVHp5aHh4OS9YQ0VoSVo2a2duUWxzWER6elRkcjVzeVoyclJwazVLVGt6VjY5R2hia3d1VmZ1OTdiQXNDQUFBRVBKSUtBQUJ2MlNOSkJ3NGNzT1hrYjc3NXBrNmRPaVduMDZteFk4ZXFkKy9laW82TzlpUURSbzhlWGUvblMwcEs5UHp6eit2RER6OVUvLzc5dFc3ZE9uWHQyclhPL1dOalk3VisvWG90V3JSSWFXbHBXcnAwcWRhdVhkdWtsU2FhUThYdjNiSXNrZ29BQU1CclNDb0FBTHdpTEN4c3grWExsNHZ5OC9NamlvcUtGQkVSNGRQenYvcnFxL1Z1Ly8zdmYxL3JoSW9Wa3ppR2hZWHA3cnZ2MXNTSkU5Vy9mLzhHbmJOTm16WjY3cm5uOVBEREQrdnJyNysyTGFGUVZGU2svUHg4U1NwcTI3YnREbHVDQUFBQUFBRGd1M0E2blc4Nm5VNnpaY3NXdStjdDlDZ3VMalp6NTg0MVJVVkZ0VzZmTzNldU9YUG1USU9PazUrZjM5emhOWXN0VzdZWXA5TnA0dVBqTjlqZEJnQUFRR0FMdFRzQUFFRGd1dW1tbTFwSittRjVlZmsxeXcxOHhlRndhTWlRSVdyVnFsV3QyNGNNR2FMcnJydXVRY2ZwM0xsemM0ZlhMTjU0NHcwZE9YSkVsbVhOUG5ueTVLZDJ4d01BQUFKWGlOMEJBQUFDVjFsWjJWOGtmWjJkbmEyalI0L2FIVTVRT0hMa2lMS3pzeVhwUDZXbHBadHNEZ2NBQUFRNGtnb0FBSy9aczJkUGtXVlo4NHd4eXNqSXNEdWNvSkNSa1NGampJd3g4L2JzMlZOa2R6d0FBQ0N3a1ZRQUFIaFY2OWF0RjBzNjkvYmJiK3ZqanorMk81eUE5dkhISCt1dmYvMnJKSjFyMDZiTkczYkhBd0FBQXA5bGR3QUFnTUFYRnhmM3NHVlphMis0NFFiOTZVOS9VdnYyN2UwT0tlQ2NQWHRXRHozMGtNNmNPU05qek1QNStmbnI3STRKQUFBRVBpWnFCQUI0M2FsVHAvWjI3dHo1bGt1WExqbHpjbkkwWk1nUXRXdlh6dTZ3QXNiSmt5YzFkZXBVblRoeFFwS1c1K2ZuejdFN0pnQUFFQndvZndBQStFUklTTWgwU2RzKy8veHpKU1VsS1NjblI4WVl1OE5xMFl3eHlzbkpVVkpTa3I3NDRndEoybVpaMXMvc2pnc0FBQVFQeWg4QUFENXorKzIzaDBkR1JxNlE5S2drOWV6WlU0bUppZXJSbzRlNmR1MnFxS2dvbXlQMGY0V0ZoVHA2OUtnKy8veHpiZGl3UVFjUEhxellsT2x5dVo0c0tDaTRiR2Q4QUFBZ3VKQlVBQUQ0bXVWME9wK1U5THlrYmpiSEVnaU9TSnFUbDVlM1hCSkRQd0FBZ0UrUlZBQUEyR0xFaUJHTzgrZlBUekRHSkVxS2wzU2pwTlkyaDlVU0ZFdjZqNlJjeTdJMnRHdlhibjEyZG5hWjNVRUJ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VFIUDUveHBqWXl3V3FjK1VBQUFBQUVsRlRrU3VRbUNDIiwKICAgIlR5cGUiIDogImZsb3ciLAogICAiVmVyc2lvbiIgOiAiMTQiCn0K"/>
    </extobj>
    <extobj name="ECB019B1-382A-4266-B25C-5B523AA43C14-7">
      <extobjdata type="ECB019B1-382A-4266-B25C-5B523AA43C14" data="ewogICAiRmlsZUlkIiA6ICI4NDM5NTE1Mzc4NyIsCiAgICJHcm91cElkIiA6ICI0OTg2Mjc1MzQiLAogICAiSW1hZ2UiIDogImlWQk9SdzBLR2dvQUFBQU5TVWhFVWdBQUExWUFBQUs3Q0FZQUFBRHg4UjZEQUFBQUNYQklXWE1BQUFzVEFBQUxFd0VBbXB3WUFBQWdBRWxFUVZSNG5PemRlWHhVOWIzLzhmZDNFa0pZRWhZWExJdElpRVVJSnVZTVZIR3BRUUZKY0dNd0Zia29na0JyVzl0N3IvWGVhdHVmV3kyMlY2clNhaFVSdDE1UmtVRkJDSUpvdUxSRmhDUWs3TmVBN0VMWnNwQ1FiZWI3K3dObWJzSWF5RExKNVBWOFBIeVErWjR6NTN4eUV2RzgvWHpuZXlR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VMR2hMcUFjSktTa2hKWlZGUjB0ekVtWFpMYldudVJwTmFocnFzWktEZkc3SmVVSmVtRG1KaVlEekl6TTZ0Q1hSUUFBQUJRV3dTcittRWN4NWtzNlplU0xndHhMZUZnbTZRcDJkblpyMG15SWE0RkFBQUFPQ3VDVlIzRng4ZTNqbzJOblNGcHJDVDE2ZE5INmVucGlvK1AxNldYWHFvT0hUcUV1TUttcjdDd1VEdDI3RkIrZnI1bXo1NnR6WnMzQnphOVUxUlVOQ2svUDc4OGxQVUJBQUFBWjBPd3FnTzMyOTNXV3J0STBnMFhYSENCSG4vOGNWMTc3YlV5aHN0NnZxeTErc2MvL3FFbm4zeFNCdzhlbEtUbHhwamhXVmxacGFHdURRQUFBRGdkVjZnTGFNNzhmditMa203bzNidTMzbjc3YlYxMzNYV0Vxam95eHVpNjY2N1RXMis5cGQ2OWUwdlNEZGJhRjBKZEZ3QUFBSEFtcElEejVIYTd4MWhyLy92Q0N5L1VlKys5cDA2ZE9vVzZwTEJ6K1BCaDNYMzMzVHA0OEtDc3RXTnljbkptaGJvbUFBQUE0RlRvV0oySDY2NjdMc1phKzJkampKNTY2aWxDVlFQcDFLbVRubjc2YVVtU01lYWw2NjY3TGliRUpRRUFBQUNuUkxBNkQyVmxaVCtSMU9tMjIyN1QxVmRmSGVweXd0clZWMSt0MjI2N1RaSTZsWmFXL2pqVTlRQUFBQUNuUXJBNlI0bUppZTJzdFE4YlkzVC8vZmVIdXB3VzRmNzc3NWN4UnNhWWh4TVRFOXVGdWg0QUFBRGdSQVNyY3hRWkdYbW5wQXRUVWxMVXMyZlBVSmZUSWx4MjJXVktTVW1ScEl0YXRXcDFSNGpMQVFBQUFFNUNzRHAzSXlWcCtQRGhvYTZqUmFsMnZVZUdzZzRBQUFEZ1ZBaFc1MkRRb0VGdEpLVkdSa1pxMEtCQm9TNm5SUmswYUpBaUlpSmtyVTA5L25NQUFBQUFtZ3lDMVRtb3FLaTRSbExiNU9Sa3RXdkhSMzBhVTd0MjdaU2NuQ3hKN1Nvcksxa3hCQUFBQUUwS3dlcmNKRXJTRlZkY0VlbzY2c1RuOCtueHh4K1gzKyt2TVY1YVdxb25ubmhDNWVYbElhcnN6QUxYM1ZxYkdPSlNBQUFBZ0JvaVExMUFjeEs0b1krTGl3dDFLWktrano3NktQaWNwOXJJeXNxU0pPM2R1MWNyVjY2VXkxVXpWLy8xcjM5VmVYbTVXcmR1WGE5MTFwZHExNTFnQlFBQUFEUlhqdU44NlRpT3pjdkxzMDJCMysrM1ZWVlZ0cXFxeWpxT1k0dUxpNE92VHpVV3NHTEZDdnZnZ3cvV09OYnUzYnZ0NE1HRDdlN2R1NjNQNTdQang0KzMrL2Z2Yit4djZZenk4dktzNHpqV2Nad1ZvZjVkQUFBQUFLcWpZM1Z1THBTa3pwMDdoN29PU1pJeFJoRVJFY0hYTHBlcnh1dFRqWTBmUDE0Yk5teVFNVWJYWDMrOWpoNDlxbFdyVnVtcHA1N1MyTEZqMWJWclYwblNIWGZjb2VlZWUwN1BQdnRzNDN3enRkQ3BVNmZBbHhlR3NnNEFBQURnUkFTcmM5TkJVck5ldU9LTk45N1E0NDgvcnF1dnZscERodzdWc0dIRDlJYy8vRUdyVnEyU3orZlRGMTk4b2VMaVlwV1VsS2lvcUVpNXVibEtTa29LZGRtU2FsejNEcUdzQXdBQUFEZ1J3ZXJjeEVwUzI3WnRRMTFIbld6ZXZGa1RKa3pRdm4zNzFMVnJWdzBaTWtTWFgzNjV1bmZ2cmdzdnZGQ2RPM2RXaHc0ZE5HL2VQTDMrK3V1YU5tMWFxRXVXUkxBQ0FBQkEwMFd3YXNiY2JuZU4xemZjY01OSisxUWZteng1c3U2OTkxNGRQSGhRbDE1NnFaWXVYYXJ2ZnZlN0dqQmdnQVlNR0hEU2UxTlRVM1h6elRmWGYrRUFBQUJBbUNGWW5ac2lTUmVXbHBZcUtpb3ExTFVFVi9tcnFLalFvRUdEOU5WWFg5WDRQSlhiN2RieTVjdHJkTmh5YzNNVkV4T2pJMGVPYU1XS0ZjRnc1bmE3ZGZIRkY5YzRma0ZCZ1Zhc2FEcnJSSlNVbEFTK0xBeGxIUUFBQU1DSkNGYm5wbERTaFNVbEplcllzV09vYXduYXYzKy9ZbU5qVDFxNDRsU1NrcEtVbHBhbWNlUEc2Y2lSSS9yWGYvMVhTVkpVVkpReU1qSnE3RHRvMEtBR3FmZDhFYXdBQUFEUVZQR0E0SE56UUpJT0hUb1U2anBxK1BMTEw1V1FrRkRyL1NkT25LaExMcmxFRlJVVit1YWJieHF3c3ZwMStQRGh3SmNIUWxrSEFBQUFjQ0tDMWJsWkw2bEpoWkd0VzdmcUwzLzVpKzY1NTU1YXYrZWpqejVTUVVHQmZ2U2pIK25CQngvVTFxMWJHN0RDK2hPbzB4aXpQc1NsQUFBQUFEVXdGZkFjR0dQeXJMVk5Kb2g4L1BISCt1TWYvNmpKa3lmcnV1dXVxOVY3WnMyYXBROCsrRUN2dnZxcUxyNzRZaVVtSmlvdUxrNlZsWlc2NDQ0N0dyaml1cWwyM2ZOQ1dRY0FBQUJ3SW9MVnVjbVRwRTJiTm9XNkRrbFNseTVkOU1JTEx5ZzVPZm1VMnlkUG5xeFdyVnJWR0x2c3NzczBZOFlNWFhEQkJaS2tmdjM2U1RxMmV1RHp6ejlmWTk5Lys3ZC9hNENxejEvZ3VodGpDRllBQUFCb1VreW9DMmhPQmcwYTFLYTh2SHgvWkdSa3U4OC8vN3haUHlpNHVTa3BLZEhnd1lQbDgvbEtZbU5qTDh6TXpDd0xkVTBBQUFCQUFKK3hPZ2NyVnF3NEttbFJWVlZWazFxR3ZDVllzV0tGZkQ2ZmpERVpoQ29BQUFBME5RU3JjemRYa2hZdFdoVHFPbHFVYXRkN2JpanJBQUFBQUU2RllIV09xcXFxUHBKMElETXpVOXUzYnc5MU9TM0N0bTNibEptWktVbjdLeXNyUHc1eE9RQUFBTUJKQ0ZibktDOHZyOFFZTTlWYXF6ZmZmRFBVNWJRSWI3NzVwcXkxc3RaT3pjdkxLem43T3dBQUFJREdSYkE2RDlIUjBTOUpPanh2M2p5dFhMa3kxT1dFdFpVclYycisvUG1TZExodDI3WXZoN29lQUFBQTRGUllGZkE4SlNjbjMyT01lZmVDQ3k3USsrKy9yMDZkT29XNnBMQno2TkFoalI0OVdnY1BIcFMxOXA2Y25KejNRbDBUQUFBQWNDb1JvUzZndWRxN2QrKzZTeTY1cFB2Um8wZWR2Ly85NzdyKyt1c1ZFeE1UNnJMQ3hyZmZmcXVmL09RbjJyTm5qeVM5bHBPVE15WFVOUUVBQUFDbncxVEFPbkM1WEQrWHRIekxsaTBhTjI2Yy92NzN2OHRhRytxeW1qVnJyZjcrOTc5cjNMaHgycnAxcXlRdE44YjhhNmpyQWdBQUFNNkVxWUIxRkI4ZjN6bzJObmFHcExHUzFLZFBINlducDZ0Mzc5N3EyYk9uT25Ub0VPSUttNzdDd2tKdDM3NWRXN1pzMGV6WnM3VjU4K2JBcG5lS2lvb201ZWZubDRleVBnQUFBT0JzQ0ZiMXd6aU9NMG5TbzVJdUMzRXQ0V0NicENuWjJkbXZTYUlGQ0FBQWdDYVBZRldQVWxKU0lvdUxpMzlnclUyWDVKWjBrYVRvRUpmVkhKUkoyaThweXhnek95WW01b1BNek15cVVCY0ZBQUFBQUNkeEhNYzZqa01IQ0FBQUFLaG5MRjRCQUFBQUFIVkVzQUlBQUFDQU9pSllBUUFBQUVBZEVhd0FBQUFBb0k0SVZnQUFBQUJRUndRckFBQUFBS2dqZ2hVQUFBQUExQkhCQ2dBQUFBRHFpR0FGQUFBQUFIVkVzQUlBQUFDQU9pSllBUUFBQUVBZEVhd0FBQUFBb0k0SVZnQUFBQUJRUndRckFBQUFBS2dqZ2hVQUFBQUExQkhCQ2dBQUFBRHFpR0FGQUFBQUFIVkVzQUlBQUFDQU9pSllBUUFBQUVBZEVhd0FBQUFBb0k0SVZnQUFBQUJRUndRckFBQUFBS2dqZ2hVQUFBQUExQkhCQ2dBQUFBRHFpR0FGQUFBQUFIVmtRbDBBR2taaVltTDN5TWpJWDU4dy9NUGpmNzVhZmJDcXF1cTNlWGw1dXhxbk1nQUFBQ0Q4RUt6Q1ZIcDZla1IrZnY1dVkweVhNKzFucmQwWEh4L2ZiZmJzMmI3R3FnMEFBQUFJTnhHaExnQU5ZOE9HRGJaYnQyNjlKUTA0eTY3dkxGMjY5SlBHcUFrQUFBQUlWM3pHS296NS9mNDV0ZGl0TnZzQUFBQUFPQU9DVlJoenVWekxyTFdIenJETHdRNGRPaXhydElJQUFBQ0FNRVd3Q21OWldWbVZ4cGlQejdETHg1bVptVldOVmhBQUFBQVFwZ2hXWWM0WWM5cXBmaTZYaTJtQUFBQUFRRDBnV0lXNXdzTEN6eVFWbldKVFVVRkJ3ZExHcmdjQUFBQUlSd1NyTUplZm4xOXVyVDNWcW4vejgvUHp5eHU5SUFBQUFDQU1FYXhhZ05OTUIyUWFJQUFBQUZCUENGWXRnREZta2FUU2FrT2x4cGhQUTFVUEFBQUFFRzRJVmkxQVZsWldxYVNNd0d0anpNTGpZd0FBQUFEcUFjR3FoYkRXQnFmKzFmTEJ3UUFBQUFCcWlXRFZRa1JGUlMwSWZOMjJiZHNGWjlvWEFBQUFBSEFhanVQTWR4eG5YcWpyQUFBQUFNSk5aS2dMUUtPYVk0eXhvUzRDQUFBQUNEY20xQVUwTnNkeC9rUFM3ME5kQjVvSGEyMW1UazdPNEZEWEFRQUFnS2F0cFgzR3lrajZhYWlMUVBOaGpFa0pkUTBBQUFCbytsclVWRURIY2E2VzFLTkxseTVhc0dDQmpHbHhEVHZVMHRTcFUvWHV1KzlLMHZPaHJnVUFBQUJOWDR2cVdCbGowaVZwNk5DaGhDcWNsdC92MTJlZmZTWkpzdGJPRG5FNUFBQUFhQVphVXJBeTF0cDBTUm95WkVpb2EwRVR0bmJ0V3Yzem4vK1VNV1pYVGs3T3lsRFhBd0FBZ0thdnhRU3I2dE1BKy9mdkgrcHkwSVNkMEszeWg3WWFBQUFBTkFjdEpsZ3hEUkMxd1RSQUFBQUFuSStXRXF4Y1RBTkViUVNtQVVyYXlUUkFBQUFBMUZhTENGYU80M3hQVEFORUxRUzZWWkkrRk5NQUFRQUFVRXN0SWxneERSQzF3VFJBQUFBQW5LK1dFS3lZQm9oYVlSb2dBQUFBemxmWUJ5dW1BYUsybUFZSUFBQ0E4eFgyd1VyU0Q2UmozU3FtQWVKMC9INi9saTVkR25qNVFTaHJBUUFBUVBNVDdzSEtKZWt1NmRqbnE0RFRXYnQycmZidDJ5ZEpPN096czVrR0NBQUFnSE1TMXNHS2FZRG54dWZ6NmVEQmc1S2t5c3JLRUZmVHVFNllCbWhEV0FvQUFBQ2FvYkFPVm1xRzB3Qm56SmloanovK3VNYVl0VmEvK01VdnRITGw2UnNwWldWbGV2dnR0MVZhV25yZTU5NjVjNmZ1dSs4K1ZWUlU2TjU3NzlWSEgzMVVZM3R1YnE3V3JWdDMwdnVtVDU5KzN1ZHNDcGdHQ0FBQWdMb0s1MkRWTEtjQjV1WGw2YkxMTHFzeDl2enp6K3VDQ3k3UWh4OStxUDM3OTUveWZhMWF0ZExPblR2MUgvL3hIL0w3ejIvZGhlam9hUG45ZmtWRlJlbmxsMS9XcWxXcmRPVElFVW5Id3Njenp6eWp5TWhJU2RJOTk5d1QvT2UxMTE2cjhmcTk5OTQ3ci9PSEN0TUFBUUFBVUZlUm9TNmdvU1FuSjErdFpqUU44TDMzM3BQWDY5WE9uVHUxYTljdVJVWkdhdGFzV2ZyREgvNmdxcW9xL2VwWHY5SzMzMzZyUng5OVZJODk5cGppNHVKcXZEOGlJa0tQUHZxb2Z2U2pIMm4yN05tNisrNjdUM3N1djkrdndZTUhuelJ1clZWcGFhbHV2UEhHNE5pSUVTUDAvdnZ2YS9YcTFVcEtTbEtmUG4zMDVaZGZhdGFzV2NGOWJyenh4aHF2bTV2QU5FQmp6R3d4RFJBQUFBRG5JV3lEVmVDaHdNMWxHdURvMGFOMTVaVlhhdnIwNlhyeHhSZTFhOWN1alI4L1htVmxaY0h0a25UbzBDSDkrdGUvMWwxMzNTV1B4MVBqR0M2WFMybHBhWHJoaFJlVW1wcXEyTmpZVTU3TFdxc2pSNDRvS3l1cnh2alJvMGQxODgwM2E5bXlaVFhHQ3dzTE5XdldMTDM2NnF2NjlOTlBOVy9lUEZWVlZlbWxsMTZTSkpXV2x1cWVlKzRKN3YvMjIyK3JWYXRXZGJzZ2phVDZORUFlQ2d3QUFJRHpGYTdCcWxsT0ExeTJiSmtHRHg0c2o4ZWo1NTkvWHNPSEQ5ZVlNV05PMm0vNzl1Mm5YVnhpeFlvVmF0V3FsZjc2MTcvcXh6Lys4VG1kUHpvNldwV1ZsZkw3L1hLNVhNck16RlRmdm4yVmtaR2hmZnYyYWVMRWlTb29LTkRNbVRQVnRXdFhYWC85OVpLYWQ4ZUthWUFBQUFDb0QyRVpySnJiTk1DQUw3NzRRak5tek5EYmI3K3RuajE3YXVyVXFaby9mNzRrcVVlUEhvcUxpOU9QZnZRalRaMDZWZE9tVFR2cC9VVkZSZnJiMy82bVAvM3BUM3I0NFlkMTMzMzNxWDM3OXFjOVgvVXBmNUswWk1rU2RlalFRWWNQSDFiNzl1MzE1Sk5QNnBWWFhsRjZlcnJ1dlBOT3ZmTEtLK3JYcjUvMjdObWpoeDkrT1BpK3JsMjcxdWhZU1dvMlFZdHBnQUFBQUtnUFlibDRSWE9iQmlnZG0rSzNZOGNPalI4L1hudjI3SkhINDlIZXZYczFhOVlzelpvMVM5dTJiZFBubjM4dTZWakg2bFErK09BRHVkMXVPWTZqYTYrOVZ1Kzg4ODRwOS9QNWZHcmR1cldXTFZ1bVpjdVc2WXN2dmxCcGFhbWlvcUxVcFVzWDdkMjdWL1BuejFmZnZuM1ZwMDhmdFd2WFRpdFdyRkJ4Y2JGdXYvMTJPWTZqV2JObXllZnpuZlJQVEV4TXN3bFZUQU1FQUFCQWZRbkhZT1dxSHF5YWk4NmRPMnZseXBYeWVyM3EycldydkY2dnlzcktORzdjT0kwYk4rNnM3ejkwNkpEZWVlY2RQZkRBQTVLa0gvN3doNW8xYTVaMjc5NTkwcjRsSlNXS2lZa0p2aTRySzFPYk5tMGtTVDE3OXRUYXRXdjE2cXV2NmljLytZa2thZVBHalhyaWlTZTBhOWN1M1g3NzdYcjIyV2NsU1FjT0hOQUhIM3lnNjYrL1hoOTg4SUUrK09BRGZmUE5OM1crRm8xbDNicDFnV21BTzVnR0NBQUFnTG9JdTZtQXljbkpWMXRydXplM2FZQW5LaWtwVVhSMHRONTY2eTFKMGc5KzhJUFQ3bXV0MWROUFA2M3JyNzllU1VsSmtxUkxMNzFVSTBlT0RFN25jN24rTDBQdjM3OWZGMTEwVWZCMVVWRlJNR2dsSmlicVQzLzZrMUpUVTVXUWtLREt5a3AxNjlaTnp6enpqSHIzN3EwZVBYb0VsMXdQdkRjek0xTS8rOW5QNnZYN2J3eExsaXlSSkJsamVDZ3dBQUFBNmlUc09sYlZ1MVhWdzBSVDk5VlhYK21Ydi95bEprNmNxTjI3ZCt2KysrOVhRVUdCSmt5WW9Ba1RKcHp4dlgvKzg1LzE5ZGRmNnovLzh6OXJqRC80NElNNmNPQ0FubnZ1dVJyalc3WnNVVnhjbkNvcUtpUWRlM2JXZDc3ekhVbkhGckNvcUtqUVF3ODlKRW1hTW1XS05tellvQ0ZEaHFobno1N2F0V3VYbGk5Zkhqelc4dVhMZGZqd1lTMWF0S2pPMTZBeE1RMFFBQUFBT0QyWDIrM2U2VGlPemMzTnRjMUpXVm1aUFh6NHNQWDVmSGJreUpIV1dtdlQwOU9EMjZ0L2ZmdnR0MXRycmEycXFySi8rTU1mYkVwS2lzM1B6ei9sY2ZQejgrMzN2Lzk5KzV2Zi9NWWVPWExFV212dEUwODhZVC84OEVQN3lDT1AyR3V1dWNhbXBLVFk1Y3VYMjIzYnR0a2hRNGJZY2VQRzJYbno1bGxyclgzd3dRZnR2SG56N0xoeDQreVFJVVBzK1BIajdjc3Z2Mnl0dGZhRER6NndJMGFNc0Y5OTlaVjk1SkZIN0lRSkUrektsU3ZyLytJMGdOemNYT3M0am5VY1o3dWs1dkZCUEFBQUFLQXhKQ2NuRDNJY3g2YW1wbHFmenhmcWUvZnpWajFZVlZWVjJTTkhqdGg3NzczWGJ0dTJ6ZTdZc2NNT0d6Yk1XbXZ0SC8vNFI1dVdsbmJhVUJXd2J0MDZPM1RvVUR0dDJqUmJXRmhvVTFKUzdNR0RCNjIxMWxaV1ZscHJyZDJ6WjQ4ZE1XS0VuVDkvdnQyNmRhc2RNV0tFemMzTnRjT0dEYk1IRGh5d216WnRDbDdUQlFzVzJIdnV1Y2VPR1RQR2J0eTRNWGllek14TW01cWFhbDk3N2JWNnZ5YjE3Ym5ubnJPTzQxaTMyejAxMUwrM0FBQUFRSlBpT003emp1UFlxVk9uaHZxK3ZVNEN3ZVNkZDk2eG16WnRzck5temJKZmYvMjEvZDN2Zm1mSGpoMXIvL0tYdjFocnJTMHNMTFFGQlFXMU91Ymh3NGR0WldXbHpjbkpzYzg4ODh4SjI5ZXNXV1BmZWVlZDRPdk16RXc3ZlBodys5UlRUNTIwNzlkZmYyM1hyRmx6eXZNVUZoWTIrVzZoeitlenFhbXBnV0IxZGFoL2J3RUFBTkQ4aGRNVUtKZmI3ZDV1cmUzK3hodHZLREV4TWRUMU5GaytuMDhSRVJHaExpTms4dkx5Tkg3OGVPbllhb0NYaVlVckFBQUFVRWZOWjNXSHN3aVgxUUFiUTBzT1ZSS3JBUUlBQUtEK2hVMndNc2I4UUdwK3F3R2ljVlZmRFZEU0I2R3NCUUFBQU9FalhCS0l5eGh6bDlTOEhncU14bGY5b2NCWldWbGZoYm9lQUFBQWhJZXdDRlpYWFhYVk5Vd0RSRzE4OXRsbmtvTFBybUlhSUFBQUFPcEZXQVFybDh2VkxCOEtqTWJsOS91RHdjcmxjdkZRWUFBQUFOU2JjRWdoVEFORXJUQU5FQUFBQUEybDJRY3JwZ0dpdHBnR0NBQUFnSWJTN0lNVjB3QlJHMHdEQkFBQVFFTnE3a25FSlNrWXJJRFRZUm9nQUFBQUdsS3pEbFpYWFhYVk5aSzZNUTBRWjhNMFFBQUFBRFNrWmgyc21BYUkybUFhSUFBQUFCcWFDWFVCZGVGMnUzZGFhN3VIdWc0MEd6dXlzN012RXgwckFBQUExTE5tM2VieCsvMzVvYTRCemNwTElsUUJBQUFBcUF2SGNhempPQVFMQUFBQW9KNDE2NDRWQUFBQUFEUUZCQ3NBQUFBQXFDT0NGUUFBQUFEVUVjRUtBQUFBQU9xSVlBVUFBQUFBZFVTd0FnQUFBSUE2SWxnQkFBQUFRQjBSckFBQUFBQ2dqZ2hXQUFBQUFGQkhCQ3NBQUFBQXFDT0NGUUFBQUFEVUVjRUtBQUFBQU9xSVlBVUFBQUFBZFVTd0FnQUFBSUE2SWxnQkFBQUFRQjBSckFBQUFBQ2dqZ2hXQUFBQUFGQkhCQ3NBQUFBQXFDT0NGUUFBQUFEVUVjRUtBQUFBQU9xSVlBVUFBQUFBZFVTd0FnQUFBSUE2SWxnQkFBQUFRQjBSckFBQUFBQ2dqZ2hXQUFBQUFGQkhCQ3NBQUFBQXFDT0NGUUFBQUFEVUVjRUtBQUFBQU9xSVlBVUFBQUFBZFdSQ1hRQWFSbUppWXZmSXlNaGZuekQ4dytOL3ZscDlzS3FxNnJkNWVYbTdHcWN5QUFBQUlQd1FyTUpVZW5wNlJINSsvbTVqVEpjejdXZXQzUmNmSDk5dDl1elp2c2FxRFFBQUFBZzNFYUV1QUExanc0WU50bHUzYnIwbERUakxydThzWGJyMGs4YW9DUUFBQUFoWGZNWXFqUG45L2ptMTJLMDIrd0FBQUFBNEE0SlZHSE81WE11c3RZZk9zTXZCRGgwNkxHdTBnZ0FBQUlBd1JiQUtZMWxaV1pYR21JL1BzTXZIbVptWlZZMVdFQUFBQUJDbUNGWmh6aGh6MnFsK0xwZUxhWUFBQUFCQVBTQlloYm5Dd3NMUEpCV2RZbE5SUVVIQjBzYXVCd0FBQUFoSEJLc3dsNStmWDI2dFBkV3FmL1B6OC9QTEc3MGdBQUFBSUF3UnJGcUEwMHdIWkJvZ0FBQUFVRThJVmkyQU1XYVJwTkpxUTZYR21FOURWUThBQUFBUWJnaFdMVUJXVmxhcHBJekFhMlBNd3VOakFBQUFBT29Cd2FxRnNOWUdwLzdWOHNIQkFBQUFBR3FKWU5WQ1JFVkZMUWg4M2JadDJ3Vm4yaGNBQUFBQWNCcU80OHgzSEdkZXFPc0FBQUFBd2sxa3FBdEFvNXBqakxHaExnSUFBQUFJTnliVUJhQlJ1QnpIR1NycEhVa1g2ZGdEZzMrUW5aMjlSSkkvcEpVQkFBQUFZWUJnRmNhU2s1TzdHbVBHUzVvbzZiSlQ3TEpOMGd4anpNeXNyS3h2RzdNMkFBQUFJSndRck1KTWVucDZSSDUrL2pCanpHUkp0MG1La0tSdTNicko0L0hvMm11djFULys4UTk1dlY3dDNyMDc4RGFmcFBuVzJ1bng4ZkdMWjgrZTdRdFIrUUFBQUVDelJMQUtFMGxKU2QwaUl5TW5XR3NuU3JwVWtpSWpJNVdTa2lLUHg2T0JBd2ZLNWZxL1JTRDlmcjlXclZvbHI5ZXJMNzc0UWo1Zk1FdnRNTWJNcUtxcW1wbWJtN3Y3NURNQkFBQUFPQkhCcWhsTFQwK1AyTHAxNjNCcjdXUkp0K3I0OHZrOWV2VFF5SkVqZGR0dHQ2bHo1ODVuUGM2aFE0YzBmLzU4ZWIxZTdkcTFLekRzTThaOFlveVozcXRYcjAvcFlnRUFBQUNuUjdCcWhnWU9ITmpENS9OTmtQU0FwQjdTc2U3VVRUZmRKSS9ISTdmYlhhTTdWVnQrdjE5WldWbnllcjM2L1BQUFZWVlZGZGkwMHhnem83S3ljbVplWHQ2dU14MERBQUFBYUlrSVZzMUVTa3BLWkZGUlVhcWt5WkxTZEx3N2RlbWxsOHJqOGVqV1cyOVZwMDZkNnUxOGh3OGYxaWVmZkNLdjE2c2RPM1lFaHYyU0ZraWFIaHNidXlnek03UHE5RWNBQUFBQVdnNkNWUlBuZHJzdjlmdjlEeGhqSHBEVVRaSmF0V3FsbTIrK1dSNlBSNDdqeUppRyt6RmFhNVdkblMydjE2dWxTNWVxc3JKU2ttU00yV1d0ZmYzNGlvSTd6bklZQUFBQUlLd1JySnFnbEpTVXlJS0NnaEhHbU1uR21GUWQvem4xN05rejJKM3EyTEZqbzlkVlVGQVE3R0p0Mzc0OU1PeVhsR0d0bmQ2aFE0ZUZkTEVBQUFEUUVoR3NtcERrNU9TZUxwZHJvclYyZ3FTdWtoUVZGUlhzVGlVbkp6ZG9kNnEyckxYS3lja0pkckVxS2lvQ20vWllhMStYOUhwT1RzNzJNeHdDQUFBQUNDdWh2MHR2NGR4dWR5dHI3YTJTSmtrYXJ1TS9rMTY5ZXNuajhXakVpQkhxMEtGRFNHczhrOExDUWkxWXNFQno1c3pSdG0zYkFzTlcwaUpqekhSSkM3S3lzaXBEVm1BejA2NWR1eUZSVVZGZERoOCsvTjhuYklwUXpYOWY2UXdDQUFBMElRU3JFRWxNVE93VkdSazVVZElFU1pkSXg3cFRRNGNPbGNmalVWSlNVcFBvVHRXV3RWYTV1Ym55ZXIxYXNtUko5UzdXdDVKbSt2MytHV3ZXck5rV3VncWJoeDQ5ZXJ4Y1dscTZzbnYzN2k5V1ZsYnVrcVJXclZyMUxpa3ArU0l5TXJLckpMVnAwNlpmVGs1T1ZHZ3JCUUFBUUhYTjU4NDlETGpkN2xaK3YvOTJZOHdrU2NOMC9Qckh4Y1ZwMUtoUlNrdExVMnhzYkdpTHJBZEZSVVZhdUhDaDVzeVpvNjFidHdhR3JhVEZrcVliWStiVHhUb2wwNzkvLzIvV3JWdDNkVkpTMHViYzNOeU9rblRsbFZmdVdydDJiZmZBVGllK0JnQUFRT2hGaHJxQWxtRGd3SUZ4VlZWVmsveCsvM2hqVEJmcFdIZHEyTEJoOG5nOFNreE1iRmJkcWJPSmpZM1Y2TkdqZGZmZGR5c3ZMMDllcjFlTEZ5ODJGUlVWdDBpNnhlLzM3MHRPVHA0WkdSazVZOVdxVlZ2UGVzQVdvbjM3OWpjWVl5SWw3UXQxTFFBQUFEZzM0WE0zMzhRa0pDUkVSVWRIMytIMyt5Y1pZNFlHeG52MzdxMVJvMFlwTlRVMUxMcFR0VlZVVktTTWpBek5tVE5IVzdac0NZNWJhNWRJbWw1UlVURnYvZnIxRmFjL1F2aUxpNHY3c0YyN2R0ZXNYYnUyZTFKU1VrRjVlZmsyU1dyZHVuV2Zzckt5SEdOTVc0bXBnQUFBQUUwUndhcWVPWTRUcjJNTFVZeVhkSkVrdFc3ZFdyZmNjb3M4SG8vNjkrOGZWdDJwYzJXdDFicDE2K1QxZXZYcHA1K3F2THc4c09tZnhwZzNyTFV6c3JPejgwTlpZeWkwYTljdU1TNHVMa09TRFFTcndGVEEyTmpZVzRxS2lqNE43TnU1YytmMFE0Y096UTVac1FBQUFEaEp5NzNEcjBjSkNRbFJyVnUzdmxQU1pFazNCOFl2di94eWpSbzFTc09IRDFkTVRFem9DbXlpaW91THRXalJJczJaTTBkZmYvMTE5VTFMSlUwdkx5Ly9xS1Ywc1RwMzdqekJHRlBWdFd2WDN3V0NWV0R4aXFLaW9xVVhYbmpoaExLeXNpMlMxS1pObXl2MjdObno2TDU5KzU0UGJkVUFBQUFJSUZqVlFWSlMwbmNqSWlJbVNycGZ4N3RUMGRIUkdqNTh1RHdlai9yMTY5ZWl1MU8xWmEzVit2WHJnMTJzc3JLeXdLYjlrdDcwKy8ydnJWbXo1dXN6SENJY1JFc3FDeXhNVWIxakpVbng4ZkZMOC9QemgwdHlYWFhWVlljMmI5NTg4OUdqUjc4TVhia0FBQUNvanJ2K2N4UWZIOTg2SmlabXBERm1zcVRCZ2ZFK2Zmckk0L0VvTlRWVjdkcTFDMkdGemR1UkkwZTBhTkVpZWIxZWJkNjh1ZnFtTDZ5MTA0dUxpK2ZtNStlWG4rNzl6ZDNwZ2xXM2J0MStWMVJVOUkvSXlNajJsMXh5eVg5dTNMZ3hPWlIxQWdBQW9DYUNWUzBOR0RDZ2o4L25tMlNNdVYvU0JaTFVwazJiWUhlcWI5KytkS2Zxa2JWV0d6WnNDSGF4amg0OUd0aDAwRnI3WmtSRXhHdXJWNi9lZktaak5FZlZnMVZnS21CRlJjWHVuVHQzL3JSWHIxN3ZSa1JFeE96WXNXTmljWEh4MzBKZEt3QUFBUDRQU2VBTVVsSlNvb3VMaXozVzJzbVNiZ3lNOSszYlZ4NlBSOE9IRDFmYnRtMURXR0hMVUZKU0V1eGliZHEwcWZxbVpjYVk2VEV4TWQ3TXpNeXkwNzIvT1RsZHgwcFNURUpDUXJiUDV5dll0R25UWUVsSFFpZ21yazhBQUNBQVNVUkJWRlVqQUFBQVRrYXdPZ1hIY2ZwS21tU3RIV2VNNlN4SmJkdTJWV3BxcWthT0hLbStmZnMyeUhsOVBwOEtDZ3Awd1FVWHFMS3lVcTFhdFdxUTh6Um5HemR1bE5mcjFhSkZpMVJhV2lwSnN0WWVNc2E4SmVtMTdPenNqYUd0c0c1T0VheE1URXpNaUI0OWV2elhnUU1IWG91SWlHaDd3UVVYVE5xL2YvOEwrL2J0bXlHcE9OUTFBd0FBQUVHREJnMXE0empPV01keC9zZHhIQnY0Wit6WXNYYnUzTG0ycEtURU5yUnZ2dm5HcHFXbDJmTHljbnYzM1hmYnVYUG4xdGkrWnMwYXUzYnQycFBlOStxcnJ6WjRiVTFOU1VtSjlYcTlkdXpZc2JiNnordjR6Mi9zb0VHRDJvVDZkK3A4WEg3NTVaOGQvL09MNDBNeHZYcjFlcTlObXpiWEJQYUppb3JxMTcxNzk5OUxJbmtEQUFBMEVTMitZNVdVbEpRUUVSRXhTZEo5a2pwSng3cFRhV2xwOG5nODZ0T25UNlBWc25mdlhvMGZQMTRaR1JrNmRPaVFwazZkcWtjZmZWVHQyN2VYMysvWDZOR2o5ZFJUVCttS0s2N1FQZmZjRTN4ZmZuNis0dVBqZzYvdnVPTU9qUjQ5dXRiblBYandvS1pNbWFJdnYveFNVVkZSdXV1dXUvVGdndzhHUHpQbTkvdjE0b3N2YXQ2OGViTFd5dVB4NktHSEhqcmxaOHJlZSs4OXZmdnV1OXE3ZDY5Njl1eXBSeDU1Uk4vNzN2ZnFjRlhPYnRPbVRabzdkNjRXTGx3WTdHSkpPaXpwYld2dDlKeWNuQTBOV2dBQUFBQmF2QllackFZTkd0U21yS3dzWGRKa1k4eDFnZkdFaEFTTkdqVktRNGNPYmREUFR2bjlmZzBlUFBpa2NXdXRTa3RMVDFwVjhQMzMzOWZxMWF1Vm01dXJ4eDU3VEN0WHJ0UTExd1FiR0xyeHhodTFiTm15azQ1MzVNZ1JsWlNVcUV1WExtZXM1Nzc3N3ROM3Z2TWQvZXBYdjFKaFlhRisvdk9mYTh5WU1icnJycnNrU1crKythYm16NSt2bDE1NlNhV2xwWm84ZWJKKyt0T2Y2czQ3N3p6cFdDKy8vTEp1dXVrbWRlblNSZSsvLzc1bXpacWx4WXNYcTNYcjFyVzZOblZSV2xxcXhZc1h5K3YxYXYzNjljRnhhKzNmSlUyUGpvNmV2V0xGaXFPblB3SUFBQUNBc3hvd1lFQi90OXM5elhHY3c0R3BZemZjY0lOOTl0bG43ZWJObXh0dEdsdFZWWlYxSE9lazhkTFNVanRvMEtDVHhnc0tDdXlZTVdOc2NYR3h6Y2pJc0E4KytLQmR2bnk1SFQxNnRCMDllclFkTUdCQThPdlJvMGZiaW9vS2E2MjErL2J0czBPSERyWFRwazJ6eGNYRnA2eGwrL2J0MW5FYysrMjMzd2JIRmkxYVpQL2xYLzRsK0RvdExjM09uejgvK1ByUGYvNnpuVGh4NGxtL3o2TkhqMXJIY2V5ZVBYdk91bTk5MjdScGs1MHlaWXE5NFlZYnFrOFRQT3gydTZjTkdEQ2dmNmgvRndFQUFCQmVJa05kUUdOd0hHZWtKSy9mN3crT1hYbmxsUm8xYXBTR0RCbWlObTJheHNkeG9xT2pWVmxaS2IvZkw1ZkxwY3pNVFBYdDIxY1pHUm5hdDIrZkprNmNxSUtDQXMyY09WTmR1M2JWOWRkZkwrbFl4MnJXckZrbkhlL2lpeS9XaHg5K3FKa3paeW85UFYxang0NVZlbnE2b3FLaWd2dVVseDk3SkZUMWFYMmRPblhTbGkxYkpCMmJKcmgzNzE1ZGVlV1Z3ZTM5K3ZYVDdObXp6L3I5ckZ5NVVwZGNjc2xaTzJZTm9VK2ZQdnJsTDMrcG4vLzg1MXF5WkltOFhxL1dybDNiMFZyN2tMWDJJY2R4Sk1tVG5aMDl0OUdMQXdBQVFOaHBFVk1CSGNjNUlpazR2KzYzdi8ydFVsTlRRMWFQeitmVDk3NzNQYlZ2Mzc3RytKSWxTNVNXbHFiMzMzOWY3ZHUzMS9EaHcvWEtLNitvZS9mdXFxeXMxQ3V2dktKKy9mcXBhOWV1bWpwMTZoblBjV0xRMnJkdm4xNTk5VlZsWldYcG9ZY2UwcEFoUTRLMTNISEhIWEs3M2ZyRkwzNmhzckl5L2IvLzkvLzAxVmRmNmF1dnZsSitmcjdHakJtanpNeE14Y1RFU0pKeWNuSTBjZUpFclZxMVNpNlg2NVRuejhySzBxT1BQcW9wVTZiSTdYYWY3NldxVndzWEx0UnZmdk9iNmtNbCtyL2ZDNzhrVzVzL3JiWFdHT09YWksyMWZtT01EV3d6eGxocnJWK1NOY2I0cmJXblBNWnA5anVYODUxdXYxcWR6Ky8zbi9LWXhoaDdwbTFuT2taZy9QZ3gvTmJhN0RWcjFueGNMejg4QUFDQUpxNUZkS3drM1N0cGpvNEh5Vi8vK3RkNjc3MzNncCtuYXV5T2xjL25VK3ZXcllPZmkvTDcvYnI2NnFzVkZSV2xMbDI2YU8vZXZkcTRjYVA2OXUwYlhEd2pJeU5EeGNYRnV2MzIyK1gzK3pWcjFpejk0QWMvT09uWUhUdDIxUFRwMDA5NTN2YnQyOHRhcThMQ3d1QllSRVNFWG5qaEJUM3p6RE1hTW1TSXVuWHJwclMwTksxWnMwWVJFUkh5K1h5U1ZDTkF1Vnl1TXo0TWVmLysvWHI0NFlmMTNIUFBoVHhVSFQxNk5QaTVxM1hyMWxYZlpIWHM5OEo3L0hYZ0c0dzQyekdyZis4blhvZGorZWprcjA5VTIvM09kcjdUN1hlMjg1M3VtR2ZiZGk3SE1NWlVpWlVMQVFCQUM5RWlndFh4NlY2dUFRTUc5UGY1ZkpPTU1mZXRXN2V1NDdwMTYvVGNjODhwTFMxTkkwZU9iTFFWQUV0S1NvTGRIMGtxS3lzTGhydWVQWHRxN2RxMWV2MzExL1hDQ3k5SU92YnNwaWVlZUVKWFhIR0Zici85ZGwxenpUVjY3TEhIZE9EQUFYMysrZWVhTm0yYWZ2YXpuMG1TaGc0ZFd1TmNXN1pzMGR0dnY2M1ZxMWRyekpneG1qMTc5a2tMU2NUSHgrdU5OOTRJdnA0N2Q2NTY5dXdwU1lxTmpaVWtGUllXQmhmVktDZ29VTWVPSFUvYnJWcXpabzNpNHVJMFlNQ0E4NzVHZGJWNTgyWjV2VjVsWkdTb3BLUWtNRnhnclgwN0lpTGl0ZFdyVndkU2xrdVNTVTlQTjF1M2JuV1ZsWldaaXk2NnlGVmVYbTVLU2twY1BwL1B0Ry9mM2xWVlZXVXFLaXBjN2R1M054VVZGUzYvMzIraW9xSmNmci9mVkZWVnVmeCt2N0hXbWxhdFdybjhmci94K1h5dTFxMWJHNS9QNS9MNy9TWXlNdEpsclRWK3YvK2sxNUdSa2Nidjk3dXN0Y1phYXlJaUlrNjVyZnE0Sk9OeXVRTHZjVVZFUkFUSHJiVTF0a2t5eHBqQU5wZkw1VExXV3RlWjlqdnhQU2Z1R3pqR0dmWjdVaTNrN3hjQUFBQ3BoZDM0SEwrWi92bWdRWU4rV1ZaV2RwY3habkpKU2NuMXMyZlAxdXpaczVXUWtDQ1B4Nk5odzRZMTZLcUErL2Z2MTBVWFhSUjhYVlJVRkF4YWlZbUordE9mL3FUVTFGUWxKQ1Nvc3JKUzNicDEwelBQUEtQZXZYdXJSNDhlaW95TXJQSGV6TXpNWUxDcWJ0ZXVYWHJvb1lkMDMzMzM2VmUvK2xXTnoxYWR5WklsUy9UOTczOWZrdFMxYTFmRnhNUm93NFlONnRxMXF5UnB3NFlONnQvLzlPcy9YSDMxMWZydWQ3OWJxM1BWcDlPdENpanBiOWJhNmRIUjBSK2VZbFZBSzhrZS84eVlyN0ZxRFhlTzR6d1o2aG9BQUFBYVU0c0tWZ0hIYjY3ZmtmUk9jbkp5UDJQTUpFbmoxcTlmMzJuOSt2V2FPblZxc0l0MXhSVlgxUHY1dDJ6Wm9yaTRPRlZVVkNncUtrcDVlWG42em5lK0krbllBaFlWRlJWNjZLR0hKRWxUcGt6UnNHSEROR1RJRVBuOWZ1M1lzVU03ZCs3VURUZmNJRWxhdm55NURoOCtyRVdMRm1uNDhPRTF6blB4eFJmcm80OCtPbXVneXMzTlZWeGNuS3kxZXVlZGQ3UjE2MVpObVRKRjByRnBmN2ZkZHB0bXpweXBxNjY2U2tWRlJmSjZ2WHJxcWFmTytQMnRXN2RPOTk1NzczbGZvM094YWRPbVlIZnFoT2RZdldXdGZZM25XQUVBQUtDaHRZakZLMm9qSlNVbHVxaW9hSlNreVpLK0h4anYyN2V2Um8wYXBWdHV1YVhldWxoUFB2bWsrdmZ2cjVVclYycjU4dVdLam83VzAwOC9yUjQ5ZW1qaXhJbnExcTJiUm8wYXBkdHV1MDAvL3ZHUGxacWFxamx6NW1qMzd0M3EwYU9IQmc0Y3FBY2ZmRkN6WjgvV1cyKzlwY2NmZjF5elo4L1d3WU1IOWNNZi9qRDRRTjZQUHZwSXYvLzk3MDladzVJbFM0S0xaMHliTmkyNHlwL2I3ZGJERHorc0hqMTZCUGN0THkvWE04ODhvNlZMbHlvbUprWVRKMDRNUHVQcVZGNS8vWFZsWkdUb3d3OC9ySmZyZFNxbHBhVmF0R2lSdkY2dk5tN2NXSDNULzBpYUhoc2JPeWN6TTdPc3dRckFHVG1PWXlVcE96dWJ2Mk1BQUFCYUtyZmJmWVhiN1o2YW5KeDhNUEFNcE91dnY5Nys5cmUvdFJzMmJEai9oeXRaYXdzTEMyMUtTb285ZVBDZ3RkYmF5c3BLYTYyMWUvYnNzU05HakxEejU4KzNXN2R1dFNOR2pMQzV1YmwyMkxCaDlzQ0JBM2JUcGszVzUvTlphNjFkc0dDQnZlZWVlK3lZTVdQc3hvMGJnOGZPek15MHFhbXA5clhYWHF0VGpVM1ordlhyN2ROUFAyMnZ1KzY2NnMrbk91QjJ1NmU2M2U3NmJ5L2l2QVIrTnFHdUF3QUFvTEh3ZjVQUElDVWxKYnF3c0hDa3BNbkdtSlRBK0JWWFhDR1B4NlBodzRjSEYzU29yVFZyMW1qaHdvVjY3TEhIYW96bjV1WnE3ZHExR2p0MnJDUnAyYkpsZXZiWlozWHR0ZGVldUVTNDh2UHpWVkpTb3FTa3BKT09YMVJVcEczYnRpa3hNZkdjNm1yS1NrcEtsSkdSSWEvWHE4MmJOd2ZIcmJXWmtxWjM2TkJoTHQycHBvV09GUUFBYUdtNDZhbWxBUU1HOVBINy9STWwzUy9wUWtscTA2YU5icm5sRm5rOEh2WHIxKytNeTExWDUvUDVGQkZ4MWxXOVd6UnJyVFpzMkNDdjE2dEZpeGFwckN5WW13NUlldFBsY3MxWXZYcjE1ak1jQWlGRXNBSUFBQzBOTnozbktENCt2blZzYk95ZE92WlpySnNDNDMzNjlBbDJzVTU4OEM5cTc4aVJJOEh1MVAvKzcvOVczL1M1cE9sRlJVVWY1ZWZubDRlb1BOUVN3UW9BQUxRMDNQVFV3VlZYWFhXNXkrV2FLR204cEl1a1k2djZCYnBZQ1FrSnRlNWl0V1RXV3ExYnQwNWVyMWVMRnkrdTNwM2FMK2tOdjk4L1k4MmFOVitIc0VTY1FYeDhmT3RPblRwMXFqN204L20rbGFTSWlJanZWQjgvZlBqd1lZSXhBQUFJUjl6MTE0T0VoSVNvNk9qb082eTFreVVOQ1l4ZmZ2bmw4bmc4U2sxTnJmRkFZQnhUWEZ3YzdFNTkvWFdOM1BTWk1XWjZXVm5aeCt2WHI2OElWWDJvbllFREIxN2k4L24yNk94L24vZ2pJaUs2clZxMWFtOWoxQVVBQU5DWUNGYjF6TzEyOTVZMHlWbzdYdExGa3RTNmRXc05HelpNSG85SFYxNTVaWXZ1WWxscnRYYnQybUIzcXJ3ODJMejRwN1YycHN2bG1wR1ZsYlVsbERYaTNEbU9reW5weHJQc3RpdzdPenVsNGFzQkFBQm9mQzMzRHIrQkpTUWtSRVZGUmQxKy9PSER3d0xqdlh2M2xzZmpVVnBhbW1KalkwTllZZU1xS2lyU3dvVUw1ZlY2dFdWTGpkeTAyRm83dmFLaVlqN2RxZVlyT1RuNUlXUE10TFBzOWxCMmR2YWZHNlVnQUFDQVJrYXdhZ1FEQnc2TXE2cXFtaWhwZ2pHbWl5UkZSVVVGdTFpSmlZbGgyY1d5MWlvdkx5L1luYXFvQ09hbXZaSm1Sa1JFdkw1cTFhcXRJU3dSOVNRcEthbGJSRVRFcmpQdDQvUDV1dWZtNXU1dXJKb0FBQUFhVS9qZHpUZGhicmU3bGJYMk5rbVRKTjJpNDljL0xpNU9IbzlISTBhTUNJc3VWbEZSa1JZc1dDQ3YxNnV0VzRPNXlVcjZWTkowWTh3bldWbFpsYUdyRUEzQmNad1ZrcTQ1emVZVjJkbloxelptUFFBQUFJMkpZQlVpVjExMTFXWEhWeFNjSU9rNzByRXUxcEFoUStUeGVIVFZWVmMxcXk2V3RWWnIxcXlSMSt2Vlo1OTlWcjA3OWEweDVuV2Z6L2Y2bWpWcnRvV3dSRFF3dDl2OUMydnRmNTFxbXpIbUYxbFpXVk1idXlZQUFJREcwbnp1M01PVTIrMXVKV21FMysrZlpJeEoxZkdmeVdXWFhTYVB4Nk5iYjcxVkhUcDBDRzJSWjFCWVdLaFBQdmxFWHE5WDI3WnRDd3hiYTIyR3RYWjZ4NDRkRjJSbVpsYUZzRVEwa3NURXhGNlJrWkdubk5wWlZWVVZsNWVYOTAxajF3UUFBTkJZQ0ZaTlNISnljazlKRHhoakhwRFVWWkphdFdxbG0yKytXUjZQUjQ3ak5Ja3VsclZXMmRuWjhucTlXcnAwcVNvcmc3UDZkbHRyWDVjME15Y25aM3NJUzBTSU9JNlRMU241aE9IczdPeHNkeWpxQVFBQWFDeWh2MHZIU1ZKU1VpSUxDd3ZUakRHVEphVktja2xTejU0OWcxMnNqaDA3Tm5wZEJRVUZ3ZTdVOXUzQjNPU1h0RkRTOU5qWTJBeTZVeTJiNHppL2t2VGJFNFovbFoyZC9idFExQU1BQU5CWUNGWk5uTnZ0dnRSYU84RVk4NEMxdHJ0MHJJdDEwMDAzeWVQeHlPMTJOMmdYeTFxcnJLd3NlYjFlZmY3NTU4SHVsREZtbDdWMlJrUkV4TXhWcTFidGJMQUMwS3k0M2U0cnJMVWJxNCs1WEs0clZxOWV2VGxVTlFFQUFEUUdnbFV6a1pLU0VsbFVWRFJjMG1SSkkzUzhpM1hwcFpkcTVNaVJ1dlhXVzlXNWMrZDZPOStoUTRmMHlTZWZhTzdjdWRxeFkwZGcyQy9wRTJQTTlMaTR1RVd6WjgvMjFkc0pFVFljeDFrdnFaOGtHV1BXWjJWbDlROXhTUUFBQUEyT1lOVU1KU1ltZG0vVnF0VUVhKzFFU1Qwa0tUSXlVb01IRDViSDQ5R0FBUVBrY3JuTytiaCt2MStyVjYrVzErdlZGMTk4b2FxcTRLeStIY2FZR1pXVmxXL2s1ZVdkOFZsRlFISnk4bFBHbU45SWtyWDJxWnljbk1kRFhSTUFBRUJESTFnMVkrbnA2UkhmZlBQTkxkYmF5ZGJhV3lWRlNGTDM3dDAxY3VSSTNYNzc3YlhxWWgwNmRFano1czNUM0xsenRXdFhNRGY1Sk0yMzFrNlBqNDlmVEhjS3RaV2NuSnhrakZsei9HVlNkbloyWGtnTEFnQUFhQVFFcXpDUmxKVFV6ZVZ5alRmR1RKSjBxWFNzaTVXU2tpS1B4Nk9CQXdmVzZHTDUvWDZ0V3JVcTJKM3krWUs1YWJ1MWRvYU9yZXkzcDlHL0VZUUQ0empPMTVKc2RuYjJkM1hzNGRBQUFBQmhqV0FWWnRMVDB5TzJiTmt5Vk1jK2kzVzdqbmV4dW5YcnBwRWpSK3JhYTYvVlAvN3hEODJkTzFlN2QrOE92TTBuYVo2azZiMTc5MTVDZHdwMTVUak83NDB4TmlzcjY1ZWhyZ1VBQUtBeEVLekNtTnZ0L282MWRyeWtTWkl1TzhVdTJ5Uzlab3g1SXlzcjY5dkdyQTFoeWVVNHpsQnI3VnZHbUM3VzJoSmp6S2pzN093bE9yYndDUUFBUU5naVdMVU1McmZiUGNSYUczZ3VWb1l4Wm5wV1Z0Wm40b1lYZFpTY25OelZHRE5lMGtTZFBzRFBNTWJNSk1BREFJQndSYkJxUVJ6SHNaS1VuWjNOengxMWtwNmVIcEdmbnovcytFT3NiMU8xS2FjZWp5YzQ1ZFRyOVo0NDVaUUZVUUFBUUZqaUJyc0ZJVmlocnBLU2tycEZSa1lHbHZxdnl5SXBPNHd4TTZxcXFtYm01dWJ1UHZsTUFBQUF6UXMzMkMwSXdRcm5JejA5UFdMcjFxM0RqMDhsdlZYSEgwN2RvMGNQalJ3NVVyZmRkbHV0bC9XZlAzKyt2RjV2aldYOWpUR2ZHR09tOStyVjYxTzZXQUFBb0xuaUJyc0ZJVmpoWEF3Y09MQ0h6K2ViSU9rQlZYc1E5VTAzM1NTUHh5TzMyMzNlRDZMT3lzcVMxK3ZWNTU5L1h2MUIxRHVQUDRoNkpnK2lCZ0FBelEwMzJDMEl3UXBuazVLU0VsbFVWSlNxWTh2MXArbDRkK3JTU3krVngrUFJyYmZlcWs2ZE90WGIrUTRmUHF4UFB2bEVYcTlYTzNic0NBejdKUzJRTkQwMk5uWlJabVptMWVtUEFBQUEwRFJ3ZzkyQ0VLeHdPbTYzKzFLLzMvK0FNZVlCU2Qwa3FWV3JWcnI1NXB2bDhYamtPSTZNYWJoZkcydXRzck96NWZWNnRYVHBVbFZXVmtxU2pERzdyTFd2SDE5UmNNZFpEZ01BQUJBeTNHQzNJQVFyVkplU2toSlpVRkF3d2hnejJSaVRxdU4vSC9UczJUUFluZXJZc1dPajExVlFVQkRzWW0zZnZqMHc3SmVVWWEyZDNxRkRoNFYwc1FBQVFGUEREWFlMUXJDQ0pDVW5KL2QwdVZ3VHJiVVRKSFdWcEtpb3FHQjNLams1dVVHN1U3VmxyVlZPVGs2d2kxVlJVUkhZdE1kYSs3cWsxM055Y3JhZjRSQUFBQUNOSnZSM1QyZzBCS3VXeSsxMnQ3TFczaXBwa3FUaE92N3ZmcTlldmVUeGVEUml4QWgxNk5BaHBEV2VTV0Zob1JZc1dLQTVjK1pvMjdadGdXRXJhWkV4WnJxa0JWbFpXWlVoSzdDWmF0ZXUzWkNvcUtndWh3OGYvdThUTmtXbzVuOGY2QkFDQUhBVzNHQzNJQVNybGljeE1iRlhaR1RrUkVrVEpGMGlIZXRPRFIwNlZCNlBSMGxKU1UyaU8xVmIxbHJsNXViSzYvVnF5WklsMWJ0WTMwcWE2ZmY3WjZ4WnMyWmI2Q3BzWG5yMDZQRnlhV25weXU3ZHU3OVlXVm01UzVKYXRXclZ1NlNrNUl2SXlNaXVrdFNtVFp0K09UazVVYUd0RkFDQXBxLzUzRkdoemdoV0xZUGI3VzdsOS90dk44Wk1ralJNeC84OWo0dUwwNmhSbzVTV2xxYlkyTmpRRmxrUGlvcUt0SERoUXMyWk0wZGJ0MjROREZ0Sml5Vk5OOGJNcDR0MVJxWi8vLzdmckZ1Mzd1cWtwS1ROdWJtNUhTWHB5aXV2M0xWMjdkcnVnWjFPZkEwQUFFNHRNdFFGQUtnZkF3Y09qS3VxcXByazkvdkhHMk82U01lNlU4T0dEWlBINDFGaVltS3o2azZkVFd4c3JFYVBIcTI3Nzc1YmVYbDU4bnE5V3J4NHNhbW9xTGhGMGkxK3YzOWZjbkx5ek1qSXlCbXJWcTNhZXRZRHRqRHQyN2Uvd1JnVEtXbGZxR3NCQUNBY2hNOWRGczZLamxYNFNVaElpSXFPanI3RDcvZFBNc1lNRFl6Mzd0MWJvMGFOVW1wcWFsaDBwMnFycUtoSUdSa1ptak5uanJaczJSSWN0OVl1a1RTOW9xSmkzdnIxNnl0T2Y0U1dJeTR1N3NOMjdkcGRzM2J0MnU1SlNVa0Y1ZVhsMnlTcGRldldmY3JLeW5LTU1XMGxwZ0lDQUZCYjNHQzNJQVNyOE9FNFRyeU9MVVF4WHRKRmt0UzZkV3ZkY3NzdDhuZzg2dCsvZjFoMXA4NlZ0VmJyMXEyVDErdlZwNTkrcXZMeThzQ21meHBqM3JEV3pzak96czRQWlkyaDFLNWR1OFM0dUxnTVNUWVFyQUpUQVdOalkyOHBLaXI2TkxCdjU4NmQwdzhkT2pRN1pNVUNBTkJNdE53N3J4YUlZTlc4SlNRa1JMVnUzZnBPU1pNbDNSd1l2L3p5eXpWcTFDZ05IejVjTVRFeG9TdXdpU291THRhaVJZczBaODRjZmYzMTE5VTNMWlUwdmJ5OC9LT1cxc1hxM0xuekJHTk1WZGV1WFg4WENGYUJ4U3VLaW9xV1huamhoUlBLeXNxMlNGS2JObTJ1MkxObno2UDc5dTE3UHJSVkF3RFF0SEdEM1lJUXJKcW5wS1NrNzBaRVJFeVVkTCtPZDZlaW82TTFmUGh3ZVR3ZTlldlhyMFYzcDJyTFdxdjE2OWNIdTFobFpXV0JUZnNsdmVuMysxOWJzMmJOMTJjNFJEaUpsbFFXV0ppaWVzZEtrdUxqNDVmbTUrY1BsK1M2NnFxckRtM2V2UG5tbzBlUGZobTZjZ0VBYVBwWXZBSm9ndUxqNDF2SHhNU01OTVpNbGpRNE1ONm5UeDk1UEI2bHBxYXFYYnQySWF5dytUSEdxSC8vL3VyZnY3LysvZC8vWFlzV0xaTFg2OVhtelpzdmt2U0l5K1Y2eEhHY0w2eTEwNHVMaStmbTUrZVhuL1dnelZmWm1UWWVQWHAwWlV4TXpDMlJrWkh0eTh2TC81ZFFCUURBMmZHL3VWc1FPbFpOMzRBQkEvcjRmTDVKeHBqN0pWMGdTVzNhdEFsMnAvcjI3VXQzcWg1WmE3Vmh3NFpnRit2bzBhT0JUUWV0dFc5R1JFUzh0bnIxNnMyaHJMRWhWZTlZQmFZQ1ZsUlU3TjY1YytkUGUvWHE5VzVFUkVUTWpoMDdKaFlYRi84dDFMVUNBTkRVMGJFQ1Fpd2xKU1c2dUxqWVk2MmQ3UGY3Ynd3RXA3NTkrOHJqOFdqNDhPRnEyN1p0aUtzTVQ4WVlKU1FrS0NFaG9VWVhhOU9tVFJjWVl4NzIrLzBQTzQ2enpCZ3pQU1lteHB1Wm1YbkdUazl6dG1IRGh2N1ZYc1pFUkVSMDlQbDhCY1hGeFd0Q1ZoUUFBTTBJd1FvSUVjZHgra3FhVkZoWU9NNFkwMW1TMnJadHE5VFVWSTBjT1ZKOSsvWnRrUFA2ZkQ0VkZCVG9nZ3N1VUdWbHBWcTFhdFVnNTJsdTJyVnJwMUdqUm1uVXFGSGF1SEdqdkY2dkZpMWFwTkxTMGh1dHRUY1dGaFllY2h6bkxVbXZaV2RuYnd4MXZRM0V4TVRFak9qUm84ZC83ZCsvL3k4UkVSRnQrL2Z2djM3Ly92MHY3TnUzYjRhazRsQVhDQUFBRUhLTzQ5akFkRUNFeHFCQmc5bzRqalBXY1p6L0NmdzhITWV4WThlT3RYUG56clVsSlNXMm9YM3p6VGMyTFMzTmxwZVgyN3Z2dnR2T25UdTN4dlkxYTliWXRXdlhudlMrVjE5OXRjRnJhMnBLU2txczErdTFZOGVPdGRWL1hzZC9mbU1IRFJyVUp0Uy9VM1Z4K2VXWGYzYjh6eStPRDhYMDZ0WHJ2VFp0Mmx3VDJDY3FLcXBmOSs3ZGZ5K0pCQTRBd0Jud1lZMFdoTTlZaFU1U1VsSkNSRVRFSkVuM1Nlb2tIZXRPcGFXbHllUHhxRStmUG8xV3k5NjllelYrL0hobFpHVG8wS0ZEbWpwMXFoNTk5RkcxYjk5ZWZyOWZvMGVQMWxOUFBhVXJycmhDOTl4elQvQjkrZm41aW8rUEQ3Nis0NDQ3TkhyMDZGcWZkL1BtelhyeHhSZVZsNWNuYTYzY2JyY2VlZVFSOWVqUlE1TGs5L3YxNG9zdmF0NjhlYkxXeXVQeDZLR0hIanJsWjhyZWUrODl2ZnZ1dTlxN2Q2OTY5dXlwUng1NVJOLzczdmZxY0ZYT2J0T21UWm83ZDY0V0xseW8wdExTd1BCaFNXOWJhNmZuNU9Sc2FOQUNBQUJBazhZTmRndENzR3BjZ3dZTmFsTldWcFl1YWJJeDVyckFlRUpDZ2thTkdxV2hRNGMyNkdlbi9INi9CZzhlZk5LNHRWYWxwYVVuclNyNC92dnZhL1hxMWNyTnpkVmpqejJtbFN0WDZwcHJnbzBMM1hqampWcTJiTmxKeHp0eTVJaEtTa3JVcFV1WDA5WlNXbHFxRVNOR2FOU29VUm8zYnB5cXFxcjB4ei8rVVJzMmJOQ2NPWE1rU1crKythYm16NSt2bDE1NlNhV2xwWm84ZWJKKyt0T2Y2czQ3N3p6cGVDKy8vTEp1dXVrbWRlblNSZSsvLzc1bXpacWx4WXNYcTNYcjFyVytQdWVydExSVWl4Y3ZsdGZyMWZyMTY0UGoxdHEvUzVvZUhSMDllOFdLRlVkUGZ3UUFBQUEwYTB3RmJCd0RCZ3pvNzNhN3B6bU9jemh3elcrNDRRYjc3TFBQMnMyYk56ZmFOTGFxcWlyck9NNUo0NldscFhiUW9FRW5qUmNVRk5neFk4Ylk0dUppbTVHUllSOTg4RUc3ZlBseU8zcjBhRHQ2OUdnN1lNQ0E0TmVqUjQrMkZSVVYxbHByOSszYlo0Y09IV3FuVFp0bWk0dUxUMW5MNXMyYnJlTTQ5dkRodzhHeEw3LzgwbDU5OWRYVzcvZGJhNjFOUzB1ejgrZlBEMjcvODUvL2JDZE9uSGpXNy9QbzBhUFdjUnk3WjgrZXMrNWIzelp0Mm1TblRKbGliN2poaHVyVEJBKzczZTVwQXdZTTZILzIzeFlBQUFBME93U3JodVU0enNnVFBvZGp4NDBiWitmTm0yZExTMHNiL2FiL2RNSEs3L2ZiQVFNR1dKL1BaNjIxOW9zdnZyQjc5KzYxYjd6eGhyMzU1cHZ0M1hmZmJXKzU1UmE3ZS9mdUd1LzcvdmUvZjlwekZSWVcydWVmZjk0T0h6N2Mvdld2ZjdYbDVlVTF0bGRVVk5nNzdyakRQdlhVVTdhOHZOd2VPblRJVHB3NDBUNzU1SlBXV21zUEhEaGdIY2V4MjdadEM3N244ODgvdHpmZWVPTlp2OC9NekV5YmxwWVcvSDVDb2JTMDFINzg4Y2QyM0xoeEozNFd5enFPTXpMVXY1dkEvMmZ2M3VPaUxQUC84Yit1ZXdZWUZKQTB4VkMwVU9Nd0Nzd01wRzc2bFJLUmc0ZTRpZGJjVHBiU285MnN6eWUzUjJXMlc1cWZ0azEzTzN4c0N3K2RmcHYxUlcvTkE2Q20wYmFmOXR2S0RLQ0FrRUtlendjWUJPYkEzTmZ2RDVqN0E4cEpoUmxnM3M5L2NxN3JudnQrejh3VmM3M25mZC9YVFFnaHBPZlJLV0VlaEU0RjdGbDZ2ZjRxQU9YOHVqZmZmQlBKeWNsdWk4ZmhjT0NlZSs2Qm41OWZxL1k5ZS9ZZ0pTVUZYMy85TmZ6OC9KQ1VsSVNQUHZvSUkwZU9oTjF1eDBjZmZZVEl5RWdFQndkajllclZIUjVqNDhhTnJSNmZPM2NPSDMvOE1ZeEdJeFl2WG95RWhJUldmYSs4OGdwT25EaUIrdnA2ekowN0Z5Kzg4QUxVYWpVcUtpb3dmLzU4NU9mbnc5L2ZId0JRV0ZpSWhRc1hZdi8rL1JBRW9jM2pHNDFHdlBMS0szanJyYmRnTUJodTVtM3Fkams1T1hqdHRkZGFOdFhoZjhlRkRJQzM4ZC9yMmpqbk1tT3M1V1BPR0pNQmNNYVl6RGxYK2hoam5IUGVabC9MWTF6YjErSVlISURjOGhnZEhmL2F2bzZPMy9JWWpERlpsdVcyOXROUm44d1k0OWYyT1ovVDNDZHp6azFGUlVYZmROc0hTUWdoaE53Z1dtNmRrTzd6S0lETmFQN0JZdG15WmZqcXE2K1U2Nmw4ZlYyN2dKekQ0WUNQajQ5eVhaUXN5NWc0Y1NLOHZiMFJGQlNFczJmUDR0Q2hRNGlJaUZBV3o4ak56VVZ0YlMzbXpKa0RXWmF4Y2VOR1BQVFFROWZ0T3pBd0VGbFpXVzBlMTgvUEQ1eHoxTlRVdEdyLzhjY2ZjZmp3WWZ6bU43L0JMNy84Z2gwN2RpQStQaDczM0hNUEhBNEhBTFJLb0FSQjZQQm15QmN1WE1DU0pVdXdhdFVxdHlkVkRRME55blZYSlNVbExiczRtc2FGMVB6WStRSlZuZTN6NjNQUDB3QUFJQUJKUkVGVTJ0ZmU4bkZUM29JMkgxL2IxOTUyblIzalJ2bzZPdjYxY2JlM24xdnRZNHcxZ2xZdUpJUVE0a2FVV0JIU1RVd20weFlBUW14czdIaUh3N0dJTWZaWVNVbEpZRWxKQ1ZhdFdvV1VsQlNrcGFXNWJBWEF1cm82cGZvREFCYUxSVW51Um84ZWpZTUhEMkw5K3ZWNDk5MTNBUUNIRGgzQzY2Ky9qdkR3Y015Wk13ZVRKazNDMHFWTGNmSGlSZXpidHcvdnYvOCtubnZ1T1FEQWpCa3pXaDJyc3JJU24zLytPUW9LQ2pCLy9ueGtaMmUzV2tpaXRyWVc3N3p6RHBZdlg2NVVzZjc2MTc5aTVjcVYrT2FiYnhBUUVBQUFxS21wVVJiVnFLNnVSbUJnWUx2VnFxS2lJb1NHaGlJMk5yWTczcTZiVWxGUkFVbVNrSnViaTdxNk9tZHpOZWY4YzVWS3RiYWdvTUNaWlFrQVdFWkdCcXVxcWhJc0Znc2JPblNvWUxWYVdWMWRuZUJ3T0ZoZ1lDQ3pXQ3lDdytGZ3ZyNitnc1BoWUhhN1hYQTRITXpIeDBlUVpabkpzc3djRG9mZzQrUERHaHNiQmM0NTgvTHlFbVJaWnB4ejVuQTRCQzh2THliTHNzQTVaeXFWU3VDY0s0L1ZhdlVOOXdGZ2dpQUluSFBXOHQrY2M0RnozcXFQY3k0SWduQmRIK2ZjdVorMm51ZDhyR3pIR0JPYys3djJHTzMwdlFINlBpT0VFT0ptOUVWRVNEZHJua3cvUDNueTVKY3RGc3VEakxITXVycTZLZG5aMmNqT3pvWldxNFVvaWtoTVRPelJWUUV2WExpQW9VT0hLby9OWnJPU2FFVkZSZUdERHo1QWNuSXl0Rm90N0hZN1Jvd1lnWlVyVjJMTW1ERUlDUW1CV3ExdTlkejgvSHdsc1dycDVNbVRXTHg0TVI1NzdERzgrdXFyOFBiMnZtNmIwNmRQdzJxMXRxb3NUWmt5QlgvLys5OGh5ektDZzRQaDcrK1Bzckl5QkFjSEF3REt5c293Zm56NzZ6OU1uRGdSZDk5OTk0Mi9NYmVvdlZVQkFmeVRjNTZsMFdnMnRiRXFJQWZBczdPekFjRGhxbGc5aFY2dmY4UGRNUkJDQ0NHVVdCSFNRNW9uMTE4QStFS24wMFV5eGhZQmVMeTB0UFMyMHRKU3JGNjlXcWxpaFllSGQvdnhLeXNyRVJvYUNwdk5CbTl2Ynh3NGNBQjMzSEVIQUVDajBjQm1zMkh4NHNVQWdMZmVlZ3VKaVlsSVNFaUFMTXM0ZnZ3NFRwdzRnYWxUcHdJQWZ2amhCMXk1Y2dWNWVYbElTa3BxZFp4aHc0Wmg2OWF0YlNaVVRxTkdqVUpBUUFEV3JWdUhwNTkrR2xhckZYLy8rOStoMSt1Vml0VHMyYk94WWNNR3hNVEV3R3cyUTVJa0xGKyt2TVBYVjFKU2drY2ZmZlNXM3FldUtpOHZWNnBUMTl6SDZqUE8rVnE2anhVaGhCRGkyV2dSQXc5Q2kxZTRYM3g4dk1ac05xY0R5QVR3ZjV6dEVSRVJTRTlQeDh5Wk03dXRpdlhHRzI5Zy9QangrT21ubi9ERER6OUFvOUZneFlvVkNBa0p3Y0tGQ3pGaXhBaWtwNmRqOXV6WitPMXZmNHZrNUdSczNyd1pwMDZkUWtoSUNPTGk0dkRNTTg4Z096c2JuMzMyR2Y3NHh6OGlPenNibHk1ZHd0TlBQNjNja0hmcjFxMTQrKzIzMjR4aHo1NDl5dUlaQnc4ZXhEdnZ2SU9LaWdvTUdEQUFreVpOd3U5Ly8zc01HVElFQUdDMVdyRnk1VXJzM2JzWC92NytXTGh3SVI1ODhNRjJYOS82OWV1Um01dUxUWnMyZGN2NzFaYjYrbnJrNWVWQmtpUWNPblNvWmRjL0FHUUZCQVJzenMvUHQvUllBS1JMNkc4YklZUVFRbHlLbGx2dlhRd0dRN2pCWUZpdDAra3VPVCtiS1ZPbThEZmZmSk9YbFpYZDZJcmZyZFRVMVBENCtIaCs2ZElsempubmRydWRjODc1NmRPbmVXcHFLdCsrZlR1dnFxcmlxYW1wdkxpNG1DY21KdktMRnkveTh2SnlaZG55blR0MzhvY2ZmcGpQbnorZkh6cDBTTmwzZm40K1QwNU81bXZYcnIybEdIdXowdEpTdm1MRkNuN3Z2ZmUyWERiOW9zRmdXRzB3R0xxL3ZFaHVDZjF0STRRUTBodlFyM3NlaEg3VjdaM2k0K00xTlRVMWFRQXlHV1B4enZidzhIQ0lvb2lrcENSbFFZZXVLaW9xUWs1T0RwWXVYZHFxdmJpNEdBY1BIc1Fqanp3Q0FQaisrKy94cHovOUNiLzYxYSt1WFNJY1I0NGNRVjFkSGFLam82L2J2OWxzeHRHalJ4RVZGWFZEY2ZWbWRYVjF5TTNOaFNSSnFLaW9VTm81NS9rQXNnWU5HclNGcWxPOUUvMXRJNFFRMGh2UWw1QUhvY2xIN3hjYkd4c215L0pDQUU4QXVCMEFmSDE5TVhQbVRJaWlpTWpJeUE2WElHL0o0WEJBcGVwMFZXK1B4amxIV1ZrWkpFbENYbDRlTEJZbGI3b0k0Rk5CRU5ZVkZCUlVkTEFMMGd2UTN6WkNDQ0c5QVgwSmVSQ2FmUFFkWThlTzlRa0lDSGdBVGRkaTNlOXNEd3NMVTZwWTE5NzRsM1RkMWF0WGxlclV6ei8vM0xKckg0QXNzOW04OWNpUkkxWTNoVWR1RVAxdEk0UVEwaHZRbDVBSG9jbEgzeFFURXpOT0VJU0ZBQllBR0FvMHJlcm5yR0pwdGRvdVY3RThHZWNjSlNVbGtDUUp1M2Z2YmxtZHVnRGdFMW1XMXhVVkZSMTJZNGlrQzhhT0hldHoyMjIzM2RheXplRnduQUVBbFVwMVI4djJLMWV1WEtFRW1SQkNpS3ZRYk15RFVHTFZ0Mm0xV20rTlJqT1hjNTRKSU1IWlBtN2NPSWlpaU9UazVGWTNCQ1pOYW10cmxlclU0Y090OHFadkdXTlpGb3ZsbTlMU1VwdTc0aU0zSmk0dWJyakQ0VGlOenIrL1pKVktOV0wvL3YxblhSRVhJWVFRUWhOc0QwS0pWZjloTUJqR0FGakVPVjhBWUJnQStQajRJREV4RWFJb1lzS0VDUjVkeGVLYzQrREJnMHAxeW1wVmloYm5PZWNiQkVGWVp6UWFLOTBaSTdsNWVyMCtIOEMwVGpiNzNtUXl4ZmQ4TklRUVFrZ1R6NTE1ZVNCS3JQb2ZyVmJyN2UzdFBhZjU1c09KenZZeFk4WkFGRVdrcEtRZ0lDREFqUkc2bHRsc1JrNU9EaVJKUW1WbHE3eHBOK2M4eTJhemJhZnFWTituMCtrV004YmU3MlN6eFNhVDZiOWRFaEFoaEJBQ1NxdzhDaVZXL1Z0Y1hGeG9ZMlBqUWdCUE1zYUNBTURiMjF1cFlrVkZSZlhMS2hibkhBY09IRkNxVXphYmtqZWRCYkJCcFZLdDM3OS9mNVViUXlUZExEbzZlb1JLcFRyWjBUWU9oMk5rY1hIeEtWZkZSQWdoaFBTL1dSWnBGeVZXbnNGZ01IaHh6bWNEV0FSZ0pwci9QdzhORFlVb2lraE5UZTBYVlN5ejJZeWRPM2RDa2lSVVZTbDVFd2V3QzBBV1kyeUgwV2kwdXk5QzBwUDBldjIvQUV4cXAvdGZKcFBwVjY2TWh4QkNDS0VKdGdlaHhNcnp4TVRFM05tOG91Q1RBTzRBbXFwWUNRa0pFRVVSTVRFeGZhcUt4VGxIVVZFUkpFbkN0OTkrMjdJNmRZWXh0dDdoY0t3dktpbzY2c1lRaVlzWURJYmZjODdmYWF1UE1mWjdvOUc0MnRVeEVVSUk4V3g5WjBaRmJoa2xWcDdMWURCNEFVaVZaWGtSWXl3WnpmL3YzM25ublJCRkViTm16Y0tnUVlQY0cyUUhhbXBxc0dQSERraVNoS05IanpxYk9lYzhsM09lRlJnWXVETS9QNy9SalNFU0Y0dUtpcnBMclZhM2VZcG5ZMk5qNklFREIzNXhkVXlFRUVJOEcwMndQUWdsVmdRQWREcmRhQUJQTWNhZUFoQU1BRjVlWHBnK2ZUcEVVWVJlcis4VlZTek9PVXdtRXlSSnd0NjllMkczSzJmMW5lS2Nyd2V3b2JDdzhKZ2JReVJ1cHRmclRRQjAxelNiVENhVHdSM3hFRUlJOFd4cWR3ZEFDSEd0NW1Ua0QvSHg4Y3RyYW1wU0dHT1pkcnM5T1M4dlQ4akx5OFBvMGFPVktsWmdZS0RMNDZ1dXJsYXFVOGVPS1htVERDQUhRRlpBUUVBdVZhZElzODI0UHJIYTdJNUFDQ0dFRVBmL0xFMWNoaXBXcEQwR2cyRVU1L3hKeHRoVG5QT1JRRk1WNi83Nzc0Y29pakFZREQxYXhlS2N3MmcwUXBJazdOdTNUNmxPTWNaT2NzN1hxVlNxRGZ2Mzd6L1JZd0dRUHNsZ01JUnp6ZysxYkJNRUlieWdvS0RDWFRFUlFnanhYRFRCOWlDVVdKSE94TWZIcTgxbWN4S0FUQUNwQUFRQUdEVnFGTkxTMGpCcjFpd01Iank0MjQ1MytmSmw3Tml4QTF1MmJNSHg0OGVkelRLQUhZeXhyTkRRMEx6czdHeEh0eDJROUR0NnZiNFVRQ1FBTU1aS2pVYmplRGVIUkFnaHhFUFJCTnVEVUdKRmJrUlVWTlJJTHkrdkp6bm5Dd0dFQUlCYXJjWjk5OTBIVVJRUkd4c0xRUkJ1ZUwreUxLT2dvQUNTSk9HNzc3NURZNk55VnQ5eHh0ZzZ1OTMreVlFREJ6cThSeEVoVGpxZGJqbGo3RFVBNEp3dkx5d3MvS083WXlLRUVPS1phSUx0UVNpeElqY2pJeU5EOWNzdnY4emtuR2R5em1jQlVBSEF5SkVqa1phV2hqbHo1blNwaW5YNThtVnMyN1lOVzdac3djbVRTdDdrQUxDZGM1NDFkdXpZM1ZTZElqZEtwOU5GTThhS21oOUdtMHltQTI0TmlCQkNpTWVpQ2JZSG9jU0szS3JvNk9nUmdpQXNZSXd0QWpBS2FLcGl4Y2ZIUXhSRnhNWEZ0YXBpeWJLTS9mdjNLOVVwaDBQSm00NXh6dGVoYVdXLzB5NS9JYVEvWVhxOS9qQUFiaktaN2tiVFRhSUpJWVFRbDZNSnRnZWh4SXAwbDR5TURGVmxaZVVNTkYyTE5RZk5WYXdSSTBZZ0xTME52L3JWci9Eamp6OWl5NVl0T0hYcWxQTnBEZ0RiQUdTTkdUTm1EMVduU0hmUjYvVnZNOGE0MFdoODJkMnhFRUlJOFZ3MHdmWWdsRmlSbm1Bd0dPN2duQzhBc0FqQW5XMXNjaFRBV3NiWUowYWo4WXdyWXlQOW5xRFg2MmR3enI5a2pBMEdZQWJ3a01sazJvT21SVkFJSVlRUWw2RUp0Z2VoeElyME1NRmdNQ1J3empNQkpBUElaWXhsR1kzR2IwR1RYTktOZERwZE1HTnNBWUNGYUQrWlg4Y1kyMERKUENHRUVGZWhDYllIb2NTS3VBcU5OZExkTWpJeVZFZU9IRWxrakdVQ21JMFdwNStLb3FpY2ZpcEowcldubjlMaUtJUVFRbHlDSmowZWhDYTd4RlZvckpIdUVoMGRQVUt0Vmp1WC9iK1ZCVk9PTThiV05UWTJiaWd1TGo1MS9aRUlJWVNRVzBPVEhnOUNrMTNpS2pUV3lLM0l5TWhRVlZWVkpUV2ZWam9MelRlcURna0pRVnBhR21iUG50M2xKZjYzYjk4T1NaSmFMZkhQR052QkdNdTY2NjY3ZGxFVml4QkNTSGVoU1k4SG9ja3VjUlVhYStSbXhNWEZoVGdjamljQlBJVVdONlcrLy83N0lZb2lEQWJEVGQrVTJtZzBRcElrN051M3IrVk5xVTgwMzVSNkE5MlVtaEJDeUsyaVNZOEhvY2t1Y1JVYWE2U3I0dVBqMVdhek9SbE5TL2Vub0xrNk5XclVLSWlpaUZtelp1RzIyMjdydHVOZHVYSUZPM2JzZ0NSSk9INzh1TE5aQnJBVFFGWkFRRUJlZm41K1kvdDdJSVFRUXRwR2t4NFBRcE5kNGlvMDFraG5EQWJES0ZtV24yS01QUVZnQkFCNGVYbGgrdlRwRUVVUmVyMGVqUFhjOE9HY3cyUXlRWklrN04yN0YzYTdIUURBR0R2Sk9WL2Z2S0xnOFU1MlF3Z2hoQ2hvMHVOQmFMSkxYSVhHR21sTGZIeTh1cnE2T3BVeGxza1lTMGJ6ZDlEbzBhT1Y2bFJnWUtETDQ2cXVybGFxV01lT0hYTTJ5d0J5T2VkWmd3WU55cUVxRmlHRWtNN1FwTWVEMEdTWHVBcU5OZEtTVHFjYkxRakNRczc1a3dDQ0FjRGIyMXVwVHVsMHVoNnRUblVWNXh5RmhZVktGY3Rtc3ptN1RuUE8xd05ZWDFoWWVLeURYWkJyREJ3NE1NSGIyenZveXBVcmY3K21TNFhXY3hCS1hBa2hmWjc3djhtSXk5QmtsN2dLalRWaU1CaThPT2V6QUN3Q2tJVG03NXU3N3JvTG9pZ2lOVFVWZ3dZTmNtdU1IYW1wcWNIT25UdXhlZk5tSEQxNjFObk1BZVF4eHJJQTdEUWFqWGEzQmRoSGhJU0VmRmhmWC8vVHlKRWozN1BiN1NjQndNdkxhMHhkWGQxM2FyVTZHQUI4ZlgwakN3c0x2ZDBiS1NHRTNEcWE5SGdRbXV3U1Y2R3g1cm1pb3FMdVVxdlZDd0U4Q1dBNDBGU2RtakZqQmtSUlJIUjBkSytvVG5VVjV4ekZ4Y1dRSkFsNzl1eHBXY1U2QTJDRExNdnJpb3FLanJvdndsNk5qUjgvL3BlU2twS0owZEhSRmNYRnhZRUFNR0hDaEpNSER4NGM2ZHpvMnNlRUVOSlhxZDBkQUNHRWtMN05ZREI0eWJJOGh6RzJDRUFpbW4rMEN3ME5SWHA2T2xKU1VoQVFFT0RlSUc4U1l3d3hNVEdJaVluQjczLy9lK1RrNUdEejVzMm9xcXE2QThDcmdpQXMxZXYxdXdGa01jYTJVeFhyZi9uNStVMWxqS2tCbkhOM0xJUVE0Z3FVV0JGQ0NMa3BjWEZ4b1kyTmpZdGtXVjdBR0FzQ21xcFRpWW1KRUVVUlVWRlJmYW82MVptQWdBRE1temNQdi83MXIzSGd3QUZJa29UZHUzY3ptODAyRThCTVdaYlA2WFM2RFdxMWV0MysvZnVyM0IydnV3MGJOdXk1bG8vRHc4T0xBRUFRaENGaFlXRS9Nc1lHQUlCYXJSN21qdmdJSWFTN1VXSkZDQ0dreTdSYXJiZEdvNWtyeS9JaWg4TXh3NWs0alJrekJ1bnA2VWhPVHU2ejFhbXVZb3doT2pvYTBkSFJXTEprQ1hKemM3RjU4MlpVVmxZR0FYakY0WEM4b3RQcDlnRElzdGxzMjBwTFMyMmQ3Yk8vR1Rod1lOVEFnUU1ubyttNk5BQkFlWGw1REFBRUJBVE1OSnZOdTV6dGd3Y1B6bkJEaUlRUTB1MzZ6MCtKcEZOMDNRdHhGUnByL1k5ZXJ4K0xwb1VvRmdBWUNnQStQajZZT1hNbVJGSEUrUEhqKzFWMTZrWnh6bEZTVWdKSmtyQnIxeTVZclZabjEzbkcyQ2VjODNVbWsrbUlPMk4wcGNHREJ6L0pHR3NNRGc3K3I0TUhENDZNam82dWRpNWVZVGFiOTk1KysrMVBXaXlXU2dEdzlmVU5QMzM2OUN2bnpwMzdxM3VqSm9TUVcwTVZLMElJSVczU2FyWGVQajQrRHdESUJERGQyVDV1M0Rpa3A2Y2pLU2tKL3Y3KzdndXdGMkdNWWNLRUNaZ3dZUUplZU9FRjVPWGxZZlBtelRoOCtQQXd6dmxMQUY3UzYvVjdBV1JacmRhdC9iMktkZm55NVM4QldJS0RnLy9MMlZaV1ZqYmUrVytOUmpQK3lKRWpTUUNFbUppWXkyYXorVi91aUpNUVFyb1RKVlo5VkZoWVdINUZSVVc4dStNZ2hQUS8wZEhSZDZ0VXFvVUFua0J6ZFVxajBTQXBLUW1pS0NJeU10S2pxMU9kOGZmM1IwWkdCaDU4OEVHVWxwWXFWU3lMeFRJZHdIUWZINThMZXIzK1UxbVcxeFlWRlIxMmQ3dzl4TkpSWjBORHcwLysvdjR6MVdxMW45VnEvYm1ob2VIL3VTb3dRZ2pwS2ZUTjJBZEVSa2FXWE51bTBXaTBGb3VsOU5wMldaYXQ1ZVhsaHJiMlE2ZG5FVmVoc2RiM2pCMDcxc2ZmM3orTk1aWUo0RDVuZTFoWUdFUlJSSEp5TWdZT0hPakdDUHUycTFldklpOHZENUlrb2FLaW9tWFhkNXp6ck5yYTJpMUhqaHl4dHZmOHZzcTVsSHJMVXdGdE50dXBFeWRPUEh2WFhYZDlxVktwL0k4ZlA3Nnd0cmIybis2T2xSQkNiaFZWclBxQWxxZFBPT24xZXQ1V095R0UzSWpZMk5nd2g4T3hpREgyQklBaEFPRHI2NnRVcHlJaUlxZzYxUTM4L1B6dzRJTVBJajA5SFdWbFpVb1ZxNkdoNFQ3RzJIMEJBUUdYZERyZHB5cVZhbTFCUVVGRjUzdnNlNjc1enZKWHFWU0JEb2VqdXJhMnRzaHRRUkZDU0RlaWI4cytRcWZUV1JvYUdzcmI2eDh3WUVDVXlXUVNPdG9IVlJHSXE5Qlk2OTNpNCtNMXRiVzFJdWM4RThBMFozdEVSQVJFVVVSU1VoSUdEQmpneGdnOVExMWRuVkxGS2k5djllZjllOFpZbHIrL3Y1U2ZuOS9oS1hXOVhjdUtWZk1OZ3BtL3YzOXFTRWpJT3hjdlhseXJVcWtHREJreVpOR0ZDeGZlUFhmdTNEb0F0ZTZPbVJCQ2JoWlZyUHFXUm5jSFFBanB1L1I2ZlFTQVJUVTFOWTh6eGdZRHdJQUJBNUNjbkl5MHREUkVSRVQweUhFZERnZXFxNnN4Wk1nUTJPMTJlSGw1OWNoeCtwcUJBd2NpUFQwZDZlbnBPSFRvRUNSSlFsNWVIdXJyNjZkeHpxZlYxTlJjMXV2MW53RllhektaRHJrNzNwdGhzVmpLQWFDK3ZyNnd1Y252OXR0dmYrU1hYMzVaNEx5dTZ0S2xTOUt3WWNNZVJ5ZlhaUkZDU0c5SHZ5YjNFVHFkemxKWVdLaTUyWDZBcWdqRWRXaXM5UjZUSjAvMnRWcXQ2V2hhMlcrcXN6MHlNaExwNmVsSVRFenM4ZXJVMGFOSDhidmYvUTVidG16Qlk0ODlobm56NXVHQkJ4NVErb3VMaTZGU3FUQitmT3V6bTdPeXNwQ1ptZG1qc2ZVMjlmWDEyTFZyRnlSSlFsbFpXY3V1SHdCaytmajRiUDdYdi83VjRLYndDQ0dFZElBcVZuMUllSGg0UVh0OWpERnZWOFpDQ09uZG9xT2p0U3FWYXBIVmFuME13RzFBVTNVcUpTVUZvaWdpTEN6TVpiRm9OQnJJc2d4dmIyOTgrT0dIV0wxNk5SSVNFdURuNXdkWmxyRnk1VW9zWDc0Y0FQRHd3dzhyenp0eTVBaSsrKzQ3NWZIY3VYTXhiOTY4TGgvWFlMaCtIWitBZ0FCbG43SXM0NzMzM3NPMmJkdkFPWWNvaWxpOGVIR2IxNVI5OWRWWCtQTExMM0gyN0ZtTUhqMGFMNzc0SXU2NTU1NHV4OUpWQXdZTVFGcGFHdExTMGxCZVhvNHRXN1lnSnljSDlmWDFVd0ZNdFZxdDcrdjErczg1NTFtRmhZVmxuZTZRRUVLSXk5Q3Z5WDBFVmF4SVgwSmp6VDBtVDU3c2E3RllNZ0JrTXNidWRiWnJ0VnFrcDZkanhvd1pQVnFka21VWjk5MTMzM1h0bkhQVTE5ZGZ0NnJnMTE5L2pZS0NBaFFYRjJQcDBxWDQ2YWVmTUduU0pLVi8yclJwK1A3Nzc2L2IzOVdyVjFGWFY0ZWdvS0FiaXU5UGYvb1RBT0RsbDE4R0FIejY2YWZZdm4wNzFxeFpnL3I2ZW1SbVp1TFpaNTl0VlUxeit2REREM0gvL2ZjaktDZ0lYMy85TlRadTNJamR1M2ZEeDhmbmhtSzRHZlgxOWRpOWV6Y2tTVUpwNmY4dUJzczUveDhBV1JxTkpwdXFXSVFRNG41VXNlcERxR0pGQ0dsTGJHenNlTTU1cHRWcWZaUXhGZ2cwWGIrVG1wcUt0TFEwM0gzMzNTNkpnM09PcTFldndtZzB0bXB2YUdqQTlPblRyMHVTYW1wcXNISGpSbno4OGNmWXRXc1h0bTNiaHNiR1JxeFpzd1pBVTBMUnNvTDErZWVmdzh2TEMvWDE5WGowMFVjeGUvWnNMRml3QUg1K2ZwM0daclBac0d2WEx2ejNmLyszMHBhZG5ZMW5ubmtHdzRjUEJ3Q2twYVZoNTg2ZGJTWld2LzN0YjVWL1AvSEVFMWk3ZGkwdVg3Nk1PKzY0b3d2dnpLMFpNR0FBSG5qZ0FUend3QU9vcUtoUXFsaDFkWFgzQXJqWGFyVytaekFZdm1DTVpSVVVGRngzZXc1Q0NDR3VRWWxWTHpkNDhPQ0hoZzhmL2dmR21MY2dDQjFXcEp6M3U2SmwyQW54REhxOVBnMkFKTXV5MGpaaHdnU2twNmNqSVNFQnZyNis3Z3V1QlkxR0E3dmREbG1XSVFnQzh2UHpFUkVSZ2R6Y1hKdzdkdzRMRnk1RWRYVTFObXpZZ09EZ1lFeVpNZ1ZBVThWcTQ4YU4xKzF2MkxCaDJMUnBFelpzMklDTWpBdzg4c2dqeU1qSWdMZDMrNzh2NWVmblkralFvZEJxdFFDQVM1Y3U0ZXpaczVnd1lZS3lUV1JrSkxLenN6dDlQVC85OUJPR0R4OSt3eFd6N2hBV0ZvYVhYMzRaenovL1BQYnMyUU5Ka25EdzRNRkF6dmxpenZsaXZWNFBBS0xKWk5yaTh1QUlJY1REMFdrNmZRZno5L2RQRFFvS2V1N01tVE12MXRYVkZRTVlQRzdjdU0yMXRiWGYxZGJXYnF1cnErdndYaUIwZWhaeEZScHJycUhYNjY4Q1VNNnZlL1BOTjVHY25PeTJlQndPQis2NTU1N3JLa2g3OXV4QlNrb0t2djc2YS9qNStTRXBLUWtmZmZRUlJvNGNDYnZkam84KytnaVJrWkVJRGc3RzZ0V3JPenpHdFluV3VYUG44UEhISDhOb05HTHg0c1ZJU0VobzgzbS8rOTN2TUduU0pEejY2S01BZ0lxS0NzeWZQeC81K2ZudzkvY0hBQlFXRm1MaHdvWFl2MzgvQktIdHUxY1lqVWE4OHNvcmVPdXR0OXE4aHNzZGNuSnk4TnBycjdWc3FzUC9qZ3NaQU8vS2Z6bm5uREVtQStDY2M1a3h4cDE5akRIT09aY0JjTWFZekRsdmN4K2RiTmVWNDNVWVYyZkhrMlc1elgyMnMxMlg5dUZzWjR4eHVlbFhqSDhVRmhidTdZN1BqaERTdjFERnFnOElDZ3A2NWZiYmIzL1NhclZXblQ5Ly9xOTFkWFVIbXJzdUh6dDI3SmtoUTRha2p4bzE2ak9WU3VWLzhlTEZUODZlUGJ2Q3JRRVRRbHpsVVFDYjBmd2oyYkpseS9EVlYxOHAxMU81dW1MbGNEamc0K09qblBJbnl6SW1UcHdJYjI5dkJBVUY0ZXpac3poMDZCQWlJaUtVeFROeWMzTlJXMXVMT1hQbVFKWmxiTnk0RVE4OTlOQjErdzRNREVSV1ZsYWJ4L1h6OHdQbkhEVTFOVzMybnp0M0RrYWpVVmtnd3hrcmdGWUpsQ0FJSGQ0TStjS0ZDMWl5WkFsV3JWcmw5cVNxb2FGQnVlNnFwS1RWMlg4Y1RlTkNhbjdzZklHcXp2Ylo4clZmK3o0MDVVZlgvL3RhWGQydXMrTzF0MTFueDJ0dm54MXRkeVA3WUl5Qk1YWVNRRWk3UVJGQ1BCWWxWbjFBWTJQanljckt5Z1NMeFhMczJqNmJ6VlorNXN5WmxXZk9uRm5wN2UydDFXZzBJOTBSSXlIRTlacFA5eEppWTJQSE94eU9SWXl4eDBwS1NnSkxTa3F3YXRVcXBLU2tJQzB0eldVckFOYlYxU25WSHdDd1dDeEtjamQ2OUdnY1BIZ1E2OWV2eDd2dnZnc0FPSFRvRUY1Ly9YV0VoNGRqenB3NW1EUnBFcFl1WFlxTEZ5OWkzNzU5ZVAvOTkvSGNjODhCQUdiTW1OSHFXSldWbGZqODg4OVJVRkNBK2ZQbkl6czd1OTJGSkhiczJJR0pFeWRpeUpBaFNsdEFRQUNBcHV1OG5JdHFWRmRYSXpBd3NOMXFWVkZSRVVKRFF4RWJHM3N6YjArM3FLaW9nQ1JKeU0zTlJWMWRuYk81bW5QK3VVcWxXdHZpR2lzQkFNdkl5R0JWVlZXQ3hXSmhRNGNPRmF4V0s2dXJxeE1jRGdmejgvTVRHaHNibWMxbUUvejgvSmpOWmhOa1dXYmUzdDZDTE11c3NiRlJrR1daY2M2Wmw1ZVhJTXN5Y3pnY2dvK1BEM000SElJc3kweXRWZ3VjY3liTDhuV1AxV28xazJWWjRKd3psVW9sY001WlIzMnlMQXNBbUNBSXptMEZsVXFsdE11eUxLaFVLc1k1RnpqbkRBQmpqQWtBR09kY0VBUkI2V3U1ai9hMmEzN2NhdHVXZlMyZjAzeThZTWJZTTdJczA0M1lDQ0Z0b3NTcUQ3aDA2ZElYWGRuT1pyT1YybXkyMHM2M0pJVDBKODJUNmVjblQ1Nzhzc1ZpZVpBeGxsbFhWemNsT3pzYjJkblowR3ExRUVXeHgrOVpkZUhDQlF3ZE9sUjViRGFibFVRcktpb0tIM3p3QVpLVGs2SFZhbUczMnpGaXhBaXNYTGtTWThhTVFVaElDTlJxZGF2bjV1Zm5LNGxWU3lkUG5zVGl4WXZ4MkdPUDRkVlhYKzN3MmlvQTJMNTlPNTU5OXRsV2JjSEJ3ZkQzOTBkWldSbUNnNE1CQUdWbFpkZmRTNnVsaVJNbnVtd2hrSmJhV3hVUXdEODU1MWthaldaVEc2c0NjZ0M4K1pveGg2dGk3Yy9pNHVLR094eU9aOXdkQnlHazk2TEVpaEJDK29ubXlmVVhBTDdRNlhTUmpMRkZBQjR2TFMyOXJiUzBGS3RYcjFhcVdPSGg0ZDErL01yS1NvU0doc0ptczhIYjJ4c0hEaHhRVnMzVGFEU3cyV3hZdkhneEFPQ3R0OTVDWW1JaUVoSVNJTXN5amg4L2poTW5UbURxMUtaN0dQL3d3dys0Y3VVSzh2THlrSlNVMU9vNHc0WU53OWF0V3p0TnFBREFaREtocHFZRzA2Wk5hOVV1Q0FKbXo1Nk5EUnMySUNZbUJtYXpHWklrdFRwZHNLM1hWMUpTb2x5bjFkUEt5OHVWNmxSOWZiMnorUXFBenpqbmEraytWb1FRMHJ0UVlrVUlJZjFRODZUN1ArUGo0MTh4bTgzcEFETHI2K3YvejZaTm03QnAweVpFUkVRZ1BUMGRNMmZPN0xZcTFyLy8vVzlFUjBkajJiSmwrT0dISDZEUmFMQml4UW9jTzNZTWE5YXNnVmFyeFQvKzhRL01uajBiWjgrZXhZVUxGL0RFRTAvZzFLbFRDQWtKUVZ4Y0hLWk9uWXBubm5rR2YvdmIzL0RuUC84WnpxcmJ5cFVybGVQazVPVGc3YmZmYmpPR1BYdjJ0Rm84WTl1MmJVaEtTb0tYMS9WbmJ6Mzc3TE5ZdVhJbDVzNmRDMzkvZnp6OTlOT1lQSGx5dTYvUFpESWhOemUzUnhPcit2cDY1T1hsUVpJa0hEcDBxR1hYUHdCa0JRUUViTTdQejdmMFdBQ0VFRUlJNlp4ZXIrZk8xZG9JNlVrMDFub25nOEVRYmpBWVZ1dDB1a3ZPejJqS2xDbjh6VGZmNUdWbFpmeFcxTlRVOFBqNGVIN3AwaVhPT2VkMnU1MXp6dm5wMDZkNWFtb3EzNzU5TzYrcXF1S3BxYW04dUxpWUp5WW04b3NYTC9MeThuTHVjRGc0NTV6djNMbVRQL3p3dzN6Ky9QbjgwS0ZEeXI3ejgvTjVjbkl5WDd0MjdTM0YySnVWbHBieUZTdFc4SHZ2dlpjN1B4dTlYbi9SWURDc05oZ00zVjllSkRjc0xpNXV1RjZ2NXpxZDdxeTdZeUdFOUU1VXNTS0VFQTloTkJyTEFTeUpqNDkvdGFhbUpnMU5WYXg0U1pJZ1NSTEN3OE1oaWlLU2twS1VCUjI2cXFxcUNqTm16TURnd1lNQlFMbGU2dno1ODVnM2J4NW16Wm9GQUhqeHhSZngwa3N2WWNxVUtSZ3laRWlyQlNYdXZ2dHV2UFRTUzRpT2ptNjE3Mm5UcGtHbjArSG8wYU0zL2RwN283cTZPdVRtNWtLU0pGUlVWQ2p0blBOOEFGbURCZzNhUXRVcFFnanBPK2dlTXg2RTdpMlpNU1E4QUFBZ0FFbEVRVlJFWElYR1d0OFJHeHNiSnN2eVFnQlBBTGdkQUh4OWZURno1a3lJb29qSXlNZ09sN3R1eWVGd1FLWHFkRlZ2ajhZNVIxbFpHU1JKUWw1ZUhpd1dKVys2Q09CVFFSRFdGUlFVVkhTd0MrSW16WXRYbk9HY255c3NMQnp1N25nSUliMFBWYXdJSWNTRE5VL2lYeHc3ZHV5eWdJQ0FCd0JrTmpRMDNMOTE2MVpzM2JvVllXRmhTaFhyMmh2L1hvdVNxdlpkdlhwVnFVNzkvUFBQTGJ2MkFjZ3ltODFianh3NVluVlRlSVFRUXJvQi9acnNRYWlLUUZ5RnhscmZGaE1UTTA0UWhJVUFGZ0FZQ2pTdDZ1ZXNZbW0xMmk1WHNUd1o1eHdsSlNXUUpBbTdkKzl1V1oyNkFPQVRXWmJYRlJVVkhYWmppS1FEa3lkUDltMXNiQnprZkN3SXdqQzczVjRNNElKS3BZcHF1YTBzeTVlTVJxUGQ1VUVTUW5vVittYjBJRFRaSmE1Q1k2MS8wR3ExM2hxTlppN25QQk5BZ3JOOTNMaHhFRVVSeWNuSnJXNElUSnJVMXRZcTFhbkRoMXZsVGQ4eXhySXNGc3MzcGFXbE5uZkZSN29tT2pwYXExS3BTanJmRXZXTXNhRkdvN0crODAwSklmMFpUWG84Q0UxMmlhdlFXT3QvREFiREdBQ0xPT2NMQUF3REFCOGZIeVFtSmtJVVJVeVlNTUdqcTFpY2N4dzhlRkNwVGxtdHlsbDk1em5uR3dSQldHYzBHaXZkR1NPNVlVeXYxeDhDRU5iaFJveHRNaHFOR1M2S2lSRFNpOUUxVm9RUVFqclZuQlM4ck5WcS8rRHQ3VDJITWJiSWFyVW1idCsrSGR1M2I4ZVlNV01naWlKU1VsSVFFQkRnN25CZHhtdzJJeWNuQjVJa29iS3lWZDYwbTNPZVpiUFp0bE4xcXMvaUFEWURXTnJSUnJJc2IzWk5PSVNRM3M1emYxNzBRRlJGSUs1Q1k4MHp4TVhGaFRZMk5pNEU4Q1JqTEFnQXZMMjlsU3BXVkZSVXY2eGljYzV4NE1BQnBUcGxzeWw1MDFrQUcxUXExZnI5Ky9kWHVURkUwazBNQm9PZWMyN3NZQk9ycjYvdjBQLzVuLytwZFZsUWhKQmVxLzk5NDVGMjBXU1h1QXFOTmM5aU1CaThPT2V6QVN3Q01CUE4zeTJob2FFUVJSR3BxYW45b29wbE5wdXhjK2RPU0pLRXFpb2xiK0lBZGdISVlvenRvQVVNK2gybTErdXJBTnpaVHY4Mms4azAxNFh4RUVKNk1acjBlQkNhN0JKWG9iSG11V0ppWXU1c1hsSHdTUUIzQUUxVnJJU0VCSWlpaUppWW1ENVZ4ZUtjbzZpb0NKSWs0ZHR2djIxWm5UckRHRnZ2Y0RqV0Z4VVZIWFZqaUtTSDZYUzZWWXl4SlczMWNjNGZMeXdzL056Vk1SRkNlcWUrOCsxR2JobE5kb21yMEZnakJvUEJDMENxTE11TEdHUEphUDYrdWZQT095R0tJbWJObW9WQmd3WjF2Qk0zcXFtcHdZNGRPeUJKRW80ZVBlcHM1cHp6WE01NVZtQmc0TTc4L1B4R040WklYRVNuMDAxbWpQM1lScGZkYnJjSEhUeDQ4SXJMZ3lLRTlFbzA2ZkVnTk5rbHJrSmpqYlNrMCtsR0EzaUtNZllVZ0dBQThQTHl3dlRwMHlHS0l2UjZmYStvWW5IT1lUS1pJRWtTOXU3ZEM3dGRPYXZ2Rk9kOFBZQU5oWVdGeDl3WUluRVBRYS9YbjBEejJHMGh6MlF5SmJzaklFSkk3MFNyQWhKQ0NPbFJ6Y25JSCtMajQ1ZlgxTlNrTU1ZeTdYWjdjbDVlbnBDWGw0ZlJvMGNyVmF6QXdFQ1h4MWRkWGExVXA0NGRVL0ltR1VBT2dLeUFnSUJjcWs1NU5CbUFCT0RabG8yTU1Wb05rQkRTaXZ0L0lpUXVRMVVFNGlvMDFraG5EQWJES003NWs0eXhwempuSTRHbUt0Yjk5OThQVVJSaE1CaDZ0SXJGT1lmUmFJUWtTZGkzYjU5U25XS01uZVNjcjFPcFZCdjI3OTkvb3NjQ0lIMUtiR3hzdkN6TDM3Vm9jakRHaGh1TnhvdHVDNG9RMHV2UXBNZUQwR1NYdUFxTk5kSlY4Zkh4YXJQWm5BUWdFMEFxQUFFQVJvMGFoYlMwTk15YU5RdURCdy91dHVOZHZud1pPM2Jzd0pZdFczRDgrSEZuc3d4Z0IyTXNLelEwTkM4N085dlJiUWNrL1VKR1JvYXFzckx5SElBaHpVMzdUQ2JUZEhmR1JBanBmV2pTNDBGb3NrdGNoY1lhdVJsUlVWRWp2Ynk4bnVTY0x3UVFBZ0JxdFJyMzNYY2ZSRkZFYkd3c0JFRzQ0ZjNLc295Q2dnSklrb1R2dnZzT2pZM0tXWDNIR1dQcjdIYjdKd2NPSERqWmZhK0U5RWQ2dmY3L0EvQWJBR0NNL2M1b05IN281cEFJSWIwTVhXTkZDQ0drVjJoT2JwWm5aR1NzL09XWFgyWnl6ak1iR3h0bjdkbXpSN1Zueng2TUhEa1NhV2xwbUROblRwZXFXSmN2WDhhMmJkdXdaY3NXbkR5cDVFME9BTnM1NTFsang0N2RUZFVwMGxVT2gyT3pTcVg2VGZQRExXNE5oaERTSzlHdnlSNkVxZ2pFVldpc2tlNFNIUjA5UWhDRUJZeXhSUUJHQVUxVnJQajRlSWlpaUxpNHVGWlZMRm1Xc1gvL2ZxVTY1WEFvZWRNeHp2azZOSzNzZDlybEw0VDBlVnF0MXR2SHgrY2NnQktUeVRUVjNmRVFRbm9mbXZSNEVKcnNFbGVoc1VhNlcvTTFMalBRZEMzV0hBQXFBQmd4WWdUUzB0THdxMS85Q2ovKytDTzJiTm1DVTZkT09aL21BTEFOUU5hWU1XUDJVSFdLM0NxRHdmQVo1N3pRWkRLOTYrNVlDQ0c5RDAxNlBBaE5kb21yMEZnalBjbGdNTnpCT1Y4QVlCR0FPOXZZNUNpQXRZeXhUNHhHNHhsWHhrYjZKVUd2MTgvZ25IL0dHQXZpbkY5bGpEMW9NcG4yb0duaEUwSUlBVUNKbFVlaHlTNXhGUnByeEVVRWc4R1F3RG5QQkpBTUlKY3hsbVUwR3I4RlRYakpMZExwZE1HTXNRVUFGcUw5Qkg0ZFkyd0RKZkNFRUlBU0s0OUNrMTNpS2pUV2lDdlJlQ1BkSlNNalEzWGt5SkZFeGxnbWdObG9jY3FwS0lyS0thZVNKRjE3eWlrdGlFSUlvY1RLazlEa2c3Z0tqVFhpU2pUZXlLMktqbzRlb1Zhcm5VdjkzOG9pS2NjWlkrc2FHeHMzRkJjWG43citTSVNRL295V1d5ZUVFRUtJeDhuSXlGQlZWVlVsTlo5S09vdHpMZ0JBU0VnSTB0TFNNSHYyN0hhWDlSY0VBUk1uVHNURWlSTngrZkpsYk4rK0haSWs0ZVRKazZNNDU4dFZLdFVmRFFiRERzWlkxbDEzM2JXTHFsaUVlQWI2ZGMrRDBLKzY1R2FFaFlYbFYxUlV4Ti9JYzJpc0VWZWk4VVp1UkZ4Y1hJakQ0WGdTd0ZOb2NTUHErKysvSDZJb3dtQXczUFNOcUkxR0l5Ukp3cjU5KzFyZWlQcEU4NDJvTjlDTnFBbnAzNmhpUlFoUlJFWkdsbHpicHRGb3RHMjF5N0pzTFM4dk43Z21Na0lJdVhueDhmRnFzOW1jRENEVDRYQ2tBQkFBWU5Tb1VSQkZFYk5temNKdHQ5MTJTOGNRQkFGeGNYR0lpNHZEbFN0WHNHUEhEa2lTaE9QSGo0ZHd6dDlRcTlWLzFPdjFPd0ZrQlFRRTVPWG41emQydWxOQ1NKOUN2KzU1RVBwVmw5d012VjdQYjNUTTBGZ2pya1RqamJUSFlEQ01rbVg1S2NiWVV3QkdBSUNYbHhlbVQ1OE9VUlNoMSt2QldNOE5HODQ1VENZVEpFbkMzcjE3WWJmYkFRQ01zWk9jOC9YTkt3b2U3N0VBQ0NFdVJWOUNIb1FtSDZRcmREcWRwYUdob2J5OS9nRURCa1NaVEtZT3o1T2hzVVpjaWNZYmFTaytQbDVkWFYyZHloakxaSXdsbzNtdU0zcjBhS1U2RlJnWTZQSzRxcXVybFNyV3NXUEhuTTB5Z0Z6T2VkYWdRWU55cUlyVmZRWU9ISmpnN2UwZGRPWEtsYjlmMDZWQzYva3Z2ZWVrMjlDcGdJU1F0dEFYRFNHa1Q5SHBkS01GUVZob05wdWZGQVFoR0FDOHZiMlY2cFJPcCt2UjZsUm5BZ01EOGNnamorQTN2L2tOQ2dzTG5WVXN3V2F6cFRMR1VzMW04Mm1kVHJjZXdQckN3c0pqbmU2UWRHanc0TUZpZlgzOVQ5SFIwZFYydS8wa0FIaDVlWTJwcTZ2N1RxMVdCd09BcjY5dlpHRmhvYmQ3SXlYOUNTVldoSkRybEplWHg3YlhwOVBwTEs2TWhSQkMybU13R0x3NDU3TUFMQUtReERsbkFIRFhYWGRCRkVXa3BxWmkwS0JCN2czeUdvd3g2UFY2NlBWNnZQamlpOWk1Y3ljMmI5Nk1vMGVQQmpQR1hnT3dUSy9YNXpIR3NnRHNOQnFOZG5mSDNBZXhRWU1HcFp3NGNlS05rU05Ib3F5c2JEd0FUSmd3NGVTUkkwZFNuQnRObURDQkZoTWgzWW9TSzBMSWRjTER3d3ZhNjJPTTBhOTdoQkMzaW9xS3VrdXRWaS9rbkQ4SllEalFWSjJhTVdNR1JGRkVkSFMwVzZ0VFhUVm8wQ0RNbno4ZkR6LzhNSXFMaXlGSkV2YnMyY05zTmxzeTV6d1p3Qm05WHI5Qmx1VjFSVVZGUjkwZGIxL2g1K2MzbFRHbUJuRE8zYkVRejBLSkZTSGtPbFN4SW9UME5nYUR3VXVXNVRtTXNVVUFFdEY4blV4b2FDalMwOU9Sa3BLQ2dJQUE5d1o1a3hoamlJbUpRVXhNREg3Lys5OGpKeWNIbXpkdlJsVlYxUjBBWGhVRVlhbGVyOThOSUlzeHRwMnFXQjBiTm16WWN5MGZoNGVIRndHQUlBaER3c0xDZm1TTURRQUF0Vm85ekIzeGtmNkxFaXRDeUhXb1lrVUk2UzNpNHVKQ0d4c2JGOG15dklBeEZnUTBWYWNTRXhNaGlpS2lvcUw2UkhXcXF3SUNBakJ2M2p6OCt0ZS94b0VEQnlCSkVuYnYzczFzTnR0TUFETmxXVDZuMCtrMnFOWHFkZnYzNzY5eWQ3eTl6Y0NCQTZNR0RodzRHUUIzdHBXWGw4Y0FRRUJBd0V5ejJiekwyVDU0OE9BTU40UkkrakZLckFnaEFJREJnd2MvTkh6NDhEOHd4cndGUWRCMHRLM3p2bGJPODlZSklhUTdhYlZhYjQxR00xZVc1VVVPaDJPR00zRWFNMllNMHRQVGtaeWMzR2VyVTEzRkdFTjBkRFNpbzZPeFpNa1M1T2JtWXZQbXphaXNyQXdDOElyRDRYaEZwOVB0QVpCbHM5bTJsWmFXMnR3ZGMyL2c0K01UZS9yMDZWZUNnNFAveTlubS9NNHltODE3UTBORE4xa3Nsa29BOFBYMURmZnk4aHA1N3R5NXY3b3JYdEsvVUdKRkNBRUFYTDU4K2Y5ZXZuejUvd0pnL3Y3K3FVRkJRYytkT1hQbXhicTZ1bUlBZzhlTkc3ZTV0cmIydTlyYTJtMTFkWFZGN282WEVOTC82UFg2c1doYWlHSUI1M3dvWXd3K1BqNllPWE1tUkZIRStQSGorMVYxcXFzQ0FnTHc2MS8vR2c4OTlCQktTa29nU1JKMjdkb0ZxOVU2QThBTUh4K2Y4d2FENFJQTytUcVR5WFRFM2ZHNjArWExsNzhFWUdtWldMWDhFVkNqMFl3L2N1UklFZ0FoSmlibXN0bHMvcGM3NGlUOUV5VldoQkJGVUZEUUs3ZmZmdnVUVnF1MTZ2ejU4Myt0cTZzNzBOeDErZGl4WTg4TUdUSWtmZFNvVVorcFZDci9peGN2Zm5MMjdOa1ZiZzJZRU5MbmFiVmFieDhmbndjQVpBS1k3bXdmTjI0YzB0UFRrWlNVQkg5L2YvY0YySXN3eGpCaHdnUk1tREFCTDd6d0F2THk4ckI1ODJZY1BueDRHT2Y4SlFBdjZmWDZ2UUN5ckZiclZnK3RZblY0SFhCRFE4TlAvdjcrTTlWcXRaL1ZhdjI1b2FIaC83a3FNTkwvVVdKRkNGRTBOamFlckt5c1RMQllMTmZkUThWbXM1V2ZPWE5tNVpreloxWjZlM3RyTlJyTlNIZkVTQWpwSDZLam8rOVdxVlFMQVR3QllDZ0FhRFFhSkNVbFFSUkZSRVpHZW1SMXFxdjgvZjJSa1pHQkJ4OThFS1dscFVvVnkyS3hUQWN3M2NmSDU0SmVyLzlVbHVXMVJVVkZoOTBkcnpzNVR3VzAyV3luVHB3NDhleGRkOTMxcFVxbDhqOSsvUGhDZDhkRytoZEtyQWdoaWt1WExuM1JsZTFzTmx1cHpXWXI3ZWw0Q0NIOXk5aXhZMzM4L2YzVEdHT1pBTzV6dG9lRmhVRVVSU1FuSjJQZ3dJRnVqTER2WVl4aC9QanhHRDkrdkZMRmtpUUpGUlVWUXdHOEtBakNpM3E5L2p2T2VWWnRiZTJXSTBlT1dOMGRzNnRkY3oyd3YwcWxDblE0SE5XMXRiVjBXanZwVnBSWUVVSUlJYVJIeGNiR2hqa2Nqa1dNc1NjQURBRUFYMTlmcFRvVkVSRkIxYWx1NE9mbmh3Y2ZmQkRwNmVrb0t5dFRxbGdORFEzM01jYnVDd2dJdUtUVDZUNVZxVlJyQ3dvS0t0d2RyNHN4ZjMvLzFKQ1FrSGN1WExqd041VktOV0Q4K1BHbEZ5NWNlUGZjdVhQckFOUzZPMERTOTFGaVJRZ2hoSkJ1Rng4ZnI2bXRyUlU1NTVteUxFOXpKazRSRVJFUVJSRkpTVWtZTUdDQW02UHNueGhqMEdxMTBHcTFyYXBZNWVYbFF4aGpTMlJaWHFMWDY3OW5qR1g1Ky90TCtmbjUvZTcraEJhTHBSd0E2dXZyQzV1Yi9HNi8vZlpIZnZubGx3WE82Nm91WGJva0RSczI3SEYwY2wwV0lWMUZQdzk1RUwxZXp3SEFaRExSNTA1NkZJMDE0a28wM25vWHZWNGZBV0FSNS94eHh0aGdBQmd3WUFDU2s1T1JscGFHaUlpSUhqbXV3K0ZBZFhVMWhnd1pBcnZkRGk4dnJ4NDVUbDkyNk5BaFNKS0V2THc4MU5mWEF3QTQ1NWNaWTU4QldHc3ltUTY1TjBKQytqYjZFdklnTlBrZ3JrSmpqYmdTalRmM216eDVzcS9WYWsxSDA4cCtVNTN0a1pHUlNFOVBSMkppWW85WHA0NGVQWXJmL2U1MzJMSmxDeDU3N0RITW16Y1BEenp3Z05KZlhGd01sVXFGOGVOYjMzNHZLeXNMbVptWlBScGJiMU5mWDQ5ZHUzWkJraVNVbFpXMTdQb0JRSmFQajgvbWYvM3JYdzF1Q28rUVBvdE9CU1NFRUVMSVRZbU9qdGFxVktwRlZxdjFNUUMzQVUzVnFaU1VGSWlpaUxDd01KZkZvdEZvSU1zeXZMMjk4ZUdISDJMMTZ0VklTRWlBbjU4ZlpGbkd5cFVyc1h6NWNnREF3dzgvckR6dnlKRWorTzY3NzVUSGMrZk94Yng1ODI3bzJJY1BIOGJxMWF0eDRNQUJlSHQ3WTlteVpVaElTQUFBeUxLTTk5NTdEOXUyYlFQbkhLSW9ZdkhpeFcxZVUvYlZWMS9oeXkrL3hObXpaekY2OUdpOCtPS0x1T2VlZTI3bTdlalFnQUVEa0phV2hyUzBOSlNYbDJQTGxpM0l5Y2xCZlgzOVZBQlRyVmJyKzNxOS9uUE9lVlpoWVdGWnB6c2toQUNnaXBWSG9WOTFpYXZRV0NPdVJPUE50U1pQbnV4cnNWZ3lBR1F5eHU1MXRtdTFXcVNucDJQR2pCazlXcDJTWlJuMzNYZmZkZTJjYzlUWDExKzNxdURYWDMrTmdvSUNGQmNYWStuU3BmanBwNTh3YWRJa3BYL2F0R240L3Z2dnI5dmYxYXRYVVZkWGg2Q2dvQTdqT1hueUpCNTk5RkU4L3ZqamVPaWhoM0QxNmxWWXJWYUVoSVFBQUQ3OTlGTnMzNzRkYTlhc1FYMTlQVEl6TS9Ic3M4KzJxcVk1ZmZqaGg3ai8vdnNSRkJTRXI3LytHaHMzYnNUdTNidmg0K1BUcGZmbVZ0VFgxMlAzN3QyUUpBbWxwZis3NkN2bi9IOEFaR2swbW15cVloSFNNZm9TOGlBMCtTQ3VRbU9OdUJLTk45ZUlqWTBkenpuUDVKdy9DaUFRQUFZT0hJalUxRlNrcGFYaDdydnZka2tjRG9jRDk5eHpENHhHWTZ2MmhvWUdUSjgrSFQvKytHT3I5cHFhR3Z6MnQ3L0Z4eDkvakgvKzg1L1l0bTBiNXMrZmp6VnIxZ0JvcWxpTkhUdFcyZjd6enorSGw1Y1h6cDgvajBjZWVRU3paOC9HZ2dVTDRPZm4xMlk4UzVjdWhVcWx3b29WYmQ4dlBUVTFGYzg4OHd4bXpab0ZBRml6WmcyS2lvcXdkdTNhRGwrbnhXTEJ2ZmZlaXgwN2R1Q09PKzdvK0UzcFpoVVZGVW9WcTY2dXp0bGN6Umo3Z2pHV1ZWQlFVT0xTZ0FqcEkraFVRRUlJSVlTMFM2L1hwd0dRWkZsVzJpWk1tSUQwOUhRa0pDVEExOWZYZmNHMW9ORm9ZTGZiSWNzeUJFRkFmbjQrSWlJaWtKdWJpM1Buem1IaHdvV29ycTdHaGcwYkVCd2NqQ2xUcGdCb3FsaHQzTGp4dXYwTkd6WU1telp0d29ZTkc1Q1JrWUZISG5rRUdSa1o4UGIyVnJaeE9Cekl6OC9IZSsrOTEyWk1seTVkd3Rtelp6Rmh3Z1NsTFRJeUV0bloyWjIrbnA5KytnbkRody92dEdMV0U4TEN3dkR5eXkvaitlZWZ4NTQ5ZXlCSkVnNGVQQmpJT1YvTU9WK3MxK3NCUURTWlRGdGNIaHdodlJnbFZvUVFRZ2pwU0tzYmg3LzU1cHRJVGs1MlZ5eUthZE9tdFhxOFo4OGVEQm8wQ0ZldVhJR2ZueC9lZU9NTmZQVFJSOGpJeU1BRER6eUFqejc2Q0pHUmtUaDkralNXTEZtaVBDODRPTGpWTlZjQWxFUXJJQ0FBLy9FZi80R0hIMzRZSDMvOE1USXlNckI0OFdMbCtxbVRKMC9DYXJYaTNMbHptRHQzTHM2ZlB3K2RUb2ZYWDM4ZHc0WU53OFdMRndFQWd3Y1BWdllkR0JpSTJ0cGFKUUZzaTlGb3hNcVZLL0hXVzIrMXU0MHIrUHI2WXM2Y09aZ3padzV5Y25MdzJtdXZ0ZXorUXEvWE84KzdsQUh3THZ5WGM4NWx4bGliMnpER09PZGMyYmE5UHNhWXpEbFgrcTk1bnN3NTU0d3h1YTNqZGRUWHh2RTZqWk14SnN1eXpKMzdhYWZ2MnVPMTJlZHNaNHh4V1pabHpybXBxS2pvbTI3NU1JbExVR0pGQ0NHRWtJNDhDbUF6bWk4ZldMWnNHYjc2Nml2bGVpcFhWNndjRGdkOGZIeVU2NkprV2NiRWlSUGg3ZTJOb0tBZ25EMTdGb2NPSFVKRVJJU3llRVp1Ymk1cWEyc3haODRjeUxLTWpSczM0cUdISHJwdTM0R0JnY2pLeW1yenVINStmdUNjbzZhbVJtbHpuaVpYWEZ5TUw3NzRBbmE3SFMrOTlCTGVlT01OckZtekJnNkhBd0JhSlVlQ0lIUjRNK1FMRnk1Z3laSWxXTFZxRlF3R3d3MitPOTJyb2FGQnVlNnFwS1RWMlg4Y1RlTkNhbjdzZklHcXp2YlowV3R2eW1NNjc3dDJ1MnNmdHp6R3RjZnJxTzltWTJtNW40NzZydDJ1c3o3R1dDTUF1bTlBSDBLSkZTR0VFRUxhMVh5Nmx4QWJHenZlNFhBc1lvdzlWbEpTRWxoU1VvSlZxMVloSlNVRmFXbHBMbHNCc0s2dUR2Nysvc3BqaThXaUpIZWpSNC9Hd1lNSHNYNzllcno3N3JzQW11N2Q5UHJycnlNOFBCeHo1c3pCcEVtVHNIVHBVbHk4ZUJINzl1M0QrKysvaitlZWV3NEFNR1BHakZiSHFxeXN4T2VmZjQ2Q2dnTE1uejhmMmRuWnJSYVNjQjczNmFlZlJrQkFBQURnaVNlZXdILys1MzlDbG1XbHJhYW1SbGxVbzdxNkdvR0JnZTFXb29xS2loQWFHb3JZMk5oYmZxOXVWa1ZGQlNSSlFtNXVicXRyckRqbm42dFVxclV0cnJFU0FMQ01qQXhXVlZVbFdDd1dOblRvVU1GcXRiSzZ1anJCNFhBd1B6OC9vYkd4a2Rsc05zSFB6NDg1SEE1bXQ5c0ZoOFBCZkh4OEJGbVdXV05qbzhBNVoxNWVYb0lzeTh6aGNBZytQajdNK1cvT09WT3IxUUxubkRrY0RzSEx5NHZKc2l4d3pwbEtwUkk0NTR4enptUlpGdFJxOVhWOXNpd0xBSmdnQ01xMkxaNG5jTTViOWltUEFiQnIrd0F3eHBpelR4QUVRWGxPZTMzWHRqZnZzNk0rZ1hQK0JtaWUzdWZRQjBZSUlZU1FUalZQcHArZlBIbnl5eGFMNVVIR1dHWmRYZDJVN094c1pHZG5RNnZWUWhURkhyOW4xWVVMRnpCMDZGRGxzZGxzVmhLdHFLZ29mUERCQjBoT1RvWldxNFhkYnNlSUVTT3djdVZLakJrekJpRWhJVkNyMWEyZW01K2ZyeVJXTFowOGVSS0xGeS9HWTQ4OWhsZGZmYlhWdFZWT0lTRWhHREJnQUs1ZXZZcmJiNzhkUUZQbHdjZkhCNElnSURnNEdQNysvaWdySzBOd2NEQUFvS3lzN0xwN2FiVTBjZUpFbHkwRTBsSjdxd0lDK0NmblBFdWowV3hxWTFWQURvQTNYelBtY0ZXc25rQ3YxNy9oN2hqSWphUEVpaEJDQ0NGZDFqeTUvZ0xBRnpxZExwSXh0Z2pBNDZXbHBiZVZscFppOWVyVlNoVXJQRHk4MjQ5ZldWbUowTkJRMkd3MmVIdDc0OENCQThxcWVScU5CamFiRFlzWEx3WUF2UFhXVzBoTVRFUkNRZ0prV2NieDQ4ZHg0c1FKVEozYWRBL2pIMzc0QVZldVhFRmVYaDZTa3BKYUhXZllzR0hZdW5Wcm13bVZrMXF0eHB3NWMvQ1h2L3dGeTVjdmg5MXV4N3AxNjVScjBBUkJ3T3paczdGaHd3YkV4TVRBYkRaRGtpVGxmbHJ0dmI2U2toSTgrdWlqdC9RK2RWVjVlYmxTbmFxdnIzYzJYd0h3R2VkOExkM0hpcEN1bzhTS0VFSUlJVGVsZWRMOW4vSHg4YStZemVaMEFKbjE5ZlgvWjlPbVRkaTBhUk1pSWlLUW5wNk9tVE5uZGxzVjY5Ly8vamVpbzZPeGJOa3kvUERERDlCb05GaXhZZ1dPSFR1R05XdldRS3ZWNGgvLytBZG16NTZOczJmUDRzS0ZDM2ppaVNkdzZ0UXBoSVNFSUM0dURsT25Uc1V6enp5RHYvM3RiL2p6bi84TVo5VnQ1Y3FWeW5GeWNuTHc5dHR2dHhuRG5qMTdsT1hYbjMvK2VmejV6My9HN05tem9WS3BNSFBtVEx6d3dndkt0czgrK3l4V3JseUp1WFBud3QvZkgwOC8vVFFtVDU3Yzd1c3ptVXpJemMzdDBjU3F2cjRlZVhsNWtDUUpodzRkYXRuMUR3QlpBUUVCbS9Qejh5MDlGZ0FoaFBSMWVyMmVPKy8zUWtoUG9yRkdYSW5HVys5aU1CakNEUWJEYXAxT2Q4bjUyVXlaTW9XLytlYWJ2S3lzak4rS21wb2FIaDhmenk5ZHVzUTU1OXh1dDNQT09UOTkralJQVFUzbDI3ZHY1MVZWVlR3MU5aVVhGeGZ6eE1SRWZ2SGlSVjVlWHM0ZERnZm5uUE9kTzNmeWh4OSttTStmUDU4Zk9uUkkyWGQrZmo1UFRrN21hOWV1dmFVWWU3UFMwbEsrWXNVS2Z1Kzk5M0xuWjZQWDZ5OGFESWJWQm9PaCs4dUw1S2JSMzdXK2lTcFdoQkJDQ09rMlJxT3hITUNTK1BqNFYydHFhdExRVk1XS2x5UUpraVFoUER3Y29pZ2lLU2xKV2RDaHE2cXFxakJqeGd4bCtYTG45VkxuejUvSHZIbnpsSnZ3dnZqaWkzanBwWmN3WmNvVURCa3lCRU9HREZIMmNmZmRkK09sbDE1Q2RIUjBxMzFQbXpZTk9wME9SNDhldmVuWDNodlYxZFVoTnpjWGtpU2hvcUpDYWVlYzV3UElHalJvMEJhcVRoSFNQZWd1OVI3RStjdUh5V1NpejUzMEtCcHJ4SlZvdlBWK3NiR3hZYklzTHdUd0JJRGJnYVlWOVdiT25BbFJGQkVaR2RuaDB0Y3RPUndPcUZTZHJ1cnQwVGpuS0Nzcmd5Ukp5TXZMZzhXaTVFMFhBWHdxQ01LNmdvS0NpZzUyUWR5TS9xNzFUVlN4SW9RUVFraVBhcDdFdnpoMjdOaGxBUUVCRHdESWJHaG91SC9yMXEzWXVuVXJ3c0xDbENxVzg5cWw5bEJTMWI2clY2OHExYW1mZi82NVpkYytBRmxtczNucmtTTkhyRzRLajVCK2p4SXJRZ2doaExoRTg2VCthd0JmeDhURWpCTUVZU0dBQlJVVkZVUGZldXN0L1BXdmYxV3FXRnF0dHN0VkxFL0dPVWRKU1Fra1NjTHUzYnRiVnFjdUFQaEVsdVYxUlVWRmg5MFlJaUVlZ3hJclFnZ2hoTGhjODJUL0phMVcrNXBHbzVuTE9jKzBXQ3dKMzN6ekRiNzU1aHVNR3pjT29pZ2lPVG01MVEyQlNaUGEybHFsT25YNGNLdTg2VnZHV0piRll2bW10TFRVNXE3NENQRkVsRmdSUWdnaHhHMmFKLy9aQUxJTkJzTVlBSXM0NXdzT0h6NDg3TzIzMzhhNzc3Nkx4TVJFaUtLSUNSTW1lSFFWaTNPT2d3Y1BLdFVwcTFVNXErODg1M3lESUFqcmpFWmpwVHRqSk1TVFVXSkZDQ0dFa0Y2aE9TbDRXYXZWL3NIYjIzc09ZMnlSMVdwTjNMNTlPN1p2MzQ0eFk4WkFGRVdrcEtRZ0lDREEzZUc2ak5sc1JrNU9EaVJKUW1WbHE3eHBOK2M4eTJhemJhZnFGQ0h1UjRrVklZUVFRbnFWNWlSaEU0Qk5jWEZ4b1kyTmpRc0JQRmxaV1JuMHpqdnY0TDMzM2xPcVdGRlJVZjJ5aXNVNXg0RURCNVRxbE0ybTVFMW5BV3hRcVZUcjkrL2ZYK1hHRUFraDE2REVpaEJDQ0NHOVZuUHlzTlJnTVB5UmN6NGJ3Q0tielRaeng0NGRiTWVPSFFnTkRZVW9pa2hOVGUwWFZTeXoyWXlkTzNkQ2tpUlVWU2w1RXdld0MwQVdZMnlIMFdpMHV5OUNRa2g3S0xFaWhCQkNTSy9YbkV4SUFLU1ltSmc3bTFjVWZMS3FxdXFPVmF0VzRmMzMzMGRDUWdKRVVVUk1URXlmcW1KeHpsRlVWQVJKa3ZEdHQ5KzJyRTZkWVl5dGR6Z2M2NHVLaW82Nk1VUkNTQmRRWWtVSUlZU1FQcVU1eVZobU1CamVBSkFxeS9JaW04MlduSk9UdzNKeWNuRG5uWGRDRkVYTW1qVUxnd1lOY25PMDdhdXBxY0dPSFRzZ1NSS09IajNxYk9hYzgxek9lVlpnWU9ETy9QejhSamVHU0FpNUFaUllFVUlJSWFSUGFxNWliUVd3VmFmVGpRYndGR1BzcWFOSGp3Yi81Uzkvd1FjZmZJRHAwNmRERkVYbzlmcGVVY1hpbk1Oa01rR1NKT3pkdXhkMnUzSlczeW5PK1hvQUd3b0xDNCs1TVVSQ3lFMml4SW9RUWdnaGZWNXpNdktIK1BqNDVUVTFOU21Nc1V5NzNaNmNsNWNuNU9YbFlmVG8wVW9WS3pBdzBPWHhWVmRYSzlXcFk4ZVV2RWtHa0FNZ0t5QWdJSmVxVTRUMGJaUllFVUlJNlhYQ3dzTHlLeW9xNHQwZEIvbi8yN3YzNkNqcSsvL2pyMWxpREZHQ1FUQ2hwVUZDTkZRdU5oc29CdXBwd0dwRkVFMFFoR29GdFVWcnJUOTd2Rkt0ZU91UFZ1VkFGWDdsVUZvdnRCU0pRaUZZOEl1RVdFUkUyS1RFU3FFbklLRmdXalFKbHlhR3plNStmbjlBOGsyRVFNZ2tNM3Q1UHM3aG5Pek03UGhLZUJ2eW1zOW1OdktjS0NlckpLM0t6czVPTThiY1lWblduUlVWRlgzbXpKbWplZlBtYWZUbzBjclB6MWQyZG5hbnJtSVpZK1R6K2JSOCtYSVZGUlUxclN4QkRyNEFBQ0FBU1VSQlZFNVpsclhmR0xPb1M1Y3V2OSs2ZGV1L09pMEFBRWRSckFBQXJycnNzc3YrL3VWdENRa0pBMCsxUFJRS0hkdTVjMmUyTThrUTZYdyszejVKVCtibTVqNTc1TWlSYXlWTmIyaG9HUHYyMjI5NzNuNzdiYVdscFNrdkwwL2p4bzFUang0OU91eS9XMTFkcmRXclYydkZpaFhhdDI5ZjQrYVFwTldXWlMxTVQwOWZXMUJRRU95dy95Q0FzT0QraTQzaEdLL1hheVNwcEtTRXYzZDBLbVlOZG5tOVh0UFcrV0hlY0RhR0RCblM1NXh6enJuREdQTURTVitUcExpNE9JMGFOVXI1K2ZrYU9uU29QQjdQV1o4M0ZBcHAyN1p0V3I1OHVUWnMyS0JBb09sVmZmc3N5MXJVME5Ed2NsbFoyZjZPKzB3UXpmaStGcGxZc1FJQXVDNHJLNnYraXkrKzJObjR1SzZ1YnZ1QUFRUCsxdmc0TVRGeFNFbEp5ZG4vdEF0OHlZbHk4L1RFaVJOLzhja25uM3pYR0RNOUVBaU1XN2R1WFpkMTY5YXBUNTgreXN2TDAvang0OXUwaWxWZFhhMVZxMVpweFlvVjJyKy9xVGNGSlJVYVl4Wm1aR1Q4RDZ0VFFHeWdXQUVBd2dXL3VBL0huQ2c3ZjVIMGw4c3Z2L3lySG8vbmRzdXlmcmgvLy82MGwxNTZTYi81elcrVW01dXIvUHg4RFJzMnJNVXFWaWdVMHRhdFc1dFdwNExCcHQ1VVlZeFpwT04zOXZ0VWtrcExTNTMrMUFDNGhHSUZBQWdMTzNmdUhOcmF2cXlzckhvbnN5QzJiTisrL1lDa1p5ZE9uRGhyOSs3ZFYwdWFIZ2dFeHIvenpqdGQzbm5uSFgzMXExOVZYbDZlUm93WW9mZmZmMThyVnF6UWdRTUhHcDhlMVBHYlpTenMzNy8vT2xhbmdOaEZzUUlBaElVQkF3WnNhMjJmWlZueFRtWkJiRHBSaXRaS1dwdWRuZDNiR0hPN3BCOGVPSERnNG5uejVtbmV2SG5ORDk4cjZiZVdaYjNzOC9rcUphbWtwTVR4ekFEQ0I4VUtBQkFXV0xGQ09EbFJsdjZ2cEY5bVoyZC94eGd6WGRJWVNXc3N5MXJvOC9uZTBmRTcvUUdBSklvVkFDQk1zR0tGTUJYeStYei80L1Y2MzVha2twS1NtOXdPQkNBOFVhd0FBSzdwMGFQSHBOVFUxQ2NzeTRyM2VEd0pwenUyOFgydGR1ellNY2laZEFBQXRCM0ZDZ0RnbXVycTZtWFYxZFhMSkZuZHVuVWJtNUtTY2w5bFplVkR0YlcxMnlYMXVPU1NTOTQ4ZXZUb2hxTkhqNjZxcmEzOTI1bk9Cd0NBVzNoUEVBQ0FxMUpTVW1ZTUhEandueWtwS1Q4NWVQRGduTnJhMnJJVHU2b3JLaXArWkZsV01DMHQ3ZFZCZ3didFNVMU4vYm1yWVFFQWFBVXJWZ0FBVndVQ2dmMjdkKy8rVG4xOWZjV1g5L245L3AyVmxaVy9xS3lzL0VWOGZQekFoSVNFUG01a0JBRGdUQ2hXQUFCWFZWVlZMVzdMY1g2Ly8yTy8zLzl4WitjQkFLQTllQ2tnQUFBQUFOaEVzUUlBQUFBQW15aFdBQUFBQUdBVHhRb0FBQUFBYktKWUFRQUFBSUJORkNzQUFBQUFzSWxpQlFBQUFBQTJVYXdBQUFBQXdDYUtGUUFBQUFEWVJMRUNBQUFBQUpzb1ZnQUFBQUJnRThVS0FBQUFBR3lpV0FFQUFBQ0FUUlFyQUFBQUFMQ0pZZ1VBQUFBQU5sR3NBQUFBQU1BbWloVUFBSWc1bVptWnhXNW5BQkJkNHR3T0FBQUEwSmt1dSt5eXYzOTVXMEpDd3NCVGJRK0ZRc2QyN3R5WjdVd3lBTkdFWWdVQUFLTGFqaDA3Qm4xNW05ZnJOYWZhRGdEdFJiRUNBQUJSTHlzcnEvNkxMNzdZMmZpNHJxNXUrNEFCQS83VytEZ3hNWEZJU1VrSnZ5SUJvTjBvVmdBQUlGWUUzQTRBSUhwUnJBQUFRRXpZdVhQbjBOYjJaV1ZsMVR1WkJVRDBvVmdCQUlDWU1HREFnRzJ0N2JNc0s5N0pMQUNpRDhVS0FBREVCRmFzQUhRbWloVUFBSWdKckZnQjZFd1VLd0FBRUxWNjlPZ3hLVFUxOVFuTHN1STlIay9DNlk1dGZGOHJic01Pb0Qwb1ZnQUFJR3BWVjFjdnE2NnVYaWJKNnRhdDI5aVVsSlQ3S2lzckg2cXRyZDB1cWNjbGwxenk1dEdqUnpjY1BYcDBWVzF0N2QvT2RENEFhQTN2MXdBQUFLSmFTa3JLaklFREIvNHpKU1hsSndjUEhweFRXMXRiZG1KWGRVVkZ4WThzeXdxbXBhVzlPbWpRb0QycHFhay9kelVzZ0lqRmloVUFBSWhxZ1VCZy8rN2R1NzlUWDE5ZjhlVjlmcjkvWjJWbDVTOHFLeXQvRVI4ZlB6QWhJYUdQR3hrQlJENktGUUFBaUdwVlZWV0wyM0tjMysvLzJPLzNmOXpaZVFCRUoxNEtDQUFBQUFBMlVhd0FBQUFBd0NhS0ZRQUFBQURZUkxFQ0FBQUFBSnNvVmdBQUFBQmdFOFVLQUFBQUFHeWlXQUVBQUFDQVRSUXJBQUFBQUxDSllnVUFBQUFBTmxHc0FBQUFBTUFtaWhVQUFBQUEyRVN4QWdBQUFBQ2JLRllBQUFBQVlCUEZDZ0FBQUFCc29sZ0JBQUFBZ0UwVUt3QUFBQUN3aVdJRkFBQUFBRFpSckFBQUFBREFKb29WQUFBQUFOaEVzUUlBQUFBQW15aFdBQUFBQUdBVHhRb0FBQUFBYktKWUFRQUFBSUJORkNzQUFBQUFzQ25PN1FBQUlsdEdSc2E1eWNuSnljMjNCWU5CU2RLd1ljTlNtMit2cWFtcEtTOHZQK1pnUEVRWjVnMU9ZTTRBdEFmRkNvQXR5Y25KeWNGZzhGTkoxcGYzQllQQnltWVBROG5KeVYrVjlHL0h3aUhxTUc5d0FuTUdKdzBaTXFSUFhGemM0NmZhNS9WNkZ6Ui9IQWdFbmkwcks5dnZUREtjTFY0S0NNQ1dyVnUzL2x2U1g5dHc2TVlUeHdMdHhyekJDY3dabkpTWm1WbHBqTGxSMGwzTi9qUnEybWFNdVRFek03UHlWT2RBZUdERktrcHg5UU5PTXNhOGFWbld0ODl3MkJ1T2hFSFVZOTdnQk9ZTVRpa29LQWhtWjJldk1NYmNmWVpEbHhjVUZBUWRDWVYyWWNVcVNuSDFBMDRLaFVMTHozUk1NQmhjNFVRV1JEL21EVTVnenVDa1VDajBaaHNPYThzeGNCSEZLa29WRkJRRVBSNVBXNzdoYy9VRHRtM2Z2djJBcEE5T2M4am1FOGNBdGpGdmNBSnpCaWQ1UEo1M2pUSFZwem1rcW52Mzd1ODZGZ2p0UXJHS1lsejlnSk1zeTJwMWxrNjNEMmdQNWcxT1lNN2dGSi9QMTJCWjFzclRITEt5dUxnNDRGZ2d0QXZGS29weDlRTk9hbWhvYVBXSGpJYUdoak8rcEFZNEc4d2JuTUNjd1Vtbksrc2VqNGNpSHdFb1ZsR01xeDl3VWxsWjJTZVNTayt4cStURVBxRERNRzl3QW5NR0p4MCtmUGdkU1VkT3NldklvVU9IMWp1ZEIyZVBZaFhsdVBvQmg1MXFwcGd6ZEJibURVNWd6dUNJOHZMeVk4YVkxYWZZVmNpYlVFY0dpbFdVNCtvSG5IU3FJaytCUjJkaDN1QUU1Z3hPYXVXQ09QTVdJU2hXVVk2ckgzQ1N6K2ZiS1dsSDQyUExzajdldG0zYkxoY2pJWW94YjNBQ2N3WW5XWmExVmxKZHMwMTFsbVc5N1ZZZW5CMktWUXpnNmdlY1pJeHBtcTAyM3BrU2FEZm1EVTVnenVBVW44OVhKMmxONDJQTHN2NXlZaHNpQU1VcUJuRDFBdzVyK3FHRDJ4SERBY3dibk1DY3dURVUrY2hGc1lvQlhQMkFrMHBMUzhzazdaWlVYbEpTOHBIYmVSRGRtRGM0Z1RtRGsrTGo0OTlxL0RneE1mR3QweDJMOEJMbmRnQTR3eGp6cG1WWkV5U3VmcURUR1VsdldwWmxUbndNZENibURVNWd6dUNZTFZ1MkhQRjZ2YXNsbVUyYk5oMTFPdy9ham1JVkkrTGo0OTlxYUdpUXhOVVBkRDZQeC9ObUlCRGdodzg0Z25tREU1Z3pPS3l4eUNPQ1dHNEhnSE84WG0raEpGTlNVakxlN1N3NHZheXNyQzJXWlgzVDdSeXh5aGhUWEZwYU9zcnRIRTVpNXR3Vkt6UEhuTGtyVnVaTVl0YmNGa3V6MWh3clZyR0ZxeDhSZ244TTNHVlpWcTdiR1p6R3pMa3JWbWFPT1hOWHJNeVp4S3k1TFpabXJUbUsxVm1LOUNzZ3hoaDV2ZDVYM003UlhyRjJCY1RuODdrZEllWmtaMmU3SGNGVnpKenpZbkhtbURQbnhlS2NTY3lhRzJKMTFpVHVDbmpXSXJsVVJZTll2UUlDQUFDQThNYUtWVHR4QmNSNXNYd0ZCQUFBQU9HTkZTc0FBQUFBc0lsaUJRQUFBQUEyVWF3QUFBQUF3Q2FLRlFBQUFBRFlSTEVDQUFBQUFKc29WZ0FBQUFCZ0U4VUtBQUFBQUd5aVdBRUFBQUNBVFJRckFBQUFBTENKWWdVQUFBQUFObEdzZ0Jpd2FORWlyVnk1c3NVMlk0d2VmUEJCYmRteTVZelBQM3IwcUI1KytPSE9pb2NveE15aHN6RmpjQm96aHpPaFdBRXhvS3lzVEJkZmZIR0xiWFBtek5HRkYxNm9OOTU0UTU5OTlsbUxmWDYvLzZUSDY5ZXZQKzB4cDlQUTBLQng0OFlwRkFycHR0dHVVMlZscFQ3NjZDTmxaMmNyT3p0Ync0WU4wOVNwVTdWMzc5NFd6NXM1YzZaZWUrMDFMVm15Ukk4Ly9uaWIvM3R3WHpqT1hQTjlpeGN2MXBRcFV6Uml4QWhkY2NVVnlzdkwwODZkT3lVeGQ1RWlIR2VzK2ZlMW9VT0hhdFNvVWJybm5udFVWRlIwMHZPWnM4Z1Q3alBYK0dmU3BFbE56MkhPbkVXeEFxTFkwcVZMTlduU0pHM2R1bFZQUGZXVUprMmFwR0F3cUZtelpxbTJ0bGFQUFBLSTdyLy9mczJZTVVONzl1eHBlbDVPVG80T0hUcDAybk8zNVpoR216ZHZWa1pHaGlvckszWG8wQ0gxN3QyN2FkL0dqUnUxWWNNR3BhYW02dWMvLzNtTDUvbDhQbDE5OWRYYXRtMmJ2dnZkNzU3Rlp3NjNoUHZNMWRmWDY2Njc3bEpSVVpFZWZQQkJGUmNYcTZpb1NJOCsrcWk2ZHUwcWlia0xkK0UrWTlMeDcydGJ0MjdWOHVYTGRlT05OK3FsbDE3U2swOCtxVkFvMUhRTWN4WTVJbVhtZkQ2ZmZENmZsaTFiMXJTZE9YTlduTnNCY0h4cHVWZXZYcnJoaGh1YXRobGo5TkJERDJuaXhJa2FQbno0YVo5LzlPaFJQZlBNTTNydXVlYzZPeW9pek9USmt6VjQ4R0F0WExoUXYvNzFyN1YvLzM3ZGZ2dnRxcSt2YjlvdlNkWFYxWHI4OGNkMTAwMDNLVDgvdjhOekZCVVZhZGl3WVNvcUt0TFFvVU5QMm4vKytlZHJ3b1FKdXVlZWV4UUtoZVR4ZUZSWldhbGV2WG9wSlNWRmUvYnMwUlZYWE5IaHVkRHh3bjNtNXMyYnAyUEhqdW5sbDE5V2ZIeThKQ2srUHI3cCt5eHpGLzdDZmNZYVdaYWw1T1JrWFhQTk5icmlpaXQweXkyM2FObXlaWm84ZVRKekZtRWlaZWErakRsekhzVXFESlNWbGVuT08rOXNzYTM1MG5KNmVycDY5ZXJWdE0vdjl6ZjlRTkQ0K0ZSTHk4MlBPWjJHaGdibDVlVnAxYXBWbWpadG1uNzFxMStwZCsvZTJyaHhvKzYvLzM0OThNQUQrdDczdnRkMC9NeVpNOVcvZjMvRnhjVnB4NDRkZXZiWlo5dnphY01oNzc3N3JrYU5HcVg4L0h6Tm1UTkgxMTU3Yll1L3owWVZGUlZxYUdqb2xBeFBQdm5rR1kvNTczLy9xMTY5ZXNuak9iNlEzcnQzYjczODhzdVNwRC8vK2MrZGtndWRJMXhuTGhBSWFPWEtsWHJtbVdkYS9mN0kzRVdHY0oyeDFpUWxKZW1XVzI3Um0yKytxY21USnpObkVTalNaazdpKzVrYktGWXVXcnAwcVpZdlg2NS8vZXRmMnI5L3YrTGk0dlNuUC8xSnp6MzNuQUtCZ0I1NzdERlZWbFpxeG93Wit0blBmcWIwOUhSSng1ZU4xNjlmcndzdXVLRFZjN2ZsbUVhdExTMFhGaGFxVDU4K0tpd3NiUEhOdytmejZlNjc3OWJ6enordnZMdzhtMThGZExZTkd6Wm8wYUpGZXUyMTE5UzNiMS9ObmoxYmhZV0ZrcVN2ZmUxclNrOVAxOTEzMzYzWnMyZnJ4UmRmYkhyZW1ERmpUanBYVGs1T3AyU3NycTdXNHNXTE5YWHExRTQ1UDV3VnJqTzNiOTgrMWRYVmFmRGd3UjEyVHJnalhHZnNkQzY1NUJMdDNidTNhVlVla1NVU1p3N09vMWk1S0p5WGxvOGNPYUsvL3ZXdm1qTm5qdTY3N3o3dDJyVkxtWm1aTEN0SG1PcnFhdTNidDArMzMzNjdQdjMwVStYbjV5c3VMcTdwOWRlVEprM1MzcjE3ZGZmZGQ2dWlvcUxwZVQ2ZnI4VjVxcXFxZE0wMTEyano1czFOMjdLenN6c2s0NVZYWGlsSlNrdExVMUpTRWo5MFJMaHducm5HcThoeGNmelRGOG5DZWNaT0p4QUlxRXVYTG54L2kwQ1JNSE9OLzVaSzBwUXBVL1RnZ3c5MnlIbHhkdmpYeFdYaHVyUzhaczBhOWV2WFR6azVPUm8yYkpnS0N3dVZtWm5Kc25LRTZkR2pSOU10WVBQejg3VjgrWEtOSHovK2pDdERiWGtwcWMvbk82dTdHYlZtNDhhTjZ0cTFxeW9yS3pWMzdseXRYNzllczJmUHRuMWV1Q09jWjY1Mzc5NnlMRXZsNWVXZCtnTTBPbGM0ejlqcGZQVFJSeG93WUVDbm5CdWRLeEptYnVQR2pVcE1UTFI5SHRqRFpST1hiZGl3UWFOR2paSWs5ZTNiVng5ODhJR21USm1pS1ZPbTZPR0hIOWFDQlFza1NiTm56MVpHUmtiVDg4YU1HYU9jbkJ6bDVPUm8zTGh4a3RUMHVDT1dtQXNMQ3pWMjdGaEowdGl4WTdWMjdWb0ZBZ0hiNTRXN2FtdHJsWkNRb0ZkZmZWV3Z2dnBxcThlMTVTNUZodzRkNnJDWE0xaVdwYTk4NVN1NitlYWI5ZTY3NzdhNGN4WWlXempOWEZKU2tvWVBIMzdhSElnODRUUmpyZm5zczgvMCt1dXZhOHFVS1IxK2JqZ3ZFbVlPN21ERnlrWGh1clM4ZS9kdTdkcTFTM1BuenBVa2pSNDlXck5temRKNzc3Mm4zTnpjZHA4WHp2dnd3dysxZlBseWZmNzU1enB3NElDbVRadW13NGNQNjQ0NzduQTdXZ3ZHR0gzNjZhZjZ3eC8rb01zdnY1eVh5a1N3Y0orNVJ4NTVSTGZmZnJzZWZ2aGhUWjgrWGYzNjlWTnRiYTE4UHAvUzB0TFV2MzkvdHlQaURNSjl4aG9aWTFSVFU2TVBQdmhBOCtmUDE5aXhZN25kZFlTS2xKbUQreWhXTGdyWHBlVlZxMWJKR0tNSkV5WTBiVHQyN0pnS0N3c3BWaEhtOHNzdjE2V1hYcXFrcENUZGROTk5LaWdvMEtSSmsvVDczLzllMHZIeTN2ejlMdHpRK0xyd3BLUWtqUnc1OHFUM3NrSmtDZmVaUzB0TDB4Ly8rRWN0WExoUTk5NTdyNnFxcXRTMWExZGRldW1sekY2RUNQY1prNDUvWDdNc1MwbEpTUm8wYUpBZWUrd3hqUmd4d3RWTWFMOUltYm5taW91TDFhMWJONWZTeEM2S1ZSaHB2clFzcWNVN1p6ZlhsanYrSFRwMFNGZGRkZFZKcTF0bkVnd0d0V2JOR2ozd3dBUDY5cmUvM2JTOXJLeE1NMmZPVkUxTmpaS1RrOC9xbkhEUHVlZWVxM1BQUGZlazdjRmdVUFgxOVVwSVNGQkZSWVU4SGsvVFRWTWFkZmFkakFZUEhuelc4NG53Rjg0ejF5ZzFOVlZQUFBGRWg1OFh6Z2puR2VQN1duUmk1dEJXRkNzWGhlUFM4dnZ2djYvRGh3OXIzTGh4TGE1MHBLU2s2SVVYWHRDYU5XdE9lWE1OaEwvcnJydE9ralIrL0hpVmw1ZXJ0TFJVVHp6eGhKWXNXYUlkTzNhMHVIVitXNzVKTjVaM29EWE1IRG9iTXdhbk1YTkFCL0o2dmNicjlacU9VRjlmYjJwcWFrd3dHRFI1ZVhuR0dHTW1UcHpZdEwvNXgrUEhqMi82Mk92MW1wcWFtcWJIbjMvKytVbVphbXBxMnBYem9ZY2VNai81eVU5T3VXL1dyRmxtOHVUSlozM09qdEw0dFhkN0JwelFrWE9Hc3hOTGM5WWNNK2VlV0pvNTVzdzlzVFJuRXJQbXBsaWJ0ZVpZc1hKUk9DNHRQL2ZjYzYzdWUvVFJSMjJmSHdBQUFJaEdGS3N3d2RJeUFBQUFFTGtvVm1IaUJ6LzRnU1RwMWx0dmxTUmxabVpLa21iTW1OR3U4MTF3d1FYOE1pTUFBQURnRU40c0JnQUFBQUJzb2xnQkFBQUFnRTBVS3dBQUFBQ3dpV0lGQUFBQUFEWlJyQUFBQUFEQUpvb1ZBQUFBQU5oRXNRSUFBQUFBbXloV0FBQUFBR0FUeFFvQUFBQUFiSXB6T3dDQTFtVm5aN3NkQVRHR21ZTVRtRE00aFZtRGsxaXhBc0tRTWFiWTdReXhMQmEvL3JINE9ZZVRXUG42eDhybkdhNWk2ZXNmUzU5ck9JclZyNy9sZG9CSTQvVjZqZHNaWWwxSlNRbHpHK1lhL3ovaDd3cE9ZTjdnQksvWHUwRFNYY2FZSDVXV2xpNXdPdytpMTdCaHcxS0R3V0NsTWVZL3BhV2xxVzduUWR1eFluV1dZcldCaHd1Ky9nQUFBQWhIL0k3VldTb3RMUjNsZG9iMjRxb3VBQUFBMERsWXNRSUFBQUFBbXloV0FBQUFBR0FUeFFvQUFBQUFiS0pZQVFBQUFJQk5GQ3NBQUFBQXNJbGlCUUFBQUFBMlVhd0FBQUFBd0NhS0ZRQUFBQURZUkxFQ0FBQUFBSnNvVmdBQUFBQmdFOFVLQUFBQUFHeWlXQUVBQUFDQVRSUXJBQUFBQUxDSllnVUFBQUFBTmxHc0FBQUFBTUFtaWhVQUFBQUEyRVN4QWdBQUFBQ2JLRllBQUFBQVlCUEZDZ0FBQUFCc29sZ0JBQUFBZ0UwVUt3QUFBQUN3aVdJRkFBQUFBRFpSckFBQUFBREFKc3Z0QUhDTzErczFibWNBZ001aWpOa2tLZUIyRGtRbnk3SytmZUxEdHlSdGN6TUxvbDZxcEx1TU1mOHBMUzFOZFRzTTJpN083UUJ3ampHbTJMS3NYTGR6QUVCbnNDeHJwTnNaRUJQR252Z0RkQ3FQeDlQZ2RnYWNIVmFzQUhTNHJLeXM3MWlXOVMyM2N5Qm16SlFrWTh3QlNlVXVaMEYwcTVQME44dXkvRzRIUWZRenhyeGRXbHE2MmUwY2FEdUtGUUFnb2pWN21mTlRKU1VsVDdxWkJRQVF1N2g1QlFBQUFBRFlSTEVDQUFBQUFKc29WZ0FBQUFCZ0U4VUtBQUFBQUd5aVdBRUFBQUNBVGR3VkVBQVFNUVlOR2pTa2E5ZXV6eGxqbWk0TWhrS2hxeVhKNC9Ic2tiUzdjWHN3R0h5MnRMVDByeTdFQkFERUlONGdHQUFRTWJwMjdkb3JHQXgrOTFUN1FxRlF1cVQweHNjZWo2ZE9Fc1VLQU9BSVhnb0lBSWdZVzdkdVhTL0puUEZBU1pabHplM2tPQUFBTktGWUFRQWl6WjQySEJQczE2L2Z4azVQQWdEQUNSUXJBRUJFQ1FhRDk1L3BHR1BNdW9LQ2dxQVRlUUFBa0NoV0FJQUlzMzM3OXRVNnc4c0JQUjdQSElmaUFBQWdpV0lGQUloQWxtVWRPTTN1a0tRTlRtVUJBRUNpV0FFQUlwRGY3MyswdFgzQllIQ1R6K2RyY0RJUEFBQVVLd0JBeFBub280LythTXlwWHczWXBVdVg1eDJPQXdBQXhRb0FFTEgrYzRwdEppa3BhWjNqU1FBQU1ZOWlCUUNJU0pabFBmUGxiUjZQeDFkY1hGenZSaDRBUUd5aldBRUFJbEpKU2NuOEwyOExCb08vY2lNTEFBQVVLd0JBSkt0cS9pQVlESzV4S3dnQUlMWlJyQUFBRWNzWU03Zlp4OGZLeXNwcTNjd0RBSWhkRkNzQVFNUXFMUzJkMWV6aGROZUNBQUJpSHNVS0FCREpncElPU3pJZWoyZWwyMkVBQUxITGNqc0FBQ0M4NWVibXhoMDVjdVJteTdJbVNzbzJ4dlNTZEs3YnVTTEFNY3V5UHBQa2s3U3NXN2R1eTRxTGl3TnVod0lBZEE2S0ZRQ2dOWmJYNjUwdTZWRkpGN3VjSlJyc2xUU3JwS1RrdDVKTy9lN0dBSUNJUmJFQ0FKd2tJeVBqM0tTa3BFV1NicFdrek14TVRadzRVUmtaR1VwTFMxUDM3dDFkVGhqK0RoOCtySDM3OXFtOHZGd0ZCUVhhdFd0WDQ2N0ZSNDRjK1dGNWVma3hOL01CQURvV3hRb0EwRUoyZG5haU1XYXRwQ3N2dlBCQ3padzVVeU5HakpCbDhVOUdleGxqOVA3NzcrdXBwNTVTVlZXVkpHMjBMT3Rhbjg5WDUzWTJBRURINE9ZVkFJQVdRcUhRcnlWZDJiOS9mNzMyMm1zYU9YSWtwY29teTdJMGN1Ukl2ZnJxcStyZnY3OGtYZG44VnZFQWdNakh2NVFBZ0NiWjJkbmZNOGI4c1dmUG5scTZkS21TazVQZGpoUjFhbXBxZFBQTk42dXFxa3JHbU8rVmxwYit5ZTFNQUFEN1dMRUNBRWlTUm80YzJjMFlNOCt5TEQzOTlOT1VxazZTbkp5c1o1NTVScEprV2RiOGtTTkhkbk01RWdDZ0ExQ3NBQUNTcFByNitoOUxTcjcrK3VzMWZQaHd0K05FdGVIRGgrdjY2NitYcE9TNnVycDczTTREQUxDUFlnVUEwSkFoUTg0enhqeGdXWmFtVFp2bWRweVlNRzNhTkZtV0pjdXlIaGd5Wk1oNWJ1Y0JBTmhEc1FJQUtDNHU3a1pKUFhOemM5VzNiMSszNDhTRWl5KytXTG01dVpMVTY1eHp6cm5CNVRnQUFKc29WZ0FBU2NxVHBHdXZ2ZGJ0SERHbDJkYzd6ODBjQUFEN0tGWUFFT055Y25LNlNob1RGeGVubkp3Y3QrUEVsSnljSEhYcDBrWEdtREVuL2g0QUFCR0tZZ1VBTWM3djkxOGhLVEVySzB2bm5jZXYrampwdlBQT1UxWldsaVNkMTlEUXdCMURBQ0NDVWF3QUFFTWthY0NBQVc3bmFHSDkrdldhUDMvK1Nkdno4L01WQ29YYWRJNUlXSUZyL0xvYlk0YTRIQVVBWUVPYzJ3RUFBTzVxL0lFK1BUM2Q3U2hOakRGYXRHaVJIbnJvb1pQMlZWUlV5QmpUWXR1WU1XTk9lUjYvMzMvS2ZVODk5WlMrK2MxdmRreFltNXA5M1NsV0FCREJLRllBZ0lHUzFLOWZQN2R6TkhucnJiZVVucDZ1YjN6akc5cTdkNi91dU9PT0Z2dXZ2dnJxRm8rTGlvcE9lWjZjbkJ5dFdiT20wM0oyaE1aaVpZd1o2SElVQUlBTkZDc0FRRTlKNnRHamg5czVKRW1IRGgzU3l5Ky9ySVVMRjJyeDRzWGFzV05IaStLVW5aMnRkZXZXcVV1WExpNm03RGpKeWNtTkgvWjBNd2NBd0I2S0ZRQ2d1NlN3dVhIRjZ0V3JkZkRnUWQxNTU1MDZmUGl3bGk1ZDJxYm41ZVRrNktLTExtcXhyYUdoUVRmYzhMOXZFWFhnd0FGdDI3YXRRL1BhMWV6cjN0M05IQUFBZXloV0FJQWtTVXBNVEhRN2h5UnB3b1FKdXVHR0cvVG9vNC9xKzkvL3ZsSlNValI2OU9nV3h6Ui9LZUQ4K2ZQMTlhOS9YWkswY3VYS0ZzZmw1T1MwMkJhT043T2dXQUZBZEtCWUFRRENTdGV1WFZWUVVLQnp6amxIRXlaTWtOVDY3MUFCQUJBdUtGWUFnQ09TZXRiVjFTaytQdDd0TE5xelo0OW16NTZ0ckt3czNYYmJiVXBNVE5TQ0JRdGF2Zk5mODV0VGpCczNydW5qSTBlT3lPLzM2NnFycmxMWHJzZmZlOWZ2OTNkdStIYW9yYTF0L1BDd216a0FBUFpRckFBQWh5WDFySzJ0MVFVWFhPQjJGcDEvL3ZtNjlkWmJsWjZlcnZUMGRQWHQyMWVTZFBEZ1FmbDh2aGJIRGhzMnJPbmpGMTU0UVNOSGpwUWt2ZmZlZTFxNGNLSCs4WTkvS0NNalEwOC8vYlJTVWxLMGFkTW01ejZSTnFKWUFVQjA0QTJDQVFDZlMxSjFkYlhiT1NSSkYxMTBrZTY5OTE1ZGQ5MTFTazlQMXovLytjODJQVy9reUpHcXE2dlRyRm16dEdUSkVyMzAwa3VLaTR2VEk0ODhvcC8rOUtkNjk5MTNtNHBYT0ttcHFXbjg4SE0zY3dBQTdLRllBUUErbHFSUFB2bkU3UnlTanI4VThIZS8rNTN1dWVjZWpSNDlXblBuemozamMveCt2OTU0NHcxTm1USkZhV2xwbWo5L3ZycDNQMzR2aVBUMGRMMzQ0b3Rhc21TSjdydnZQcFdWbFhYMnAzQlc5dXpaSTBteUxPdGpsNk1BQUd6Z3BZQUFFT01zeXlvenhqVDlnTysyaW9vS1ZWZFg2K2FiYjlZdmYvbExKU1VsTmUzNzh1OVpoVUloQlFJQjNYYmJiUm84ZUxBV0xWcWtYcjE2blhUT25qMTdhc0dDQlZxOWVyV2VmUEpKUGYvODgrcmZ2MytuZnk1dDBlenJIbDZORHdBQUFFRGJaV2Ruai9KNnZlYXV1KzR5NGV5RER6NDRhZHVISDM1b2pESEc3L2VmOGprdnZ2aGlwMmJxQ05PblR6ZGVyOWNNSFRvMDErMVpBQUMwbitWMkFBQ0F1M0p5Y3JvZU8zYnNzN2k0dVBPS2lvckM1bzJDWTBGdGJhMUdqUnFsWURCWW01U1UxTE80dUxqZTdVd0FnUGJoZDZ3QUlNWnQzcno1QzBsckE0R0FObS9lN0hhY21MSjU4MllGZzBGWmxyV0dVZ1VBa1kxaUJRQ1FwQldTdEhidFdyZHp4SlJtWCs4VmJ1WUFBTmhIc1FJQUtCQUkvRm5TNThYRnhhcW9xSEE3VGt6WXUzZXZpb3VMSmVtemhvYUdsUzdIQVFEWVJMRUNBS2lzckt6V3Nxelp4aGk5OHNvcmJzZUpDYSs4OG9xTU1UTEd6QzRySzZzOTh6TUFBT0dNWWdVQWtDUWxKQ1RNbDFTemF0VXFiZG15eGUwNFVXM0xsaTBxTEN5VXBKckV4TVQvNTNZZUFJQjkzQlVRQU5Ba0t5dHJpbVZaU3k2ODhFSzkvdnJyU2s1T2RqdFMxS211cnRia3laTlZWVlVsWTh5VTB0TFNwVzVuQWdEWTE4WHRBQUNBOFBIdmYvLzc3Nm1wcVgyKytPSUw3NlpObS9TdGIzMUwzYnAxY3p0VzFLaXNyTlNQZi94amZmcnBwNUwwMjlMUzBsbHVad0lBZEF4ZUNnZ0FhTUhqOGZ3ZlNSdDM3OTZ0cVZPbmF0T21UVExHdUIwcm9obGp0R25USmsyZE9sVjc5dXlScEkyV1pkM3ZkaTRBUU1maHBZQUFnSk5rWkdTY201U1V0RWpTclpLVW1abXBpUk1ucW4vLy91cmJ0Nis2ZCsvdWNzTHdkL2p3WVZWVVZHajM3dDBxS0NqUXJsMjdHbmN0UG5Ma3lBL0x5OHVQdVprUEFOQ3hLRllBZ05aWVhxLzNoNUptU0xyWTVTelJZSytrV1NVbEpiK1Z4QklnQUVRWmloVUE0TFJ5YzNQampoNDlPc2tZTTFGU3RxUmVraEpjamhVSjZpVjlKc2xuV1ZaQnQyN2RsaFVYRndmY0RnVUFBQUFBQUFBQUFBQUFBQUFBQUFBQUFBQUFBQUFBQUFBQUFBQUFBQUFBQUFBQUFBQUFBQUFBQUFBQUFBQUFBQUFBQUFBQUFBQUFBQUFBQUFBQUFBQUFBQUFBQUFBQUFBQUFBQUFBQUFBQUFBQUFBQUFBQUFBQUFBQUFFMTVWT1FBQUFOMUpSRUZV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zT0gvQS9NZG1odHAvYXpqQUFBQUFFbEZUa1N1UW1DQyIsCiAgICJUeXBlIiA6ICJmbG93IiwKICAgIlZlcnNpb24iIDogIiIKfQo="/>
    </extobj>
    <extobj name="ECB019B1-382A-4266-B25C-5B523AA43C14-8">
      <extobjdata type="ECB019B1-382A-4266-B25C-5B523AA43C14" data="ewogICAiRmlsZUlkIiA6ICI4NDU3NDU3MDI1MiIsCiAgICJHcm91cElkIiA6ICI0OTg2Mjc1MzQiLAogICAiSW1hZ2UiIDogImlWQk9SdzBLR2dvQUFBQU5TVWhFVWdBQUFmQUFBQUlDQ0FZQUFBQXdIcDlwQUFBQUNYQklXWE1BQUFzVEFBQUxFd0VBbXB3WUFBQWdBRWxFUVZSNG5PemRlMXhVZGY0LzhOZm5nQ2lHbDFEQkxEZER6UlFWT0lPeXBwbmtMYlgxdGlKalgxMnRkZHN5ZFczYjZtZVhiYmV5M1c5bGxxalozYXlOUWJ5bGxWcVp0M1ZkbFprQkNSS0ZTaEVWTDREY0hJYVo4L245QWNNWEZSUzVuWm54OVh3OGZEanpPV2ZPZWMrZ3ZPZnpQcC96K1FC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Ua3hvVGVBWGdiZzhFUUphVjhGRUFvZ0RzQnROTTVKSGR4VmtwNVJBaGhkVHFkY1NrcEtVZjBEb2lJeUpNeGdUZVM4UER3Ym9xaXJBSndyOTZ4ZUFBSllJMFE0bzltcy9tQzNzRVFFWGtpSnZCR1lEQVlvZ0JzbGxKMkNnd014UC84ei85ZzRNQ0I2TnExSzlxMGFhTjNlTHFUVWlJL1B4L1oyZG5ZdVhNbjFxNWRpOUxTVWdnaDBqUk5HMmUxV28vcEhTTVJrYWRoQW04Z1ZWVjdBTEFDQ0JnL2Zqd1dMbHdJUHo4L3ZjTnlheGN1WE1Benp6eURnd2NQUWdqeGs2K3ZiOFQrL2ZzTDlZNkxpTWlUK09nZGdDZnIwYU5IeTVZdFcyNEZjUHZ2ZnZjN1BQMzAwL0QxOWRVN0xMZlhxbFVyakI0OUdwbVptZmpsbDE5dTFqU3QrNmxUcDlicEhSY1JrU2RSOUE3QWs3VnQyL1pQQUZSVlZURnYzandJd1lKR1hiVm8wUUovLy92ZjBhVkxGd0NZcXFycUEzckhSRVRrU2RnRHI2ZisvZnZmNU9Qams2Z29TdXVWSzFlaVhUc09OcjllZm41K3VPT09PL0QxMTE4RFFNOVRwMDU5b0hkTVJFU2VnajN3ZXZMeDhYbFlTdG54L3Z2dng2MjMzcXAzT0I3cjE3LytOWHIxNmdVQWtaR1JrU1Awam9lSXlGTXdnZGVURUdJYUFCaU5ScjFEOFdoQ0NNVEd4Z0lBcEpTeE9vZERST1F4bU1EcklTSWlvZ3VBUVIwNmRFRHYzcjMxRHNmajNYUFBQUkJDUUVvNVBpWW1ocGQxaUlqcWdBbThIaFJGR1FrQWd3WU5ncUs0LzBmb2REcng0b3N2UXRPMFM5cExTMHZ4dDcvOURXVmxaVHBGVmlFd01CQjkrdlFCZ0U0Ly9mUlRtSzdCRUJGNUNON3pWQTlTeWpBQXpkNzczcmh4STE1KytlVTY3MjgybXdFQXAwK2Z4djc5KzYvNHN2SFpaNStockt3TUxWdTJiTlE0NitPdXUrNUNXbHFhNjdPMTZCMFBFWkc3WXdLdm4vNEFFQklTMHF3bm5UQmhBbjd6bTk4QUFBWU9ISWhkdTNiQjM5Ky9hbnROYlFDUW5aMTlSYXduVDU2RXlXVENaNTk5QmszVE1IdjJiTHoyMm12bzJMRmowNytSR3R4eHh4MnVoLzExQ1lDSXlNTXdnZGRQTndETlB2cGNDQUVmbi8rN1JLd295aVhQYTJwNzZLR0hrSjZlRGlFRWhnd1pnb3NYTCtMZ3dZTjQ2YVdYTUgzNmROZDkySmd3WVFMZWVPTU4vUE9mLzJ5ZU4zTVpWeHlvL0d5SmlPanFtTURycHgwQUJBUUU2QjNITlgzODhjZDQ4Y1VYRVJVVmhaRWpSMkxVcUZGNDdiWFhjUERnUVRpZFR1ellzUU5GUlVVb0tTbEJZV0VoVWxKU0VCYlcvSmVocTMyV3ZLR2VpS2dPbU1EcnB4MEF0RzdkV3U4NDZpUWpJd01QUC93d2NuTnowYVZMRjR3WU1RSTllL2JFYmJmZGhvNGRPeUl3TUJEdDJyWERwazJiOE9HSEgyTHAwcVhOSG1PMXo3SjlzNStjaU1nRE1ZSFhqd1pVckxMVm5Bd0d3eVhQNzdubm5pdjJxZDcyeUNPUFlNYU1HVGgvL2p4KzlhdGZZZnYyN2Jqenpqc1JHUm1KeU1qSUsxNDdac3dZREI4K3ZQRURyNE5xSStTZHVnUkFST1JobU1EcjV3S0FvSktTa21aZGVjdzFxdHh1dDJQUW9FRTRjT0RBSmRlN0RRWUQ5dXpaYzBsbElDVWxCVzNhdEVGeGNUSDI3ZHRYOVNYQVlEQWdLQ2pva3VNWEZCUmczNzU5emZCT3JsUmFXdXA2eVBYQmlZanFnQW04SG9RUUJWTEtvTUxDUXR4ODg4M05mdjZ6WjgraWJkdTJWd3hncTBsWVdCakdqaDJMbVRObm9yaTRHQXNXTEFCUU1RLzVsaTFiTHRsMzBLQkJUUkp2WFJRVkZia2VGdWdXQkJHUkIzSC9XVWpja0pUeUtBQ2NPSEZDbC9QLzk3Ly9SV2hvYUozM256MTdOanAzN2d5NzNZNmZmLzY1Q1NPcnYrenNiQUQvOTlrU0VkSFZNWUhYZzVUeUVBQmtaV1UxKzdsLyt1a252UFBPTzVnMmJWcWRYN054NDBZVUZCVGcwVWNmeFdPUFBZYWZmdnFwQ1NPc24ycGZMQTdwR1FjUmthZGdDYjBlRkVXeFNpbnh3dzgvTk90NXYvamlDN3o1NXB0NDVKRkhNSGp3NERxOUpqNCtIbXZXck1HNzc3NkxvS0FnOU8vZkh5RWhJU2d2TDhlRUNST2FPT0s2UzB0TEF3QUlJWkoxRG9XSWlMeFZlSGg0ZTFWVnkrKzU1eDVaWGw0dW04dStmZnVreFdLcGRmdktsU3VsM1c2L3BPMC8vL21QUEhmdTNCWDdMbGl3b0U1dHplSEVpUk5TVlZXcHF1clBBSVRlUDE4aUl2SmlxcXB1VlZWVjd0dTNUNWVrNTAwKy9mUlRWd0ovVSsrZkt4R1JwK0ExOFByN0RLaFlFSVRxeitsMHdtUXlBUUNrbEovckhBNFJrY2RnQXErbnRtM2JtZ0JrN2R1M3I5bXZoWHVUTFZ1MjROU3BVd0N3MVdxMUp1a2REeEdScDJBQ3I2ZWRPM2M2aEJBdkE4QmYvL3BYWEx4NFVlK1FQTTdwMDZmeCt1dXZ1NmF6Kzd1dXdSQVJlWmhyendSQ3RUcDE2dFNoVzI2NUplTENoUXU5amg4L2pudnZ2YmRPazZ0UXhheHZmLzd6bjVHVGt5T0VFUDlyc1ZoVzZSMFRFWkVuWVErOFlXVExsaTBmRWtJYy8rNjc3ekJuemh5Y1BIbFM3NWpjM3VIRGgvSFFRdys1YmgzYkErQUZuVU1pSXZJNHZHV25FZlR2My84MlgxL2ZMd0dFS1lxQzBhTkhZK0RBZ2VqYXRTdmF0bTJyZDNpNmsxSWlMeThQMmRuWjJMbHpKLzd6bi8rNE5uMVpWbFkyTFMwdHJWalArSWlJUEJFVGVDTVpQSGh3bTRzWEwvNER3TzhCdE5JN0hqZVhMNlY4czBlUEh2OUlURXprNm1ORVJQWEFCTjdJb3FLaWdzdkx5MmRLS2ZzSUlYb0tJZHJwSFpNN2tGS2VBWkFwaEVpMjJXeXIyZXNtSWlLNkNsVlZsMVZPa2pKWDcxaUlpS2p4Y0JBYkVSR1JCMklDSnlJaThrQk00RVJFUkI2SUNaeUlpTWdETVlFVEVSRjVJQ1p3SWlJaUQ4UUVUa1JFNUlFNGtZc1hxWnpTOWZucWJVS0lJVkxLVUNubFhpRkUxYnFuRG9mamxVT0hEcDFvL2lpSmlLZ3hNSUY3a1ppWUdKL016TXdjSVVUdzFmYVRVdWIyNk5IalZrNWpTa1RrdWJqMnBSZEpUMCtYdDk1NmEzY0FrZGZZOWRQdDI3ZC8yUnd4RVJGUjArQTFjQytqYWRxNk91eFdsMzJJaU1pTk1ZRjdHVVZSZGtrcDg2Nnl5L2wyN2RydGFyYUFpSWlvU1RDQmV4bXoyVnd1aFBqaUtydDhzWFBuVGtlekJVUkVSRTJDQ2R3TENTRnFMWkVyaXNMeU9SR1JGMkFDOTBJWExsejREa0JoRFpzS0N3b0t0amQzUEVSRTFQaVl3TDFRWm1abW1aU3lwbEhtbXpNek04dWFQU0FpSW1wMFRPQmVxcFl5T3N2blJFUmVnZ25jU3draHRnSW9yZFpVS29UWXBsYzhSRVRVdUpqQXZaVFpiQzRGc01YMVhBanhkV1ViRVJGNUFTWndMeWFsckNxWjEzR0NGeUlpOGhCTTRGN016OC92SzlmajFxMWJmM1cxZlltSWlNaU5xS3E2V1ZYVlRYckhRVVJFamN0WDd3Q295YTBUUWtpOWd5QWlvc1oxSXkwbnFxaXErbDhBQS9RT2hOeUxsSEtuMVdxTjFqc09JcUxyY2NOY0F3OFBELzgxbUx5cEJrS0lZWHJIUUVSMHZXNllFcnFpS0RFQThPQ0REK0xKSjUvVU94eHlBNHNYTDhibm4zOE9BRy9wSFFzUjBmVzZVWHJnQ29BWUFCZzVjcVRPb1pBNzBEUU4zMzMzSFFCQVNybEc1M0NJaUs3YkRaSEFLOHZudHdZSEI2TnYzNzU2aCtQVmJEYWIzaUhVU1dwcUtzNmNPUU1oeEFtcjFicGY3M2lJaUs3WERaSEFYZVh6NGNPSFExSDBlY3NmZlBBQnZ2amkwbVc2cFpUNHkxLytndjM3YTg4Zk5wc05xMWV2Um1scDgweWk1bkE0c0dYTEZoUVcxclNZR1pDYm00dWNuQndBd0wzMzNnc0F5TXJLd3JsejUxQmFXb3BodzRiQmJyYzNTNndOVWEzM3ZSYUFwbTgwUkVUWDcwWkk0RzVSUGo5MDZCQzZkZXQyU2R1U0pVdlFvVU1IckYyN0ZtZlBucTN4ZFMxYXRFQjJkamFlZnZwcGFOclY4MHh4Y1RIT256OWZweisxZWYvOTkvSFh2LzRWcTFldnJuSDduajE3OE5KTEwxVTlsMUppMGFKRk9IYnNHRkpUVS9HclgvMEtmbjUrVjQxVGJ5eWZFNUUzOFBwQmJIcVh6MDBtRTlhdlg0L3M3R3ljT0hFQ3ZyNitpSStQeDJ1dnZRYUh3NEhubm5zT3AwNmR3c0tGQy9Ic3M4OGlKQ1Rra3RmNytQaGc0Y0tGZVBUUlI1R1ltSWpZMk5oYXovWFBmLzRUVzdac3FYVjdkV2F6K1lxMjNidDNZKzNhdGZqZ2d3L3c1Sk5QUWxWVjNIMzMzWmZzTTNueVpPemN1Uk9uVHAwQ0FLU25wK09PTys2QXdXREE0c1dMMGI5Ly96cWRYMC9WeStjV2k0WGxjeUx5U0Y1L0g3aXFxa3NBTE5CejlIbGFXaHJlZSs4OXZQMzIyemh4NGdTZWZmYlpLNjRWNStYbElTZ29DRk9tVE1Ia3laT3ZPTWJHalJ2eDFsdHZZZE9tVFdqYnRtMmp4N2gzNzE0OCsreXorT2MvLzRsQmd3WmgzNzU5K0gvLzcvOVZQWGVwSGx0MmRqYTZkdTBLQVBqTFgvNkNGMTU0QVg1K2Z2RHg4VUZKU1FuS3k4dng1Sk5QWXRLa1NZMGViME5VSDMxdXNWaWUwRHNlSWlLNmtxS3E2Z2xWVldWS1NvclV5L0xseStXR0RSdmtwRW1UNUMrLy9DTC85YTkvMWJqZkw3LzhJbzhlUFZyanRxZWZmbHFPR0RGQ0xsKyt2TkhqaTQrUGwwT0dESkU3ZHV5NHBIM0hqaDF5eUpBaDh0MTMzNVZPcC9PU09QL3doei9JcUtnbytlNjc3OHFTa2hMNTJXZWZTVlZWNVprelo2U1VVcjczM252eXpUZmZiUFJZRzhycGRNcjc3NzlmcXFvcUl5SWlCbDM3bnhBUmtYdnk2bXZnZXBmUFhYYnMySUhvNklxSnZtNi8vWGI4OTcvL3hiUnAwekJ0MmpROC9mVFRXTGx5SllDS25tR1BIajJ1ZUgxaFlTSCsvZTkvNDMvLzkzK1JtSmlJNHVMaVdzOVZVRkJ3elQrdTNuOU9UZzdtelp1SFZhdFdZZVhLbFJnMmJCZ0tDZ3BnTUJoUVVGQ0FZY09HNGYzMzM4Zm16WnN4ZWZKa2JOMjZGWEZ4Y1hqcHBaZncvUFBQbzJYTGx1alpzeWNlZmZSUm5ENTlHcEdSa2NqS3lnSlFNYkN0ZS9mdWpmMVJOaGhIbnhPUnQvRHFhK0R1TVBvOEx5OFB4NDhmeDBNUFBZU1RKMDlpOHVUSjhQWDF4Wm8xRldPbnBrNmRpbDkrK1FXUFB2b29qaDA3VnVNeDFxeFpBNFBCVUhWTit0TlBQOFZqanoxVzQ3N0RodysvWmt5UFBQSUkvdmpIUHlJaElRSHQyclhEbWpWcmFpM0wzM1hYWFZpelpnMCsrT0FEbEpXVm9YZnYzbmo4OGNleGVQRml2UERDQzRpT2prWmtaQ1RhdEdtRGhJUUU3Tm16QndNR0RFQlNVaExtelp0WHgwK3ArWEQwT1JGNUMyOU80RzR4K2p3d01MRHFOckhKa3lkai9mcjFHRDkrUEdiT25GbW4xK2ZsNWVIVFR6L0YwcVZMQVFCLy9PTWZNWDM2ZEl3ZlB4NjMzbnJyRmZ2WE5EaXROZ3NXTEtqVEZ4dC9mLytxWkR4NThtUXNXN1lNMmRuWjJMZHZIMWFzV0FFQStPaWpqeEFkSFkxcDA2YWhhOWV1Nk5LbFM0M3g2WW1qejRuSW0zaHRDZDFkeXVlWEt5a3BRYXRXcmZESko1L2drMDgrdWVxK1VrcTgvUExMR0RKa0NNTEN3Z0FBdi9yVnJ6QnAwaVQ4L2U5L3YrWnRaZGRTbjZyRXFsV3I0SEE0c0g3OWVxeGZ2eDZMRmkyQ3I2OHYyclp0aTZDZ0lBd1pNZ1N2di80NlpzK2UzYURZbWdMTDUwVGtUYnkyQis0TzVYTUFPSERnQU5hdlg0OXo1ODRoSnljSHMyYk53b1VMRi9Ed3d3OWY4N1hMbGkzRDBhTkhYU09tcXp6MjJHTjQ4TUVIOGNZYmIrRHBwNTl1cXRCclZGeGNqTDU5KytMRkYxL0V4SWtUOGNrbm4rREZGMStFb2lqUU5LM3Ercnc3VHViQzhqa1JrZnR6aTlIblVrcHBzOWxrZm42K2REcWRjdEtrU1ZKS0tXTmlZcXEyVjM4OGZ2eDRLYVdVRG9kRHZ2YmFhM0xZc0dFeU16T3p4dU5tWm1iS29VT0h5aGRlZUVFV0Z4Zkw4dkp5bVorZmYxMS9hcEtmbnk5VlZhMTF1NVJTbHBXVnlkZGVlMDBPR1RKRWpoZ3hRcHBNSmxsZVhpNy8rdGUveW9jZmZsanUyTEZERGg0OFdLNWJ0KzY2UDYrbXd0SG5ST1J0dkxJSDdrN2w4NVl0VzZKbHk1Wlh0RHVkVHRoc05yUnExUXJIamgyRG9paFZvOE9YTGwyS25UdDM0b01QUHFoMUpIZjM3dDJ4WXNVS1BQSEVFL2pvbzQ4d2NPQkF6Smt6NTdwaXU1N3I1VUJGNy92MTExK0gyV3pHdmZmZWl5KysrQUw1K2ZuWXUzY3Y1c3laQTM5L2Y4VEZ4YUYxNjlaNDQ0MDM4TXd6ejBCUkZFeWNPUEc2enRNVU9Ia0xFWkVIVUZWMWlhcXE4bzAzM3RDNzQzZUo5OTkvWDBvcDVhZWZmaW9QSHo0czQrUGo1ZEdqUitXcnI3NHFwMCtmTHQ5NTV4MHBwWlFYTGx5UUJRVUZkVHBtZm42K0xDOHZiN1FZTDF5NElNZVBIeTh2WExoUTQvWmR1M2JKaXhjdlh0RnVOcHVscG1tWHRKMCtmVnFXbFpVMVdtd044Y1liYjBoVlZXWGx4RDVFUkI3UEcyZGlVMVJWUFE3ZzFvOC8vdGdqcHZha3BxVnBHc2FORzRjelo4NUFTbm0zMVdyZHAzZE1SRVFONVhXajBOMnBmRTd1Z2FQUGljZ2JlVjBDZDVmUjUrUStPUHFjaUx5UnQyVTR0NWk4aGR3SEoyOGhJbS9sVlFtYzVmT0tjckhCWUVCcGFhbmVvYmdGbHMrSnlGdDVWUUpuK1p3dXgvSTVFWGtyYjhweUxKL1RKVmcrSnlKdjVqVUozSlBMNXdjT0hNQ0REejZJcUtnby9PWTN2OEcrZlEyL3k4bHF0V0xLbENrWU5HZ1E1cytmajRLQ2dnWWRUOU0wckZxMUN1UEhqMGRVVkJUR2poMkxIMy84c2NGeE5pV1d6NG5JbTNsTkF2Zms4bmxKU1FtZWYvNTU3Tm16QjhPR0RjTS8vdkdQQmg5ejA2Wk5lTys5OS9ERkYxL2czTGx6ZVAzMTF4dDB2Q1ZMbG1EOSt2VjQrZVdYc1hmdlhpeGJ0Z3p0MjdkdmNKeE5pZVZ6SXZKbTNqS1Zxa2VYejZPam8yR3oyWkNWbFlXQWdBRGs1T1RBNFhEQTE3ZitQNTdISG5zTWdZR0JBSUNaTTJmaWxWZGVxZmV4aW9xS2tKQ1FnQlVyVmxTdGloWVNFbEx2NHpVSGxzK0p5TnQ1UlFMMzVQSTVBTVRGeFdIVHBrM28zNzkvMWJ6cERWMHFOQ2dvNkpMSHBhV2wwRFN0WHRXSm5Kd2NPSjFPOU9yVnEwRXhOU2ZPZlU1RTNzNnphczIxOE9UeStZa1RKN0JxMVNxOCsrNjdXTHg0TVg3em05ODB5bkZkeTNvQ3dMRmp4eEFjSEZ6dnorYm1tMjhHQUJ3L2ZyeFJZbXNPTEo4VGtiZnpyR3hYTTQ4dW56c2NEZ0RBcVZPblVGaFlpUGo0K0V1MjUrYm0xdXU0eTVZdFEwbEpDWTRkTzRhUFB2b0k0OGVQci9jeGc0T0RNWFRvVUN4YXRBaEhqaHlCMCtsRVJrWUdjbkp5NmhWYlUyUDVuSWh1QkI2ZndEMjlmTjZ0V3pjWWpVWTg5ZFJUK04zdmZvZTc3NzY3YXB2ZGJzY2pqenlDanovKytMcVAyNjlmUDB5WU1BRXpac3pBNE1HRE1YdjI3QVlkYzlHaVJlalhyeC9tekptRElVT0c0RzkvK3h2S3lzcXVPNjdtd05IblJFUWV3RjJYRG0wc1o4NmNrYi85N1cvbGtpVkwzUHFZN29STGh4TFJqY0RUQjdGNWRQbThManAxNm9TVksxY2lLeXZMclkvcExsZytKNkliaFVjbmNFOHZuOWRWeDQ0ZDBiRmpSN2MvcGp2ZzZITWl1bEY0OURWd1R4NTlUazJEbzgrSjZFWWg5QTZnSVF3R1E3YVU4amE5NHlEM0k2VzgyMnExTm54T1dpSWlOK1hSM1ZaTjB6TDFqb0hjMGtHT1BpY2lJbzlXT1JwYjZoMEhFUkUxTG8vdWdSTVJFZDJvbU1DSmlJZzhFQk00RVJHUkIySUNKeUlpOGtCTTRFUkVSQjZJQ1p5SWlNZ0RNWUVURVJGNUlDWndJaUlpRDhRRVRrUkU1SUU4ZWk1MHVsSkVSTVNqUW9qd2FrMS9yUHo3M2VyN1NTbVRyVmJyeXVhTGpJaUlHcE5ITHlkS1YxSVVSWkZTL3JHR1RYKzhiTC9IbXlra0lpSnFBaXloZTU4TmRkbEpVWlQxVFIwSUVSRTFIU1p3TDJNMm0wOUpLZmRlWTdkL0h6eDQ4SFN6QkVSRVJFMkNDZHdMQ1NIV1hXT1hhMjBuSWlJM3h3VHVoYVNVVnkyUEN5RllQaWNpOG5CTTRGN0lhclVlQTVCVXkrYURaclA1ZUhQR1EwUkVqWThKM0V2VlZrYVhVcko4VGtUa0JaakF2WlRUNmF3eFVkZmgramdSRVhrQUpuQXZsWnljZkJSQTZtWE5oeXdXUzZZZThSQVJVZU5pQXZkdWwvUzIyZnNtSXZJZVRPQmVURkdVU3hLMncrRmdBaWNpOGhLY0M5MjdDVlZWTmRjVGk4V2lBSkE2eGtORVJJMkVQWER2SmdHOFYvbjRYVEI1RXhGNURTWnc3L2NlQUFnaDNydldqa1JFUk9RK2hLcXEyOEhMSlVSRVhvVy8xTDJYVUZWMUNJRFZBTG9CeUJkQ2pEZWJ6WHZCVWpvUmtjZGpBdmN5Z3dZTjhyZlpiTk1VUlprbnBReS9mTHNRSWxsS3ViUmx5NWFtZmZ2MlhkUWpSaUlpYWpnbWNDOWhNQmgrcFduYVkwS0lQd0RvQUFBMzMzd3pKaytlaktGRGgyTDM3dDFZdDI0ZENnb0tYQzg1TDZWODM5ZlhkOFhCZ3dlemRRdWNpSWpxaFFuY3M0bUlpSWloUW9oNUFDYWhjbEJpNzk2OVlUUWFNV3JVS1BqNStWWHRiTGZiOGMwMzN5QStQaDZIRHg5Mk5Uc0JiSlJTTHJWYXJYdkE4am9Sa1VkZ0F2ZEFCb09oTllBSHBaVHpBUFFIQUI4Zkg0d1lNUUpHb3hIOSt2V0RFTFgvYUtXVU9IVG9FRXdtRTdadjN3Nm4wK25hZEVoS3ViUlZxMWFmczd4T1JPVGVtTUE5U0VSRXhPMUNpRGxTeXRsQ2lFQUFDQXdNeE9USmt6Rmx5aFIwNnRUcHVvOTU1c3dackZ1M0R1dldyVU4rZmo0QVFFcVpweWpLK3dCV2NPbFJJaUwzeEFUdS9rUmtaT1M5bXFiTkJ6QUJsV1h5UG4zNndHZzBZdVRJa1plVXlldkxicmZqMjIrL2hjbGtRbnA2dXF0WkE3QlJVWlM0cEtTa1hXQjVuWWpJYlRDQnV5bUR3ZEJhU2prZHdEd0FmWUdLTXZuSWtTTmhOQnJSdDIvZnE1Yko2MHRLaVI5KytBRW1rd25mZnZ0dDlmSjZLb0E0SWNTL3pHWnphYU9mbUlpSXJnc1R1SnNKRHcvdnBpaks0d0IrRCtCbW9LSk1QbVhLRlB6MnQ3OUZ4NDRkbXkyV3MyZlBWcFhYOC9MeVhNMzVBRDdRTkcxRmNuTHlMODBXREJFUlhZSUozRDBJVlZXamhSRHpwWlMvUVdXWlBEUTBGTk9tVGNQdzRjTWJwVXhlWDNhN0hkOTk5eDFNSmhQUzB0SmN6UnFBVFFEaUxCYkxEckM4VGtUVXJKakFkZFMvZi8rYmZIMTlwd3NoNWtrcFF3SEExOWNYbzBhTmd0Rm9SR2hvcU40aFhxRjZlZDNoY0FBQWhCQnBVc280aDhQeDJhRkRoMHAwRHBHSTZJYkFCSzZEQVFNR2hHaWE5cmlVOG1FQTdRR2dRNGNPaUltSndlVEprOUdoUXdlZEk3eTI4K2ZQWTkyNmRWaTdkaTNPbnovdmFpNlFVbjdvZERxWEh6cDA2R2M5NHlNaThuWk00TTFIUkVSRURCZEN6QWZ3QUNvLyszNzkrc0ZvTkdMNDhPRm8wYUtGdmhIV1EzbDVPYlp2M3c2VHlZVFUxRlJYc3dTd3VYSnltTzl4QTVYWGI3cnBwaEYrZm43QitmbjUvN3Bza3c4dS9mL21hTWF3aU1nTE1ZRTNzZERRMElCV3JWck5rRkxPQmRBSEFGcTBhSUZSbzBZaE5qYldMY3ZrOVpXV2xvYUVoQVJzMjdhdHFyd09JRjBJc2N4bXMzMmFscFpXckdkOHphRnIxNjRyU2t0TDk5OTIyMjF2bDVlWG53Q0FGaTFhZEM4cEtkbmg2K3ZiQlFEOC9mMzdXSzFXL1FZMUVKRlhZQUp2SWdhRG9idVU4bkVBRHdOb0J3QWRPM2FzS3BNSEJnYnFHMkFUeXN2THcvcjE2NUdZbUloejU4NjVtaThBK0VnSXNkeHNObWZwR0Y1VEVuMzc5djM1aHg5K2lBb0xDOHRJU1VscER3RDkrdlU3a1pxYWVwdHJwOHVmRXhIVmg2L2VBWGdaWVRBWVJrb3A1MGtweDZIeUMxSllXQmlNUmlQdXUrOCsrUHA2LzBjZUdCaUkyYk5uWStiTW1maisrKytSa0pDQWxKU1VkZ0Nla0ZJdVVGWDFLMFZSbGlZbEpYMEhMeXF2QndRRTNDT0U4QVdRcTNjc1JPVDkyQU52QklNSEQyNXo4ZUxGM3dHWUMrQXVvS0pNUG5yMGFCaU5SdlR1M1Z2ZkFOM0Fqei8rQ0pQSmhHM2J0cUc4dk56VmZGZ0lFV2V6MlZaN1EzazlKQ1JrN1UwMzNmVHIxTlRVMjhMQ3dnckt5c3ArQVlDV0xWdjJzdGxzVmlGRWE0QWxkQ0pxSEV6Z0RhQ3FhZzlVSk8ySEFMUUZnS0NnSUV5Wk1nV1RKazN5NmpKNWZlWGw1V0hEaGcxSVRFekUyYk5uWGMyRkFENEdzTXhpc1dUcUYxMzkzWFRUVGYxRFFrSzJBSkN1Qk80cW9iZHQyM1owWVdIaE50ZStnWUdCTVhsNWVZbTZCVXRFWG9FSi9Qb3BxcXFPa2xMT0UwS01kVFdHaDRmRGFEUWlPanI2aGlpVE41VEQ0Y0NPSFRzUUh4K1BsSlFVVjdPVVVtNFJRaXkxV0N6Zm9tS3lHSThRR0JqNHNCREMwYVZMbDFkZENkdzFpSzJ3c0hCN3g0NGRIN2JaYkZrQTRPL3ZmOWZKa3ljWDV1Ym1MdEUzYWlMeVpFemdkUlFWRmRYV2JyZlBWQlJscnBUeVRnRHc4L1BEL2ZmZkQ2UFJpRjY5ZXVrZG9zZkt5TWlBeVdUQzFxMWJZYmZiQVFCQ2lDTlN5amgvZi85UDl1N2RXNlJ6aUhYUkNvRE5OVUN0ZWc4Y0FIcjA2TEU5TXpQemZnQktlSGg0WGtaR3h2Q0xGeS8rVjc5d2ljalRNWUZmUTFoWTJKMit2cjV6cFpTekFMUUJnT0RnWU1URXhHRFNwRWxvMzc3OTFROUFkWmFmbjQrTkd6Y2lNVEVSdWJsVjQ4Q0twSlFmU3ltWEpTY25IOVV6dnJxb0xZSGZldXV0cnhZV0Z2N0gxOWMzb0hQbnpzLzgrT09QRVhyR1NVU2Vqd204WmtwRVJNVG95a2xYN25jMXFxcUsyTmhZUkVkSHc4ZkhSOGZ3dkp2VDZjU09IVHRnTXBsZ3RWcXJiOW9pcFl5eldxM2I0S2JsOWVvSjNGVkN0OXZ0T2RuWjJYUHZ1T09PejMxOGZOb2NQMzU4ZGxGUjBiLzFqcFdJUEJzdjFsWmpNQmphQVpoVmVmOTJUNkNpVEQ1MjdGakV4c2Jpemp2dmJKTHpta3dtakI4L0hxMWJ0MjZTNDErTHBta29MaTVHMjdadGRUbi81WHg4ZkRCaXhBaU1HREVDR1JrWlNFaEl3Sll0VzJDMzI4Y0lJY2FvcW5wVUNMSE0xOWQzMWY3OSt3djFqcmMyNmVucGZhczliZVBqNDlQZTZYUVdGQlVWSmVzV0ZCRjVEZmJBQVJnTWhyc3FaMHFiQ1NBQXFDaVRUNTA2RlpNbVRVSzdkdTJhOVB3REJnekE1czJiMGJsejU5cmlxOU54ZnYvNzMyUE9uRGxJVFUzRnJGbXpzR2ZQbmhxL0ZHUmtaT0Rnd1lQSXpzNUdWbFlXc3JLeU1HclVLQ3hjdUxCQjc4UEZaRExoODg4L3grblRwM0g3N2JmanFhZWV3c0NCQXh0MHpJS0NBbXpjdUJGcjFxeXBYbDR2QnJCS1VaUmxTVWxKR1EyTnV6SFVVRUlYYmRxMEdkZTFhOWZYejUwNzk3NlBqMC9yRGgwNi9PSHMyYk52NWVibWZnREFFNjd2RTVFYnVwRjc0SXJCWUJnanBad3ZwUnpsYWpRWUREQWFqYmozM251YnJVd3VwWVNpS0xWdVAzRGd3Q1hQaTR1TGNkOTk5MTNSTGtUZHZvODVIQTZVbDVjalBEd2Ntelp0d3E1ZHUrRG41d2VuMDRtQkF3Y2lJQ0Rna25NZE9IRGd1ajZMdkx3OHZQYmFhd2dPRGtaQ1FnS2VldW9wZlBQTk4yalpzbVdkajNHNTl1M2JZOWFzV1pneFl3WjI3dHlKaElRRW1NM21BQUJ6TlUyYnE2cnFOaUZFbk5sczNnSWR5K3MybSswd0FKU1dscnBxL3dFZE8zYWMvdlBQUHova0dyUjIvdno1OVVGQlFUTUIyUFNLazRnODN3M1hBemNZRE8ya2xBK2g0djd0N2dEUXNtVkxqQmt6QmthakVUMTc5bXpXZURSTnc0QUJBL0R0dDkvVytiN3hvcUlpREJzMkRHYXp1Y2J0MStxQlZ6ZG8wQ0RzMjdjUEFLb1NlUFhqR2d5RzYwN2cxZGxzTmd3ZVBCaGZmdmtsYnJubGxub2RvelpIang2RnlXVEMxMTkvWFRWNkhVQW1nT1ZDaUkvTlp2T0ZSajBoRVpFYnVXRjY0S3FxOXE2YzR2UjNBRzRDZ0Z0dXVRVlRwMDdGeElrVEcvWDY3NEVEQi9EV1cyOGhLeXNMUVVGQmVQYlpaekZvMENDa3A2ZGp4b3daTmI1bTVNVzJNUTRBQUNBQVNVUkJWTWlSTmJiWGxxVHJ3bXExWXNtU0pjakp5Y0dBQVFQdzBrc3ZvWDM3OWxpNGNDSFMwOU5SWGw2Tzh2SnlUSmd3QVFDd2Z2MzZxeDVQMHpTc1hyMGE2OWV2UjI1dUxqcDA2SURGaXhkZmRhYTUvZnYzbzNQbnpnZ09EcTczKzZoTno1NDk4Y0lMTDJEKy9QbFY1ZlhUcDAvM0FMQkVTdm1LcXFxZm9HSnltQjhiL2VSRVJEcnoraDU0WkdUa01DbmxwMUxLMjZxMVlkcTBhUmc2ZE9oVlM5ZjF0V1BIRGdRSEI2TkhqeDZJaTR2RHJsMjdzR25UcGhyM1BYWHFGQjU0NEFGOC92bm5OZDVMWHRmcjN5NlBQUElJN3I3N2JzeWFOUXNqUm96QU04ODhBNGZEZ1FVTEZ1Q09PKzdBb2tXTHF2Wjk1NTEzc0hyMTZqcjN3QmN2WG94ZHUzYmg1WmRmUm1ob0tJNGZQdzUvZi85YWU5Wm1zeGtMRnk3RVAvN3hqK3QrSC9YaGREcXhlL2R1bUV3bUpDVWxWZCtVclNqSzd6Uk4yNEdLdWRjbEtzcnNXaU05cnZPK1VrcE5DSEhWeC9XSm8vTDF0VDJ1T2dlQVVnRC9hN1ZhcTZiQkl5TFA1UFU5Y0UzVE5xTnlZQm9BZlBqaGh3Z1BEMi9TYzBaSFI4Tm1zeUVyS3dzQkFRSEl5Y21CdytHb2NZYTJ0TFEwS0lxQ2YvLzczelVtOEpwNjRIVXBvUVBBWTQ4OVZsV1duemx6Smw1NTVaV3FmZkx6ODdGaHd3Wm9tb2Jubm5zT3p6Ly9QUHo4YXArZXU2aW9DQWtKQ1ZpeFlnWEN3c0lBQUNFaEliWHVmL2JzV1R6NTVKTjQ0NDAzbWlWNUF4V2oxNk9qb3hFZEhRMnIxWXJaczJlN05uV3QvSGNBVkh4cEZRQWEvNXRiSFZRZnAxRGI0Nlk2cnV1eEVPSW5BQ3NhZEVJaTBwM1hKM0FoeEJOU3l2ZGR6eDkvL0hFODhNQURpSTJOdldvQ2FvaTR1RGhzMnJRSi9mdjNyeHE0cFdrMWo2dmF1blVyWnMyYWhRMGJObURHakJsWFRhTFhLeWdvNkpMSHBhV2wwRFFOaXFKZzhlTEZHRGR1SEV3bUUvcjI3WXNubjN3U1M1Y3VyZlZZT1RrNWNEcWRkWjV4TGprNUdTRWhJWWlNakd6dys3Z2VQLzMwRXhJU0V2RGxsMTllMGk2RWVNSnNObjhJUUF3Yk5rd3BLaW9TRnk1Y1VEcDE2cVRZN1haaHM5bVVnSUFBeGVGd0NMdmRydmo3K3l0T3AxT1VsNWNyTFZ1MlZEUk5FdzZIUS9IejgxTTBUUk5PcDFOcDBhSkYxV01wcGZEMTlWVTBUVk0wVGF0NkxLVVVQajQrVjMwTVFDaUtjc2xqS2FXUVVpcU44UmlBSW9SUXBKVExBUWdwcFM1ZlhvaW9jWGw5QWplYnpSL0V4TVI4ZlBUbzBRY1VSWmxuczltR3IxMjdGbXZYcmtWVVZCUmlZMk54enozM05Gb3AvY1NKRTFpMWFoVVNFeE1SRWhLQ2ZmdjJZZHUyYlRYdW01cWFpdVRrWkx6ODhzdkl6czdHeXBVck1YLysvRWFKQTZnWVFlNGF4SGJzMkRFRUJ3ZERVUlJzM3J3WlZxc1ZpWW1KTUpsTW1EWnRHa0pDUXE3YUM3ejU1cHNCQU1lUEgwZG9hT2cxengwVkZkVms5ODFmVHRNMDdObXpCeWFUNmZLUitkdWxsRXQ3OU9qeFZXSmlvck95VGU3Y3ViUHEyMVJtcGtldW5WSXZxcXFHQW5oYzd6aUlxSEhjRU4vRUV4TVRuY25KeVY5WUxKWVJpcUwwQS9BdWdOTDkrL2ZqejMvK015Wk9uSWpQUHZzTWhZVU5ueFBFNFhBQXFMaTJYVmhZaVBqNCtCcjNPM2Z1SEo1OTlsbk1temNQL3Y3K2VPS0pKNnFtRVcwc3k1WXRRMGxKQ1k0ZE80YVBQdm9JNDhlUEJ3QWNPblFJaXhZdHVtU0VlbFJVMUZXUEZSd2NqS0ZEaDJMUm9rVTRjdVFJbkU0bk1qSXlrSk9UVStQK1dWbFoyTDE3ZDZPOWw1b1VGaGJpczg4K3c4U0pFL0huUC8vWmxieExoUkFyblU1blg0dkZNc0pxdFc2cWxyeUppTHlHMS9mQUw1ZVVsUFFEZ0VmNzlldTMwTS9QNzJFQWorZms1Tnl4Wk1rU3ZQUE9PeGczYmh4aVkyUFJ2WHYzZWgyL1c3ZHVNQnFOZU9xcHB4QVVGQVNqMFlpOWUvZGVzazlXVmhhZWVPSUpEQjQ4dUdvRWVIQndNTjU4ODAzTW16Y1A2ZW5wK05PZi9uVEZQT3V1OG5kZVhsNmRWanpyMTY4ZkpreVlBTHZkam5IanhsVmRFMTY0Y09GVkt3NzMzWGRmamUyTEZpM0MyMisvalRsejVxQ2twQVRkdW5XN1pGQmNkUmFMQlZ1MmJLbDExSDFEWkdWbElTRWhBVjk5OVJWc3RvcGJxWVVRUDJ1YXRzemhjSHljbXBxYTMrZ25KU0p5TTE0L0N2MWFZbUppZkRJek04Y0pJZVlCR09GcUh6QmdBSXhHWTZPT1ZDOHBLY0hxMWF1eGV2VnFUSjgrSFhQbXpMbWliSjJabVlubm5uc09KMCtleE5peFk3Rmd3UUw0Ky9zRHFMalZ6R2F6b2F5c0RJTUdEY0xiYjcvZDRKaWErajd3eHFKcFd0VUk4NE1IRDFiZjlCMkFwZDI3ZC8rYVBlMnJVMVYxR1NwSzZQTXNGc3N5dmVNaG9vYTU0WHJnbDZ2OHBiOEp3S2FJaUlnK0FPWUtJV1llUEhpdzljR0RCOUdsU3hkTW5Ub1ZFeVpNYVBDOTRzWEZ4VWhLU3NMYmI3OWQ2OVNpUFhyMFFIeDhQTDc2Nml1VWxaVlZKVzhBU0VoSVFGbFpHWHg5ZmRHcFU2Y0d4VklUSVFRbVRweDRTZHZFaVJNYlBFSzZJUW9MQzZzdUxadzhlZExWWENLbFhBMWdtZFZxVFFjcWV2eEVSRGVTRzc0SFhwUHc4UEQyaXFLNFptc0xBU3BtYXhzM2JoeU1SbU85eSt2dXlGV1dkemVabVpsVnM2eVZsWlc1bW44Q3NFelR0SStUazVNTGRBelBJN0VIVHVSZG1NQ3ZJaVlteGljcksydU1sSEsrRUtKcXFyVEl5TWlxK2RMZE1mbDVLdGRFTFBIeDhaZmY0LzROZ0xqdTNidHZZWm04L3BqQWlid0xFM2dkcWFyYUd4VTk4cG1vTmhWclRFd01KazJhNURaTGNYcWl3c0pDYk5pd3dUVVZxcXU1QkFDblFtMUVUT0JFM29VSi9EcTUyMklvbnN5MUdNbVdMVnVxbDhtemhCQnhBRlp4TVpMR3hRUk81RjJZd092UHRSenBQQUNqWFkxNkxFZnFTWnhPSjNidDJnV1R5WFI1bWR3dGxnUDFaa3pnUk43bGhoK0YzZ0NhMld6K0NzQlhrWkdSdlRSTm13dGdsdGxzRGpDYnplamN1WE5WZWIxZHUzWjZ4NnE3Q3hjdVZKWEpjM056WGMzRkFGWXBpcklzS1NrcFE4ZndpSWc4RG52Z2pjaGdNTFFETUV0S09SZEFEd0R3OC9QRDJMRmpFUnNiMjJ4VGk3cVRJMGVPSUNFaDRZbzF1NFVRY2I2K3ZxdjI3OS9mOE9udnFFWVJFUkYvRmtKVS9hTVRRZ3lSVW9aS0tmY0tJWDV3dFVzcDkxcXQxay8xaVpLSTZvc0p2R2tva1pHUjkydWFOZy9BL2E1R1ZWVmhOQm94Yk5nd3J5NnZPNTFPN05peEF3a0pDWmZmbjcxVlNyblVhclZ1QTh2a1RjNWdNUHhWU3ZuM2ErMG5wWHpRYXJYV1BPY3ZFYmt0SnZBbUZoa1oyVXRLK1hqbHdMY0FvR0xhMUtsVHAyTGl4SWxYVEpmcXlRb0tDckJod3dZa0ppWldMNU1YQ1NGV09SeU9aU2twS1VmMGpPOUdFeEVSMFVjSWtYYXQvVnEwYU5HT2xSQWl6OE1FM2t5aW9xTGEydTMybVpWVHR2WUVLc3JyWThhTVFXeHNiSjJYNlhSSEdSa1pNSmxNMkxwMWExV1pYQWh4Uk5PMFpYNStmcDh3T2VoSFZkVWZBZHgxbFYwMld5eVc4YzBWRHhFMUhpYnc1cWVvcWpvS3dId0FZMXlORVJFUk1CcU5pSTZPOW9qeXVzUGh3TTZkT3hFZkg0L2s1T1NxZGlubDEwS0lPSXZGOGcxWUp0ZWRxcXF2QUhpdXR1MUNpRmxtcy9tVFpneUppQm9KRTdpT3dzTEM3bFFVNVhFaHhFTUEyZ0FWNWZVcFU2WmcwcVJKVld0d3U1UDgvUHlxTXZtWk0yZGN6VVVBUHRJMGJYbHljdkpSSGNPank0U0hoNGNyaW1LdFpiT2p2THc4aUt1M0VYa21KbkEzTUhqdzREWVhMMTZjaVlySllYb0JGZVgxMGFOSFk5cTBhVzVSWGo5OCtEQk1KaE8yYmR0V2ZUUjVCb0E0ZjMvLzFYdjM3aTNTTVR5cW5WQlZOUk9WYy9wZlpwdkZZcm0vaG5ZaThnQk00TzVGVVZWMUpJQjVBTWE1R3NQQ3dqQnQyalJFUjBmWGFSM3d4dUp3T1BEOTk5L0RaREloSlNYRjFTd0JmQzJFV0dvMm03OER5K1J1VDFYVjF3QThWY09tUnl3V3kvdk5IUThSTlE0bWNEZWxxbW9QVk15YTlUQ0F0Z0FRRkJTRUtWT21ZUExreVUxYVhzL0x5OFA2OWV1eGR1MWFuRDE3MXRWY0NPQWpBTXN0Rmt0bWs1MmNHbDFrWk9SQVRkUDJYOWFzU1NrN1c2M1dzelcraUlqY0hoTzRteHM4ZUhBYm04MDJvM0xLMXJzQW9FV0xGaGc5ZWpTTVJpTjY5KzdkYU9mNjhjY2ZxOHJrNWVYbHJ1YkRRb2c0bTgyMk9pMHRyYmpSVGtiTlNhaXFlZ3hBMTJwdE95d1d5MzE2QlVSRURjY0U3amxFWkdUa0NFM1Q1cU9pdkM2QWl2SjZiR3dzaGc4ZlhxL3l1c1Bod1BidDI1R1FrSEI1bWZ3clJWR1dKaVVsZlZmNW5EeVlxcXB2QWZoVHRhYTVGb3RsdVY3eEVGSERNWUY3SUlQQjBGMUsrVGlBMzZPeXZONnBVNmVxOG5wZ1lPQTFqMUZMbWZ3Q2dJK0VFTXZOWm5OV1U4VlB6YzlnTUF5UlV1NXhQWmRTM21xMVdrL3FHUk1STlF3VHVBY0xEUTBOYU5XcWxhdTgzaHY0di9KNmJHd3MrdlRwYzhWcjB0TFNrSkNRZ0crKythWjZtZnpIeWpMNXB5eVRleTFGVlZVbkFFZ3B5NnhXYXl1OUF5S2lobUVDOXc0aUlpSml1QkJpUG9BSFVQbHo3ZCsvUDJKalkzSHZ2ZmRXTGVHWm1wcnFlbzBFc0ZsS0dXZTFXcmVEWlhLdnA2cnFMZ0JEcFpRcnJWYnJZM3JIUTBRTnd3VHVaUVlNR0JDaWFkcmpVc3JmQTZocEhkTUxVc29QZkgxOVZ4dzhlUENuNW82UDlCTVJFVEZDQ1BHdGxMS2IxV285cG5jOFJOUXdUT0JlS2pRME5NRFB6Mjk2NWR6cmZRQ2tBMWpxY0RnK08zVG9VSW5PNFpFT0RBWkRDeW5sbHhhTFpiVGVzUkJSd3pHQmV6bFZWYzhCNkNDbERPSTl2emNrb2FycUVBQ3JBWFFUUWx3QThJRFpiTjRMWGpZaDhtak5ONjBYNlVwUkZQNnl2b0VNR2pUSTMyYXpUVk1VWlo2VU10elZMcVZzQjJDUHdXQklsbEl1YmRteXBXbmZ2bjBYZFF5VmlPcUpQWEF2NStxQkN5RTZtYzNtYzNySFEwM0xZREQ4U3RPMHg0UVFmd0RRQVFCdXZ2bG1USjQ4R1VPSERzWHUzYnV4YnQwNkZCUVV1RjV5WGtyNWZ1V1lpR3pkQWllaTY4WUU3dVdZd0c4SUlpSWlZbWpsZUlkSkFCUUE2TjI3TjR4R0kwYU5HZ1UvUDcrcW5lMTJPNzc1NWh2RXg4Zmo4T0hEcm1ZbmdJMVN5cVZXcTNVUFdGNG5jbnRNNEY2T0NkeDdHUXlHMWdBZXJKd0hvRDhBK1BqNFlNU0lFVEFhamVqWHJ4K0VxUDIvdUpRU2h3NGRnc2xrd3ZidDIrRjBPbDJiRGtrcGw3WnExZXB6bHRlSjNCY1R1SmRqQXZjK0VSRVJ0d3NoNWtncFp3c2hBZ0VnTURBUWt5ZFB4cFFwVTlDcFU2ZnJQdWFaTTJld2J0MDZyRnUzRHZuNUZjdURTeW56RkVWNUg4QUtzOWw4dkZIZkJCRTFHQk80bDJNQzl4b2lNakx5M3NxNThDZWdza3plcDA4ZkdJMUdqQnc1OHBJeWVYM1o3WFo4KysyM01KbE1TRTlQZHpWckFEWXFpaEtYbEpTMEN5eXZFN2tGSm5Bdnh3VHUyUXdHUTJzcDVYUlVyQkhmRjZnb2s0OGNPUkpHb3hGOSsvYTlhcG04dnFTVStPR0hIMkF5bWZEdHQ5OVdMNituQW9nVFF2ekxiRGFYTnZxSmlhak9tTUM5SEJPNFp3b1BEKyttS0lwcndacWJnWW95K1pRcFUvRGIzLzRXSFR0MmJMWll6cDQ5VzFWZXo4dkxjelhuQS9oQTA3UVZ5Y25KdnpSYk1FUlVoUW5jeXpHQmV4U2hxbXEwRUdLK2xQSTNxQ3lUaDRhR1l0cTBhUmcrZkhpamxNbnJ5MjYzNDd2dnZvUEpaRUphV3BxcldRT3dDVUNjeFdMWkFaYlhpWm9ORTdpWFl3SjNmLzM3OTcvSjE5ZDN1aEJpbnBReUZBQjhmWDB4YXRRb0dJMUdoSWFHNmgzaUZhcVgxeDBPQndCQUNKRW1wWXpqZEwxRXpZTUozTXN4Z2J1dmFndlBQQXlnUFFCMDZOQUJNVEV4bUR4NU1qcDA2S0J6aE5kMi92eDVyRnUzRG12WHJzWDU4K2RkelFWU3lnK2RUdWZ5UTRjTy9heG5mRVRlakFuY3l6R0J1NTBhbDM3dDE2OGZqRVlqaGc4ZmpoWXRXdWdiWVQyVWw1ZGorL2J0dFMxWnU5UnF0WDZQRzdDOGZ0Tk5ONDN3OC9NTHpzL1AvOWRsbTN4dzZlOWZSek9HUlY2Q0NkekxNWUc3aDlEUTBJQldyVnJOa0ZMT1JjWHFjR2pSb2dWR2pScUYyTmhZdHl5VDExZGFXaG9TRWhLd2JkdTJxdkk2Z0hRaHhES2J6ZlpwV2xwYXNaN3hOYWV1WGJ1dUtDMHQzWC9iYmJlOVhWNWVmZ0lBV3JSbzBiMmtwR1NIcjY5dkZ3RHc5L2Z2WTdWYTlSdmNRQjZMQ2R6TE1ZSHJ5MkF3ZEpkU1BnN2dZVlN1ejk2eFk4ZXFNbmxnWUtDK0FUYWh2THc4ckYrL0hvbUppVGgzcnVxZjNnVUFId2tobHB2TjVpd2R3MnNPb20vZnZqLy84TU1QVVdGaFlSa3BLU250QWFCZnYzNG5VbE5UYjNQdGRQbHpvcnJpYW1SRWpVOFlESWFSVXNwNVVzcHhxUHlpSEJZV0JxUFJpUHZ1dXcrK3Z0Ny9YeTh3TUJDelo4L0d6Smt6OGYzMzN5TWhJUUVwS1NudEFEd2hwVnlncXVwWGlxSXNUVXBLK2c1ZVdGNFBDQWk0UndqaEN5Qlg3MWpJTzNuL2J4R2laako0OE9BMkZ5OWUvQjJBdVZMS3U0Q0tNdm5vMGFOaE5CclJ1M2R2blNQVWgrc3pHRDE2Tkg3ODhVZVlUQ1pzMjdaTmxKZVhQNkJwMmdPcXFoNFdRc1RaYkxiVjNsUmVEd29LbWwvOStWMTMzWlVNQUlxaWRPalZxOWQvaEJDdEFjRFgxemRJai9qSTg3R0U3dVZZUW05NnFxcjJBREFYd0VNQTJnSkFVRkFRcGt5WmdrbVRKbmwxbWJ5Kzh2THlzR0hEQmlRbUp1THMyYk91NWtJQUh3TllackZZTXZXTHJ1RnV1dW1tL2lFaElWc0F5TlRVMU52Q3dzSUtYQ1gwdG0zYmppNHNMTnptMmpjd01EQW1MeTh2VWJkZ3lXTXhnWHM1SnZBbW82aXFPa3BLT1U4SU1kYlZHQjRlRHFQUmlPam82QnVpVE41UURvY0RPM2JzUUh4OFBGSlNVbHpOVWtxNVJRaXgxR0t4Zkl1S3lXSThTbUJnNE1OQ0NFZVhMbDFlZFNWdzF5QzJ3c0xDN1IwN2Ruellack5sQVlDL3YvOWRKMCtlWEppYm03dEUzNmpKMC9BM0RORjFpSXFLYW11MzIyY3FpakpYU25tbkVBSitmbjY0Ly83N1lUUWEwYXRYTDcxRDlDaSt2cjRZT1hJa1JvNGNpWXlNREpoTUptemR1bFhZN2ZheEFNWWFESVlqVXNvNGYzLy9UL2J1M1Z1a2Q3eDFsWmVYOXprQVc1Y3VYVjUxdGFXbnAvZDFQVzdWcWxYZnpNek0rd0VvNGVIaGVZV0ZoZnYwaUpNOEd4TTRVUjJFaFlYZDZldnJPN2U4dkh5V0VLS05sQkxCd2NHSWlZbkJwRW1UMEw1OWU3MUQ5SGk5ZXZYQ2l5KytpUG56NTJQanhvMUlURXhFYm03dW5RRGlMbDY4K0dwRVJNVEhVc3BseWNuSlIvV090UTVzVjl0NDhlTEYvVzNhdEJudDYrc2JVRlpXZHVUaXhZdi9iYTdBeUh1d2hPN2xXRUp2RUNVaUltSjA1YVFyOTdzYVZWVkZiR3dzb3FPajRlUGpvMk40M3MzcGRHTEhqaDB3bVV5d1dxM1ZOMjJSVXNaWnJkWnRjUFB5dXVzV3Nlb2xkTHZkbnBPZG5UMzNqanZ1K056SHg2Zk44ZVBIWnhjVkZmMWI3MWpKODdBSFRuUVpnOEhRRHNDc3l2dTNld0tBbjU4ZnhvNGRpOWpZV054NTU1MzZCbmlEOFBIeHdZZ1JJekJpeEFoa1pHUWdJU0VCVzdac2dkMXVIeU9FR0tPcTZsRWh4REpmWDk5VisvZnZMOVE3M211cFhrSUgwTWJIeDZlOTAra3NLQ29xU3RZdEtQSm83SUY3T2ZiQTY4NWdNTnhWT1ZQYVRBQUJBQkFjSEl5cFU2ZGkwcVJKYU5ldVhaT2UzMlF5WWZ6NDhXamR1bldUbnFjMm1xYWh1TGdZYmR1MjFlWDhkVkZRVUlDTkd6ZGl6Wm8xeU0ydHVyMjZHTUFxUlZHV0pTVWxaZWdZM2hXcTk4QXJSNkdMTm0zYWpPdmF0ZXZyNTg2ZGU5L0h4NmQxaHc0ZC9uRDI3Tm0zY25OelB3RGdNZGY1U1gvc2dkT05UakVZREdPa2xQT2xsS05jalFhREFVYWpFZmZlZTIremxja1hMMTZNWWNPRzFackFEUVpEblk3eis5Ly9IblBtekVGcWFpcG16WnFGUFh2MjFIak1qSXdNSER4NEVObloyY2pLeWtKV1ZoWkdqUnFGaFFzWE51aDl1SmhNSm56KytlYzRmZm8wYnIvOWRqejExRk1ZT0hCZ2c0N1p2bjE3ekpvMUN6Tm16TURPblR1UmtKQUFzOWtjQUdDdXBtbHpWVlhkSm9TSU01dk5XK0FHNVhXYnpYWVlBRXBMUzEzWEFBSTZkdXc0L2VlZmYzN0lkZDM3L1BuejY0T0NnbWJpR3RmTmlTN0hCRTQzSklQQjBFNUsrUkFxSmwzcERnQXRXN2JFbURGallEUWEwYk5uejJhUFNVb0pSVkZxM1g3Z3dJRkxuaGNYRitPKysrNjdvbDJJdWhYV0hBNEh5c3ZMRVI0ZWprMmJObUhYcmwzdzgvT0QwK25Fd0lFREVSQVFjTW01RGh3NGNGMWZadkx5OHZEYWE2OGhPRGdZQ1FrSmVPcXBwL0ROTjkrZ1pjdVdkVDVHYlh4OGZEQjgrSEFNSHo0Y1I0OGVoY2xrd3RkZmZ3MjczVDVhU2psYVZkVk1BTXVGRUIrYnplWUxEVDVoUFIwOWVuUkU1ZC9SbFUxRlAvLzhzN0g2UG5hN1BmM0VpUlBQTkh0d1JPVGVWRlU5cDZxcU5CZ01IZldPeFIyb3F0bzdJaUppaGFxcXhhcXFTbFZWNWJoeDQrUW5uM3dpTDF5NElQWGlkRHFscXFyeS9QbnpkWDVOWVdHaFZGVzExdTJIRGgyU3FxcktrcEtTYXg3cjE3LytkZFZqaDhOeHhYRlZWWlVPaDZQT3NWM3U0c1dMVWxWVmVmTGt5WG9mNDFvS0NncmtxbFdyNU5peFk2WHJaMXY1YzE2dXF1cU5PUTBlZVRYMndPbUdFQmtaT1V4SythbVU4alpYRHpVeU1oTFRwazNEMEtGRHI5cnpyYThEQnc3Z3JiZmVRbFpXRm9LQ2d2RHNzODlpMEtCQlNFOVB4NHdaTTJwOHpjaVJJMnRzTjV2TjlZN0RhclZpeVpJbHlNbkp3WUFCQS9EU1N5K2hmZnYyV0xod0lkTFQwMUZlWG83eThuSk1tREFCQUxCKy9mcXJIay9UTkt4ZXZScnIxNjlIYm00dU9uVG9nTVdMRjE5MXF0ajkrL2VqYytmT0NBNE9ydmY3dUpaMjdkcGg1c3labUQ1OU9uYnYzZzJUeVlTa3BLU2JBTXdCTUVkVjFXeEZVWDZYbEpTMEM1WGpmMkppWXNUWnMyY0ZBQlFWRlFtYnpTWUFvS3lzVE54MjIyMVZqKzEydXdDQTh2Snk0WFE2QlFDMGI5OWVPQndPQVFBT2g2T3EzZWwwaW9DQWdLckhyblpOMDZvZSsvdjdDMDNUcXRxclA1WlNDZ0JvMmJMbEplMEFJS1dzYXF1K3ZYcTdsRkswYU5HaTZySHJlTlgzYWRHaWhTZ3ZMNWNPaCtOb1dscWF2UWwrSE5RTU9Jak55M0VRV3dWVlZZdFFPVEFOQUQ3ODhFT0VoNGMzNlRsMzdOaUI0T0JnOU9qUkEzRnhjZGkxYXhjMmJkcFU0NzZuVHAzQ0F3ODhnTTgvLzd6R3lXRHFldjNiNVpGSEhzSGRkOStOV2JObVljU0lFWGptbVdmZ2NEaXdZTUVDM0hISEhWaTBhRkhWdnUrODh3NVdyMTZOZmZzcTVoSnhsZENyZjJrd0dBeFZKZlRGaXhkajE2NWRlUG5sbHhFYUdvcmp4NC9EMzk4ZnQ5eHlTNDJ4bU0xbUxGeTRFUC80eHordSszMDBsTlZxeGV6WnM2czNGYVBhdndQQ0ZvdkZNdmJhdTVFN1lnK2NiZ2hDaUNla2xPKzduai8rK09ONDRJRUhFQnNiaTVDUWtDWTVaM1IwTkd3Mkc3S3lzaEFRRUlDY25CdzRISTRhcDFoTlMwdURvaWo0OTcvL1hXTUNyNmtIWGxSVWhHSERodFhhTzA5TlRRVUFQUGJZWTFYenNjK2NPUk92dlBKSzFUNzUrZm5Zc0dFRE5FM0RjODg5aCtlZmZ4NStmclV2VFYxVVZJU0VoQVNzV0xFQ1lXRmhBSERWeisvczJiTjQ4c2tuOGNZYmJ6UnI4djdwcDUrUWtKQ0FMNy84OHBMMnkvNGR5R3AvTjlsakthVVVRdFM0ajVSU1ZzWlY0MnVGRUZYNzFIRjcxV1BYT1N1M1g3NVBuOHJuWTBBZWl3bWNiZ2htcy9tRG1KaVlqNDhlUGZxQW9panpiRGJiOExWcjEyTHQycldJaW9wQ2JHd3M3cm5ubmtZdHBjZkZ4V0hUcGszbzM3OS8xY0F0VGF0NVlQVFdyVnN4YTlZc2JOaXdBVE5tekxocUVyMWVRVUZCbHp3dUxTMkZwbWxRRkFXTEZ5L0d1SEhqWURLWjBMZHZYeno1NUpOWXVuUnByY2ZLeWNtQjArbXM4NVN4eWNuSkNBa0pRV1JrWklQZng3Vm9tb1k5ZS9iQVpESmRQckJ2dTVSeWFZOGVQYjVLVEV4MEF2aWd5WU54Y3hFUkVTT0VFTjhDMks1M0xGUi9UT0IwdzZqODVmMEZnQzhpSXlQN2FwbzJGOENNL2Z2M3Q5Ni9mejl1dmZWV1RKMDZGZVBIajIvd3ZkQW5UcHpBcWxXcmtKaVlpSkNRRU96YnR3L2J0bTJyY2QvVTFGUWtKeWZqNVpkZlJuWjJObGF1WEluNTgrZlh1Rzk5RkJjWFY5MUdkdXpZTVFRSEIwTlJGR3pldkJsV3F4V0ppWWt3bVV5WU5tMGFRa0pDcmpxSy9lYWJid1lBSEQ5K0hLR2hvZGM4ZDFSVVZKTlBmRk5ZV0loTm16Wmh6Wm8xeU1uSmNUV1hDaUZXT3h5T1pTa3BLV2tBTHAvTmpjampOZjdJSFNJUGtKU1U5SVBGWW5tMHZMejhOaUhFWDRRUVArZms1R0RKa2lVWU0yWU1YbjMxVldSbFpkWDcrQTZIQTBERnRlM0N3a0xFeDhmWHVOKzVjK2Z3N0xQUFl0NjhlZkQzOThjVFR6eFJOUTk0WTFtMmJCbEtTa3B3N05neGZQVFJSeGcvZmp3QTROQ2hRMWkwYU5FbDk0aEhSVVZkOVZqQndjRVlPblFvRmkxYWhDTkhqc0RwZENJakk2TjY0cnhFVmxZV2R1L2UzV2p2NWZKanYvcnFxeGd6Wmt6VklEMGh4TTlTeWlmTHk4dHZNNXZOajdtU041RTNZZytjYm1pcHFhbjVBQmJIeE1TOGxabVpPVTRJTWM5bXM0MVl0MjRkMXExYmh3RURCc0JvTkY3M1NQVnUzYnJCYURUaXFhZWVRbEJRRUl4R0kvYnUzWHZKUGxsWldYamlpU2N3ZVBEZ3FoSGd3Y0hCZVBQTk56RnYzanlrcDZmalQzLzYweFVMcGJqSzMzbDVlWFZhc3JSZnYzNllNR0VDN0hZN3hvMGJWeldvYStIQ2hWZDlUL2ZkZDErTjdZc1dMY0xiYjcrTk9YUG1vS1NrQk4yNmRidGtVRngxRm9zRlc3WnNxWFhVL2ZYU05LMXFoUG5CZ3dlcmIvb093TktRa0pDdkt5c3RSRjZQbzlDOUhFZWhYNytJaUlnK0FPWUtJV1lDYUEwQVhicDB3ZFNwVXpGaHdvUUdsOWRMU2txd2V2VnFyRjY5R3RPblQ4ZWNPWE91S0Z0blptYml1ZWVldzhtVEp6RjI3RmdzV0xBQS92NytBQ3B1TmJQWmJDZ3JLOE9nUVlQdzl0dHZOeWdlQUJnMGFGQ2RSNkhyb2JDd3NLb3ljZkxrU1ZkemlaUnlOWUJsVnFzMVhaZkFQRlQxYStBV2kyV0UzdkZRL2JBSFRuU1p5bVF3Snp3OC9GbEZVUjRDTVBma3laTWhiNzMxRnQ1NTV4Mk1HemNPUnFNUjNidDNyOWZ4aTR1TGtaU1VoTGZmZnJ2V3FVVjc5T2lCK1BoNGZQWFZWeWdySzZ0SzNnQ1FrSkNBc3JJeStQcjZvbE9uVHZXSzRXcUVFSmc0Y2VJbGJSTW5UcXp6REcrTktUTXpzMnFXdGJLeU1sZnpUd0NXYVpyMmNYSnlja0d6QjBYa0p0Z0Q5M0xzZ1RkY1RFeU1UMVpXMWhncDVYd2hSTlZNSzVHUmtWWHpwVGZGUkRETnlWV1dkd2RPcHhPN2QrOUdmSHo4NWJmSWZRTWdybnYzN2x0WUptOFk5c0M5QTN2Z1JOZFFtU3krQlBCbDVaU2Njd0hNVEVwS3Vpa3BLUW0zM0hJTFltSmlNR25TSkxkZXlldHEzQ0Y1RnhZV1lzT0dEVml6WmcxT256N3RhaTRCOEFtQVpSYUw1VWVnNHJvNkViRUg3dlhZQTI4YTFSZERBZUFXaTZGNEt0ZGlKRnUyYktsZUpzOFNRc1FCV0tYbllpVGVpajF3NzhBZXVJZnAxYXZYem95TWpHRjZ4M0dqcTB3cWJ3RllXcmtjNmJ5eXNyTFJHemR1eE1hTkczVlpqdFNUT0oxTzdOcTFDeWFUNmZJeXVWc3RCMHJrenBqQTNWaWZQbjErdUx5dFZhdFdvVFcxYTVwV2R2anc0ZWFkYUpvQVFET2J6VjhCK0NveU1ySlg1ZVF3czh4bWM0RFpiRWJuenAycnl1dnQyclhUTzFiZFhiaHdvYXBNbnB1YjYyb3VCckJLVVpSbFNVbEpHVHFHUitSUldFTDNNS3FxU292RlV1ZWZHMHZvemM5Z01MUURNRXRLT1JkQUR3RHc4L1BEMkxGakVSc2IyK1F6azdtakkwZU9JQ0Vod2JWbXQ2czVVd2dSNSt2cnUyci8vdjJGZXNaM28yRUozVHN3Z2J1NWlJZ0kyOFdMRncvWHRyMTE2OWI5TFJaTHJTT1FtTUIxcFVSR1J0NnZhZG84QVBlN0dsVlZoZEZveExCaHc3eTZ2TzUwT3JGanh3NGtKQ1JjUHZCc3E1UnlxZFZxM1FhV3lYWEJCTzRkV0VMM0RBNjlBNkI2MFpLU2tyNEc4SFZrWkdRdktlWGpVc3FITEJaTGdNVmlRWEJ3TUtaT25ZcUpFeWRlSHR2UWN3QUFIL2hKUkVGVU1kdWFKeXNvS01DR0RSdVFtSmhZdlV4ZUpJUllWVGszK1JFOTR5UHlGa3pnSHVEdzRjTzFMdVVVRVJGaGE4NVlxSDRxciszT2o0cUtldDV1dDg4VVFzekx6YzN0R1JjWGgzZmZmUmRqeG94QmJHeHNuVmY1Y2tjWkdSa3dtVXpZdW5WclZabGNDSEZFMDdSbGZuNStuN0JNVHRTNG1NQTl3RjEzM1pWVTJ6WWhST090TzBsTnJqS0p4UUZZcnFycUtBRHo3WGI3bUMrKytBSmZmUEVGSWlJaVlEUWFFUjBkN1JIbGRZZkRnWjA3ZHlJK1BoN0p5Y2xWN1ZMS3J5dEhrMzhEbHNtSm1nUVR1QWRnRDl3cmFSYUxaU3VBcldGaFlYY3Fpdks0RU9JaHE5WGF4bXExSWpnNEdGT21UTUdrU1pPcWx2QjBKL241K1ZWbDhqTm56cmlhaXdCOHBHbmE4dVRrNUtNNmhrZDBRMkFDOXdEc2dYdTN5bXZDZnhvOGVQRHpGeTllbkFsZ2JtNXVicS9seTVmai9mZmZ4K2pSb3pGdDJqUzNLSzhmUG53WUpwTUoyN1p0cXo2YVBBTkFuTCsvLytxOWUvY1c2UmdlMFEyRkNkeE5CUVlHVHUzY3VmTmZoUkIraXFLMHV0cStydnZDMDlQVCt6WlBkTlFVS3BQZk1nQXJWRlVkQ1dDZTNXNGZ0M256Wm16ZXZCbGhZV0dZTm0wYW9xT2o2N1NNYUdOeE9CejQvdnZ2WVRLWmtKS1M0bXFXQUw0V1FpdzFtODNmZ1dWeW9tYkhCTzZtOHZMeTF1VGw1YTBCSU5xMGFUTXVPRGg0L3FsVHA1NHFLU2xKQVJEWXMyZlBkVVZGUlR1S2lvbzJsWlNVSkYvcmVPUlJOSXZGc2czQU5sVlZld0I0SE1EREtTa3BiVk5TVWhBVUZJUXBVNlpnOHVUSlRWcGV6OHZMdy9yMTY3RjI3VnFjUFh2VzFWd0k0Q01BeXkwV1MyYVRuWnlJcm9uM2didXg0T0RnaFIwN2RueTRyS3pzcHpObnpyeFZXRmk0RlJVOUgvajUrZDNWb1VPSDM3WnYzMzZxajQ5UG0zUG56bjE4K3ZUcGx5OC9CdThEOXc2REJ3OXVZN1BaWmtncDV3RzRDd0JhdEdpQjBhTkh3Mmcwb25mdjNvMTJyaDkvL0xHcVRGNWVYdTVxUGl5RWlMUFpiS3ZUMHRLS0crMWtwQXZlQis0ZG1NRGRXSWNPSFdhVWxKVHN0dGxzeDY2Mm41K2ZYMmlyVnExdUt5d3MzSGI1Tmlad3J5TWlJeU5IYUpvMkg4QTRWUDRmRGdzTFEyeHNMSVlQSDE2djhyckQ0Y0QyN2R1UmtKQndlWm44SzBWUmxpWWxKWDFYK1p5OEFCTzRkMkFKM1kyZFAzLyswN3JzWjdmYjAreDJlOXIvYisvZXc2T3E3bkNQdjNzU2trQzVTSlNMVUJRUlZDNENtUUJLRllFcWlsYUo1U2lDQlFYbDhTQThXRzJyRmtTalVHeVBHQkR4SUY3cUJUbUNZRkhSS3BWeURJZHFqR0dTRUFvRlM5QVFJS0FZSUNRaHQ1bDEvZ2lKdVpKSWt0bXpaNzZmNS9GeHN2ZWVtZDhNYS9hNzlwcTFaN2QwUFFnSVp0dTJiWnNrYllxTmpiM1lHRE5MMHIwVncrdWRPbldxSEY2UGpvNXU4TUhxR1NZL0llazF5N0wrdDhmanlXeTVsd0tnS1RnQ0QzSWNnUWUvL3YzN3Q0MktpcW9ZWHU4ci9UaThmc2NkZDZoZnYzNjE3ck56NTA2OTg4NDcrdlRUVDZzT2svL245REQ1V3d5VEJ6ZU93SU1EUitDQXc1ME8yeGNscllpSmlibldzcXdIU2t0TGIvN29vNCtzano3NlNBTUhEdFFkZDl5aGtTTkhWbDdDYzhlT0hSVjNONUkrTk1Zc1MwdEwyeXlHeVFISElNQ0I0R0hTMHRMK0tlbWZRNGNPN2VYeitXWVpZKzdOeU1qb2tKR1JVWFBiRThhWVY4UER3NWVucEtUc3M2RldBRTFFZ0FOQjZIUW8vNzUvLy83eEVSRVJreTNMbWkycG42UmRrcDR2S3l0YmxaR1JVV0J2bFFDYWdnQVBmbTNzTGdEMk9UMjh2a0xTUzRNSEQ3NHdQVDA5U3d5VEEwR2gzdXRJSTJpMHRyc0FCQVRqY3JuMnV0MXUzNmhSbytpNEEwR0FBQThSSG84bjErNGFBQUROaHdBUEhmeFdOUUFFRVFJY0FBQUhJc0FCQUhBZ0Fod0FBQWNpd0FFQWNDQUNIQUFBQnlMQUFRQndJQUljQUFBSElzQUJBSEFnQWh3QUFBY2l3QUVBY0NBQ0hBQUFCeUxBQVFCd0lBSWNBQUFISXNBQkFIQWdBaHh3bUVzdnZUVFI3aG9BMkMvYzdnSUExSzlmdjM3L3Jya3NLaXFxZjEzTGZUNWY4ZTdkdTJQOVV4a0F1eEhnUUFEYnRXdlhnSnJMM0c2M3FXczVnTkJDZ0FNQkxpWW1wdWpVcVZPN0svNHVMQ3pjZnRsbGw2VlgvTjJtVFp1QnFhbXBmQjBHaEJnQ0hIQ0dNcnNMQUJCWUNIREFBWGJ2M2oya3ZuVXhNVEZGL3F3RlFHQWd3QUVIdU95eXk3YlZ0ODZ5ckFoLzFnSWdNQkRnZ0FOd0JBNmdKZ0ljY0FDT3dBSFVSSUFEQVNvNk9ucEMxNjVkbjdBc0s4TGxja1dkYWR1Szg4STV2UXdJSFFRNEVLQnljM1BYNXVibXJwVmt0V3ZYN2xkZHVuUjVJQ2NuNStHQ2dvTHRrcUw3OU9uenQ1TW5UMzUyOHVUSkRRVUZCZWtOUFI2QTRNSzVvMEFBNjlLbHk1eisvZnQvM2FWTGw5bmZmZmZka29LQ2dvelRxM0t6c3JMdXR5ekxlOEVGRjd3NVlNQ0FmVjI3ZG4zYzFtSUIrQlZINEVBQUt5c3JPNUNabVhsZFVWRlJWczExSlNVbHUzTnljaGJtNU9Rc2pJaUk2QjhWRmZYekJoNHVySVhLQkdBREFod0lZRC84OE1OYmpkbXVwS1JrWjBsSnljN0diSnVZbU9ocldsVUFBZ0ZENkVEb0ljQ0JJRUNBQXdEZ1FBUTRBQUFPUklBREFPQkFCRGdBQUE1RWdBTUE0RUFFT0FBQURrU0FBd0RnUUFRNEFBQU9SSUFEQU9CQUJEZ0FBQTVFZ0FNQTRFQmN6Q1NJWEg3NTVSM0R3OE5qNjFvWEV4TnpYZFcveThyS1BEdDI3RGptbjhvQUFNM05zcnNBTkovWTJOZ094cGp2SkVVMHNHbUpaVm1kUFI3UENYL1VCZjhiT25Sb1Y2L1hPN0hHNGlXbi8vOVExWVZoWVdGclVsSlNEdnVuTXRnaEppYm1mMWlXTlVmbEIyMWxrdHBMNmlQcHBLU3ZLNVliWTQ2a3BhWGRMTW5ZVml3YWpTUHdJT0x4ZUU2NDNlNVBKZDNjd0tiL0lMeUQyODkrOXJQamVYbDVUNmw4UjEzVGtpcTM4NDRkTy9haW44cUNmYlpKcW10MHJsM1Y1WlpsdlN6QzJ6SDREano0L0syaERTekxhbkFiT0Z0aVltS1JNZWFqUm16NjRkNjllNHRidkNEWUtpMHRMVXZTdnh2YWpuMkRzeERnUVNZeU1uS0R5b2ZJNmxOV1VsS3l3Vi8xd0Q2TjNCbXp3dzRSbG1YOW53WTJPU2JwTTMvVWd1WkJnQWVacEtTa1hHUE1tVDZFLzVmSmE2SEJzcXlOa2dyUHNFbWhaVm4vOEZjOXNKZlg2MjJvcy9hQngrTXA5VXN4YUJZRWVCQnE0TWlMSTY0UTRmRjRDaVY5VXQ5Nnk3SStQcjBOUWtCNmV2cC9KZTA0d3lic0d4eUdBQTlDclZxMWVsOTFUMFR4bFpXVnZlL3ZlbUFmWTB5OU8yV2Z6OGNPTy9UVTkyOStNaTh2YjVOZkswR1RFZUJCS0RrNStZaWtyWFdzMnBxUmtmR2R2K3VCZlNJaUl2NHVxYVNPVmNWdDJyVDV1Ny9yZ2IxY0xsZWRBVzZNWVRLakF4SGdRYXF1WWZRekhZMGhPQ1VuSitkSityU09WWjkrL3ZubkovMWREK3kxYmR1Mm5aWmxmVjF6T2JQUG5Za0FEMUtscGFYcmF5N3orWHkxbGlFazFObzVzOE1PV2FhT3IwNEtUMDk0aE1NUTRFRXFJeVBqZ0tUa0tvdSszTDU5KzBHNzZvRjk2amkxa0ZNSlExak56aHVUR1oyTEFBOXVsUjlVanJoQ1Z4Mm5GbklxWVFoTFRVMU50U3pyU01YZlRHWjBMZ0k4aUlXRmhWVitNRXRMUy9tUWhyQWFIVGphUW1nenhwaTBpaitZek9oY0JIZ1FTMGxKMldkWlZycWt0SXlNakcvc3JnZjJPWDFxb1NTSlV3bmg4L2tXbkw2NWtjbU16a1dBQnpsanpMdVMzclc3RHRqcjlLbUYvMC9TRms0bFJIcDYrcGVTRGhsalZ0dGRDODRlVnlPclIweE1UTEpsV2NQc3JxTzV1TjN1aFhiWDBGVEdtTVMwdExUUmR0ZmhWTWFZZHkzTDRrcFRrQ1NmWlZsclNrdExQN1M3RUp3OXJnZGVEN2Zielk0dUFLV21wdnE5elFaYlp5NFkyTm1ab3owRW5sRHQzSE1FM2dDUHgyTjNDWkFVRzF2WHBZejlnNTExNExFc2E1U056MDE3Q0RCMnRnYzdFZUJBSTlHWkN3eDJkdWFxb2owRWhrQnBEM1pnRWhzQUFBNUVnQU1BNEVBRU9BQUFEa1NBQXdEZ1FBUTRBQUFPUklBREFPQkFCRGdBQUE1RWdBTUE0RUFFT0pxc3FLakk3aElBSU9RUTRDM28xVmRmMVFjZmZGQnRtVEZHZi9qREg1U2NuTnpnL1UrZVBLbEhIbm1rcGNxclpzMmFOU29zTEt4ejNaRWpSM1R3NEVGSjBzaVJJeVZKbVptWk9ucjBxQW9MQ3pWcTFDaVZsSlQ0cFU0RUxqcHlxSWsyMGJJSThCYVVrWkdobmoxN1ZsdTJaTWtTblh2dXVYcjMzWGYxL2ZmZlYxdFhNd1JMU2txMGVmUG1NMjRqU1ZkZWVhWHV2dnZ1ZXYrNzhjWWJHNncxSVNGQmVYbDVkYTdidW5XcjVzK2ZYL20zTVVZTEZ5NVVWbGFXZHV6WW9Rc3V1RUFSRVJFTlBrZW9vaU9IbW1nVGFBNzhGbm9MV0xObWpkYXZYNi9zN0d3ZE9IQkE0ZUhoV3IxNnRaNTU1aG1WbFpYcHNjY2VVMDVPanViTW1hTzVjK2VxVjY5ZWtxVGh3NGRyOCtiTk91ZWNjK3A5N1BxMkNRc0xhMUxOeGhpNVhIWDM1OGFQSDYvRXhFVGw1T1JJa25idDJxV0xMcnBJc2JHeFNraEkwTUNCQTV2MDNNRXVJeU5EOTk1N2I3VmxWVHR5dlhyMVVxZE9uU3JYbFpTVVZPc1ExZGVScTlscHV2TEtLM1hwcFpmV1c4ZDMzMzJuVHo3NTVJeTFKaVFrYU5Tb1VXclRwazJ0ZFZ1M2J0V21UWnYwMGtzdlNmcXhJemRyMWl5VmxaWFYyWkhic1dPSHBrNmRxcTFidDliNW1LRXFsTnNFbWc4QjNnSW1UcHlveXkrL1hDKy8vTEtXTGwycUF3Y09hTnEwYVpYRFNSTW5UcFFrNWVibWF0NjhlYnJ0dHRzMGZ2ejRzMzYramgwNzZyWFhYcXQzZlVOSDRENmZUOFlZaFlmWDNSeHV1KzAyU2RLc1diTlVXRmlveHg5L1hKTDB4UmRmNk9PUFAxWkVSSVJ1dnZsbUZSUVVxTFMwVkwvLy9lLzE2MS8vK2l4ZlRmQ2dJNGVhYUJOb1RnUjRDOW15Wll0R2p4NnQ4ZVBIYThtU0pSbzdkcXp1dlBQT1d0dGxaV1dwdExTMFNjOTE3Tmd4M1gzMzNZM2FkdGV1WFpveVpVcWQ2OGFNR1ZQbmNvL0hvNnlzTEMxY3VGQ0hEaDNTMkxGak5YbnlaTDMzM25zNmZ2eTRObTdjcUU2ZE91bVZWMTVSZm41K1pYaC85ZFZYZXU2NTU1U1ptYW5PblR0cjd0eTVHajU4K05tOVNBZWlJL2Q3OWU3ZCt5eGZUWENpVGRDNWIwNEVlQXY1N0xQUDlPcXJyMnJseXBXNjhNSUxsWkNRb0E4Ly9GQ1MxS05IRC9YcTFVc3pac3hRUWtLQ25uLysrY3I3MWZXQnFpLzBKaytlTEVscTE2NmR2RjV2dmJXVWxaVnA4dVRKdXY3NjYzWFhYWGZWdWd4aVRrNk9icjc1WnIzOTl0dTFodHRLU2txMGJOa3lwYWVuS3o0K1hsT21URkdmUG4wMFk4WU1EUm8wU0VPR0RGRm1acVk2ZGVxa3pNeE0vZUlYdjZpOGIwRkJnZWJObTZmZXZYdHIyYkpsK3ZPZi82d05HelkwOE00RmwxRHZ5TzNZc1VPU2xKYVdwaVZMbHVqZ3dZTWFPblNvNXMrZmY4YWp5V0FXNm0xQ0t1OFlyRnk1VXV2WHI5ZVJJMGQwN3JubktpRWhRWDM3OWoyN0Z4cWlDUEFXa0p1YnEvMzc5MnZhdEdrNmRPaVF4bzhmci9Ed2NLMWR1MWFTTkdIQ0JIMzc3YmVhTVdPR3NyS3lLdTlYTTFoLytPRUhYWC85OVVwS1NxcGNWdlhhdDZ0V3JWSmNYSncyYmRwVXVTd3VMcTdXNUppRzdOeTVVeTZYUy8vNjE3OXFCWGlyVnEzVXQyOWZ6Wm8xU3drSkNYcjg4Y2MxZXZSb0RSa3lSTzNhdGRNNzc3eWpyVnUzYXVqUW9kcTJiWnRtejU1ZGVkL1JvMGVycUtoSW1abVphdHUyclE0ZVBLaXlzcko2ZS9QQmlJNWN1UTBiTnVqbGwxOVdXVm1aSG56d1FTMWF0RWdMRnk0OHd6c1h2R2dUNWQvM2I5bXlSUXNXTEZELy92MjFmLzkrdFc3ZHVvRjNEaldGenA3VWo2S2pveXRua280ZlAxN3IxNi9YdUhIakd1d0oxelVKcFNhUHgxTnJWbWZWeDgzTHkxTnBhYWxHalJxbG5qMTdLanc4WEtkT25kSTMzM3lqbEpTVU9oOXo0OGFObWpwMXF0NTc3ejFObVRLbFdnMldaV241OHVWNjRZVVhsSjJkcmFTa0pDMWZ2bHlTOU5wcnIybjA2TkdhTkdtU2V2VG9vVzdkdXFsNzkrNlY5MTIyYkprMmJOaWdnUU1IS2pJeVVsSjV6enRVMEpINzBmMzMzNi9vNkdoSjVlMzFUMy82MDArcUxWalFKc3BuMEwvenpqdGF2bnk1QmcwYUpFbVYzL1hqcHlIQS9hQ2dvRUJSVVZGNjg4MDNKWlYvU092U21Ja3F4NDhmMTdYWFhsdnRBMTN4dUZMNWg3UlZxMVlhTjI2Y0JnMGFwTEZqeDJyNTh1VWFQSGh3blkrM1k4Y09wYWVuYThHQ0Jjck96dGFLRlN2MHdBTVBWTnZtalRmZTBKMTMzcW4xNjlmcndnc3YxSC8rOHgvRng4ZXJmZnYyY3JsY3V2cnFxN1ZvMFNJdFdiS2s4ajRIRGh6UUcyKzhvWFhyMXFsWHIxNUtTa3JTUC83eGo0YmZyQ0JDUis1SG5UdDNybmE3c0xCUVBwK3Yzc2xSd1lvMklSMDhlRkJlci9lTXMrUFJPQVI0Qy9qcXE2KzBmdjE2SFQxNlZBY1BIdFRVcVZOMTRzUUozWFBQUFMzeWZEVS9wSkkwZGVwVXpadzVVKzNhdGRPbVRadjArdXV2MTdyZjBhTkhOWGZ1WE0yZVBWdXRXN2ZXUXc4OXBFbVRKdW44ODgvWDdiZmZYcmxkZm42K0Jnd1lvUGo0ZU4xNjY2MTY4ODAzRlI4Zkw1ZkxKWi9QcC96OGZFblZ6MUV2S3l1VFZENEVkOTU1NTJuMTZ0VXQ4dHFkSkJRN2NoWHk4L01yVDBQS3lzcFNseTVkUWk2ODZ4S0tiYUpqeDQ2U3BQMzc5NnQvLy80TnZFTTRFd0s4QlF3YU5FaVhYSEtKMnJkdnI5dHV1MDNyMXEzVGhBa1RLbWVEVHBnd29YTElyRGtzV0xCQTMzLy92WEp5Y3JSNDhXTEZ4OGRyeG93WnV1YWFhL1RBQXcvb2ozLzhZNjBQZm1abXBoNTY2Q0ZkZGRWVmlvdUxreVIxNmRKRml4Y3YxdXpaczdWcjF5Nzk5cmUvMVRubm5LTnUzYnBwL3Z6NVdycDBxUklTRWhRVkZhVTllL1pvd0lBQldyQmdnWTRmUDY2RWhBVE5temRQZVhsNUdqOSt2SHIyN0ttSkV5ZnE0WWNmVnVmT25UVng0a1I5L3ZubnpmYWFuWUNPM0k5ZWVPRUZQZnJvb3pwNjlLaGVlKzAxalJzM3JybGZ2aVBRSnNyM005ZGNjNDBXTGx5b0o1OThVaGRmZkxIMjd0MnJ0bTNiMWhxNXdaa1I0QzBnTWpLeThqdmZxcnhlcjRxS2loUVZGYVdzckN5NVhLNWFQelg0VXlhcXpKMDdWOUhSMFhybGxWZlV2WHQzZGUvZVhSRVJFZnJsTDMrcFJZc1dLVGMzVjg4OTk1eFdybHlwelpzM2EvcjA2ZXJidDY5V3JseXBsU3RYYXZMa3labzVjMmExeHh3OGVMQmVmLzExUGZiWVk3cmxsbHMwWnN3WWxaU1VLRDA5WFNOSGp0UUhIM3lnWThlTzZmUFBQOWZNbVRQVnVuVnJMVnUyVEczYXROR3p6ejZyUng5OVZDNlhTN2ZlZXFzZWZ2aGhQZnp3dzVXUFhYR0tUS2lnSS9majZVK1hYMzY1NHVMaVZGSlNvbC85NmxlYVBuMTZzNzF1SjZGTmxMZUpoUXNYYXVuU3BabzVjNllLQ2dyVXMyZlBrSjNVMkJRRWVBdTc2YWFiSkVuanhvM1QzcjE3bFphV3BpZWVlRUp2di8yMmR1M2FWZTJjeUpvVFZlcFNNVXdtU1U4Ly9YU3Q5WHYyN0ZIUG5qMTF3dzAzYU15WU1YSzVYQm94WW9UMjdObWoxcTFiS3o4L1g5dTJiZFBTcFVzMWJOaXdPcCtqZCsvZVdyMTZ0ZjcrOTcrcnVMaFluVHQzMXJ4NTh4UVZGU1dwL0h1OGl5KytXQU1HREZCTVRJd3N5NUpVL3F0UGE5ZXVyUndpQzNWMDVNbzdjaFh0dXVxUlc2aWlUWlMzaVRadDJtak9uRG1hTTJkT0U5NU5vQjV1dDl1NDNXNkR3RkR4NytIVXR2REtLNjhZWTR4NTY2MjN6TzdkdTgzcTFhdk5mLy83WC9QMDAwK2J5Wk1ubXhkZmZQRW5QZDZ4WThmT1dOT2lSWXZNdDk5K2F6WnUzR2k4WG0vbDh0MjdkNXVzckN4eitQQmhjODg5OTVqazVPUXpQby9YNnpVYk5td3c2OWF0TTF1MmJER25UcDJxdFkzSDR6RStuNi9hc3NPSEQ1dmk0dUtmOUpvYXk4NjIwRnp0d1JqYVJIT3h1ejNZeWJLN2dFQlYwU0FhYzFTTWxsZHhpa3hxYXFyZjJ5eHRJYkRZMlJZazJrT2dzYnM5MklscG9BQUFPQkFCRGdDQUF4SGdBQUE0RUFFT0FJQURFZUFBQURnUUFRNEFnQU1SNEFBQU9CQUJEZ0NBQS9GVHFnMm9lbzFkQUFBQ0JRRmVEMk5Nb21WWm8reXVBejh5eGlUYStmeDA1bEFWN1FGMkk4RHJrWmFXTnRydUdwcER4YzgraHVMUEREWVhPbk9CeDg3T0hPMGg4TmpkdWJjTE8vVWdSNENqQW0wQlZibmQ3blJKZzN3K1gweDZlbnE2M2ZYZ3AyTVNHd0FBRGtTQUF3RGdRQVE0QUFBT1JJQURBT0JBQkRnQUFBNUVnQU1BNEVBRU9BQUFEa1NBQXdEZ1FBUTRBQUFPUklBREFPQkFCRGdBQUE1RWdBTUE0RUFFT0FBQURzVGxSRU9FMisxKzB1NGFBQUROaHdBUGZtVXEvM2VPdDdzUUJBYTMyMTFrZHcwSUNKRjJGNENtSWNDRG5ESG1Sc3V5cnJhN0RnU0VpazRjTzI1SWtpekxPaEFXRm5iQTdqcHdkaXk3Q3dEZ0gyNjMyMGhTcTFhdHVyWnUzZnFFM2ZYQWZvbUppU1dTZkhiWGdiUERFVGdRWW9xTGk0dVRrNU1aUmdjY2psbm9BQUE0RUFFT2hKaUlpSWd3dTJzQTBIUUVPQkJpdkY3dk9YYlhBS0RwQ0hBZ3hQaDh2aks3YXdEUWRBUTRBQUFPUklBREFPQkFuQWNPQktHWW1KZ0xYUzdYV3pVV2p6REdTRktLWlZtVnA1R0ZoNGMva3B5Yy9LVmZDd1RRWkp3SERnU2hWcTFhdWNyS3lrYlVzM3JvNlNDWEpCVVZGYkVmQUJ5SUkzQWdTTVhHeGhZWVk5bzBzRmxaYW1wcUs3OFVCS0JaOFIwNEVMdzJOYlNCTVNiZEg0VUFhSDRFT0JDa0xNdDZ0S0Z0SWlJaUh2TkhMUUNhSDBQb1FCQnp1OTJuSkVYVnRjNnlMSy9INDJrbHlkUzFIa0JnNHdnY0NHS1daVzJ0YjUweFpwY0liOEN4Q0hBZ2lEVXdqUDZrditvQTBQd1lRZ2VDbk52dExwWVVVV094THpVMU5Wd2NnUU9PeFJFNEVQeVM2MWoydFFodndORUljQ0RJZWIzZXVUV1h1Vnl1cCsyb0JVRHpZUWdkQ0FGdXQ3dFVQLzd5b2prOWZPNnpzU1FBVGNRUk9CQWEwcXJjemhiaERUZ2VBUTZFaGljcWJoaGpYclN6RUFETmd5RjBJRFJZc2JHeHBjWVlsMlZaa1I2UHA5VHVnZ0EwRFZjaEFrS0RNY2JzdEN5ckkrRU5CQWVPd0lFV0Voc2JlNFV4Wm9hay9wSXVrZFRCNXBJQ3hmZkdtSzh0eTByemVyM0x0bS9mL3JYZEJRRk9SSUFEeld6dzRNRTlYUzdYRzVKRzJsMkxBeGhKYXkzTCtwOGVqK2VFM2NVQVRrS0FBODBvTmpiMkNra2ZHbU02UlVkSDZ6ZS8rWTJHRFJ1bUhqMTZxRjI3ZG5hWFp6dGpqSTRkTzZiczdHd2xKaWJxM1hmZlZXRmhvU3pMMnVueitYNlZscGFXWlhlTmdGTVE0RUF6Y2J2ZHZWVit1bGJiY2VQR2FjNmNPWXFJcVBrTHBxanF4SWtUZXZUUlI1V1NraUxMc3ZhRmg0ZkhKQ2NuNTlsZEYrQUVZWFlYQUFTRDNyMTdSMFpHUm02VWRPRmRkOTJsUng1NVJPSGh6QkZ0U0ZSVWxHNjQ0UWJ0M2J0WDMzNzdiVWVmejNkeFRrN08zK3l1QzNBQ3pnTUhta0g3OXUxL0s4bnRkcnMxZS9ac1dSYURXNDNWcWxVclBmWFVVK3JXclpza1RYQzczVGZiWFJQZ0JCeUJBMDAwY09EQW40V0ZoYTF6dVZ4dFZxeFlvUTRkbUd6K1UwVkVST2lpaXk3U3h4OS9MRWw5Y25KeVhyVzdKaURRY1FRT05GRllXTmc5eHBqenhvNGRxKzdkdTl0ZGptTmRlZVdWdXZUU1N5VnB5SkFoUTY2enV4NGcwQkhnUUJOWmxqVkpraVpPbkdoM0tZNW1XWmJ1dU9NT1NaSXg1ZzZieXdFQ0hnRU9ORUZNVEV3M1NjUFBQZmRjOWUzYjErNXlIRy9FaUJHeUxFdkdtSEczMzM0N1gvRUJaMENBQTAzZ2NybkdTTkx3NGNQbGNnWCt4OG5yOVNvK1BsNCtYL1dMa1JVV0Z1ckpKNTlVY1hHeFRaV1ZpNDZPVnI5Ky9TU3AwNzU5K3diWldnd1E0RGpQQldnQ1k4d2dTWDQvK243Ly9mZTFZTUdDUm0vdjhYZ2tTWWNQSDFaeWNuS3R6c2FxVmF0VVhGeXN5TWpJWnEzemJGeDIyV1hhdVhObnhYdWJhbmM5UUtBaXdJR21HU2hKdlhyMTh1dVR4c1hGNlpaYmJwRWtEUnMyVEZ1MmJGSHIxcTByMTllMVRKS3lzN05yMVhybzBDR3RXYk5HcTFhdGtzL24wL1RwMC9YTU04L292UFBPYS9rWFVvZUxMcnFvNHVaQVd3b0FISUlBQjVxbXB5Uy96ejYzTEV0aFlUOStSZXh5dWFyOVhkZXlhZE9tYWRldVhiSXNTMWRmZmJWT25UcWxsSlFVelo4L1g1TW5UNjQ0RDF0eGNYRjY5dGxuOVplLy9NVS9MNmFHaWpwMCtyMEZVRGNDSEdpYURwTFV0bTFidSt0bzBPdXZ2Njc0K0hoZGNjVVZHak5taks2Ly9ubzk4OHd6U2tsSmtkZnIxV2VmZmFhVEowK3FvS0JBZVhsNTJyNTl1d1lOOHYvWDBGWGVTMDZvQjg2QUFBZWFwb01rdFduVHh1NDZHbVhQbmoyNjU1NTdkT1RJRVhYcjFrM1hYWGVkK3ZUcG81Ly8vT2M2Nzd6ekZCMGRyUTRkT21qRGhnMzY2MS8vcXVlZmY5N3ZOVlo1TDgveCs1TUREa0tBQTAzams4cXZzdVZQc2JHeDFmNGVNV0pFclcycUxydnZ2dnMwWmNvVS9mREREN3JnZ2d1MGVmTm1YWExKSlJveVpJaUdEQmxTNjc0MzNuaWpycjMyMnVZdnZCR3F6SkQzMmxJQTRCQUVPTkEwSnlSMUxpZ284T3VWeHlwbWxaZVVsR2o0OE9INjZxdXZxbjNmSFJzYnE2MWJ0MVliR2RpK2ZidmF0V3VuL1B4OEpTVWxWWFlDWW1OajFibHo1MnFQZi96NGNTVWxKZm5obGRSV1dGaFljWlByZ3dOblFJQURUV0JaMW5GalRPZTh2RHgxN05qUjc4Ly8vZmZmcTMzNzlyVW1zTlZsMEtCQnV1bW1tM1QzM1hjclB6OWZEejc0b0tUeTN5SC81Sk5QcW0wN2ZQandGcW0zTVU2ZVBGbHg4N2h0UlFBT0VQaS9QQUVFTUdQTWZ5WHB3SUVEdGp6L2wxOStxZjc5K3pkNisrblRwNnRyMTY0cUtTblJOOTk4MDRLVm5iM3M3R3hKUDc2M0FPcEdnQU5OWUl6SmtLVE16RXkvUC9lK2ZmdjA0b3N2YXRLa1NZMit6L3Z2djYvang0OXJ4b3dadXYvKys3VnYzNzRXclBEc1ZPbFlaTmhaQnhEb0dFSUhtc0RsY3FVWlkvVHZmLy9icjgvN3dRY2ZhUEhpeGJydnZ2dDAxVlZYTmVvK3ExZXYxdHExYS9YU1N5K3BjK2ZPR2pod29IcjE2cVhTMGxMRnhjVzFjTVdOdDNQblRrbVNaVm5wTnBjQ0FBaFdnd2NQUHNmdGRwZU9HREhDbEphV0duOUpTa295cWFtcDlhNWZzV0tGS1NrcHFiYnNpeSsrTUVlUEhxMjE3WU1QUHRpb1pmNXc0TUFCNDNhN2pkdnQva2FTWmZlL0x3QWdpTG5kN28xdXQ5c2tKU1haRW5yQjVLMjMzcW9JOE1WMi83c0NnWTd2d0lHbVd5V1ZYeEFFWjgvcjlXck5taldTSkdQTTJ6YVhBd1E4QWh4b292YnQyNitSbEptVWxPVDM3OEtEeVNlZmZLS2NuQnhKMnBpV2xyYk43bnFBUUVlQUEwMlVtSmhZWmxuV0FrbDY0b2tuZE9yVUtidExjcHpEaHc5cjBhSkZGVDluOTVTdHhRQU8wZkN2UHdCb1VFNU9Uc2I1NTU4ZmMrTEVpVXYzNzkrdmtTTkhOdXJIVlZEK3EyKy8rOTN2ZFBEZ1FjdXlyUCtWbXByNmh0MDFBVTdBRVRqUVBFeGtaT1EweTdMMi8vT2YvOVRNbVROMTZOQWh1MnNLZUx0Mzc5YTBhZE1xVGgzYkt1bHhtMHNDSElQVE5JQm1OSERnd0orSGg0ZC9KR21ReStYU0RUZmNvR0hEaHFsSGp4NXEzNzY5M2VYWnpoaWozTnhjWldkbkt6RXhVVjk4OFVYRnFvK0tpNHNuN2R5NU05L08rZ0FuSWNDQlpuYlZWVmUxTzNYcTFKOGwzU3NweXU1NkF0d3hZOHppM3IxNy8zbmR1blZjZlF6NENRaHdvSVZjY2NVVlhVcExTKzgyeHZTekxLdVBaVmtkN0s0cEVCaGp2cE8wMTdLczlLS2lvcFVjZFFN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nSUR4L3dFWFFqanFrakEzR2dBQUFBQkpSVTVFcmtKZ2dnPT0iLAogICAiVHlwZSIgOiAiZmxvdyIsCiAgICJWZXJzaW9uIiA6ICIiCn0K"/>
    </extobj>
    <extobj name="ECB019B1-382A-4266-B25C-5B523AA43C14-9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iCn0K"/>
    </extobj>
    <extobj name="ECB019B1-382A-4266-B25C-5B523AA43C14-10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11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iCn0K"/>
    </extobj>
    <extobj name="ECB019B1-382A-4266-B25C-5B523AA43C14-12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13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14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15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16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17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iCn0K"/>
    </extobj>
    <extobj name="ECB019B1-382A-4266-B25C-5B523AA43C14-18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19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20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21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22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23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iCn0K"/>
    </extobj>
    <extobj name="ECB019B1-382A-4266-B25C-5B523AA43C14-24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25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26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27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28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29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30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iCn0K"/>
    </extobj>
    <extobj name="ECB019B1-382A-4266-B25C-5B523AA43C14-31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32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33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34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35">
      <extobjdata type="ECB019B1-382A-4266-B25C-5B523AA43C14" data="ewogICAiRmlsZUlkIiA6ICI4NDQwNDQ3NDA0MyIsCiAgICJHcm91cElkIiA6ICI0OTg2Mjc1MzQiLAogICAiSW1hZ2UiIDogImlWQk9SdzBLR2dvQUFBQU5TVWhFVWdBQUJHSUFBQU5HQ0FZQUFBQzJxU2d4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zl4NWM1MTNlQ2Z3NXVoL2RiTjE4a1dUTHQyQ0hKQUlyQzZseHNrbllNS1VHdHlTUU5IU1RKcFFDSlNHMEtTVkx5eVdGdEFVQ0FYYW1sS0dFM1lTVUp0bE1XOXBzbHpSc3FBZnFla054RXB1NHRySGwySllzeTdac3laS09qbzR1UHZ0SExGZHhIR05IY280a2Z6NHptam5uOS83ZTl6em4vWTQ5YzU3M0ZwOS81cGxudmhVUjJSelhBZ0FBQUpOS0kyWUNsaTFiVmx4WldYbC9STndVRWJGOCtmSzQvdnJyWTlteVpiRnc0Y0tZTld0V2ppdWMrbzRlUFJwNzkrNk5uVHQzeG1PUFBSYmJ0MjhmVy9SUWIyL3ZCM2J1M0puSlpYMEFBQUF3bVRSaVhxVkxMNzIwTkp2TlBoRVJWOVRVMU1UZGQ5OGRiM25MV3lLUnNFdGZyV3cyRy8vNnIvOGFuLzNzWitQdzRjTVJFVDlPSkJKdjM3aHg0MEN1YXdNQUFJREprSmZyQXFhclk4ZU8vZmVJdUdMcDBxWHhuZTk4SjFhdlhxMEpNMEdKUkNKV3IxNGREejc0WUN4ZHVqUWk0b3BzTnZ1MVhOY0ZBQUFBazBYbjRGVzQ5TkpMZnlPYnpYNjN0clkySG5ua2thaXFxc3AxU1ROT2QzZDMvUHF2LzNvY1BudzRzdG5zYnp6NzdMTVA1N29tQUFBQW1DaG54SnlsMWF0WFYyU3oyVDlQSkJMeHVjOTlUaFBtSEttcXFvcDc3cmtuSWlJU2ljVFhWNjllWFpIamtnQUFBR0RDTkdMTzB1RGc0TzBSVWJWMjdkcTQ3TExMY2wzT2pIYlpaWmZGMnJWckl5S3FCZ1lHYnN0MVBRQUFBREJSR2pGbm9ibTV1U3lielg0c2tVakVyYmZlbXV0eXpndTMzbnBySkJLSlNDUVNIMnR1Ymk3TGRUMEFBQUF3RVJveFo2R2dvT0JkRVZGNzFWVlhSVk5UVTY3TE9TOHNXclFvcnJycXFvaUl1c0xDd2wvTGNUa0FBQUF3SVJveForZmFpSWkzdi8zdHVhN2p2REp1ZjErYnl6b0FBQUJnb2pSaXp0Q3FWYXVTRWZFckJRVUZzV3JWcWx5WEV4RVJYLzNxVjJQUG5qMHZHejkwNkZEY2RkZGRaN3lkL3Y3K3VQLysreWV6dEVtMWF0V3F5TS9QajJ3Mit5dkhjd0FBQUlCcFNTUG1EQTBORGYxU1JKU3VYTGt5eXNweWY2dVM3ZHUzeDZPUFBucktXbEtwVkR6MTFGTm52SzNlM3Q3NHhqZStNWm5sVGFxeXNySll1WEpsUkVUWjhQQ3dPeVFEQUFBd2JSWGt1b0JwcERraVlzV0tGYm11SXlJaUhuNzQ0Vml6WmszVTF0YkdzV1BIWW5CdzhNU3lzZGNEQXdNdldlZUtLNjQ0N1RZdnZmVFNVNDQvOU5CRDhmclh2MzZDRlUvTWloVXI0cWMvL1dsa3M5bm1pRmlYMDJJQUFBRGdWZEtJT1VQSEd3Q3haTW1TWEpjU0J3OGVqQ2VmZkRJZWZ2amhPSExrU0d6Y3VERSs4WWxQdkd6ZXlZMlhEUnMybkhKNysvZnZqK3V1dSs0Vmx4Y1dGazY4NkFrYXQ5K2JjMWtIQUFBQVRJUkd6Sm03S0NKaThlTEZ1YTRqdnYzdGI4ZlZWMThkVFUxTmNlZWRkOGJGRjE4Y0d6ZHVQTEY4OSs3ZDhlNTN2L3NsWTZjejFtZ3BLaW82Si9WT2hyRkdURGFidlNqSHBRQUFBTUNycGhGejVtb2pJcXFycTNOYXhJNGRPK0x4eHgrUFJ4NTVKRnBiVzJQYnRtMXh6ejMzblBINkJ3NGNpRFZyMXB4eTJha3VUVHJUWnM2NVZsVlZOZmF5TnBkMUFBQUF3RVJveEp5NVdSR1I4eHYxN3Rtekp6S1pUTng0NDQyUnlXVGlTMS82VXBTWGw1K3lpVEorN0l0Zi9HSmNjODAxSjk2UGI3QjBkSFRFMnJWclR6azJWWXpiNzdOeVdRY0FBQUJNaEViTW1hdU1pQ2d0TGMxcEVkZGNjMDFzM0xneEhuLzg4ZGl3WVVPODlhMXZqWWlJZGV2V25YYTlaSEo2UC9WWkl3WUFBSUNaUUNObUducisrZWZqL3Z2dmo0Y2VlaWhHUmthaXY3OC9acytlZlZiYitFVm4wQUFBQUFDVFR5UG16UFZHUk8zQXdFQk9iMnJiMDlNVGQ5eHhSMVJVVk1UNzN2ZSthR3RyaTF0dnZUWFdybDBiNzNyWHUxNXh2ZTk5NzN1eFlNR0NTQ1FTVVZSVWRPSUpTVnUzYm8yUGZ2U2pjZVRJa1ZpK2ZIbDg4NXZmaklxS2loTlBVcG9xVXFuVTJNdWp1YXdEQUFBQUprSWo1c3dkallqYVZDcDExbWVmVEthS2lvcjQxVi85MVZpMGFGRXNYcnc0Rmk1Y0dOWFYxZEhXMWhZUkVULzV5VTlldHM2YjMvem1FNi9uekpsem9nbXpidDI2K1BTblB4MlhYMzU1UFBua2sxRlRVeE1mK2NoSDRtdGYrMXJNbnovL0ZSOW5uUXNhTVFBQUFNd0VlYmt1WUJycGlvZzRjdVJJVG92SXo4K1BPKys4TTY2OTl0cDQ0eHZmR0JFUlc3WnNlY255ay85T2xzbGs0aXRmK1VyY2RkZGQ4Y0VQZmpEdXVPT09pSWk0Nzc3N29xcXFLbTYrK2VhWGJITXE2Tzd1SG52WmxjczZBQUFBWUNJMFlzN2Nsb2lJRjE1NElhZEZ0TGUzeHlPUFBCS2YrY3huNHJycnJvdDN2T01kOFkvLytJOW52UDc2OWV2amhodHVpS2VlZWlxKzhZMXZ4TTAzMzN4aVdWRlJVWHpsSzErSk5Xdld4UHZmLy83NDhwZS9QTDRCa2xPN2R1MktpSWhFSWpHMU9rUUFBQUJ3Rmx5YWRJWVNpY1RtYkRaN29pR1FLeSs4OEVMODZFYy9pamU5NlUzeG52ZThKMWFzV0JGRlJVVW5MazE2cFJ2dWpvNk94bTIzM1JZYk4yNk1HMjY0SVQ3ODRRK2Y4Z2xRZVhsNWNkdHR0OFdWVjE0Wjk5NTdiN3p6bmUrTWh4OStPQll1WEhoT3Y5Y3ZNbTYvYjg1bEhRQUFBREFSR2pGbmJuTkV4TFp0MjNKYXhCVlhYQkZYWEhIRnk4Yno4dktpdkx3OGZ2Q0RIN3hzMmR2ZTlyWW9MQ3lNRDN6Z0EvSEpUMzR5R2hvYWZ1SG5YSFRSUmZIZ2d3L0cxcTFiYzk2RWlmaVAvWjVJSkRSaUFBQUFtTFlTdVM1Z3VsaTFhbFV5azhrY0tpZ29LUHZoRDM4WVpXVmx1UzdwdkpGS3BlTHFxNitPMGRIUlZHVmxaZTI2ZGVzR2MxMFRBQUFBdkJydUVYT0dObXpZa0k2SUowWkdScWJVMDRUT0J4czJiSWpSMGRGSUpCTGYxNFFCQUFCZ090T0lPVHQvRnhIeHhCTlA1THFPODhxNC9mMTN1YXdEQUFBQUprb2o1aXlNakl4OEx5SzYxcTFiRjN2MjdNbDFPZWVGM2J0M3g3cDE2eUlpRGcwUEQvOTlqc3NCQUFDQUNkR0lPUXViTjI5T0pSS0orN0xaYkR6d3dBTzVMdWU4OE1BREQwUTJtNDFzTm52ZjVzMmJVN211QndBQUFDWkNJK1lzbFpTVWZEMGl1di9oSC80aG5uNzY2VnlYTTZNOS9mVFQ4ZmpqajBkRWRKZVdsdjVGcnVzQkFBQ0FpZkxVcEZkaDVjcVY3MDBrRW45ZFUxTVRqejc2YUZSVlZlVzZwQm5ueUpFamNlT05OOGJodzRjam04Mis5OWxubjMwazF6VUJBQURBUk9YbnVvRHBxTE96OC9sNTgrWTFwdFBwbHZYcjE4ZmxsMThlRlJVVnVTNXJ4dGkvZjMvY2Z2dnQwZEhSRVJIeHJXZWZmZmJ6dWE0SkFBQUFKb05MazE2bHZMeTgzNDJJSDdlMnRzWXR0OXdTNjlldmoydzJtK3V5cHJWc05odnIxNitQVzI2NUpYYnQyaFVSOGVORUl2Rjd1YTRMQUFBQUpvdExreVpnMmJKbHhaV1ZsZmRIeEUwUkVjdVhMNC9ycjc4K2xpNWRHazFOVFRGcjFxd2NWemoxSFQxNk5QYnMyUk90cmEzeDJHT1B4ZmJ0MjhjV1BkVGIyL3VCblR0M1puSlpId0FBQUV3bWpaaUpTN1MwdEh3Z0l2NHdJaGJsdUphWllIZEVmUDZaWjU3NVZrUTR4UWdBQUlBWlJTTm1rbHgxMVZVRmZYMTlOMlN6MmVzajR0S0lxSXVJa2h5WE5SME1Sc1NoaU5pWVNDUWVxNmlvK0YvcjFxMGJ5WFZSQUFBQUFBQUFBQUFBQUFBQUFBQUFBQUFBQUFBQUFBQUFBQUFBQUFBQUFBQUFBQUFBQUFBQUFBQUFBQUFBQUFBQUFBQUFBQUFBQUFBQUFBQUFBQUFBQUxFQXRGSUFBQTh5U1VSQlZBQUFBQUFBQUFBQUFBQUFBQUFBQUFBQUFBQUFBQUFBQUFBQUFBQUFBQUFBQUFBQUFBQUFBQUFBQUFBQUFBQUFBQUFBQUFBQUFBQUFBQUFBQUFBQUFBQUFBQUFBQUFBQUFBQUFBQUFBQUFBQUFBQUFBQUFBQUFBQUFBQUFBQUFBQUFBQUFBQUFBQUFBQUFBQUFBQUFBQUFBQUFBQUFBQUFBQUFBQUFBQUFBQUFBQUFBQUFBQUFBQUFBQUFBQUFBQUFBQUFBQUFBQUFBQUFCT1hUQ1liNit2clB4Y1JVVmxaK1NzUk1lc1UwMlpGUlA0cnJQOUxFVkZ3N2lvOFA4bGxhcEREMUNBSEFBQjQ3ZVRsdW9DWkxpOHZyM2JldkhtZmlvaW9yS3k4K3BKTExubSt2THo4eXZGemxpNWQrcDNHeHNZdm5HcjlDeSs4Y0VORXpINE5TcDJJMnBLU2tpVVJVWmpyUXM2VVhLWUdPVXdOY2dBQWdOZU9JNWpuMk1qSXlFQkVKQ0tpb0wyOS9hNkJnWUdmNXVYbEpjZVdsNWFXWGxwV1ZyYTZ0YlgxdHlJaUZpMWE5TjNLeXNwZkhyK041dWJtN1JHUkhYdS9lZlBtMmxkUlNtRjlmZjJucTZ1cmJ5a3NMSnlYeVdSYTkrL2YvN251N3U1SHhrK3FxYW41emJsejUzNml1TGg0eWREUTBKN096czQvUFh6NDhIZE90Y0hTMHRLVlRVMU5EeWFUeVVzaUlrWkhSM3YzNzkvL2h3Y1BIdnlMVjFIZmEycXE1RkpXVnZiRytmUG4zMXRlWHY2V2lFajA5L2YvcUsydDdhT1pUR2JIK0hrek5aZXBra05MUzB2MlZPT2pvNk5ITjIzYWRLTEJJSWR6L3Y5VVJFUlpmWDM5cDZxcXFtNHNLaXBxSEIwZDdkbTdkKytIZW5wNi9uWnN3a3pOQVFDQTg0Tkd6Q1FvS2lwYWNmSEZGMjg5M1p5V2xwYmg4ZStQSGozNjk2MnRyZTlxYUdqNGNudDcrMTBSY2JpbXB1WTNkKy9lL1pHSTZCNjNYbmJ6NXMzTEk2THJWTnV0cTZ1NzQ5Q2hRdzlGUk0vcFBuL1Jva1gzejVvMWErM2V2WHR2UzZWU1A2dXRyYjErOGVMRjM0MklWSGQzOStNUkVkWFYxVGMwTlRYOXozMzc5djFCS3BYNlFXVmw1VTFOVFUwUERnOFBIK3J0N2YzK3lkc3NLU201b0t1cjYxdUhEaDM2NjRnWVhiQmd3ZDJOalkxZlQ2VlM2MU9wMUtiVDFmTmFtQWE1MUN4YnR1eWZCd1lHTm03ZnZ2MmEvUHo4b2dVTEZ2ejVzbVhMbnR5eVpjdXlpQmlObVA2NVRJTWNZc3VXTFJlY1BMWjA2ZEx2OWZYMXJSdDdMNGR6bjBORUpKY3ZYLzdEL1B6OHNuMzc5djMrd01EQTltUXkyVEE4UEh4a2JNSjB6d0VBQUpnRVJVVkZLNDRmVWE4OSthKzR1UGlDbHBhV2JGRlIwWXFUbGxWVVYxZS9mOW15WmY4bklxS3lzdkx0emMzTkJ5Tmlkbk56YzlmWVgwdExTN2E1dWZudzJQdXFxcW9ieDMvMjRzV0xIMmx1Ymo0OGQrN2NPeU9pNkZUMWxaU1VMR2xwYWNuVzFOVGNNbjU4MGFKRmY3MTgrZktueDk1ZmRORkYyNXFhbWw1eVZIbkZpaFUvdWVDQ0MvN3ZHZTZLMHBhV2xteDFkZlg3em5EK09UWFZjNm1vcUhoblMwdEx0cXlzN0Exalk5WFYxZTlyYVduSkpwUEpCV05qMHoyWHFaN0RxWlNWbFRVZno2WjViRXdPNXo2SGhvYUdQNzNra2t2YUk2THFsZVpNOXh3QUFNQVpNWlByWlVlRE01bE1YMFJFWGw3ZVVFUjBsWlNVTEVrbWs1ZDFkM2MvUEdmT25EdEtTa3FXTmpjM0g4N1B6NjlzYTJ1N1BTSjZ4cC9TLzR1T05ML3d3Z3MzbHBXVi9aY0ZDeFo4b2E2dTdvNTkrL1o5OHZqbFJpY3VFVWdta3hkRlJQVDE5VDA5ZnQyK3ZyNS9xcTZ1L2g4dlRrbldGUmNYTDI5dmIvL1UrRG05dmIzZnI2dXJ1eXRldkovUXNkTjkrZkx5OGlVUkVVTkRRNjJubTVjRFV6S1hUQ2F6TXlLeVpXVmxxOGVPekZkVVZLd2VIaDd1U0tmVCt5TWlrc25rd2htVXk1VE00VlNxcTZzLzFOL2YvLzlTcWRUbUNEbThSam5rMTlUVWZLaXpzL01MTWU1c20vRm1XQTRBQUp5bk5HSW0wY24zbWRpK2Zmc2JVNm5VcG1QSGpxWHk4dkpxSW1KWGRYWDFCMHRLU3BaMWQzYy92R2ZQbnJYcGRMcS92cjcrZDh2THkzKzVxNnZyVzgzTnpTLzVJVE15TW5LNHVibDUyL2l4cnE2dSt6czZPajR4OWo2VlNqMjFiZHUyTjFkWFYxOWZYMS8vSjNQbnp2MVllM3Y3eC92NysvLzUrRGE2STE0OE0yWm9hT2pFdGdvS0NtWkhSRjR5bWF6THk4dTdJQ0ppZUhqNEpUOU9NcG5NQy9uNStTVVJNU2NpT2svejljc2JHaHIrc3ErdmIxMS9mLytQejJLM25YTlROWmVob2FGdCsvYnQrLzM2K3ZvdkZ4WVdMaWtxS2xwWVhsNytuM2Z2M24xZFJJeEVSTXlrWEtacURxZFFWbDFkZlZOYlc5dnZqUTNJNGR6blVGWldkbEZCUVVITjBORFFyaVZMbHZ4dGVYbjVsZGxzTnQzVDAvTllXMXZiSDBiRTRFektBUUNBODVkR3pPVElHeDBkSGR5MGFkT0p5MGxXcmx6WmVmd0dtREU4UE54WlZGUTBmMkJnb0xTMnR2YTNkKzNhZFgxRVJEcWRiaXN1TGw1V1YxZjNlMXUzYmwwZEVka0ozT0F5ZStUSWtiL0pack5GVFUxTmY3bGd3WUt2YmQyNjlRMFJMNTRKazhsa2RqWTBOSHh4Y0hCdzE5RFEwTGFLaW9yTDU4eVpjMWRFUkNLUkdDa3NMS3lJaUJnZEhVMjlaS1BaN0VCRVJFbEpTY25nNE9BcmZYYng4dVhML3ltUlNCVHYyTEZqVGZ5Q3N3MWVRMU02bDRpSUF3Y08vRlZGUmNYYXVycTYyL0x5OG9xN3U3c2ZHeDBkUGJHalowZ3VVejZIOFdwcmEzL2orUHhIeDhia2NPNXp5TS9QYjR5SW1EZHYzaWNQSERqd3BRTUhEdHlkVENaWE5UWTJmaldSU0ZUdDNidjMxaG1TQXdBQTV6bU5tRWxRVUZDUXpHYXp2ZkVmcCtVWEpoS0ovTHk4dklHSWlFd20wMXBjWEx4azNyeDVkMlF5bWRaeFIrSUxtcHFhSHVqczdMeDNhR2hvUzBTVVJjUkFTMHZMc1dQSGpxVk8vcHk4dkx5eVo1NTVwaXBlZnNQTDR0cmEybHZuenAzNzhkSFIwZjdkdTNmZjFOUFQ4M2ZqbGcvdjNMbnpIWXNYTC83dXhSZGZ2RFdielk1bU1wbWZIejU4K0tHNWMrZCtiR0Jnb0t1Z29HRG8rSGNwem1ReUoxWk1KQklsRVJHRGc0UDlyL1Q5NTh5WjgvN2k0dUxYYmQ2OCtjSlQxSll6MHlDWC9CVXJWanlaU0NRU3p6MzMzSktJaU1iR3hqdVhMMS8rZEVkSHgxMEhEaHo0NnJGang2WjlMdE1naDVlb3JhMzkwSkVqUi80cUlnYkd4dVJ3N25QSXk4c3JpSWpvN096OGs3SHhWQ3IxczZLaW9zYTVjK2YrMGQ2OWUyK2ZDVGtBQUlCR3pDUW9LQ2lvR3g0ZUhuODZmRVZFUkRxZDdvdUlHQndjM0Z4UlViR21yS3pzc3RiVzFtdkhKdFhYMTMvbStHT0xZODZjT2JmbjVlV1ZiZHEwcVNvaTRybm5ubXVNaU9IR3hzWS9hMjl2LzkySVV6OWl0NjZ1N281NTgrYjkwY2pJU09lK2ZmcyszdFBUODcwNHhaSGVUQ2J6ODIzYnRyMHBJdVlsazhtQ2REcmQzdERRY0Y4Nm5kNFVFVU9qbzZOdEVSRjVlWGxORWZHenNmVUtDd3NYalk2TzlzUXIzUHNoSXFLb3FHajV3TURBVDA4M0p4ZW1laTRWRlJWdktTMHRYYmw5Ky9acjR2amxGTzN0N2Y4dG04Mk8xdGZYZi9IQWdRUGZuZ201VFBVY3hpc3RMWDFUYVducHBXMXRiYjgxZmx3TzV6NkhUQ2JUR1JFeE1EQ3dmZng0T3AzZW1rZ2s4cFBKWlBWTXlBRUFBRFJpSmtGSlNjbVNUQ1p6NHA0RnhjWEZOZkhpRFNQN0lpSjZlM3QvT0dmT25EL282ZW41bS83Ky9oOUdSR2xaV2RrRnFWVHFYOXJiMno4K09EaTRaV2hvYU52ZzRPRGVHUGZqcEtTa1pHNTFkZlZOWXo5d1RxVzh2UHp5dHJhMjMrbnA2Zm43TXl5M001MU9SMFRVMXRUVS9HWm5aK2ZkRVJHcFZPcmZSMFpHRGxWVlZiMmpyNi92ZjQ5Tm5qMTc5cHErdnI0blRyZkI5dmIydXlNaS93dy8velV6MVhOSkpCSVZFUkhIamgwYkdEK2V5V1QySkJLSndvZ29tUW01VFBVY3hxdXJxL3VkOFRmcEhTT0hjNTlET3AzZU5EbzYyak5yMXF5M0hqcDA2Ti9IeHBQSjVCdEdSMGQ3MCtsMFowUjBUUGNjQUFCQUkyWVNKSlBKLzVST3A1K0pGeC8zZW5UV3JGbHZ5MlF5SjM2c1ZGUlVYQjRSMGRYVjllMklpS0tpb2tWTGxpeDU0bWMvKzluOGlIaHkzS1lTTWU2SFFqS1pmRXMybTAwbms4bUdkRHE5N3hRZlhkRFoyZm14NDNNYlQxNllUcWU3SW1Jd0lxSzZ1dnI2b2FHaEEwTkRRNGVTeWVUckd4b2E3a21uMDg4ZlBIandtOGVuajNaMmR0N2IwTkR3K1lHQmdVMkRnNFAvTW52MjdKdExTa3FhMjl2YmYvdDAzMy9CZ2dWM0Z4WVd6dHUxYTlkN3oyaUh2VWFtZWk2OXZiMC9IaDRlUHJCNDhlTDdPem82L21oa1pLUzF1TGg0NWZ6NTh6L2IyOXY3L1lnNEdCRXgzWE9aNmptTUc1cFZWVlYxNDk2OWV6OXlpbTFOKzM4ZjB5Q0h6SUVEQno1ZlgxLy9aOGVPSGV2dDYrdjd0MW16WnIxMTd0eTVkM1owZE53ZEVjTVIwLy9mQXdBQWFNUk1YSDVsWmVXYW5UdDMvdHFTSlV2K2N2YnMyZGRtczluUjQ0OTRUVFEyTm42aHRyYjJ0cDZlbnNmcjZ1cHU3KzN0L1g1SlNVblQwTkRROXFLaW9oVVZGUlZ2TGkwdGZXTnBhV2xMU1VuSnlwMDdkMTdaMWRYMXpXUXlXVmxmWDM5M0twWGFjTUVGRnp4NzhPREIrdzRlUFBpbEdQZkRzYWlvYU5tRkYxNjQ5WlVLMjdGang5cXhvOGJGeGNYTmpZMk5IODdQejY4Y0docmEyOTNkL2QyT2pvNHZSTVRvMlB5REJ3L2VsMGdraXViUG4vK3Bnb0tDMm9HQmdVMnRyYTIvM04vZi8venBka0JoWVdGVFVWSFJndFBOeVlIcGtFdmZ6My8rOHlzYkdocSsxTlRVOUZCZVhsNXlhR2hvNytIRGh4L282T2k0WjJ6K05NOWxPdVFRRVJGMWRYVTNaN1BaNGZFMzZSMVBEdWMraDg3T3pudXoyZXp3L1Buei8zamh3b1dOUTBORHU5dmIyMy8vMEtGRFh4K2JQODF6QUFDQVNPUzZnT211cXFycXB2cjYrazl2MmJKbGVVU1VKWlBKcW5RNjNSOFJpYVZMbHo1VVZsYjI1aDA3ZHJ3em5VNXZ1L2ppaTUvcjZ1cjZabUZoNGNKNDhiNHNmZVhsNVplblVxa05xVlRxM3pLWnpNWjBPdDAvWjg2Yzk4NmRPL2VUUjQ4ZWZYenYzcjIvVTF4Y3ZLeXBxZW5iQlFVRmRXMXRiUi9zNit2N2x4eC83U2xQTGxPREhLWUdPUUFBQURQR2dnVUx2bHBWVmZWZlR4NHZLU2xac21qUm91K1dscGJXanh0Yi9Mclh2ZTdIbDF4eVNVZFpXVm56eWV0VVZsYStmZVhLbFNNclZxejR5ZXpaczMvdHBNVjVjK2JNK1lNM3ZPRU42ZExTMGplZGc2OHlvOGhsYXBERDFDQUhBQUJnSmltY3hHM2xGUmNYTHp2ZGhHUXkyVENKbnplVHlXVnFrTVBVSUFj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R2E2L3c5T2tETjJlUHkxaGdBQUFBQkpSVTVFcmtKZ2dnPT0iLAogICAiVHlwZSIgOiAiZmxvdyIsCiAgICJWZXJzaW9uIiA6ICI0OSIKfQo="/>
    </extobj>
    <extobj name="ECB019B1-382A-4266-B25C-5B523AA43C14-36">
      <extobjdata type="ECB019B1-382A-4266-B25C-5B523AA43C14" data="ewogICAiRmlsZUlkIiA6ICI4NDQwNDQ3NDA0MyIsCiAgICJHcm91cElkIiA6ICI0OTg2Mjc1MzQiLAogICAiSW1hZ2UiIDogImlWQk9SdzBLR2dvQUFBQU5TVWhFVWdBQUJHSUFBQUw2Q0FZQUFBQjkxdkNM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2R4L2lWYm5nQWZ4N2ZMdWxqalk2TjRvMlgxSlFLaVNUY20yU0xBcTYxclM5YWQ3TGpZd3d5TEpkdVNBdFVWSDlFYjFaQzN0WElnTkxkclgxajlzbXNWRVVRekVOUnFNZ1JVbGFtcUdWT2FZMTVxUjI5cCtyYTJVMTQyL2lPUHI1d0EvT25HZk9NOS9mTS85OU9lYzhlV2oxNnRWUEp5a3J6Z0lBQUFBOVNoRlRnN0ZqeC81dXlKQWhpNVA4T1VuR2pSdVhHVE5tWk96WXNSa3hZa1NHRGgxYWNjS2ozODZkTy9QSko1OWsvZnIxV2JGaVJkYXRXM2RnYU9tdVhidm1yRisvdnJQS2ZBQUFBTkNURkRGSGFOS2tTUVBMc253NXlkVGh3NGZudnZ2dXl3VVhYSkNpc0tSSHFpekx2UFhXVzduLy92dXpmZnYySkhtektJckwyOXJhZGxlZERRQUFBSHBDbjZvRDlGYmZmLy85dnlXWk9tYk1tRHozM0hOcGJHeFV3dFNvS0lvME5qYm0yV2VmelpneFk1SmthbG1XVDFhZEN3QUFBSHFLNXVBSVRKbzA2VTlsV2Y1blEwTkRsaTlmbnZyNitxb2pIWE4yN05pUkcyNjRJZHUzYjA5WmxuOWFzMmJOc3FvekFRQUFRSzNjRWROTmpZMk5kV1ZaL250UkZIbmdnUWVVTUwrUit2cjZQUGpnZzBtU29paisydGpZV0ZkeEpBQUFBS2laSXFhYjl1elpjM3VTK3FhbXBreWVQTG5xT01lMHlaTW5wNm1wS1VucWQrL2VQYmZxUEFBQUFGQXJSVXczVEpnd1lWQlpsbjhwaWlLelo4K3VPczV4WWZiczJTbUtJa1ZSL0dYQ2hBbURxczREQUFBQXRWREVkRU8vZnYydVR0SXdiZHEwakJ3NXN1bzR4NFZSbzBabDJyUnBTZkw3L3YzNy8xUEZjUUFBQUtBbWlwanV1U1pKTHIvODhxcHpIRmNPV2U5cnFzd0JBQUFBdFZMRWROR1VLVk5PVFBLSGZ2MzZaY3FVS1ZYSFNaSTg4Y1FUMmJScDAwL09iOXUyTFFzV0xPanlQTjk4ODAwV0wxN2NrOUY2MUpRcFU5SzNiOStVWmZtSHYvOGZBQUFBb0ZkU3hIVFJkOTk5OTQ5SkJrNmNPREdEQmxYL3FwSjE2OWJsK2VlZlAyeVdqbzZPdlBiYWExMmVhOWV1WFZtMGFGRlB4dXRSZ3dZTnlzU0pFNU5rME42OWU3MGhHUUFBZ0Y2clg5VUJlcEVKU1RKKy9QaXFjeVJKbGkxYmx1blRwNmVob1NIZmYvOTk5dXpaYzNEc3dQSHUzYnQvY00zVXFWTi9jYzVKa3lZZDl2elNwVXR6NXBsbjFwaTROdVBIajg4Nzc3eVRzaXduSkdtdU5Bd0FBQUFjSVVWTUYvMjlBTWdaWjV4UmRaUjg4Y1VYZWVXVlY3SnMyYkswdDdlbnJhMHRkOTExMTA5Kzc4ZkZTMnRyNjJIbjI3cDFhNjY5OXRxZkhlL2Z2My90b1d0MHlMcFBxRElIQUFBQTFFSVIwM1ZuSmNubzBhT3J6cEZubm5rbUYxOThjVWFPSEpuNTgrZm43TFBQVGx0YjI4SHhqUnMzNXJycnJ2dkJ1Vjl5b0dnWk1HREFiNUszSnh3b1lzcXlQS3ZpS0FBQUFIREVGREZkMTVBa3c0WU5xelRFaHg5K21KVXJWMmI1OHVYWnNHRkRQdmpnZ3p6NDRJTmR2djd6enovUDlPblREenQydUVlVHVscm0vTmJxNitzUEhEWlVtUU1BQUFCcW9ZanB1cUZKS245Ujc2Wk5tOUxaMlpsWnMyYWxzN016ano3NmFBWVBIbnpZRXVYUWN3OC8vSEF1dmZUU2d6OGZXckJzMmJJbFRVMU5oejEzdERoazNZZFdtUU1BQUFCcW9ZanB1aUZKTW5EZ3dFcERYSHJwcFdscmE4dktsU3ZUMnRxYVN5NjVKRW5TM056OGk5ZWRlR0x2M3ZWWkVRTUFBTUN4UUJIVEM3Mzc3cnRadkhoeGxpNWRtbjM3OXVXYmI3N0pTU2VkMUswNWZ1ME9HZ0FBQUtEbktXSzZibGVTaHQyN2QxZjZVdHV2dnZvcTgrYk5TMTFkWFc2KytlWnMzcnc1czJmUFRsTlRVNjYrK3VxZnZlNkZGMTdJNmFlZm5xSW9NbURBZ0lNN0pMMy8vdnU1ODg0NzA5N2VubkhqeHVXcHA1NUtYVjNkd1oyVWpoWWRIUjBIRG5kV21RTUFBQUJxb1lqcHVwMUpHam82T3JwOTkwbFBxcXVyeTFWWFhaVlJvMFpsOU9qUkdURmlSSVlORzViTm16Y25TZDUrKysyZlhIUCsrZWNmUEQ3NTVKTVBsakROemMyNTU1NTdjdUdGRithVlYxN0o4T0hEYzhjZGQrVEpKNS9NcWFlZStyUGJXVmRCRVFNQUFNQ3hvRS9WQVhxUkw1T2t2YjI5MGhCOSsvYk4vUG56YzgwMTErU2NjODVKa3J6MzNucy9HUC94NThjNk96dXpjT0hDTEZpd0lMZmVlbXZtelp1WEpIbjg4Y2RUWDErZkcyKzg4UWR6SGcxMjdOaHg0UERMS25NQUFBQkFMUlF4WGZkZWtuejg4Y2VWaHZqMDAwK3pmUG55M0h2dnZibjIybXR6eFJWWDVLV1hYdXJ5OVMwdExaazVjMlplZSsyMUxGcTBLRGZlZU9QQnNRRURCbVRod29XWlBuMTZicm5sbGp6MjJHT0hGaUNWK3Vpamo1SWtSVkVjWFEwUkFBQUFkSU5Iazdxb0tJcTFaVmtlTEFTcTh2SEhIK2VOTjk3SWVlZWRsK3V2dno3ang0L1BnQUVERGo2YTlITXYzTjIvZjMvbXpwMmJ0cmEyekp3NU03ZmRkdHRoZDREcTA2ZFA1czZkbTRzdXVpaVBQUEpJcnJ6eXlpeGJ0aXdqUm96NFRiL1hyemxrM2RkV21RTUFBQUJxb1lqcHVyVko4c0VISDFRYVl1clVxWms2ZGVwUHp2ZnAweWVEQncvT3E2KysrcE94eXk2N0xQMzc5OCtjT1hOeTk5MTM1N1RUVHZ2VnYzUFdXV2ZsMldlZnpmdnZ2MTk1Q1pQOC83b1hSYUdJQVFBQW9OY3FxZzdRVzB5Wk11WEV6czdPYmYzNjlSdjArdXV2WjlDZ1FWVkhPbTUwZEhUazRvc3Z6djc5K3p1R0RCblMwTnpjdktmcVRBQUFBSEFrdkNPbWkxcGJXNzlOOHZLK2ZmdU9xdDJFamdldHJhM1p2MzkvaXFMNFh5VU1BQUFBdlpraXBuditsaVF2di94eTFUbU9LNGVzOTkrcXpBRUFBQUMxVXNSMHc3NTkrMTVJOG1WemMzTTJiZHBVZFp6andzYU5HOVBjM0p3azIvYnUzZnMvRmNjQkFBQ0FtaWhpdW1IdDJyVWRSVkU4WHBabGxpeFpVbldjNDhLU0pVdFNsbVhLc254ODdkcTFIVlhuQVFBQWdGb29ZcnJwaEJOTytHdVNIUysrK0dKV3JWcFZkWnhqMnFwVnE3Snk1Y29rMlRGdzRNRC9xRG9QQUFBQTFNcXVTVWRnNHNTSmZ5eUs0citHRHgrZTU1OS9QdlgxOVZWSE91YTB0N2RuMXF4WjJiNTllOHF5L09PYU5XdVdWNTBKQUFBQWF0VzM2Z0M5MFdlZmZmYnVLYWVjOGcvZmZ2dnR1UzB0TGJud3dndFRWMWRYZGF4anh0YXRXM1A3N2Jkbnk1WXRTZkwwbWpWckhxbzZFd0FBQVBRRWp5WWRvVDU5K3Z4emtqYzNiTmlRbTI2NktTMHRMU25Mc3VwWXZWcFpsbWxwYWNsTk45MlVqejc2S0VuZUxJcmlYNnJPQlFBQUFEM0ZvMGsxR0R0MjdPK0dEQm15T01tZmsyVGN1SEdaTVdOR3hvd1prNUVqUjJibzBLRVZKeno2N2R5NU01czJiY3FHRFJ1eVlzV0tyRnUzN3NEUTBsMjdkczFadjM1OVo1WDVBQUFBb0NjcFltcFhuSHZ1dVhPUy9HdVNVUlZuT1Jac1RQTFE2dFdybjA3aUZpTUFBQUNPS1lxWUhqSnQyclIrWDMvOTljeXlMR2NrbVpUazkwbE9xRGhXYjdBbnliWWtiVVZScktpcnEvdnY1dWJtZlZXSEFn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JSellJQUFBQUJlU1VSQlZBQUFBQUFBQUFBQUFBQUFBQUFBQUFBQUFBQUFBQUFBQUFBQUFBQUFBQUFBQUFBQUFBQUFBQUFBQUFBQUFBQUFBQUFBQUFBQUFBQUFBQUFBQUFBQUFBQUFBQUFBQUFBQUFBQUFBQUFBQUFBQUFBQUFBQUFBZ0o3eWZ5cHNNQi9KdlJhekFBQUFBRWxGVGtTdVFtQ0MiLAogICAiVHlwZSIgOiAiZmxvdyIsCiAgICJWZXJzaW9uIiA6ICI0NCIKfQo="/>
    </extobj>
    <extobj name="ECB019B1-382A-4266-B25C-5B523AA43C14-37">
      <extobjdata type="ECB019B1-382A-4266-B25C-5B523AA43C14" data="ewogICAiRmlsZUlkIiA6ICI4NDQwNDQ3NDA0MyIsCiAgICJHcm91cElkIiA6ICI0OTg2Mjc1MzQiLAogICAiSW1hZ2UiIDogImlWQk9SdzBLR2dvQUFBQU5TVWhFVWdBQUJHSUFBQUw2Q0FZQUFBQjkxdkNM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2R4L2lWYm5nQWZ4N2ZMdWxqalk2TjRvMlgxSlFLaVNUY20yU0xBcTYxclM5YWQ3TGpZd3d5TEpkdVNBdFVWSDlFYjFaQzN0WElnTkxkclgxajlzbXNWRVVRekVOUnFNZ1JVbGFtcUdWT2FZMTVxUjI5cCtyYTJVMTQyL2lPUHI1d0EvT25HZk9NOS9mTS85OU9lYzhlV2oxNnRWUEp5a3J6Z0lBQUFBOVNoRlRnN0ZqeC81dXlKQWhpNVA4T1VuR2pSdVhHVE5tWk96WXNSa3hZa1NHRGgxYWNjS2ozODZkTy9QSko1OWsvZnIxV2JGaVJkYXRXM2RnYU9tdVhidm1yRisvdnJQS2ZBQUFBTkNURkRGSGFOS2tTUVBMc253NXlkVGh3NGZudnZ2dXl3VVhYSkNpc0tSSHFpekx2UFhXVzduLy92dXpmZnYySkhtektJckwyOXJhZGxlZERRQUFBSHBDbjZvRDlGYmZmLy85dnlXWk9tYk1tRHozM0hOcGJHeFV3dFNvS0lvME5qYm0yV2VmelpneFk1SmthbG1XVDFhZEN3QUFBSHFLNXVBSVRKbzA2VTlsV2Y1blEwTkRsaTlmbnZyNitxb2pIWE4yN05pUkcyNjRJZHUzYjA5WmxuOWFzMmJOc3FvekFRQUFRSzNjRWROTmpZMk5kV1ZaL250UkZIbmdnUWVVTUwrUit2cjZQUGpnZzBtU29paisydGpZV0ZkeEpBQUFBS2laSXFhYjl1elpjM3VTK3FhbXBreWVQTG5xT01lMHlaTW5wNm1wS1VucWQrL2VQYmZxUEFBQUFGQXJSVXczVEpnd1lWQlpsbjhwaWlLelo4K3VPczV4WWZiczJTbUtJa1ZSL0dYQ2hBbURxczREQUFBQXRWREVkRU8vZnYydVR0SXdiZHEwakJ3NXN1bzR4NFZSbzBabDJyUnBTZkw3L3YzNy8xUEZjUUFBQUtBbWlwanV1U1pKTHIvODhxcHpIRmNPV2U5cnFzd0JBQUFBdFZMRWROR1VLVk5PVFBLSGZ2MzZaY3FVS1ZYSFNaSTg4Y1FUMmJScDAwL09iOXUyTFFzV0xPanlQTjk4ODAwV0wxN2NrOUY2MUpRcFU5SzNiOStVWmZtSHYvOGZBQUFBb0ZkU3hIVFJkOTk5OTQ5SkJrNmNPREdEQmxYL3FwSjE2OWJsK2VlZlAyeVdqbzZPdlBiYWExMmVhOWV1WFZtMGFGRlB4dXRSZ3dZTnlzU0pFNU5rME42OWU3MGhHUUFBZ0Y2clg5VUJlcEVKU1RKKy9QaXFjeVJKbGkxYmx1blRwNmVob1NIZmYvOTk5dXpaYzNEc3dQSHUzYnQvY00zVXFWTi9jYzVKa3lZZDl2elNwVXR6NXBsbjFwaTROdVBIajg4Nzc3eVRzaXduSkdtdU5Bd0FBQUFjSVVWTUYvMjlBTWdaWjV4UmRaUjg4Y1VYZWVXVlY3SnMyYkswdDdlbnJhMHRkOTExMTA5Kzc4ZkZTMnRyNjJIbjI3cDFhNjY5OXRxZkhlL2Z2My90b1d0MHlMcFBxRElIQUFBQTFFSVIwM1ZuSmNubzBhT3J6cEZubm5rbUYxOThjVWFPSEpuNTgrZm43TFBQVGx0YjI4SHhqUnMzNXJycnJ2dkJ1Vjl5b0dnWk1HREFiNUszSnh3b1lzcXlQS3ZpS0FBQUFIREVGREZkMTVBa3c0WU5xelRFaHg5K21KVXJWMmI1OHVYWnNHRkRQdmpnZ3p6NDRJTmR2djd6enovUDlPblREenQydUVlVHVscm0vTmJxNitzUEhEWlVtUU1BQUFCcW9ZanB1cUZKS245Ujc2Wk5tOUxaMlpsWnMyYWxzN016ano3NmFBWVBIbnpZRXVYUWN3OC8vSEF1dmZUU2d6OGZXckJzMmJJbFRVMU5oejEzdERoazNZZFdtUU1BQUFCcW9ZanB1aUZKTW5EZ3dFcERYSHJwcFdscmE4dktsU3ZUMnRxYVN5NjVKRW5TM056OGk5ZWRlR0x2M3ZWWkVRTUFBTUN4UUJIVEM3Mzc3cnRadkhoeGxpNWRtbjM3OXVXYmI3N0pTU2VkMUswNWZ1ME9HZ0FBQUtEbktXSzZibGVTaHQyN2QxZjZVdHV2dnZvcTgrYk5TMTFkWFc2KytlWnMzcnc1czJmUFRsTlRVNjYrK3VxZnZlNkZGMTdJNmFlZm5xSW9NbURBZ0lNN0pMMy8vdnU1ODg0NzA5N2VubkhqeHVXcHA1NUtYVjNkd1oyVWpoWWRIUjBIRG5kV21RTUFBQUJxb1lqcHVwMUpHam82T3JwOTkwbFBxcXVyeTFWWFhaVlJvMFpsOU9qUkdURmlSSVlORzViTm16Y25TZDUrKysyZlhIUCsrZWNmUEQ3NTVKTVBsakROemMyNTU1NTdjdUdGRithVlYxN0o4T0hEYzhjZGQrVEpKNS9NcWFlZStyUGJXVmRCRVFNQUFNQ3hvRS9WQVhxUkw1T2t2YjI5MGhCOSsvYk4vUG56YzgwMTErU2NjODVKa3J6MzNucy9HUC94NThjNk96dXpjT0hDTEZpd0lMZmVlbXZtelp1WEpIbjg4Y2RUWDErZkcyKzg4UWR6SGcxMjdOaHg0UERMS25NQUFBQkFMUlF4WGZkZWtuejg4Y2VWaHZqMDAwK3pmUG55M0h2dnZibjIybXR6eFJWWDVLV1hYdXJ5OVMwdExaazVjMlplZSsyMUxGcTBLRGZlZU9QQnNRRURCbVRod29XWlBuMTZicm5sbGp6MjJHT0hGaUNWK3Vpamo1SWtSVkVjWFEwUkFBQUFkSU5Iazdxb0tJcTFaVmtlTEFTcTh2SEhIK2VOTjk3SWVlZWRsK3V2dno3ang0L1BnQUVERGo2YTlITXYzTjIvZjMvbXpwMmJ0cmEyekp3NU03ZmRkdHRoZDREcTA2ZFA1czZkbTRzdXVpaVBQUEpJcnJ6eXlpeGJ0aXdqUm96NFRiL1hyemxrM2RkV21RTUFBQUJxb1lqcHVyVko4c0VISDFRYVl1clVxWms2ZGVwUHp2ZnAweWVEQncvT3E2KysrcE94eXk2N0xQMzc5OCtjT1hOeTk5MTM1N1RUVHZ2VnYzUFdXV2ZsMldlZnpmdnZ2MTk1Q1pQOC83b1hSYUdJQVFBQW9OY3FxZzdRVzB5Wk11WEV6czdPYmYzNjlSdjArdXV2WjlDZ1FWVkhPbTUwZEhUazRvc3Z6djc5K3p1R0RCblMwTnpjdktmcVRBQUFBSEFrdkNPbWkxcGJXNzlOOHZLK2ZmdU9xdDJFamdldHJhM1p2MzkvaXFMNFh5VU1BQUFBdlpraXBuditsaVF2di94eTFUbU9LNGVzOTkrcXpBRUFBQUMxVXNSMHc3NTkrMTVJOG1WemMzTTJiZHBVZFp6andzYU5HOVBjM0p3azIvYnUzZnMvRmNjQkFBQ0FtaWhpdW1IdDJyVWRSVkU4WHBabGxpeFpVbldjNDhLU0pVdFNsbVhLc254ODdkcTFIVlhuQVFBQWdGb29ZcnJwaEJOTytHdVNIUysrK0dKV3JWcFZkWnhqMnFwVnE3Snk1Y29rMlRGdzRNRC9xRG9QQUFBQTFNcXVTVWRnNHNTSmZ5eUs0citHRHgrZTU1OS9QdlgxOVZWSE91YTB0N2RuMXF4WjJiNTllOHF5L09PYU5XdVdWNTBKQUFBQWF0VzM2Z0M5MFdlZmZmYnVLYWVjOGcvZmZ2dnR1UzB0TGJud3dndFRWMWRYZGF4anh0YXRXM1A3N2Jkbnk1WXRTZkwwbWpWckhxbzZFd0FBQVBRRWp5WWRvVDU5K3Z4emtqYzNiTmlRbTI2NktTMHRMU25Mc3VwWXZWcFpsbWxwYWNsTk45MlVqejc2S0VuZUxJcmlYNnJPQlFBQUFEM0ZvMGsxR0R0MjdPK0dEQm15T01tZmsyVGN1SEdaTVdOR3hvd1prNUVqUjJibzBLRVZKeno2N2R5NU01czJiY3FHRFJ1eVlzV0tyRnUzN3NEUTBsMjdkczFadjM1OVo1WDVBQUFBb0NjcFltcFhuSHZ1dVhPUy9HdVNVUlZuT1Jac1RQTFE2dFdybjA3aUZpTUFBQUNPS1lxWUhqSnQyclIrWDMvOTljeXlMR2NrbVpUazkwbE9xRGhXYjdBbnliWWtiVVZScktpcnEvdnY1dWJtZlZXSEFn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JSellJQUFBQUJlU1VSQlZBQUFBQUFBQUFBQUFBQUFBQUFBQUFBQUFBQUFBQUFBQUFBQUFBQUFBQUFBQUFBQUFBQUFBQUFBQUFBQUFBQUFBQUFBQUFBQUFBQUFBQUFBQUFBQUFBQUFBQUFBQUFBQUFBQUFBQUFBQUFBQUFBQUFBQUFBZ0o3eWZ5cHNNQi9KdlJhekFBQUFBRWxGVGtTdVFtQ0MiLAogICAiVHlwZSIgOiAiZmxvdyIsCiAgICJWZXJzaW9uIiA6ICI0NCIKfQo="/>
    </extobj>
    <extobj name="ECB019B1-382A-4266-B25C-5B523AA43C14-38">
      <extobjdata type="ECB019B1-382A-4266-B25C-5B523AA43C14" data="ewogICAiRmlsZUlkIiA6ICI4NDQwNDQ3NDA0MyIsCiAgICJHcm91cElkIiA6ICI0OTg2Mjc1MzQiLAogICAiSW1hZ2UiIDogImlWQk9SdzBLR2dvQUFBQU5TVWhFVWdBQUJHSUFBQUw2Q0FZQUFBQjkxdkNM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2R4L2lWYm5nQWZ4N2ZMdWxqalk2TjRvMlgxSlFLaVNUY20yU0xBcTYxclM5YWQ3TGpZd3d5TEpkdVNBdFVWSDlFYjFaQzN0WElnTkxkclgxajlzbXNWRVVRekVOUnFNZ1JVbGFtcUdWT2FZMTVxUjI5cCtyYTJVMTQyL2lPUHI1d0EvT25HZk9NOS9mTS85OU9lYzhlV2oxNnRWUEp5a3J6Z0lBQUFBOVNoRlRnN0ZqeC81dXlKQWhpNVA4T1VuR2pSdVhHVE5tWk96WXNSa3hZa1NHRGgxYWNjS2ozODZkTy9QSko1OWsvZnIxV2JGaVJkYXRXM2RnYU9tdVhidm1yRisvdnJQS2ZBQUFBTkNURkRGSGFOS2tTUVBMc253NXlkVGh3NGZudnZ2dXl3VVhYSkNpc0tSSHFpekx2UFhXVzduLy92dXpmZnYySkhtektJckwyOXJhZGxlZERRQUFBSHBDbjZvRDlGYmZmLy85dnlXWk9tYk1tRHozM0hOcGJHeFV3dFNvS0lvME5qYm0yV2VmelpneFk1SmthbG1XVDFhZEN3QUFBSHFLNXVBSVRKbzA2VTlsV2Y1blEwTkRsaTlmbnZyNitxb2pIWE4yN05pUkcyNjRJZHUzYjA5WmxuOWFzMmJOc3FvekFRQUFRSzNjRWROTmpZMk5kV1ZaL250UkZIbmdnUWVVTUwrUit2cjZQUGpnZzBtU29paisydGpZV0ZkeEpBQUFBS2laSXFhYjl1elpjM3VTK3FhbXBreWVQTG5xT01lMHlaTW5wNm1wS1VucWQrL2VQYmZxUEFBQUFGQXJSVXczVEpnd1lWQlpsbjhwaWlLelo4K3VPczV4WWZiczJTbUtJa1ZSL0dYQ2hBbURxczREQUFBQXRWREVkRU8vZnYydVR0SXdiZHEwakJ3NXN1bzR4NFZSbzBabDJyUnBTZkw3L3YzNy8xUEZjUUFBQUtBbWlwanV1U1pKTHIvODhxcHpIRmNPV2U5cnFzd0JBQUFBdFZMRWROR1VLVk5PVFBLSGZ2MzZaY3FVS1ZYSFNaSTg4Y1FUMmJScDAwL09iOXUyTFFzV0xPanlQTjk4ODAwV0wxN2NrOUY2MUpRcFU5SzNiOStVWmZtSHYvOGZBQUFBb0ZkU3hIVFJkOTk5OTQ5SkJrNmNPREdEQmxYL3FwSjE2OWJsK2VlZlAyeVdqbzZPdlBiYWExMmVhOWV1WFZtMGFGRlB4dXRSZ3dZTnlzU0pFNU5rME42OWU3MGhHUUFBZ0Y2clg5VUJlcEVKU1RKKy9QaXFjeVJKbGkxYmx1blRwNmVob1NIZmYvOTk5dXpaYzNEc3dQSHUzYnQvY00zVXFWTi9jYzVKa3lZZDl2elNwVXR6NXBsbjFwaTROdVBIajg4Nzc3eVRzaXduSkdtdU5Bd0FBQUFjSVVWTUYvMjlBTWdaWjV4UmRaUjg4Y1VYZWVXVlY3SnMyYkswdDdlbnJhMHRkOTExMTA5Kzc4ZkZTMnRyNjJIbjI3cDFhNjY5OXRxZkhlL2Z2My90b1d0MHlMcFBxRElIQUFBQTFFSVIwM1ZuSmNubzBhT3J6cEZubm5rbUYxOThjVWFPSEpuNTgrZm43TFBQVGx0YjI4SHhqUnMzNXJycnJ2dkJ1Vjl5b0dnWk1HREFiNUszSnh3b1lzcXlQS3ZpS0FBQUFIREVGREZkMTVBa3c0WU5xelRFaHg5K21KVXJWMmI1OHVYWnNHRkRQdmpnZ3p6NDRJTmR2djd6enovUDlPblREenQydUVlVHVscm0vTmJxNitzUEhEWlVtUU1BQUFCcW9ZanB1cUZKS245Ujc2Wk5tOUxaMlpsWnMyYWxzN016ano3NmFBWVBIbnpZRXVYUWN3OC8vSEF1dmZUU2d6OGZXckJzMmJJbFRVMU5oejEzdERoazNZZFdtUU1BQUFCcW9ZanB1aUZKTW5EZ3dFcERYSHJwcFdscmE4dktsU3ZUMnRxYVN5NjVKRW5TM056OGk5ZWRlR0x2M3ZWWkVRTUFBTUN4UUJIVEM3Mzc3cnRadkhoeGxpNWRtbjM3OXVXYmI3N0pTU2VkMUswNWZ1ME9HZ0FBQUtEbktXSzZibGVTaHQyN2QxZjZVdHV2dnZvcTgrYk5TMTFkWFc2KytlWnMzcnc1czJmUFRsTlRVNjYrK3VxZnZlNkZGMTdJNmFlZm5xSW9NbURBZ0lNN0pMMy8vdnU1ODg0NzA5N2VubkhqeHVXcHA1NUtYVjNkd1oyVWpoWWRIUjBIRG5kV21RTUFBQUJxb1lqcHVwMUpHam82T3JwOTkwbFBxcXVyeTFWWFhaVlJvMFpsOU9qUkdURmlSSVlORzViTm16Y25TZDUrKysyZlhIUCsrZWNmUEQ3NTVKTVBsakROemMyNTU1NTdjdUdGRithVlYxN0o4T0hEYzhjZGQrVEpKNS9NcWFlZStyUGJXVmRCRVFNQUFNQ3hvRS9WQVhxUkw1T2t2YjI5MGhCOSsvYk4vUG56YzgwMTErU2NjODVKa3J6MzNucy9HUC94NThjNk96dXpjT0hDTEZpd0lMZmVlbXZtelp1WEpIbjg4Y2RUWDErZkcyKzg4UWR6SGcxMjdOaHg0UERMS25NQUFBQkFMUlF4WGZkZWtuejg4Y2VWaHZqMDAwK3pmUG55M0h2dnZibjIybXR6eFJWWDVLV1hYdXJ5OVMwdExaazVjMlplZSsyMUxGcTBLRGZlZU9QQnNRRURCbVRod29XWlBuMTZicm5sbGp6MjJHT0hGaUNWK3Vpamo1SWtSVkVjWFEwUkFBQUFkSU5Iazdxb0tJcTFaVmtlTEFTcTh2SEhIK2VOTjk3SWVlZWRsK3V2dno3ang0L1BnQUVERGo2YTlITXYzTjIvZjMvbXpwMmJ0cmEyekp3NU03ZmRkdHRoZDREcTA2ZFA1czZkbTRzdXVpaVBQUEpJcnJ6eXlpeGJ0aXdqUm96NFRiL1hyemxrM2RkV21RTUFBQUJxb1lqcHVyVko4c0VISDFRYVl1clVxWms2ZGVwUHp2ZnAweWVEQncvT3E2KysrcE94eXk2N0xQMzc5OCtjT1hOeTk5MTM1N1RUVHZ2VnYzUFdXV2ZsMldlZnpmdnZ2MTk1Q1pQOC83b1hSYUdJQVFBQW9OY3FxZzdRVzB5Wk11WEV6czdPYmYzNjlSdjArdXV2WjlDZ1FWVkhPbTUwZEhUazRvc3Z6djc5K3p1R0RCblMwTnpjdktmcVRBQUFBSEFrdkNPbWkxcGJXNzlOOHZLK2ZmdU9xdDJFamdldHJhM1p2MzkvaXFMNFh5VU1BQUFBdlpraXBuditsaVF2di94eTFUbU9LNGVzOTkrcXpBRUFBQUMxVXNSMHc3NTkrMTVJOG1WemMzTTJiZHBVZFp6andzYU5HOVBjM0p3azIvYnUzZnMvRmNjQkFBQ0FtaWhpdW1IdDJyVWRSVkU4WHBabGxpeFpVbldjNDhLU0pVdFNsbVhLc254ODdkcTFIVlhuQVFBQWdGb29ZcnJwaEJOTytHdVNIUysrK0dKV3JWcFZkWnhqMnFwVnE3Snk1Y29rMlRGdzRNRC9xRG9QQUFBQTFNcXVTVWRnNHNTSmZ5eUs0citHRHgrZTU1OS9QdlgxOVZWSE91YTB0N2RuMXF4WjJiNTllOHF5L09PYU5XdVdWNTBKQUFBQWF0VzM2Z0M5MFdlZmZmYnVLYWVjOGcvZmZ2dnR1UzB0TGJud3dndFRWMWRYZGF4anh0YXRXM1A3N2Jkbnk1WXRTZkwwbWpWckhxbzZFd0FBQVBRRWp5WWRvVDU5K3Z4emtqYzNiTmlRbTI2NktTMHRMU25Mc3VwWXZWcFpsbWxwYWNsTk45MlVqejc2S0VuZUxJcmlYNnJPQlFBQUFEM0ZvMGsxR0R0MjdPK0dEQm15T01tZmsyVGN1SEdaTVdOR3hvd1prNUVqUjJibzBLRVZKeno2N2R5NU01czJiY3FHRFJ1eVlzV0tyRnUzN3NEUTBsMjdkczFadjM1OVo1WDVBQUFBb0NjcFltcFhuSHZ1dVhPUy9HdVNVUlZuT1Jac1RQTFE2dFdybjA3aUZpTUFBQUNPS1lxWUhqSnQyclIrWDMvOTljeXlMR2NrbVpUazkwbE9xRGhXYjdBbnliWWtiVVZScktpcnEvdnY1dWJtZlZXSEFn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JSellJQUFBQUJlU1VSQlZBQUFBQUFBQUFBQUFBQUFBQUFBQUFBQUFBQUFBQUFBQUFBQUFBQUFBQUFBQUFBQUFBQUFBQUFBQUFBQUFBQUFBQUFBQUFBQUFBQUFBQUFBQUFBQUFBQUFBQUFBQUFBQUFBQUFBQUFBQUFBQUFBQUFBQUFBZ0o3eWZ5cHNNQi9KdlJhekFBQUFBRWxGVGtTdVFtQ0MiLAogICAiVHlwZSIgOiAiZmxvdyIsCiAgICJWZXJzaW9uIiA6ICI0NCIKfQo="/>
    </extobj>
    <extobj name="ECB019B1-382A-4266-B25C-5B523AA43C14-39">
      <extobjdata type="ECB019B1-382A-4266-B25C-5B523AA43C14" data="ewogICAiRmlsZUlkIiA6ICI4NDQwNDQ3NDA0MyIsCiAgICJHcm91cElkIiA6ICI0OTg2Mjc1MzQiLAogICAiSW1hZ2UiIDogImlWQk9SdzBLR2dvQUFBQU5TVWhFVWdBQUJHSUFBQUw2Q0FZQUFBQjkxdkNMQUFBQUNYQklXWE1BQUFzVEFBQUxFd0VBbXB3WUFBQWdBRWxFUVZSNG5PemRlWHhVOWIzLzhmZVpoSkNGQkFKU2tGMFcyUlRJREtqQUxRWkVOaFhNeEhpMTlTb2k4TE11bGFwY2NRTzMxbXV2UE55WEc0RXF0b3JHaEZyWkJGU3NXeFdTa0FBQ3NnaUVMVUlnQkVJV2t2bisvZ2laSnBDRUFKazVrK1QxZkR6NmVNeWNPWFBtdy9SdE12bDh6K2VN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0FiQXNydUEraUEyTmpZNEx5L3ZQeTNMU3BEa01zYTBsdFRVN3JycWdTTExzZzVJU3BYMFlXUms1SWVyVnEwcXNic29BQUFBQUFEc1FpT21acGJUNlp3cWFZYWtMamJYMGhEc2tQUnNXbHJhVzVLTXpiVUFBQUFBQU9CM05HS3EwYjE3OTZaUlVWRnpKTjBpU1QxNzlsUkNRb0s2ZCsrdVRwMDZxWG56NWpaWEdQaU9IRG1pWGJ0MmFldldyVXBLU3RMbXpadkxIM28zTHk5dnl0YXRXNHZzckE4QUFBQUFBSCtqRVZNRmw4c1Zib3haSnVuWHJWcTEwcXhac3pSa3lCQlpGbS9YdVRMRzZOdHZ2OVdUVHo2cG5Kd2NTZnJLc3F3eHFhbXB4KzJ1RFFBQUFBQUFmM0hZWFVBZzhuZzhMMG42ZGJkdTNUUi8vbndOSFRxVUpzeDVzaXhMUTRjTzFUdnZ2S051M2JwSjBxK05NUy9hWFJjQUFBQUFBUDVFZCtFVUxwZnJOOGFZdjExd3dRVmFzR0NCb3FPajdTNnB3VGw4K0xEKzh6Ly9Vems1T1RMRy9DWTlQZjE5dTJzQ0FBQUFBTUFmT0NPbWdxRkRoMFlhWTE2MUxFdFBQZlVVVFJnZmlZNk8xdE5QUHkxSnNpenJ0YUZEaDBiYVhCSUFBQUFBQUg1Qkk2YUN3c0xDdXlWRlgzZmRkYnI4OHN2dExxZEJ1L3p5eTNYZGRkZEpVdlR4NDhmdnNyc2VBQUFBQUFEOGdVYk1TZjM2OVlzd3hqeGdXWlltVHB4b2R6bU53c1NKRTJWWmxpekxlcUJmdjM0UmR0Y0RBQUFBQUlDdjBZZzVLVGc0K0hwSkY4VEd4cXB6NTg1Mmw5TW9kT25TUmJHeHNaTFV1a21USmhOc0xnY0FBQUFBQUorakVmTnZjWkkwWnN3WXUrdG9WQ3E4MzNGMjFnRUFBQUFBZ0QvUWlKRTBlUERnTUVsamc0T0ROWGp3WUx2TGFWUUdEeDZzb0tBZ0dXUEdudnovQVFBQUFBQ0FCb3RHaktUaTR1SXJKSVhIeE1Rb0lxSitYNm9rTnpkWGVYbDVWVDYyZS9kdW5UaHh3czhWMVN3aUlrSXhNVEdTRkhIaXhBbXVrQXdBQUFBQWFOQ0M3UzRnUVBTVHBGNjlldGxhUkVsSmlYYnYzbjNXeit2U3BZdjM5bC8vK2xkbFpXWHB1ZWVlcTdUUDhlUEhOWEhpUlAyLy8vZi9sSkNRY0w2bDFxbGV2WHBwelpvMU1zYjBrN1RLN25vQUFBQUFBUEFWR2pGU2VRTkFYYnQydGJXT2ZmdjJLVDQrL3F5Zmw1cWE2cjI5ZS9mdVNvMlpjdSs4ODQ3YXRtM3JQZjdldlh2VnJsMjdjNjYxTGxWNDMvdlpXUWNBQUFBQUFQQURwOVA1TDZmVGFUSXpNMDJnK1Bubm40M1Q2VFJGUlVWVmJqOVZmbjYrT1hqd29FbElTREFmZnZpaE9YandvRGw0OEtBeHhwaWRPM2VhLy9pUC96Q2JObTB5eGhpelpjc1dNM3o0Y0xOdjN6N2YvME5xSVRNejB6aWRUdU4wT3Irek93c0FBQUFBQVBnUzE0Z3BjNEVrdFd6WjB1NDZ6dG5ycjcrdVVhTkdhZHUyYmZxZi8va2ZqUm8xU3FOR2pWSkpTWWxtelpxbFcyKzlWVDE3OXBRa2RlL2VYZkh4OFhyeXlTZHRycnBNZEhSMCtjMEw3S3dEQUFBQUFBQmZZelNwVEhOSjlmcEN2UTgrK0tEaTR1STBjZUpFZmZubGw5cTJiWnVtVHAycXA1OStXcG1abWNyTHk5UGYvLzUzNWVmbkt6OC9YdzVIV1E5dTZkS2xHanQycksyMVYzamZtOXRaQndBQUFBQUF2a1lqcGt5VUpJV0hoOXRkeDNsWnQyNmQrdmZ2TDRmRG9YMzc5cWxkdTNZYVBYcTBMcjMwVXJWdDIxYlIwZEZxMmJLbG1qZHZydkR3Y0NVbEplbk5OOS9VNk5HanZZMFpPOUNJQVFBQUFBQTBGalJpQW9qTDVUcHQyK0RCZzgrNDc4TVBQNndiYnJoQjZlbnB1dUtLS3lSSm16WnRVcytlUFRWa3lKQnFYMi9DaEFrYU9YS2tyVTBZQUFBQUFBQWFFeG94WmZJa1hYRDgrSEdGaElUWVZrUnljckwzOXM2ZE8zWC8vZmNyS1NtcFVxTmt6NTQ5K3YzdmYxOXAzMWF0V2ttU1ZxOWVyYUZEaDBxU3Z2bm1HeVVrSkNnN08xdmp4bzJyOWpVcmZ1T1NYZkx6ODh0dkhyR3pEZ0FBQUFBQWZJMUdUSmtqa2k3SXo4OVhpeFl0YkN1aTR0ZE81K1RrS0R3OHZOcXYxSzdxSzZydnZQTk9QZkhFRTlxK2ZidCsrdWtuRFJzMlRBVUZCWktrNzc2ci9JVkUrL2J0azl2dHJyUGF6d2VOR0FBQUFBQkFZMEVqcHN4QlNkME9IVHFrOXUzYjIxMkxKT25ubjM5V3UzYnR6dW81NDhlUGx6RkdUei85dElZTkc2YW9xQ2h2SStiVU0zMmFOR2xTWjdXZXI4T0hENWZmUEdobkhRQUFBQUFBK0JvWEJ5bXpRU3ByZmdTSzVjdVhhOENBQVdmOXZBc3V1RUJObWpUUlYxOTlwWVVMRi9xZ3NycTNmZnQyU1pKbFdSdHNMZ1VBQUFBQUFKK2lFU1BKc3F4TTZkOE5BYnU5ODg0N1NrOVBWMEpDd2xrOWI4ZU9IWm81YzZiKytNYy82dTY3NzlhZi92UW43ZHk1MDBkVjFwMEs3M3VtblhVQUFBQUFBT0JyakNhVnlaVEt2bW5JVHZuNStYcnh4UmUxY09GQ1RaOCtYZDI3ZDYvMWN6ZHYzcXdISG5oQUR6MzBrRWFNR0NGSnV1U1NTOVN4WTBkSlZYOGpVNkFvZjkvTEcySUFBQUFBQURSVU5HSWtoWVNFL0t1b3FDZy9QVDA5SWo4L1h4RVJFYmJVTVgvK2ZIMzY2YWY2MDUvK3BGR2pScDNWY3lNakkvWGNjOCtwYjkrKzNtMERCdzVVWGw2ZXJyLytlajMrK09PVjlqOXk1SWhlZSsyMU9xbjdmT1RuNXlzOVBWMlM4cHMxYS9ZdnUrc0JBQUFBQU1DWExMc0xDQlJPcC9NalNmSFBQZmVjUm80Y2FVc05IbzlIaHc4ZjluNGRkVlZLUzB0MThPQkJ0V25UeG8rVitjN0tsU3YxMEVNUHliS3NqMUpUVTg5dUZndG9IQnhPcC9OcVk4dzdsbVcxa1pRbjZjYTB0TFFWa2p3MjE0YkdqV3pDVHVRUHZrSzI0Q3RrQzE0MFlrNXlPcDIvbGZUWDRjT0g2L25ubjdlN25FYmp3UWNmMUJkZmZDSExzbjZibXByNm50MzFBSUVpSmlhbW5XVlp0MHVhTEtsTEZidnNrRFRIc3F4NXFhbXArL3haR3hvM3NnazdrVC80Q3RtQ3I1QXRWSVZHekVuOSt2V0xDQTRPM21GWjFnWEp5Y25xM0xtejNTVTFlRHQyN05BTk45d2dZOHlCa3BLU2l6SXpNL1B0cmdtd1UwSkNRdERXclZ0SFdaWTFWZEoxa29Ja3FYMzc5bks3M1JveVpJaSsvZlpicGFTa2FNK2VQZVZQSzVYMGlURW1zWHYzN3N1VGtwSktiU29mRFJqWmhKM0lIM3lGYk1GWHlCYk9oRVpNQlM2WGE0WXg1dG54NDhkcjFxeFpkcGZUNEQzeHhCUDY1Sk5QWkl5WmtaNmUvcHpkOVFCMjZkKy9mL3ZnNE9CSnhwakpranBKVW5Cd3NHSmpZK1YydXpWbzBDQTVIUC8ra2p1UHg2UFZxMWNySlNWRlgzenhoVXBMdmIrbmQxbVdOYWVrcEdSZVJrYkdudE5mQ1RnN1pCTjJJbi93RmJJRlh5RmJxQzBhTVJVTUhUbzBzcUNnWUtlazZOZGZmMTJYWDM2NTNTVTFXTjkvLzczdXV1c3VTVG9jRmhiVytadHZ2amxxZDAyQVB5VWtKQVJ0Mzc1OWpERm1xcVJySlRra3FXUEhqb3FMaTlOMTExMm5saTFibnZFNGh3NGQwaWVmZktLVWxCVHQzcjI3ZkhPcFpWbUxMTXRLdk9paWl6NWxSUVZuZzJ6Q1R1UVB2a0syNEN0a0MrZUNSc3dwWW1KaWJyWXM2NzFXclZycGd3OCtVSFIwdE4wbE5UaUhEaDNTVFRmZHBKeWNIQmxqYms1UFQxOWdkMDJBdnd3YU5LaGphV25wSkVsM1NPb29sYTJVakJneFFtNjNXeTZYcTlKS1NXMTVQQjZscHFZcUpTVkZuMy8rdVVwS1Nzb2Z5cklzYTg2SkV5Zm1aV1ptN3E3cEdHamN5Q2JzUlA3Z0syUUx2a0syY0Q1b3hGUWhKaWJtTGN1eUpuZnIxazB2dmZTU0xyendRcnRMYWpEMjdkdW4zLy8rOTlxK2Zic2t2WldXbGpiVjdwb0FYNHVOalEzT3k4c2JLMm1xcEhFNnVWTFNxVk1udWQxdVhYdnR0WFhhOUQxOCtMQVdMVnFrbEpRVTdkcTFxM3l6UjlKaVNZbFJVVkhMVnExYVZWTDlFZEJZa0UzWWlmekJWOGdXZklWc29hN1FpS21DeStVS044WXNrL1RyVnExYWFkYXNXUm95Wklnc2k3ZnJYQmxqOU8yMzMrckpKNTlVVGs2T0pIMWxXZGFZMU5UVTQzYlhCdmlLeStYcTVQRjQ3ckFzNnc1SjdTV3BTWk1tdXVxcXErUjJ1K1YwT24zNmM4VVlvN1MwTktXa3BPaXp6ejdUaVJNbkpFbVdaZTAyeHN3OWVYWCtYV2M0REJvZ3NnazdrVC80Q3RtQ3I1QXQxRFU2QzlYbzNyMTcwNmlvcURtU2JwR2tuajE3S2lFaFFkMjZkVlBuenAzVnZIbHpteXNNZkVlT0hOSE9uVHUxYmRzMkpTVWxhZlBtemVVUHZadVhsemRsNjlhdFJYYldCL2hDYkd4c2NHNXU3aldXWlUyMUxHdXNUdjZjN2R5NXMzZWxwRVdMRm42dkt6YzMxN3Vpc25Qbnp2TE5Ia2xMalRHSnpaczNYOEtLU3NOR05tRW44Z2RmSVZ2d0ZiSUZYNklSVXpQTDZYUk9rZlN3cXY3T2Q1eWRIWktlVFV0TGUwdVNzYmtXb0U3RnhNUjBkamdjazQweGt5UzFrNlNRa0JEdlNrbE1URXhBbkZWbmpGRjZlcnAzUmFXNHVMajhvYjNHbUxtUzVxYW5wKytzNFJDb1o4Z203RVQrNEN0a0M3NUN0dUFQOWllb0hvaU5qUTArZXZUb2pjYVlCRWt1U2EwbGhkcGNWbjFRS09tQXBGVExzcElpSXlNL3BEdUxoc1RsY2pVeHhsd3JhWXFrTVRyNU0vV2lpeTZTMiszV05kZGNFOUJuengwNWNrU0xGeTlXY25LeWR1ellVYjdaU0ZwbVdWYWlwTVdwcWFrbmJDc1E1NHhzd2s3a0Q3NUN0dUFyWkF2K1JpTUdBTTVTdjM3OUxnb09EcDRzYVpLa3RsTFpTc25WVjE4dHQ5dXQvdjM3QjhSS1NXMFpZNVNSa2FHVWxCU3RXTEdpNG9yS1BrbnpQQjdQbkxWcjErNndyMExVRnRtRW5jZ2ZmSVZzd1ZmSUZ1eFNmMUlGQURaeXVWeE5QQjdQZU11eXBrZ2FwWk0vUDd0MjdhcjQrSGlOR3pkT1VWRlI5aFpaQi9MeThyUmt5UklsSnllWGY3dVpWTGFpc2x4U29tVlpuN0NpRWxqSUp0bTBFL2tqZjc1Q3RzaVdyNUF0c2hVSWFNUUFRQTBHRFJyVXRhU2taSXFrMnkzTGFpT1ZyWlNNR2pWS2JyZGIvZnIxcTFjckpiVmxqRkZtWnFaU1VsSzBmUGx5NzRxS01TWmIwcnpnNE9BNXExZXYzbDd6VWVCTFpKTnMyb244a1Q5ZklWdGt5MWZJRnRrS0pBMHZhUUJ3bnZyMjdSc1NHaG82d2VQeFRMRXM2K3J5N2QyNmRWTjhmTHpHamgzYklGWkthaXN2TDA5TGx5NVZjbkt5dG0zYjV0MXVqRmtoS2JHNHVQZ2ZHelpzS0s3K0NLZ3JaTE15c3VsZjVLOHk4bGQzeUZabFpLdnVrSzNLeUZiZ29CRURBQ2M1bmM3dUtydEkyKzBxdXlpM21qWnRxdEdqUjh2dGR1dVNTeTVwa0NzbHRXV00wZnIxNjVXU2txSlBQLzFVUlVYZWI2RC94YktzdnhoajVxU2xwVzIxczhhR2lteldqR3o2RnZtckdmazdkMlNyWm1UcjNKR3RtcEV0K3pYZTlBR0F5bFpLbWpadGVyMmtxWkt1S3QvZW8wY1B4Y2ZIYTh5WU1ZcU1qTFN2d0FCMTlPaFJMVnUyVE1uSnlkcXlaVXZGaHo2VGxGaFVWUFIzVmxUT0Q5azhOMlN6YnBDL2MwUCt6b3hzblJ1eWRXWms2OXlRTFh2UWlBSFFLUFh2My8vaW9LQ2d5WkltNnVSS1NXaG9xTWFNR1NPMzI2MCtmZm8wNnBXUzJqTEdhTU9HRGQ0VmxjTEN3dktIRGtoNjIrUHh2TFYyN2RvdE5Sd0NweUNiZFlOc25odnlWemZJMytuSVZ0MGdXNmNqVzNXRGJQa1hpUVRRYUhUdjNyMXBaR1JrbkdWWlV5VU5MOS9lczJkUHVkMXVqUjA3VmhFUkVUWldXTDhkTzNaTXk1WXRVMHBLaWpadjNsenhvUytNTVlsSGp4NWR1SFhyMXFMcW50K1lrVTNmSXBzMUkzKysxWmp6UjdaOGkyeVJMVjlwek5ueUZ4b3hBQnE4Z1FNSDlpd3RMWjFpV2RaRVNhMGtLU3dzekx0UzBydDNiMVpLNnBBeFJqLysrS04zUmFXZ29LRDhvUnhqek50QlFVRnZyVm16Wm5OTngyZ3N5S1ova2MzS3lKOS9OYWI4a1MzL0lsdGt5MWNhVTdiOGpaUUNhSkJpWTJORGp4NDk2amJHVEpWMFpmbjIzcjE3eSsxMmE4eVlNUW9QRHovbjQyZG5aeXNsSlVXLys5M3Y5TTAzMzZoLy8vNXExcXhacFgyT0hUdW04UEJ3T1J5TzA1Ni9idDA2OWVuVFIwRkJRZWRjUTMyUW41L3ZYVkhadEdsVHhZZSt0Q3dyTVRJeU1tWFZxbFdGMVQyL0lTS2JnYUd4WnBQOEJZYUdtRCt5RlJqSUZueWxJV2JMVGpSaUFEUW9UcWV6dDZRcHhwamJMTXRxS1VuaDRlRWFPM2FzNHVMaTFMdDM3enA1bmMyYk4rdTN2LzJ0MXF4Wm81ZGVla21mZnZxcG5uNzZhYmxjTHU4Kzk5OS92enAxNnFScDA2YWQ5bnlYeTZYUFB2dE1MVnEwcUpONmZDRTNOMWY1K2ZscTA2YU5nb09Eei90NEd6ZHVWRXBLaXBZdFc2Ymp4NDlMa293eGh5ekxla2ZTVzJscGFSdlArMFVDR05tc08yVHo3SkcvdWtQK0tpTmJkWWRzVmVhdmJPSHMxZmRzQlFJYU1RRHF2Y0dEQjRjVkZSWEZxK3dxK2I4dTM5Nm5UeC9GeDhkcjFLaFJkYjVTc25QblRybmRidjN3d3c4S0NnclNpaFVyRkJFUm9TRkRoa2dxK3dWMTk5MTNhK0hDaFdyZXZMa2VmZlJSZmZmZGQ5N25Iemx5UkZGUlVaVk9uLzM4ODgvUHVvNlNraEs5OWRaYldyUm9rWEp5Y3RTaFF3ZE5tVEpGbzBlUHJyVGZva1dMOVBiYmIydlBuajI2OE1JTE5XblNKRjE3N2JWVkhuUHo1czJhT1hPbXRtNHQrOWJDaUlnSTNYdnZ2VXBJU0RqcitxcHkvUGh4ZmZycHAwcEpTZEdQUC81WThhR3ZKQ1UyYmRvMCtidnZ2aXVvNXVuMVNtUE81dWJObS9YU1N5OHBNek5UeGhnNW5VNU5uejVkblRwMXFyUWYyZlNkeHB5L2luK2NWOVNzV1ROOStlV1gzdnZrNzl3MDVteEpVa0ZCZ2ViTW1hUGx5NWNyT3p0YmtaR1JldlRSUnpWaXhBanZQbVRyM05pUkxaeTcrcFN0UUVNakJrQzkxYjkvLzc1QlFVRlRKTjBxS1ZvcVd5a1pOMjZjM0c2M2V2YnNlVjdIMzdGamgrTGo0OC9xT2JHeHNabzllN2FtVHAycWE2NjVSaE1tVE5DaVJZczBiTmd3UlVWRmVmYzcwOHJjZ2dVTGRNMDExNXp4YXhabnpacWxmLzd6bjVveFk0YTZkKyt1bFN0WGFzNmNPWm85ZTdhR0RSc21TVnF4WW9VZWVlUVJUWnMyVFZkY2NZV1dMRm1pdDk5K1d5Ky8vTEtHRGgxNjJqRlhyRmlobkp3Y2pSMDdWZzZIUTRtSmlYcnZ2ZmYwL3Z2djYrS0xMejZyOStOTU5tM2FwSVVMRjJySmtpWGVGUlZKaHlYTk44WWtwcWVuLzFqRDB3TldZOC9ta1NOSE5HSENCUFh1M1Z0MzNYV1hUcHc0b2VlZWUwN0hqeC9YeHg5LzdCMGJJSnUrMGRqekowbFpXVm1uYlh2Z2dRZmtjcm4wMEVNUFNTSi81NEpzU1VWRlJab3laWW9LQ3d2MXU5LzlUcDA3ZDlhQkF3Y1VGUlhsUFVPRGJKMDlYMmNMdmhlbzJRcFVOR0lBMUN1REJ3OE9LeXdzVEpBMDFiSXM3NmVadm4zN0tqNCtYbGRmZlhXZHJaU1VmeUQ4N0xQUFRuc3NMeTlQY1hGeFNrNU9ydlNoTGlRa1JNdVhMOWZubjMrdWwxOStXZDkrKzYxbXpweXBoUXNYYXNLRUNkNzlUbDJaZStpaGh5cWR4Zkx3d3cvclgvLzZseVpQbnF3YmI3eFJUWm8wT2EyR1BYdjJhUHo0OFhyeXlTY3JyYkk5K3Vpanlzckswdno1OHlWSmJyZGJsMXh5aVo1NjZpbnZQcmZlZXFzaUlpTDB4aHR2blBGOUtDd3MxTkNoUXpWcjFpeU5Iei8ralB1ZmkrUEhqMnY1OHVWS1NVblJoZzBidk51Tk1kOUlTZ3dORFUwSzlCVVZzdmx2WDMzMWxhWk5tMWJwajRoLy9PTWZldkxKSjdWa3lSSzFhZE5HRXRtc1MrU3ZabHUyYk5GTk45MmtCUXNXcUVlUEhwTElYMjJScmNwZWUrMDFMVnEwU0I5ODhFR2xSazlGWkt0Mi9Ka3QrRThnWktzK09QL2hRd0R3ZzRFREIxNWlqSmxhVkZUMFg1Wmx0WkRLVHQyOTVwcHJGQmNYVitjclJoVlZ0WHBXL3NHZ1NaTW1hdEdpaGZiczJhTjE2OVpwekpneCt1Q0REN1I3OTI0Tkh6NWMrZm41bWpGamhpSWpJeXVkQXUxeXViUnc0Y0pxVithZWZmWlovZkRERDNybGxWZjB3UWNmNks2Nzd0TG8wYU1yblZLOWJkczJTZElsbDF4UzZibURCdy9XOHVYTFZWUlVwTU9IRDJ2bnpwMjY2NjY3S3UwelpNZ1F2ZlBPTy9KNFBGVmUxTENpUFh2MlNKSTZkT2hRNDM3bkl6dzhYTmRmZjcydXYvNTZiZDY4MmJ1aWtwK2ZQMVRTMEtLaW9wZGNMdGU3bG1VbHJsbXpacjNQQ2prSFpQUDBiSGJzMkZHV1pTa2pJOFA3NzgvSXlGRHIxcTExd1FVWFNKTDI3OTlQTnVzQStUczlmMVZKVGs3V3BaZGU2bTNDa0w4ekkxdW5aOHZqOFNnNU9WbTMzMzU3dFUwWXNuVm1kbVlMdmhmb3Z6Y0RCWTBZQUFITjZYVEdTVXJ4ZUR6ZWJaZGVlcW5pNCtNMWN1UkloWVdGK2J5R1U2ODFVTDdLSHhZV3B0emNYTFZ2MzE0cEtTbkt5c3JTbURGajlPS0xMeW9zTEV6dnYvKyt2dnZ1TzhYRnhWV2FHNWVrNXMyYnkrMTJWOW9XRnhlbmUrKzkxM3Yvc3NzdTAvejU4N1Z5NVVxOS92cnIrdXRmLzZwcDA2WnA0TUNCa3VUOUVMaG56eDUxNmRMRis3eWpSNC9LNC9IbzhPSEQyclZybDZTeVA0d3JhdCsrdllxTGkzWDQ4R0cxYXRXcTJuLzc4ZVBIOWN3eno4amxjaWttSnFhVzc5ajU2ZG16cDJiTW1LSDc3cnRQSzFhc1VFcEtpdGF0VzlmQ0dIT3ZNZVplcDlNcFNlNjB0TFNGZmltb0dtU3orbXgyNmRKRjk5OS92MTU0NFFYdDNyMWIrL2Z2VjFwYW1wNS8vbm52TjVhUXpmTkQvcXJQMzZrS0NncTBaTWtTUGZqZ2c5NXQ1Szk2Wkt2NmJHM2J0azFIamh4UisvYnQ5ZUNERHlvMU5WV2hvYUVhT1hLazdyMzNYb1dFaEpDdEdnUkN0dUJmZ2ZSN005RFFpQUVRNk42dGVPZVpaNTdSMkxGai9mTENIbzlISVNFaFdycDBxWGZiMVZkZnJkRFFVRWxTcTFhdGRQRGdRUlVXRm1yaHdvWDY4NS8vTEVscTA2YU5zckt5OU41NzcybmV2SG15TE91Y0x3aG9XWmF1dXVvcW5UaHhRczg4ODR5ZWYvNTVMVml3UUZMWm1UQWRPM2JVU3krOXBQYnQyNnRMbHk1YXUzYXQzbm5uSFVsU1VGQ1FkMGEzdk9aeTVmZUxpb3FxZmUzaTRtTGRjODg5S2k0dTFzc3Z2M3pHRmVlNkZoWVdwdkhqeDJ2OCtQRmFzbVNKSG4vODhZb1B2eXVwV1RWUDlSZXlXVTAySlduY3VISDY1ei8vcWFTa0pKMDRjVUlqUjQ1VTA2Wk52WStUemZORy9tcklYMFhMbGkyVFpWa2FOV3FVZHh2NXF4SFpxaVpidi96eWl5UnA3dHk1dXZYV1czWG5uWGNxTXpOVHMyZlBWbDVlbnA1ODhrbXlWVFBic2dWN0JjanZ6WUJDSXdaQW9Qc3ZTY2s2ZVUycnh4NTdUQXNXTFBET0R2dHk5YVNvcUVqTm1qWHpuc1pjVWxJaWo4ZmovVERWb1VNSDdkbXpSd3NXTEZDSERoMjhLMmFscGFXYU5XdVdicnZ0Tm5YcjFrMEZCUVVLRFEzVndJRURxNnkzb0tCQXExYXRPdTBDZ2NYRnhmcmtrMDgwZi81OGhZZUg2NWxubnRIdzRjTzlqd2NIQit1bGwxN1NZNDg5cHZqNGVEa2NEblh1M0ZuWFhIT04zbjMzWGJWbzBjSTc0MzdpeEluVC9tMlNhcHk5L3Zqamo3Vno1MDRsSnllZjhlS0Z2bEJRVU9DZE1WNi92dEtacTBabHViQWIyYXdtbXg2UHgzdGEvaWVmZkNKSit0dmYvcVpiYjcxVjk5MTNuMzc3MjkrU3pmTkgvcXJKMzZtU2s1TTFidHk0U244WWs3OGFrYTFxc2xWU1VpSkptang1c25kNzkrN2RsWjJkclhuejVtbkdqQmxrcTJhMlpRdjJDcERmbXdHRlJneUFnSGJ5VkVYSHdJRURMeWt0TFoxaVdkYXQ2OWV2YjdGKy9YbzkvL3p6R2pkdW5PTGk0bnh5TmYxVFR4OHVYK1dLaUlpUUpQWG8wVU5mZi8yMTFxOWZyOW16WjN2M1MweE1WR1ptcGlUcHd3OC85SDdnazZTbFM1Y3FPRGhZcjc3NnFxWlBueTZwNnE5WlhiQmdnZWJObTZjTExyaEEwNlpOVTJ4c2JKVXJZNTA3ZDlhNzc3NnJuSndjbFpTVXFFMmJObnJoaFJkMDhjVVhxMG1USnQ2TG91N2J0MC9kdTNmM1BtL2Z2bjJLakl5c2RsWmVLcnRvWXA4K2ZXcmN4eGMyYjk2c2xKUVVMVjI2VlBuNStlV2JjNDB4ODRPQ2d0NEtsSGxpc2xsOU5qTXlNclI1ODJhOThjWWIzanAvLy92ZnkrRnc2T1dYWDliMTExOVBOczhUK2F2NVoyTzVEUnMyYU9QR2pabzFhMWFsN2VTdmVtU3IrbXlWWCtPcWMrZk9sYlpmZE5GRjhuZzh5c3ZMSTFzMXNETmJzRWNnL2Q0TU5EUmlBTlFMSjM5UTN6ZDQ4T0FaaFlXRk4xaVdOVFUvUC84L2twS1NsSlNVcEw1OSs4cnRkbXZVcUZGMWRvWDlQWHYyVkxwUVhtNXVyaHdPaC9mNGd3WU4wcnZ2dnF1cnJycEtnd1lOVW1GaG9YYnQycVdZbUJoTm16Wk5YYnQyVlpjdVhkUzJiZHRLSCtZT0hUcWtKVXVXZUQ4UVZtWHQyclY2NUpGSEZCc2JXNnRheXorNDV1Ym1hdEdpUmJyenpqc2xTVjI3ZGxWMGRMUysvdnByL2ZyWHYvYnUvL1hYWDJ2SWtDRTFIdlBPTys5VXhUbHVYNnJ1Q3Z1U3ZqYkdKSWFHaG40VXFGZllKNXVucSs3VS9Bc3Z2RkFsSlNVcUtpb2ltM1dFL05YczFJdjBsaU4vWjBhMlR0ZWpSdzlGUmtacTllclY2dHExcTNmN2xpMWJGQkVSb1ZhdFdxbDE2OVprNnd6c3lCYjhKOUIvYndZS0dqRUE2cFdUUDdqZmxmUnVURXhNSDh1eXBraTZiY09HRGRFYk5telE3Tm16dlNzcXZYcjFPcS9YK3ZISEg5V3JWeS9sNXVhcVdiTm0rdjc3N3l0OXVGdTdkcTBrZWI4ZWMrL2V2YnJubm51MGZQbHlYWEhGRmQ3akdHTXFmYkRLeU1oUWFHaW9mdm5sRi8zcVY3ODY3WFZMUzB2MWh6LzhRWktVbloxOTJ1UFIwZEVLQ1FtUkpLMWN1Vkl0VzdaVWRIUzB0bS9mcmpmZWVFUGR1blZUZkh5OEpNbmhjT2kyMjI3VEs2KzhvaDQ5ZWlnbUprYUxGeS9XbGkxYk5IUG16QnIvL1ltSmljckp5ZEdmL3ZTbldyOW5aMnZUcGszZWxaTHlQOTRsSFpiMGpqSG1yZlQwOUI5OTl1SjFqR3orTzVzeE1URnEyYktsbm43NmFkMTk5OTNxMkxHak5tM2FwRGZmZkZORGh3NVZ5NVl0SllsczFpSHlWL2xub3lRZE8zWk1uMzc2cVI1NjZLSFQ5dVZuWSsyUnJYOW5LeVFrUkxmZmZydGVmZlZWUlVSRXFHL2Z2bHE5ZXJYKzlyZS82YzQ3NzFSd2NObWZWbVNyZHZ5WkxmaGVJR1dyUHFBUkE2RGVPdmtEL1EreHNiRVA1K1hseFV1YWV2ejQ4V0VmZmZTUlB2cm9JL1h1M1Z2eDhmRWFQWHIwV2Erb2VEd2VmZjMxMTNyaGhSZjB6RFBQNklzdnZwREQ0ZENNR1ROa2pORXJyN3lpcEtRa0RSczJUQjkrK0tHR0RoMnFmZnYycVV1WEx0cXhZNGZXcjErdm4zNzZTWnMyYmRLbVRadjAxbHR2S1Q0K1h2bjUrVXBNVEZTL2Z2MzBtOS84UnJmY2NvdHV2ZlhXU2hjeHpjcks4alpTcXZMaWl5OTZWOW0yYk5taXBLUWs1ZWZucTIzYnRobzdkcXh1di8zMlNsK05lY3N0dCtqRWlST2FPM2V1Y25OejFhTkhENzMyMm12cTFxMWJqZS9Cdm4zN3F2eEFlcjZPSHordVpjdVdLU1VsUlJzM2JxejQwRDhsSlVaRlJTV3ZXcldxc001ZjJJOGFlemJEdzhNMVo4NGN2ZmppaTNyODhjZFZWRlNrdG0zYmF2ejQ4Wm84ZWJKM2Y3THBHNDA5ZitVV0wxNnM0T0RnU2hmcHJZajhuVDJ5VmRaa0NkUnM2aE1BQUNBQVNVUkJWQTRPVm1KaW9yS3pzOVd1WFR2ZGYvLzl1dkhHRzczN2s2Mno1OHRzd1hmcVE3WUNsWDh2eFEwQVB1Wnl1WHBKbXVMeGVDWmFsdFZTS3JzdzNwZ3hZK1IydTlXN2QrOWFIV2ZKa2lXYU0yZU9VbEpTVkZCUW9MeThQSVdIaDhzWW84Y2ZmMXdiTm16UVN5KzlwQzVkdXVqbW0yK1cyKzNXL3YzNzFhUkpFNFdIaDJ2dDJyWHExNitmK3ZidHE5NjlleXNzTEV5ZmZ2cXA1czZkcTJIRGh1bVJSeDVSVmxhV25ucnFLUjArZkZpUFBmYVlCZ3dZNE11M3huWS8vdmlqVWxKU3RHelpNaFVVZU05SXpiRXM2eDFKYjZXbXBtNnlzVHlmSTV1QnF6RmtrL3dGcnZxZVA3SVZ1TWdXZktXK1p5c1EwSWdCMENERnhzYUdIamx5SkU3U1ZNdXlZc3UzOStyVlMyNjNXMlBHalBGZS9LOHFzMmZQVnA4K2ZVNzdXc1U5ZS9ibzlkZGYxN1JwMDlTNmRXdnZ0cGt6WjJyMzd0MTY5ZFZYVDdzV3diZmZmcXY3N3J0UHZYdjMxcVJKa3lyTm4zczhIdjN0YjMvVDY2Ky9yamx6NXFodjM3N24vNDhQSVBuNStWcTZkS2xTVWxLMGVmTm03M1pqekNwSmljMmJOMS9ZMkZaS3lHWmdhS3paSkgrQm9TSG1qMndGQnJJRlgybUkyYklUalJnQURkN0FnUU43ZWp5ZXlaSW1TcnBBa3NMQ3dqUjY5R2k1M1c3MTZkUG50RzlHS0NrcDhjNTZueStQeDZNOWUvYW9ZOGVPMWU1VDNkeDZmV1NNcWJSU1Vsam8vWjE4VU5MYkRvZGp6cG8xYXpiWGNJaEdnMno2Rjltc2pQejVWMlBLSDlueUw3SlZjN1p3N2hwVHR2eU5sQUpvTkxwMzc5NDBLaXJxZWtsVEpZMG8zOTZ6WjAvdmlrcXpaczNzSzdDZU8zYnNtSGVsNUtlZmZxcjQwT2VTRXZQeTh2NitkZXZXSXB2S0MyaGswN2ZJWnMzSW4yODE1dnlSTGQ4aVcyVExWeHB6dHZ5RlJneUFSbW5BZ0FFOUhBN0haRW0zUzJvdGxYM1Zidm1LU3QrK2ZWbFJxUVZqak5hdlg2K1VsQlF0WDc2ODRrckpBVWwvOFhnOGM5YXVYYnZGeGhMckhiSlpOOGptdVNGL2RZUDhuWTVzMVEyeWRUcXlWVGZJbG4rUlNBQ05XdCsrZlVOQ1EwTW5HR09tU2hwWnZyMUhqeDV5dTkwYU8zYXNJaU1qYmF3d01CMDlldFM3VXJKbFM2WGZ5U3N0eTBvc0xDejhlTU9HRGNWMjFkY1FrTTF6UXpickJ2azdOK1R2ek1qV3VTRmJaMGEyemczWnNnZU5HQUE0eWVWeWRaTTB4Umh6dTZSZlNWTFRwazAxYXRRb3VkMXVYWHJwcFkxNlJjVVlvM1hyMW5sWFNvcUt2R2VrL21LTW1lZHdPT2FrcHFadXM3UEdob3BzMW94cytoYjVxeG41TzNka3EyWms2OXlSclpxUkxmczEzdlFCUURYNjl1MGJFaElTTXQ2eXJDbVNScFZ2NzlhdG05eHV0OGFORzZlb3FDZ2JLL1N2dkx3OExWbXlSQ2twS2RxMnJkTHY1T1hHbU1UaTR1SlBXQ254RDdKWkdkbjBML0pYR2Ztck8yU3JNckpWZDhoV1pXUXJjTkNJQVlBYURCbzBxR3RKU2Nsa1NaTXN5Mm9qU1NFaElkNFZsWDc5K2pYSUZSVmpqREl6TTcwckpjWEYzdC9KK3lYTkN3b0ttcnQ2OWVydE5wYlk2SkZOc21rbjhrZitmSVZza1MxZklWdGtLNUEwdktRQmdBKzRYSzRteHBqckpFMlJORm9uZjM1MjdkcFZicmRiMTF4elRZTllVY25MeTlQaXhZdVZrcEtpN2R1OXY1T05wRThsSlZxV3RTZzFOZldFZlJYaVZHU1RiTnFKL0pFL1h5RmJaTXRYeUJiWkNnUTBZZ0RnTEEwWU1LREx5YXZ6VDVKMG9WUzJvakp5NUVpNTNXNE5HRENnWHEyb0dHTzBkdTFhcGFTa2FPWEtsUlZYU3ZaWmxqVzN0TFIwN3RxMWEzZllXQ0pxaVd6Q1R1UVB2a0syNEN0a0MzYXBQNmtDZ0FEamNybWFTTHJHNC9GTXNTeHJyRTcrVE8zU3BZdmNicmV1dmZaYU5XL2UzTjRpYTNEa3lCRXRXclJJS1NrcDJyRmpSL2xtWTR4WmFveEpiTkdpeGVKVnExYVYyRmdpemhIWmhKM0lIM3lGYk1GWHlCYjhqVVlNQU5TQm1KaVl6cEx1c0N6ckRrbnRKS2xKa3lhNjZxcXI1SGE3NVhRNkEySkZ4UmlqdExRMHBhU2s2TFBQUHRPSkU5NHpVdmNZWStaS21wZWVucjdUeGhKUng4Z203RVQrNEN0a0M3NUN0dUFQOWljSUFCcVEyTmpZNENOSGpveXpMR3VxcExHU0hKTFV1WE5uNzRwS2l4WXQvRjVYYm02dWQ2Vms1MDd2NzJTUHBDV1NFcU9pb3BheVV0S3drVTNZaWZ6QlY4Z1dmSVZzd1pkb3hBQ0FqN2hjcms3R21FbVdaZDFoak9rZ2xhMm9qQmd4UW02M1d5Nlh5NmNyS3NZWXBhYW1LaVVsUlo5Ly9ybDNwY1N5ck4zR21EbEJRVUh6VnE5ZW5lV3pBaEN3eUNic1JQN2dLMlFMdmtLMlVOZG94QUNBajhYR3hnYm41ZVdOa1RSVjBqVTZ1YUxTcVZNbnhjWEY2ZHBycjFYTGxpM3I3UFVPSFRxa1JZc1dhZUhDaGRxMWExZjVabytrUlpabEpYYnQyblZaVWxKU2FaMjlJT290c2drN2tULzRDdG1DcjVBdDFCVWFNUURnUi8zNjlldlFwRW1UU2NhWXlaSTZTbEp3Y0xDR0R4OHV0OXV0Z1FNSHl1RnduUFZ4UFI2UDFxeFpvNVNVRkgzeHhSY3FLZkdla2JyTHNxdzVKMDZjK0V0bVp1YnV1dnVYb0tFaG03QVQrWU92a0MzNEN0bkMrYUFSQXdBMlNFaElDUHI1NTU5SEcyT21HbU91bFJRa1NSMDZkRkJjWEp6R2p4OWZxeFdWUTRjTzZSLy8rSWNXTGx5bzNidTl2NU5MSlgxaWpFbnMzcjM3Y2xaS2NEYklKdXhFL3VBclpBdStRclp3TG1qRUFJRE4rdmZ2Mzk3aGNOeHVXZFlVU1oya3NoV1YyTmhZdWQxdURSbzBxTktLaXNmajBlclZxNzBySmFXbDN0L0pPNDB4YzFSMmxmeTlmditIb01FaG03QVQrWU92a0MzNEN0bENiZEdJQVlBQWtaQ1FFTFJ0MjdhclZUWjNQRjRuVjFUYXQyK3Z1TGc0RFJreVJOOSsrNjBXTGx5b1BYdjJsRCt0Vk5JL0pDVjI2OVp0QlNzbDhBV3lDVHVSUC9nSzJZS3ZrQzJjQ1kwWUFBaEFMcGZyUW1QTTdaS21TT3BTeFM0N0pMMWxXZFpmVWxOVDkvbXpOalJ1WkJOMkluL3dGYklGWHlGYnFBcU5HQUFJYkE2WHl6WFNHRE5WMGxoSlN5M0xTa3hOVFYycHNxdm1BM1lobTdBVCtZT3ZrQzM0Q3RrQ0FBQUFBQUFBQUFBQUFBQUFBQUFBQUFBQUFBQUFBQUFBQUFBQUFBQUFBQUFBQUFBQUFBQUFBQUFBQUFBQUFBQUFBQUFBQUFBQUFBQUFBQUFBQUFBQUFBQUFBQUFBQUFBQUFBQUFBQUFBRUppY1RxZHhPcDNHN2pvQUFBQUFBRUROSEhZWEFBQUFBQUFBMEZqUWlBRUFBQUFBQVBBVEdqRUFBQUFBQUFCK1FpTUdBQUFBQUFEQVQyakVBQUFBQUFBQStBbU5HQUFBQUFBQUFEK2hFUU1BQUFBQUFPQW5OR0lBQUFBQUFBRDhoRVlNQUFBQUFBQ0FuOUNJQVFBQUFBQUE4Qk1hTVFBQUFBQUFBSDVDSXdZQUFBQUFBTUJQYU1RQUFBQUFBQUQ0aVdWM0FUZzdNVEV4blMzTDJsR2JmWTB4WGRMVDAzZjZ1Q1FBQUFBQUFGQkxuQkZUejZTbnArODB4dnh3cHYyTU1UL1FoQUVBQUFBQUlMRFFpS21ITE10S3JzVStIL21qRmdBQUFBQUFVSHMwWXVxaDJqUmlnb0tDenJnUEFBQUFBQUR3THhveDlWQnFhdW8yU1JuVlBXNVoxdHJWcTFkdjkyTkpBQUFBQUFDZ0ZtakUxRk0xblJYajhYZzRHd1lBQUFBQWdBQkVJNmFlcXFuWlVwdlJKUUNCSlR3OGZHRExsaTBuMlYwSEFBQUFBTi9pNjZ2ck1hZlR1VkZTcjFNMmIweExTK3RqUnowQXpsM2J0bTMvVzVMNTFhOSs5ZENwajJWblp6L1R0bTNiSnlwdXk4aklhT0d2MmdBQUFBRFVuV0M3QzhCNVNaYjBhTVVObkEwRDFFL2g0ZUgva1pPVDgycHdjSENyalJzM2RpZ29LTWlXRk9SME9ndXpzN05mek03T2Z2SGtycUZPcDdQQXpsb0JBQUFBbkRzYU1mV1l3K0ZJOW5nOGxSb3hwYVdsTkdLQStxZHBWRlRVaU8zYnQwK1VwSUtDZ2xKSkpmYVdCQUNWeGNURWZHOVoxbVYyMTlGWUdXTldwYWVuRDdlN0RnREErYU1SVTQrdFdiTm1yY3ZsK3RrWWM5SEpUZHZYcmwxYjdiY3BBUWhNMGRIUm94d09SNFNrUTNiWEF0OXlPcDMvTGVrNXUrdEEvUkJvZjNqVGhMR1haVm14ZHRjQUFLZ2JOR0xxTjJPTVNaYjA0TW43eVpLTWpmVUFPQWZSMGRHM1Y3emZ2My8vemFydzMzSzdkdTJlYmQyNjllLzhYaGpxbWlYcEhydUxRUDBScUg5NHA2YW0ybDFDbytOeXVld3VBUUJRaDJqRTFIL2VSZ3pYaHdIcW43Q3dzSTVoWVdHVkxyQ2RrWkhSVTlMK2szZERKUlh1M2J2MzRRclA2ZURIRWxGSG5FN241Wkk2dG1uVFJvc1hMNVpsY2IxOFZHMzI3Tmw2NzczM0pPa0Z1MnNCQUFCMWowWk1QWmVXbHZhRHkrWEtrNlRVMU5UVmR0Y0Q0T3kwYXRYcWdaeWNuSG50MnJXcmNsd2xORFQwd29zdnZ2aTAvN1l6TXpQYlN5cnllWUdvTTVabEpSaGpkUFhWVjlPRVFiVThIbzlXcmx3cFNUTEdKTmxjRGdBQThBRWFNZldmUjlJN0hvL0huTHdOb0g0cDJyOS8vNXlLalppS28wbWJObTBhbEpPVDgzL0Z4Y1Y3RHh3NDhKcWtacGRlZXVsVzBZU3BieXhqVElJa2pSdzUwdTVhRU1EV3JWdW5YMzc1UlpabDdVNUxTL3ZlN25vQUFFRGRveEhUQUhnOG5vOHN5K0xhTUVBOXRIdjM3a2RQM1hiS2FKTHk4L04vYU5HaXhZMEhEaHg0TFRJeU12YllzV1AvOUd1Uk9HOFZ4NUl1dWVRU3U4dEJBRHZsYkJnV1dBQUFhSUFjZGhlQTg5ZTllL2R2dW5YcjlxM2RkUUE0SjJmOG11cmMzTnpQSWlNall5V0Z0MjdkK3JiRGh3OHY4SDFacUV1V1pTVklZaXdKTldJc0NRQ0F4b0V6WWhxQXBLU2tVcnRyQUZCM0tvNG1GUmNYNzlxNGNXTy8zTnpjaFowN2QzNHpORFMwVDI1dTd0OXRMaEZueDhGWUVtcWpmQ3hKVWxaNmVqcGpTUUFBTkZBMFlnQWd3Snc2bWlSSng0OGYvNzV6NTg3emYvbmxsNWZFdUVLOTRuUTZMeE5qU2FpRjhyTmhKSDBrL2pzSEFLREJZalFKQUFKWFJNdVdMVys4K09LTFA0K09qcDY0WmN1V1lhR2hvZDE2OWVyMVEzUjA5TTEyRjRmYVlTd0p0Y0ZZRWdBQWpRZG54QUNBL1R4SGpoeFpMRW01dWJuSmtnb2xxV25UcGgwaUlpSmlzN0t5SGk0b0tQaGVrbzRlUGZwVlJFVEVWVUZCUWFFMjFvdmFZeXdKdGNKWUVnQUFqUWVOR0FDd24yZmJ0bTNYU3RMMjdkdHZLTjlZVkZTME9Tc3I2NjVUZDg3UHovL01uOFhoM0RHV2hOcGlMQWtBZ01hRDBTUUFBSHpuUnFuc2JCakdrbEFkajhlanp6N3o5bGMvdExNV0FBRGdlelJpQUFEd0RZZWtHNlN5NjhNQTFWbTNicDJ5czdNbEtTc3RMWTJ4SkFBQUdqaEdrd0EwVmxaQ1FvTGp3SUVEMXRHalI2MGpSNDQ0T25Ub1lCVVZGVm41K2ZtTzB0SlNxMFdMRmxaaFlhR2p0TFRVS2kwdHRjTEN3aHlscGFXV3grT3hRa0pDSEI2UHgvSjRQRlpKU1luREdHTTFiZHJVOG5nOFZtbHBxY1BqOFZoTm16YjEzamJHV01IQndRNWpqR1dNc1lLQ2dyeTNQUjZQSXpnNDJIdjc1TDdlMjZmZWwyUTVISTRxajJXTWNRUUZCWGx2bDI5M09Cd09TZDdiNWNlcDRyN0Q0WEI0bjMveXRieTNUOTNmc2l6djl2TG5Tckk4SHMvYTlQVDBsZFcrKzQwQVkwbW9yVlBHa295TnBRQUFBRCtnRVFPZ1VYSTZuWjV0MjdaNTcwZEZSU2t2TDArU0ZCd2NyT0RnWUJVVUZFaVNIQTZISEE2SFNrcEtKRW1XWmVuRWlSUGU1d1lGQlVtU1NrdExLKzFmOGI0a0dXTzh6L2Q0L24wSkNJZkQ0YjF2V1ZhbHg2dTZYOU94cXJwZmNTVEdzaXp2Yzg5MC85VFhxbXIvTXp5M3NjL2lNSmFFTTJJc0NRQ0F4b2RHRElER3pKejhuNmUydDQweHhyS3M2dmFwZE4reUxJOHA2MHdZU1I3THNzekorNTZUanh0alRMV3ZkL0sxcXJwL3hscU1NWjZLejYzbXRhdXRwZUx6TGN2eWVEd2U3MnRibG1WTzNxL3UzL0dIdXZ3L3FaNWlMQW0xd2xnU0FBQ05ENDBZQUkxU1dsb2FweWo0aU5QcGJQU05tSmlZbU12RldCSnFvWHdzeWJLc0pER1dCQUJBbzhERmVnRUFxR09XWlNWSWpDV2haaFhIa293eFNUYVhBd0FBL0lSR0RBQUFkWXV4Sk5RS1kwa0FBRFJPTkdJQUFLaERqQ1dodGhoTEFnQ2djYUlSQXdCQUhXSXNDYlhCV0JJQUFJMFhqUmdBQU9xT28ySWpCcWpPK3ZYcnk4ZVNkakdXQkFCQTQwSWpCZ0NBT2hJVEUzTzVNYVlEWTBrNGt4VXJWa2lTTE12NlNJd2xBUURRcU5DSUFRQ2dqbFE4RzhiaDRGY3Nxc1pZRWdBQWpSdWZFZ0VBcUJ1TUphRldHRXNDQUtCeG94RURBRUFkWUN3SnRjVllFZ0FBalJ1TkdBQUE2b0JsV1RkS2pDV2haaFhIa2lSOWFHY3RBQURBSG54U0JBRGcvRGtzeTdwQllpd0pOYXM0bHBTYW12cUQzZlVBQUFEL0M3YTdBQUJBL1JVVEU5UE9zcXlwVlQzbWREcWZxSGpmR0pPWW5wNisxeStGK1JsalNhZ3R4cElBQUFDTkdBREFPU3N1TGo3WXRHblQzMHVLcnVMaFdSVnVIM1k0SEgvMFUxbCt4MWdTYW9PeEpBQUFJREdhQkFBNER4czJiQ2cyeHZ5akZydCtuSnFhZXNMbkJkbURzU1RVQ21OSkFBQkFvaEVEQURoUGxtVWwxMkszMnV4VEx3MFlNT0FLeHBKUUd5dFhycFFrR1dPU3hGZ1NBQUNORm8wWUFNQjVpWXFLV2lIcFdBMjdITTNMeTF2aHIzcjh6ZUZ3SkVpTUphRm1Iby9IMjRoeE9CeEpOcGNEQUFCc3hDZEdBTUI1V2JWcVZhR2tSZFU5YmxuV29xMWJ0eGI1c1NSL1lpd0p0Y0pZRWdBQUtFY2pCZ0J3M293eDFZNGVlVHdleHBMUTZER1dCQUFBeXRHSUFRQ2N0OUxTMHFXU0NxcDRxS0MwdEhTWnYrdnhGOGFTVUJ1TUpRRUFnSXI0MUFnQU9HK1ptWm41a3FwcXVDdzkrVmhENUpEa2JjUUExV0VzQ1FBQVZFUWpCZ0JRVjA0YlFhcmxOeXJWU3dNR0RMaENVbnZHa25BbWpDVUJBSUNLYU1RQUFPcUVaVm1MSkoyb3NLazRPRGk0Mm92NDFuZU1KYUUyR0VzQ0FBQ25zdXd1QUFEUWNNVEV4Q3kyTEd2Y3lidUwwOUxTcnJXMUlCOXl1VnhaeHBnT2R0ZUJlbU5YV2xwYUY5WGpNMktjVG1lOXJiMmhTRXRMNDdNN0FEUUFMT0VCQU9wU2NqVzNHeHlQeDdQVjdocFFyN3ltZXR5RWtTUmp6Q3E3YTJqTWVQOEJvT0dncXc0QXFET1hYWFpacTVLU2tvT1NGQndjZk1FUFAveVFZM2ROQUFBQUFBQUFEWmJUNlZ3UkV4T3ozTzQ2QUFBQWdFQVViSGNCQUlDR3hSaVRiRmxXdlI3QkFBQUFBSHlGUmd3QW9FNkZoSVFzdExzR0FBQUFBQUFBQUFBQUFBQUFBQUFBQUFBQUFBQUFBQUFBQUFBQUFBQ0FzMlhaWFlDL09aM08vNWIwbk4xMW9INHd4cXhLVDA4ZmJuY2RBQUFBQUlDR3dXRjNBWDVtU2JySDdpSlFmMWlXRld0M0RRQUFBQUNBaHFOUmZYMjEwK204WEZMSE5tM2FhUEhpeGJLc1JuZENFR3BwOXV6WmV1Kzk5eVRwQmJ0ckFRQUFBR0N2OFBEd2dhR2hvZjBPSFRvMHorNWFVUDgxcWthTVpWa0p4aGhkZmZYVk5HRlFMWS9IbzVVclYwcVNqREZKTnBjREFBQUF3R1pSVVZFakpKbCsvZm9kUFBXeDdPenNaOXEyYmZ0RXhXMFpHUmt0L0ZVYjZwL0cxSWl4akRFSmtqUnk1RWk3YTBFQVc3ZHVuWDc1NVJkWmxyVTdMUzN0ZTd2ckFRQUFBR0N2OFBEdy84akp5WGsxT0RpNDFjYU5HenNVRkJSa1N3cHlPcDJGMmRuWkwyWm5aNzk0Y3RkUXA5TlpZR2V0Q0h5TjVob3hGY2VTTHJua0VydkxRUUE3NVd3WWo3M1ZBQUFBQUxCWjA2aW9xQkZIamh4Wkkwa0ZCUVdsa2tva2xkcGJGdXFyUnRPSXNTd3JRUkpqU2FnUlkwa0FBQUFBS29xT2poN2xjRGdpSkIyeXV4WTBESTFsTk1uQldCSnFvM3dzU1ZKV2VubzZZMGtBQUFCQUl4Y2RIWDE3eGZ2OSsvZmZMTW1VMzIvWHJ0MnpyVnUzL3AzZkMwTzkxU2dhTVU2bjh6SXhsb1JhS0Q4YlJ0SkhZaXdKQUFBQWFOVEN3c0k2aG9XRjlhbTRMU01qbzZlay9TZnZoa29xM0x0Mzc4TVZudFBCanlXaUhtb1VqUmkrTFFtMXdWZ1NBQUFBZ0lwYXRXcjFRRTVPenJ4MjdkbzlWOVhqb2FHaEYxNTg4Y1dyVDkyZW1ablpYbEtSend0RXZkUVlHakdNSmFGV0dFc0NBQUFBY0lxaS9mdjN6Nm5ZaUtrNG1yUnAwNlpCT1RrNS8xZGNYTHozd0lFRHIwbHFkdW1sbDI0VlRSalVvTUUzWWhoTFFtMHhsZ1FBQUFDZ290Mjdkejk2NnJaVFJwT1VuNS8vUTRzV0xXNDhjT0RBYTVHUmtiSEhqaDM3cDErTFJMM1RHTDQxNlVhcDdHd1l4cEpRSFkvSG84OCsrNno4N29kMjFnSUFBQUFnWUpTY2FZZmMzTnpQSWlNall5V0Z0MjdkK3JiRGh3OHY4SDFacU04YWVpUEdJZWtHcWV4cnF3Tk5abWFtZnZqaGh5b2ZXN2R1bmViT25TdVA1OHduWmhoamRPREFnVHFwS1RzN1cyKzg4WVlrNlp0dnZ0R3hZOGRPMitmWXNXUFYxclZ1M1RxVmxwYldTUzMrdEc3ZE9tVm5aMHRTVmxwYUdtTkpBQUFBQUtyVXYzLy96ZjM3OTgvdDM3OS9idS9ldlRNbEhjdk56VjNZdVhQbk4wTkRRL3ZrNXViKzNlNGFFZGdhZENNbTBNZVN2dnp5UzIzZXZQbTA3UWNPSE5EOTk5K3Z2L3psTC9yd3d6T2ZuUEhwcDU4cVBqNWVHelpzT08rYWNuTnpOWGZ1WEVuU21qVnJkT09OTnlvMU5iWFNQak5uenRUTEw3OWM1Zk1uVHB5b28wZVBubmNkL25iS1dKS3BZVmNBQUFBQWpWaEdSa2JQakl5TUZoa1pHUzAyYnR6WVQ1S09Iei8rZmF0V3JmNHJMeTl2aGJqTUFjNmdvVjhqSnFESGtyWnMyYUpKa3laVjJwYWJtNnU3Nzc1Ymd3WU4wdVRKa3pWNThtUVpZM1R6elRkWGU1d3hZOFpvOSs3ZG1qNTl1ajc0NEFORlJrYWVjMDJob2FFeXhxaTB0RlQzM1hlZit2VHBvNktpZjE5bmF1UEdqVnE3ZHExbXpab2xTWHIwMFVmMTNYZmZWVHBHWEZ4Y3BmZjc4ODgvUCtkNi9JR3hKQUFBQUFEbklLSmx5NWJYWEhEQkJYZDZQQjZ6WmN1V1lXM2F0UG52WHIxNi9aQ2RuZjNDNGNPSDM3ZTdRQVNtaHR5SUNlaXhwQ3V2dkZMNStmbkt5TWp3Ym52MDBVZjF4aHR2cUZPblRucmlpU2NVRWhLaU45NTRRL2ZkZDU4eU16TTFmZnAwdFd6WnNzcmpUWjQ4V1dscGFYcmxsVmYweUNPUDFQamFPM2JzVUh4OGZJMzdYSGJaWlpYdXg4YkdhdmJzMlhyaGhSZDAzMzMzcVhuejVscTBhSkVlZXVnaFJVVkZlZmR6dVZ4YXVIQ2hXclJvY2FhM0lHQXdsZ1FBQUFDZ0JwNGpSNDRzbHFUYzNOeGtTWVdTMUxScDB3NFJFUkd4V1ZsWkR4Y1VGSHd2U1VlUEh2MHFJaUxpcXFDZ29GQWI2MFdBYTdDTm1KaVltTXNWd0dOSjc3Ly92bWJPbktrNWMrWklraFl1WEtpbm4zNWEzYnAxVTBaR2hzYU1HZVBkdDZpb1NKWmxhZno0OGJyenpqdDF5eTIzVkhuTTNyMTdhLzc4K2JycHBwdlV0V3ZYTTlaUTRTd1FyN3k4UE1YRnhTazVPYmxTTXlVa0pFUi8vL3ZmRlJvYXFna1RKdWpiYjcvVml5KytxQ3V2dkZJalJveW9kSXlLWjhRODlOQkRHajE2OUpuZkVCdVZqeVZabHBVa3hwSUFBQUFBVk9iWnRtM2J0WkswZmZ2Mkc4bzNGaFVWYmM3S3lycnIxSjN6OC9OUC8wTUxxS0RCTm1Jc3kwcVFBbmNzS1NNalF6RXhNWm93WVlJKy92aGpSVVpHNnJiYmJ0T2tTWlBrY0ZSOTZaNnZ2dnBLdi9yVnI2bzk1cGRmZnFrV0xWcm9yYmZlMHJQUFBudkdHcW82YXlVOFBGeVMxS1JKRTdWbzBVSjc5dXpSdW5Yck5HYk1HSDN3d1FmYXZYdTNoZzhmcnZ6OGZNMllNVU9Sa1pHVlJvL3EyeGt4RmNlU2pERkpOcGNEQUFBQUFHamdHbW9qSnFESGtpUXBOVFZWSTBlTzFGLy8rbGRKWlEyamhJUUVKU2NuZS9kWnVuU3B0bTdkcXU3ZHUwdVNubi8rZVgzODhjZFZIbS9EaGczYXNXT0gvdS8vL2s5MzNYV1hkdTdjcWM2ZE85ZFlnOHZscW5ULy9mZmYxOFVYWDZ5d3NERGw1dWFxZmZ2MlNrbEpVVlpXbHNhTUdhTVhYM3hSWVdGaGV2Lzk5L1hkZDk4cExpN3V0TE5obWpkdkxyZmJYV2xiWEZ5YzdyMzMzdHE5TVg3R1dCSUFBQUFBd0o4YVpDTW0wTWVTcExKR3pBTVBQRkJwMnkrLy9LSXZ2L3hTVXRrMVpDVHBqanZ1OEc3YnUzZHZ0Y2Ric0dDQkJnOGVMSmZMcGVIRGh5c3hNVkYvL09NZnE5elg0L0VvSkNSRVM1Y3U5VzY3K3VxckZScGFOc2JZcWxVckhUeDRVSVdGaFZxNGNLSCsvT2MvUzVMYXRHbWpyS3dzdmZmZWU1bzNiNTRzeXdyNEMvR2VDV05KQUFBQUFBQi9hcENObUVBZlM1S2svZnYzYThTSUVTb3VMdGJnd1lOMXhSVlhuUE94ZnY3NVp5MWJ0a3l2dnZxcUpHbktsQ202NmFhYjlKdmYvRVo5Ky9ZOWJmK2lvaUkxYTliTU96NVVVbElpajhmamJjUjA2TkJCZS9iczBZSUZDOVNoUXdjTkhEaFFrbFJhV3FwWnMyYnB0dHR1VTdkdTNWUlFVS0RRMEZBTkhEaFFZV0ZocDcxT1FVR0JWcTFhZFY3ZjR1UkxqQ1VCZGNQcGRCcEpTa3RMQzh3ZnVBQUFBRUFBYVlpTkdJZGxXUW5HR0kwY09kTHVXcXBWL3BYUGd3Y1A5dDYrOHNvcmRlT05OMHFTamg4L1hxdmpHR1AwN0xQUHl1Vnk2ZkxMTDVja2RldldUZGRkZDUzKytNYy9hdjc4K1FvT3J2eC84K0hEaDlXcVZTdnYvZkxYaW9pSWtDVDE2TkZEWDMvOXRkYXZYNi9aczJkNzkwdE1URlJtWnFZazZjTVBQL1EyV3FTeU1hcmc0R0M5K3Vxcm1qNTl1cVRUUjU4Q3pmcjE2OHZIa25ZeGxnUUFBQUFBOEljRzE0aUppWW01M0JqVElaREhrazYxZCs5ZUhUNThXRkpaZzBQNjkyalNtY3lkTzFmcjE2L1grKzlYL29yNmUrKzlWL0h4OFhyNTVaZDEvLzMzVjNwc3o1NDk2dENoZy9kK2JtNnVIQTZIOTBLOWd3WU4wcnZ2dnF1cnJycEtnd1lOVW1GaG9YYnQycVdZbUJoTm16Wk5YYnQyVlpjdVhkUzJiZHRLWnh3ZE9uUklTNVlzOFRaaUF0MktGU3NrU1pabGZTVEdrZ0FBQUFEYmxKOWhLeW5mMWtMcW4xS1B4M1ByMnJWcnE3NllLQUpTZzJ2RVZCeExxdTdiaCt4V1hGeXNlKys5VjFsWldTb3VMdFlmL3ZBSGI5UG9iTTZJV2JSb2tkNTg4MDNObkRuenRBdnpSa2RINjdISEh0UDA2ZFBWcmwwNzNYVFRUZDdIZnZ6eFIvWHExVXU1dWJscTFxeVp2di8rKzBwTmxiVnIxMHFTSmt5WUlLbXNVWFRQUGZkbytmTGxsVWFvakRIeWVEemUreGtaR1FvTkRkVXZ2L3hTNDdjN0JRTEdrZ0FBQUlDQXNrN1NwWklpN0M2a3ZuRTRISW1TYU1UVUl3MnRFVk12eHBKQ1FrSjAvLzMzcTFPblRob3hZb1ErK09BRFNXVVhqajMxakpqMzNudnZ0T2NiWXpSLy9ueTk4c29ydXVPT096UisvUGdxWDJmRWlCR2FOR21TL3ZkLy8xZjc5dTNUWFhmZHBTWk5tdWpycjcvV0N5KzhvR2VlZVVaZmZQR0ZIQTZIWnN5WUlXT01Ybm5sRlNVbEpXbllzR0g2OE1NUE5YVG9VTzNidDA5ZHVuVFJqaDA3dEg3OWV2MzAwMC9hdEdtVE5tM2FwTGZlZWt2eDhmSEt6ODlYWW1LaSt2WHJwOS84NWplNjVaWmJkT3V0dDZwcDA2WStlaGZQRDJOSkFBQUFRT0JJUzBzYjBMZHYzM0M3NjZoUFFrTkQ3ekhHUEN1SmhlVjZwa0UxWXVyVFdGTFBuajJyM083eGVGUlNVaUpqeXM3TU8zNzh1UGJ1M2F2czdHenZCWEhmZlBOTnpaMDdWL2ZjYzQ4bVRweFk0K3ZjZmZmZEtpMHQxVHZ2dktPbVRadXFTNWN1aW95TTFDV1hYS0tubjM1YWVYbDVDZzhQbHpGRzA2Wk4wNFlORy9UbW0yK3FTNWN1dXZubW0vWDIyMjlyLy83OTZ0bXpwNVl1WGFxMWE5ZDZteTI5ZS9kV1dGaVlldlRvb1lrVEoycllzR0Y2NUpGSGxKV1ZwYWVlZWtxSER4L1dsVmRlcVFFREJ0VHBlMWNYR0VzQ0FBQUFBb3BudzRZTngrd3VvajV4T3AyOFgvVlVnMnJFV0paMW94VFlZMGsxQ1FrSjBjNmRPelY5K25TTkdUTkcrdi9zM1grUVZmV2RKL3pQYWJvdi9naEVpVkVMSWtPZUdIVU1pbjA3V3BvZnExQ0VRV2RIblZVWjg0UlpqZGJNSStYNkM0ZmRLYTBZRXl0VDYycFZacWZtV1l3cjQ2NWpaRVdKdGo5QUExdFA5N29NQWIzZGRLTkRER3dRUlg3T0NBUFN5SVcrNS9sRDZJQTAwQTNkNTNDN1g2OHF5bnUvMzNQdmVVdUx0L3ZOOTN0T1JEejg4TVB4NFljZnh0Q2hRMlBhdEdrUkVmSGQ3MzQzRVA1TkJRQUFJQUJKUkVGVUxycm9vcmpzc3N0NjlMNTMzbmxuWEhycHBWRXNGdU0vLytmL0hILzJaMzhXRVJFbm5uaGlWN256NFljZnh1Yys5N21ZUFh0MmZQR0xYNHlJaUprelo4WUREendRYTlldWpiLzkyNytOcjM3MXF3ZTg3ei84d3ovRVhYZmRGYi8vKzc4ZmYvbVhmeGxYWEhGRlJFU2NkZFpaOGJPZi9TeCsvdk9meDdScDArS0pKNTdvOXU1TmVkbC9XMUpFek1rekN3QUFBRlNybW9hR2hnK0t4V0xhMXRhVzByM2R1M2YzMlh0MWRuYW03Ny8vL21HUDJiaHhZNStkcjYrMHRiV2x4V0l4TFJhTGF5TEM3WGJoR08zOTgyUmxHUUJBaG9yRjRyL2IrMzNZMythZGhkNnB2bVVqaDFCTjI1THk5TmxiV1IrTG1wcWFPT3Vzc3c1N3pQRjQwVjdia2dBQUFNakxnQ2xpcW4xYkV0bXdMUWtBQUlBOERaVEdvaVpKa3VzajRyaStXeEw1Mi85dVNhVlNhV25lZVFBQUFCaGNCa1FSYzlGRkYxMXFXeEk5c1hEaHdvaUlTTlAwdWJBdENRQUFnSXdOaUNLbXBxYm1oZ2pia2ppOFNxWFNWY1RVMU5ROGwzTWNBQUFBQnFHQjBGcllsa1NQMkpZRUFBQkEzcXEraUxFdGlaNnlMUWtBQUlDOFZYMFJZMXNTUFdGYkVnQUFBTWVEYW04dWFpS2lxNGlCUTdFdENRQUFnT05CVlJjeEYxMTAwYVVSTWNxMkpJN0V0aVFBQUFDT0IxVmR4TmlXUkUvWWxnUUFBTUR4b2pidkFNY2lTWkxyMHpTTm4vLzg1L0h6bi84ODd6Z2MvMnhMQWdBQUlGZFZ2WXlrVXFtc3lqc0RWZVgvRGR1U0FBQUF5RkZWcjRocGJXMGRuM2NHQUFBQWdKNnE2aFV4QUFBQUFOVkVFUU1BQUFDUUVVVU1BQUFBUUVZVU1RQUFBQUFaVWNRQUFBQUFaRVFSQXdBQUFKQVJSUXdBQUFCQVJoUXhBQUFBQUJsUnhBQUFBQUJrUkJFREFBQUFrQkZGREFBQUFFQkdGREVBQUFBQUdWSEVBQUJBRHhXTHhjZUt4V0phWDE5L1c5NVpBS2hPaWhnQUFBQ0FqQ2hpQUFBQUFES2lpQUVBQUFESWlDSUdBQUFBSUNPS0dBQUFBSUNNS0dJQUFBQUFNcUtJQVFBQUFNaUlJZ1lBQUFBZ0k0b1lBQUFBZ0l3b1lnQUFBQUF5b29nQkFBQUF5SWdpQmdBQUFDQWppaGdBQUFDQWpDaGlBQUFBQURLaWlBRUFBQURJaUNJR0FBQUFJQ09LR0FBQUFJQ01LR0lBQUFBQU1xS0lBWUFCcmxnc3BzVmlNYzA3QndBQWloZ0FBQUNBekNoaUFBQUFBREtpaUFFQUFBRElpQ0lHQUFBQUlDT0tHQUFBQUlDTUtHSUFBQUFBTXFLSUFRQUFBTWhJYmQ0QkFBRDZ3aVdYWFBLRlNxVnlRZDQ1R05ncWxjb1ZlV2NBb0xvcFlnQ0FBV0hQbmozdlJzUVg4czRCQUhBNGloZ0FZS0RZVjhJMDU1cUN3ZUNmT3pzN1g4ODdCQURWU1JFREFBd29MUzB0VitTZEFRRGdVRnlzRndBQUFDQWppaGdBQUFDQWpDaGlBT2hTS0JUT2k0aTZ2SE1BQU1CQXBZZ0JvTXZZc1dOWERCMDY5UGZ5emdFQUFBT1ZpL1VDREVManhvM2JlcWk1ODg0N3J5VWlLcDhkMzdsejUvTGYvT1kzMys3WFlBQUFNTUFwWWdBR29iYTJ0bE82R3k4V2krbXZmLzNyNHE1ZHUxWmxuUWtBQUFZRFJRekFJSFhDQ1NlTU9mLzg4MWZ2M3IxNzQ3NngzYnQzYnp6bm5IUCs5NzduU1pJTXFhMnRQYTJscFNYSkp5VUFBQkVSWC8vNjE2OUswL1Q4ZmMvVE5QM20zb2YxRFEwTmY3SGZvZXRLcGRJejJhYWpOeFF4QUlQYzh1WEx6enpVM0w2eUpzczhBQUFjckZLcGZDa2lIdWxtNmh0cG1uNWp2K2VQUklRaTVqaW1pQUVZNUw3MnRhOGRjaHRTa2lRK0p3QUFqZ04xZFhXTnUzZnYvdG1Samt1U1pHNFdlVGg2dnNFR0dPUU9WN1lvWWpoZTFkZlhqMHlTNU0rN215c1dpdy91L3p4TjA4ZGJXMXZYWlJJTUFQckpraVZMTmhhTHhlYUl1UHhReHlSSnNyWlVLcjJaWVN5T2dtK3dBUWE1dDk5K2U4eWg1bXhONG5oVkxwZi9hZWpRb1hkR3hLbmRUUDl3djhkYmFtcHFmcEpSTEFEb1YybWF6azJTNUpCRlRLVlMrVVYwYy9kTGppK0tHSUJCYnV6WXNlOGRhczZLR0k1WDc3enpUcm0rdnY2bEpFbHVPc0toamFWU2FYY21vUUNnbjFVcWxWOE1HVExrYnc1emlHMUpWY0EzMkFDRG5CVXhWS3U5ZStDUFZNVDRoaFNBQWFPdHJlM0RZckc0T0NJdTYyWjYwOWxubjcyb3RiVTE2MWowa2lJR1lKQVpQbno0SDM3NXkxLytlVVRVUkVTTUd6ZHU2MkVPUCtDWXRyYTJVL28vSWZUTThPSERGMnpidHUzamlQamNJUTdadm0zYnRnVlpaZ0tBL3BZa3lkdzBUYnNyWWw1NDdybm5Pak1QUks4cFlnQUdtVzNidHIyNlg2RXk1SlJUVHZuWHA1MTIybTN2di8vK3ZlVnkrUjhqSWthTkd2V1RtcHFhNFI5OTlOR0xPM2JzYUk2SVBma2xodTQxTlRWOVVpd1dYNG1JRzd1YlQ1TGtsVldyVnUzS09CWUE5S3ZPenM2NU5UVTFqMzUydkthbXhpclFLbEdUZHdBQXNuZlNTU2MxZk9sTFgzcjRnZ3N1V0ROcTFLaUh0MjNiOW5LNVhGNnpiMzdMbGkwdnBtbjZ5Wmd4WTU2NDhNSUxONHdlUGZyeFljT0dmVHZQek5DZE5FMFArVTFucFZMeERTa0FBODZ5WmN2ZWk0alNaNGEzcEduYWxIMGFqb1lWTVFDRDBCbG5uREdqczdQems5V3JWMC85K09PUG15TWkzWCsrbzZQanpZNk9qamZYcmwwN1k5aXdZZDg4OWRSVC8vVGtrMCtlc0gzNzlqZHlpZ3pkNnV6c25GOWJXN3N6SWs3OHpOVE96czdPMS9MSUJBRDliZS8ycEliOWhseWN2b29vWWdBR29kV3JWM2U3bGFNNzI3ZHZYN1I5Ky9aRi9aa0hqbFo3ZS91T1lySDRXa1Q4OFdlbTVyZTN0Ky9JSXhNQTlMYzllL2JNSFRKa3lGL3ROMlFWYUJXeE5Ra0FxSFlIZmZPNTk0NUtBREFndGJXMS9TWWl1bGJBdURoOWRWSEVBQUJWTFVtU1YySy9iMFlqb2x4YlcvdEtYbmtBSUF0cG1pN2QrL0NmWEp5K3VpaGlBSUNxVmlxVi9pVk4wLzMvSm5EQmtpVkx0dVVXQ0FBeWtLYnB2OXY3OE44ZDlrQ09PNG9ZQUdBZ21IdUl4d0F3SUMxYnRxd3RJbHFTSkhrNTd5ejBqaUlHQUtoNmRYVjFqZnNlMTliV3ZwUm5GZ0RJU0pxbTZmOVRLcFU2OGc1Qzd5aGlBSUNxdDNUcDBuK09pSVZwbWk3WSt4Z0FCcnpXMXRhMzhzNUE3N2w5TlFBd0lLUnBPamRKa2pUdkhBQUFoNk9JQVFBR2hFS2g4RUxlR1FBQWprUVJBd0FNQ0V1V0xObVlkd1lBZ0NOeGpSZ0FBQUNBakNoaUFBQUFBREtpaUFFQUFBRElpQ0lHQUFBQUlDT0tHQUFBQUlDTUtHSUFBQUFBTXFLSUFRQUFBTWlJSWdZQUFBQWdJNG9ZQUFBQWdJd29ZZ0FBQUFBeVVwdDNnR3BUWDErL0pFbVNTL0xPTVZpbGFkclUydG82UHU4Y0FBQUFjRFNzaU9rbEpVeStraVM1SXU4TUFBQUFjTFNzaURsS3BWSXA3d2lEVGtORFE5NFJBQUFBNEpoWUVRTUFBQUNRRVVVTUFBQUFRRVlVTVFBQUFBQVpVY1FBUUpVcEZBcm5SVVJkM2prQUFPZzlSUXdBVkpteFk4ZXVHRHAwNk8vbG5RTUFnTjV6MXlRQU9FNk5HemR1NjZIbXpqdnZ2SmFJcUh4MmZPZk9uY3QvODV2ZmZMdGZnd0VBY05RVU1RQnduR3ByYXp1bHUvRmlzWmorK3RlL0x1N2F0V3RWMXBrQUFEZzJpaGdBT0k2ZGNNSUpZODQvLy96VnUzZnYzcmh2YlBmdTNSdlBPZWVjLzczdmVaSWtRMnByYTA5cmFXbEo4a2tKQUVCUEtXSUFvQW9zWDc3OHpFUE43U3Ryc3N3REFNRFJVY1FBUUJYNDJ0ZStkc2h0U0VtUytEd0hBS2dTdm5FRGdDcHd1TEpGRVFNQVVEMTg0NWF4OXZiMitPU1RUK0tTU3k0NWFHNzU4dVd4ZE9uUytQNzN2eDgxTlQyN3MzaEhSMGU4OGNZYjhRZC84QWQ5SFJXQTQ4amJiNzg5NWxCenRpWUJBRlFQUlV6R21wdWI0NVJUVGptb2lObThlWE5Nbno0OWR1N2NHU2VmZkhMY2VPT05QWHEvVFpzMnhYMzMzYWVJQVJqZ3hvNGQrOTZoNXF5SUFRQ29IajFiZGtHZldibHlaVnh3d1FVSGpHM2R1alZ1di8zMnVQamlpK09wcDU2S3h4OS9QR2JQbm4zUWE2ZE9uUnJyMTY4LzRqbldyMThmVTZkTzdYVzJSeDU1SkdiTm1oVWZmZlJSakI4L1BuYnYzdDAxZCtlZGQwWkRRME84K2VhYkI3em0rZWVmait1dnZ6NGlJcTY4OHNwNDdiWFhlbjFlQUk3czdiZmZIbk9vWHl0WHJ2eFczdmtBQU9nWmY0T1dvY3N2dnp4MjdOZ1JiVzF0WFdQMzMzOS96Snc1TTBhUEhoMFBQdmhnRkFxRm1EbHpadHgxMTEzUjN0NGVNMmJNaUJFalJrUkV4SW9WSzJMWHJsMUhQTSt1WGJ0aXhZb1Z2Y3BXTHBkajNyeDU4ZGhqajhXcnI3NGE5ZlgxVVZkWEZ4RVJHemR1ak1XTEY4Y3BwNXdTTDc3NFlseDg4Y1ZkcjF1MGFGRmNlKzIxc1hMbHl0aTVjMmRNbURDaFYrY0ZvSHZEaHcvL3d5OS8rY3MvajcxL2FUSnUzTGl0aHpuOGdHUGEydHBPNmYrRUFBQWNEVVZNaG1iUG5oMFBQUEJBUFBIRUV4RVI4Y0lMTDhSRER6MFVYL25LVjZLdHJTMG1UNTdjZGV5dVhic2lTWks0K3VxcjQ3YmJianVxRlM2OTBkVFVGSFYxZFhIT09lZkUvZmZmZjhEV3FNYkd4dmpjNXo0WE45NTRZL3pkMy8xZGJOdTJMWVlQSHg3bGNqbGFXMXZqQnovNFFiejAwa3N4ZWZMa0tCUUsvWm9UWUxEWXRtM2JxL3NWS2tOT09lV1VmMzNhYWFmZDl2Nzc3OTliTHBmL01TSmkxS2hSUDZtcHFSbiswVWNmdmJoang0N21pTmlUWDJJQUFIcENFWk9odHJhMnFLK3ZqMnV1dVNZYUd4dGoyTEJoY2ROTk44VXR0OXh5eUl2enZ2SEdHM0g2NmFmM2U3WkpreWJGcEVtVEl1TFQ3VWI3VkNxVmFHeHNqTzk4NXp2eFIzLzBSL0d6bi8wc1huMzExZmp1ZDc4YmhVSWhtcHFhSWlMaTVwdHY3dmVNQUlQTlNTZWQxREJpeElncHA1NTY2dmNxbGNySG16ZHYvcHR5dWJ4bTMveVdMVnRlSERGaXhKUXhZOFk4TVdUSWtHRmJ0Mjc5eFpZdFcvNSsrL2J0YitTWkd3Q0FRMVBFWktoVUtzWEVpUlBqNmFlZmpvaUlpUk1ueGcwMzNCQno1ODd0T21iKy9QbXhhdFdxT1B2c3N5TWk0dEZISDQzR3hzYXUrZXV1dTY3YjkyNW9hT2lYekwvNjFhOWl3NFlOY2RWVlY4V1paNTRaeFdJeFhuenh4Zmp1ZDcvYkwrY0Q0SGZPT09PTUdaMmRuWitzWHIxNjZzY2ZmOXdjRWVuKzh4MGRIVzkyZEhTOHVYYnQyaG5EaGczNzVxbW5udnFuSjU5ODhnUkZEQURBOFVzUms2RlNxUlQzM252dkFXT2JObTJLNXVibWlQajBHaklSRWJmZWVtdlgyTHAxNjdxT2Zmbmxsdzk2ejdWcjE4YTBhZE1PbU5zMzFoZGVmUEhGR0RWcVZJd2JOeTRpSXY3d0QvOHdmdnpqSDhmYmI3OGRZOGVPN1pOekFOQzkxYXRYOSt3V2VoR3hmZnYyUmR1M2IxL1VuM2tBQURoMmlwZ01iZGl3SVNaTW1CRGxjamt1dSt5eXVQVFNTM3YxK3BFalJ4NDBWaTZYRDVvYk9YSmtsRXFsWXdzYkVSOTk5RkUwTnpmSG4vN3BuMGFsVW9tSWlQSGp4OGQvL0kvL01WNTQ0UVZGREFBQUFQU1MyMWRuYVBIaXhiRjQ4ZUlvRkFxeGVQSGkrT2xQZnhvUkVWT21USWtwVTZaRVIwZkhZVi9mME5BUTc3MzNYby9PMVp0akQrV1ZWMTZKUFh2MnhKTlBQaG1YWEhKSlhITEpKVEYrL1Bnb2w4dnh5MS8rOG9oNUFRQUFnQU5aRVpPVGRldld4Wll0V3lJaVlzNmNPUkh4dTYxSng0c1hYM3d4THJ6d3dwZ3hZOFlCNHl0WHJvd2YvL2pIOGN0Zi9qS3V2ZmJhbk5JQkFBREhpMkt4bUVaRXRMUzBKSGxuZ2VPZElpWWo1WEk1N3Jqamp2amdndytpWEM3SFBmZmMwN1cxWjhxVUtSRVJ4OVVLazVhV2xsaXpaazM4NkVjL2l2UFBQLytBdWQvLy9kK1AvLzdmLzN2ODRoZS9VTVFBQUFCQUw5aWFsSkZDb1JEVHAwK1B1WFBuUnFGUWlHZWZmVForOElNZlJNU25LMkxtekprVEo1MTBVa1JFUFBQTU0zbEdqWWhQVjhOODduT2ZpKzk4NXpzSHpTVkpFdGRkZDEyODg4NDdzV3JWcWh6U0FRQUFRSFd5SWlaRDU1NTdicmZqbFVvbDl1elpFMm42NlYxSk96bzZZdDI2ZGJGeDQ4WTQ4Y1FURHpnMnE5dFgvL2pIUHo3cy9QZSs5NzM0M3ZlKzE2Zm5CQUFBZ0lGT0VaT3pRcUVRYTlhc2lSa3pac1RreVpNakl1TGhoeCtPRHovOE1JWU9IWHJBYmFqbnpadlg0L2U5Kys2N28xQW85SGxlQUFBQTRPZ3BZbkt3ZVBIaXJzY0xGaXlJaUlqbm4zKythK3lKSjU3bzluVm5uSEZHajg4eGUvYnNvMHdIQUFBQTlCZlhpQUVBQUFESWlDSUdBQUFBSUNPS0dBQUFBSUNNS0dJQUFBQUFNcUtJQVFBQUFNaUlJZ1lBQUFBZ0k0b1lBQUFBZ0l3b1lnQUFBQUF5b29nQkFBQUF5SWdpQmdBQUFDQWppaGdBQUFDQWpOVG1IYUJhTlRRMDVCMEJBQUFBcURKV3hQUlNtcVpOZVdjWXpQeitBd0FBVU0yc2lPbWwxdGJXOFhsbkFBQUFBS3FURlRFQUFBQUFHVkhFQUFBQUFHUkVFUU1BQUFDUUVVVU1BQUFBUUVZVU1RQUFBQUFaVWNRQUFBQUFaRVFSQXdBQUFKQVJSUXdBQUFCQVJoUXhBQUFBQUJsUnhBQUFBQUJrUkJFREFBQUFrQkZGREFBQUFFQkdGREVBQUFBQUdWSEVBQUFBUUJVb0ZvdHBzVmhNODg3QnNWSEVBQUFBQUdSRUVRTUFBQUNRRVVVTUFBQUFRRVlVTVFBQUFBQVpVY1FBQUFBQVpFUVJBd0FBQUpBUlJRd0FBQUJBUmhReEFBQUFBQmxSeEFBQUFBQmtSQkVEQUFBQWtCRkZEQUFBQUFjb0ZBcm5SVVJkM2psZ0lGTEVBQUFBY0lDeFk4ZXVHRHAwNk8vbG5XT2dVM2dOVHJWNUJ3QUFBQ0FmNDhhTjIzcW91ZlBPTzY4bElpcWZIZCs1YytmeTMvem1OOS91MTJDRHhOaXhZMWU4ODg0N1g5MjFhOWVxdkxPUUhVVU1BQURBSU5YVzFuWktkK1BGWWpIOTlhOS9YVlFROUEyRkYvdFR4QnlGK3ZyNkpVbVNYSkozanNFcVRkT20xdGJXOFhubkFPRDRVU3dXMDRpSWxwYVdKTzhzd1BITi95OE9kc0lKSjR3NS8venpWKy9ldlh2anZySGR1M2R2UE9lY2MvNzN2dWRKa2d5cHJhMDl6ZS9iMFZGNHNUOUZ6RkZRd3VRclNaSXI4czRBQUFBRHpmTGx5ODg4MU55K3NpYkxQQU9Od290OUZESEhvRlFxNVIxaDBHbG9hTWc3QWdBQURFaGYrOXJYRHJrcUkwa1NQenYyRVlVWC9qQUJBQUJ3MkxKRkVkTjNGRjc0SWdNQUFCQnZ2LzMybUVQTldhblJkeFJlK0NJREFBQVFZOGVPZmU5UWN3cUN2cVB3d2g4bUFBQUFGQVFaVVhqaGl3d0FBREFJRFI4Ky9BKy8vT1V2L3p3aWFpSWl4bzBidC9Vd2h4OXd6S0Z1eDh5UktieFF4QUFBQUF4QzI3WnRlM1cvUW1YSUthZWM4cTlQTysyMDI5NS8vLzE3eStYeVAwWkVqQm8xNmljMU5UWERQL3Jvb3hkMzdOalJIQkY3OGt0Y25SUmVmSllpQmdBQVlKQTY2YVNUR2thTUdESGwxRk5QL1Y2bFV2bDQ4K2JOZjFNdWw5ZnNtOSt5WmN1TEkwYU1tREptekpnbmhnd1pNbXpyMXEyLzJMSmx5OTl2Mzc3OWpUeHpWeE9GRjUrbGlBRUFBQmlrempqampCbWRuWjJmckY2OWV1ckhIMy9jSEJIcC92TWRIUjF2ZG5SMHZMbDI3ZG9adzRZTisrYXBwNTc2cHllZmZQSUVSVXp2S0x6WW55SUdBQUJna0ZxOWV2V05QVDEyKy9idGk3WnYzNzZvUC9NTVZBb3Y5cWVJQVFBQWdINms4R0ovTlhrSEFBQUFBQmdzRkRFWmFtOXZqNlZMbDNZN3QzejU4cGcxYTFaVUtwVWV2MTlIUjBlOC92cnJmUlVQQUFBQTZHZUttQXcxTnpmSHUrKytlOUQ0NXMyYlkvcjA2ZkhrazAvR25EbHpldngrbXpadGl2dnV1Njh2SXdJQUFBRDlTQkdUb1pVclY4WUZGMXh3d05qV3JWdmo5dHR2ajRzdnZqaWVldXFwZVB6eHgyUDI3TmtIdlhicTFLbXhmdjM2STU1ai9mcjFNWFhxMUY1bmUrU1JSMkxXckZueDBVY2Z4Zmp4NDJQMzd0MFJFYkZ3NGNKb2FHam8rdlh0YjM4Nzdybm5ubGkzYnQwQnIzLysrZWZqK3V1dmo0aUlLNis4TWw1NzdiVmVad0FBQUlDQnpzVjZNM0w1NVpmSGpoMDdvcTJ0cld2cy92dnZqNWt6WjhibzBhUGp3UWNmakVLaEVETm56b3k3N3JvcjJ0dmJZOGFNR1RGaXhJaUlpRml4WWtYczJyWHJpT2ZadFd0WHJGaXhvbGZaeXVWeXpKczNMeDU3N0xGNDlkVlhvNzYrUHVycTZnNDQ1ckhISG9zenpqZ2pQdmpnZzNqa2tVZml6anZ2ak9lZWV5NlNKSW1JaUVXTEZzVzExMTRiSzFldWpKMDdkOGFFQ1JONmxRRUFBQUFHQXl0aU1qSjc5dXk0NktLTG9ybTVPWnFibStQdXUrK09oeDU2S0Q3LytjOUhXMXRiVEo0OE9TWk1tQkRUcGsyTDdkdTNSNUlrY2ZYVlY4ZlRUei9kNzltYW1wcWlycTR1empubm5HaHNiSXh2Zk9NYkJ4MXo1cGxueHVqUm8rT2IzL3htM0h6enpiRjY5ZXJZdEdsVFJIeGE1TFMydHNaVlYxMFZpeFl0aXNtVEowZWhVT2ozM0FBQUFGQnRySWpKU0Z0Ylc5VFgxOGMxMTF3VGpZMk5NV3pZc0xqcHBwdmlsbHR1aVpxYTd2dXdOOTU0STA0Ly9mUit6elpwMHFTWU5HbFNSSHk2eGVoSXl1VnlGQXFGK1B6blB4OFJFWVZDSVpxYW1pSWk0dWFiYis2dm1BQUFBRkQxRkRFWktaVktNWEhpeEs0VkxoTW5Ub3diYnJnaDVzNmQyM1hNL1Buelk5V3FWWEgyMldkSFJNU2pqejRhalkyTlhmUFhYWGRkdCsvZDBORFFqOGtQOU82Nzc4YmYvLzNmeDUvOTJaL0ZDU2Vja05sNUFRQUFZQ0JReEdTa1ZDckZ2ZmZlZThEWXBrMmJvcm01T1NJK3ZZWk1STVN0dDk3YU5iYi9CWEZmZnZubGc5NXo3ZHExTVczYXRBUG05bzMxdFJ0dXVDSFNOSTA5ZS9iRWhSZGVtR241QXdBQUFBT0ZJaVlqR3pac2lBa1RKa1M1WEk3TExyc3NMcjMwMGw2OWZ1VElrUWVObGN2bGcrWkdqaHdacFZMcDJNSjI0Ni8vK3EvanpEUFBqSTZPamxpK2ZIbmNmZmZkY2UyMTE4WmRkOTNWNStjQ0FBQ0FnVW9SazVIRml4ZEhSTVJsbDEzVzlmanl5eStQS1ZPbVJFUkVSMGZIWVYvZjBOQVFjK2ZPalRGanhoenhYTDA1dHFkR2pSb1ZaNTExVmtSRW5ILysrWkdtYVR6NjZLUHgvZTkvUDRZUEg5NW41d0VBQUlDQlRCR1RnM1hyMXNXV0xWc2lJbUxPbkRrUjhidXRTZFVpVGRPOEl3QUFBRURWVWNSa29Gd3V4eDEzM0JFZmZQQkJsTXZsdU9lZWUyTHMyTEVSRVQxZUVaTzNEUnMyUk1Tbi95N0xsaTJMbi8zc1ovRUhmL0FIVnNNQUFBQkFMeWhpTWxBb0ZHTDY5T2t4ZXZUb21EQmhRano3N0xNUkViRnc0Y0tEVnNRODg4d3p1ZVU4bk50dXV5MGlJb1lNR1JLalJvMktxVk9ueGswMzNaUnpLZ0FBQUtndWlwaU1uSHZ1dWQyT1Z5cVYyTE5uVDlkV240Nk9qbGkzYmwxczNMZ3hUanp4eEFPT3plUDIxUk1uVHV5WGkvOENRSC80K3RlL2ZrWGVHUmdjS3BYSzlwYVdscGFJc0Y4YmdGNVJ4T1NvVUNqRW1qVnJZc2FNR1RGNTh1U0lpSGo0NFlmand3OC9qS0ZEaHg1d0crcDU4K2IxK0gzdnZ2dnVLQlFLZlo0WEFJNTNsVXJsLzhzN0E0TkhzVmg4dEtXbFpVYmVPUUNvTG9xWWpPMjdZMUpFeElJRkN5SWk0dm5ubis4YWUrS0pKN3A5M1Jsbm5OSGpjOHllUGZzbzB3RkExZnBSUkZ5UmR3Z0dqWDEzV2ZpL2NrMEJRRlZTeEFEQUFGSmZYejh5U1pJLzcyNnVXQ3crdVAvek5FMGZiMjF0WFpkSnNIN1cwdEx5WU40WkdEejIvbG42WVVRc3p6a0tNSUFOMXMvMHdVQVJBd0FEU0xsYy9xZWhRNGZlR1JHbmRqUDl3LzBlYjZtcHFmbEpSckVBZ0Y3eW1UNXcxZVFkQUFEb08rKzg4MDQ1VGRPWGVuQm9ZNmxVMnQzdmdRQ0FvK0l6ZmVDeUlnYUFIcXV2ci8rOUpFbmU2MjZ1V0N3ZWNPZVFORTNIdExhMnJza2tHQWRJa21SdVJOeDBoTVBtWnBFRkFEaDZQdE1ISml0aUFPaXgxdGJXTldtYUxqM1NjV21hTGxYQzVHZjQ4T0VMSXVMand4eXlmZHUyYlF1eXlnTUFIQjJmNlFPVElnYUFYdG43TnpOSE91YjVJeDFELzJscWF2b2tJbDQ1MUh5U0pLK3NXclZxVjRhUkFJQ2o0RE45WUZMRUFOQXJQU2xpaGd3WllvbHN6dEkwUGVUWG9GS3ArUG9BUUpYd21UN3dLR0lBNkpWU3FmUi9JcUx0VVBOSmtpeDc4ODAzZjV0aEpMclIyZGs1UHlKMmRqTzFzN096ODdXczh3QUFSOGRuK3NDamlBR2cxdzYzS3NiZnpCd2YydHZiZDBSRWQ5K2N6ZDg3QndCVUFaL3BBNDhpQm9CZU8xelowcE90UzJUbW9LK0ZydzhBVkNXZjZRT0kyMWNEMEd1dHJhMy9XQ3dXZngwUjUzMW1ha1ZMUzh1S1BESnhzQ1JKWGtuVGRIZEUxTzBkS3RmVzFoN3lnbjlBOXhvYUd2N3ZORTNQMmZjOFRkTXJraVNKTkUydktCYUxEKzRiVDVMa042VlM2WmxjUXRLdCt2cjZrVW1TL0hsM2MvdC83U0lpMGpSOXZMVzFkVjBtd2FDWGZLWVBMSXFZWTlEUTBKQjNCSUE4elkySSsvY2Y4RGN6eDVkU3FmUXY5ZlgxQzVJa3VXcnYwSUlsUzVac3l6VVVWS2VSRWZIRGZVK1NKTm4zejhzajR2TDlqdnVMYkdOeEpPVnkrWitHRGgxNlowU2MyczMwRC9kN3ZLV21wdVluR2NXQ1h2T1pQckRZbW5RVTBqUnR5anZEWU9iM0g0NFBOVFUxQjVVdW5aMmRpcGpqejl4RFBBWjZhUGZ1M1QzNnMrUC9nY2VmZDk1NXA1eW02VXM5T0xTeFZDcnQ3dmRBY0d4OHBnOFFWc1FjaGRiVzF2RjVad0RJMjF0dnZiV3NvYUZoZFpxbVg5NDc5TnRseTVZZDhtNUs1S091cnE1eHo1NDlzeUlpYW10cmUvTERDUEFaN2UzdHE0dkZZa3RFRkE5eldHblpzbVh2WlJTSlh0aTdXdk9tSXh6bWgxcU9lejdUQnc0cllnQTRXbW1hcHAvOW01azByekIwYituU3BmOGNFUXZUTkYydzl6RndkQTc3ZzdxdG1jZXY0Y09ITDRpSWp3OXp5UFp0MjdZdHlDb1BIQzJmNlFPSElnYUFZOUgxZzRjZlFvNWZhWnJPOWZXQlk5UGRkc3o5N2Rteng1K3g0MVJUVTlNbkVYSElpNW9tU2ZMS3FsV3JkbVVZQ1k2YXovU0JRUkVEd0ZGcmFXbFpHaEVmSmtteXRsUXF2WmwzSHJwWEtCUmVxS3VyZXpIdkhGRE4zbnJyclhlVEpIbm5FTk52dDdXMS9TYlRRUFRLWjFad0hxQlNxZmlobHFyaE0zMWdjSTBZQUk1RkpVbVNYMVFxbFRRaUtubUhvWHRMbGl6Wm1IY0dHQWdxbGNyY0pFbSsxczJVSCtTUGM1MmRuZk5yYTJ0M1JzU0puNW5hMmRuWitWb2VtZUJvK0V3ZkdLeUlBZUNZVkNxVjU1TWtlVDd2SEFEOTdWRGJBV3dUT1A2MXQ3ZnZpSWp1Q3BmNWUrY0FNcU9JQWVDWW5IMzIyWXUrOHBXdi9FUGVPUUQ2VzB0THkvS0lXUFdaNFpXbFV1bnRQUExRYXdjVlprbzBJQSsySmdGd1RKNTc3cm5PdkRNQVpDUk5rbVJ1bXFiL29XdmcwMnVQdUdOY0ZVaVM1SlUwVFhkSFJOM2VvWEp0YmUwaEwrTExvZFhYMTQ5TWt1VFB1NXNyRm9zUDd2ODhUZFBIVzF0YjEyVVNES3FFSWdZQUFIcW9zN056YmsxTnpYL1liOGlLaWlwUktwWCtwYjYrZmtHU0pGZnRIVnF3Wk1tU2JibUdxbExsY3ZtZmhnNGRlbWRFbk5yTjlBLzNlN3lscHFibUp4bkZncXBoYXhJQUFQVFFzbVhMM3RyL2VXdHJheW12TEJ5VnVZZDRUQys4ODg0NzVUUk5YK3JCb1kybFVtbDN2d2VDS3FPSUFRQ0Fua3NqWWw4WjgxYllsbFJWNnVycUd2YzlycTJ0N1VtUndDSDA4UG82eWk3b2hpSUdBQUI2b2FhbTV1NklpRXFsY2xmZVdlaWRwVXVYL25ORUxFelRkTUhleHh5bDRjT0hMNGlJanc5enlQWnQyN1l0eUNvUFZCTkZEQUFBOU1KYmI3MjFPQ0xlV3JaczJhL3l6a0x2cFdrNjE5MlNqbDFUVTlNbkVYSElpeDBuU2ZMS3FsV3JkbVVZQ2FxR2kvVUNBRUR2VkNMaTFyMy9wTW9VQ29VWDhzNHdVT3d0dFc3c2JxNVNxU2k3NEJDU3ZBTUFBQUJRZlM2ODhNS1RhMnRyTjBmRWlaK1oycmxuejU0dnRyZTM3OGdqRnh6dmJFMENBQUNnMS9ZV0xhOTFNelZmQ1FPSHBvZ0JBQURnYUIyMEJjazFlT0R3RkRFQUFBQWNsU1JKWG9tSTNmc05sV3RyYXc5NUVWOUFFUU1BQU1CUktwVksvNUttNmY2M3FWNndaTW1TYmJrRmdpcWdpQUVBQU9CWXpEM0VZNkFiaWhnQUFBQ09XbDFkWGVPK3g3VzF0Uy9sbVFVQUFBQmd3Q3NXaXd2cTYrdC9tWGNPcUFhMWVRY0FBQUNndXFWcE9qZEpralR2SEZBTkZER0o5WWVYQUFBZ0FFbEVRVlFBQUFBY2swS2g4RUxlR1FBQUFBQUFEcERrSGFBYTFkZlhMMG1TNUpLOGN3eFdhWm8ydGJhMmpzODdCd0FBQVBTV3V5WWRCU1ZNdnBJa3VTTHZEQUFBQUhBMFhDUG1HSlJLcGJ3akREb05EUTE1UndBQUFJQ2paa1VNQUFBQVFFWVVNUUFBQUFBWlVjUUFBQUFBWkVRUkF3QUFBSkFSUlF3QUFBQkFSaFF4QUFBQUFCbFJ4QUFBQUFCa1JCRURBQUFBa0JGRkRBQUFBRUJHRkRFQUFBQUFHVkhFQUFBQUFHUkVFWk9oOXZiMldMcDBhYmR6eTVjdmoxbXpaa1dsVXVueCszVjBkTVRycjcvZVYvRUFBQUNBZnFhSXlWQnpjM084Kys2N0I0MXYzcnc1cGsrZkhrOCsrV1RNbVRPbngrKzNhZE9tdU8rKysvb3lJZ0FBQU5DUEZERVpXcmx5WlZ4d3dRVUhqRzNkdWpWdXYvMzJ1UGppaStPcHA1Nkt4eDkvUEdiUG5uM1FhNmRPblJycjE2OC80am5XcjE4ZlU2ZE83WFcyUng1NUpHYk5taFVmZmZSUmpCOC9QbmJ2M24zQS9KSWxTMkw2OU9ueG5lOThKeTYrK09MNFYvL3FYOFZOTjkwVW16WnRpb2lJNTU5L1BxNi8vdnFJaUxqeXlpdmp0ZGRlNjNVR0FBQUFHT2hxOHc0d1dGeCsrZVd4WThlT2FHdHI2eHE3Ly83N1krYk1tVEY2OU9oNDhNRUhvMUFveE15Wk0rT3V1KzZLOXZiMm1ERmpSb3dZTVNJaUlsYXNXQkc3ZHUwNjRubDI3ZG9WSzFhczZGVzJjcmtjOCtiTmk4Y2VleXhlZmZYVnFLK3ZqN3E2dXE3NVJ4OTlOSjU3N3JtNC92cnI0M3ZmKzE1ODRRdGZpQzFidHNTU0pVdGl6NTQ5RVJHeGFOR2l1UGJhYTJQbHlwV3hjK2ZPbURCaFFxOHlBQUFBd0dDZ2lNbkk3Tm16NDRFSEhvZ25ubmdpSWlKZWVPR0ZlT2loaCtJclgvbEt0TFcxeGVUSms3dU8zYlZyVnlSSkVsZGZmWFhjZHR0dFI3WENwVGVhbXBxaXJxNHV6am5ubkxqLy92dmp4aHR2N0pyN0gvL2pmOFNjT1hQaWIvN21iK0xTU3kvdEdoOHpaa3pVMTlkSHhLZEZUbXRyYS96Z0J6K0lsMTU2S1NaUG5oeUZRcUZmTXdNQUFFQTFVc1JrcEsydExlcnI2K09hYTY2SnhzYkdHRFpzV054MDAwMXh5eTIzUkUxTjl6dkUzbmpqalRqOTlOUDdQZHVrU1pOaTBxUkpFZkhwRnFOOUtwVksvTmYvK2wvajMveWJmM05BQ2ZOWmhVSWhtcHFhSWlMaTVwdHY3cytvQUFBQVVOVVVNUmtwbFVveGNlTEVlUHJwcHlNaVl1TEVpWEhERFRmRTNMbHp1NDZaUDM5K3JGcTFLczQrKyt5SStIUkxVR05qWTlmOGRkZGQxKzE3TnpRMDlFdm1YLy82MTdGMTYxYmJqQUFBQUtDUEtHSXlVaXFWNHQ1Nzd6MWdiTk9tVGRIYzNCd1JuMTVESmlMaTFsdHY3UnBidDI1ZDE3RXZ2L3p5UWUrNWR1M2FtRFp0MmdGeis4YjZ3dWJObXlNaTRvdGYvR0tmdkI4QUFBQU1kb3FZakd6WXNDRW1USmdRNVhJNUxydnNzc051OWVuT3lKRWpEeG9ybDhzSHpZMGNPVEpLcGRLeGhkM3J4Qk5QaklpSTdkdTM5OG43QVFBQXdHRG45dFVaV2J4NGNTeGV2RGdLaFVJc1hydzRmdnJUbjBaRXhKUXBVMkxLbENuUjBkRngyTmMzTkRURWUrKzkxNk56OWViWXd6bnZ2UE9pcHFZbWZ2V3JYeDN6ZXdFQUFBQ0ttRnlzVzdjdTNubm5uWWlJbUROblRzeVpNeWRPT3Vta25GTWRiUGp3NFhIbGxWZkcwMDgvSGIvOTdXL3pqZ01BQUFCVno5YWtESlRMNWJqampqdmlndzgraUhLNUhQZmNjMCtNSFRzMklqNWRFUk1SUjF3Ums1Y1pNMmJFcWxXcjR2dmYvMzc4MjMvN2IrUFNTeStOazA4K09UWnUzQmovNjMvOXI3anh4aHZqckxQT3lqc21BQUFBVkFWRlRBWUtoVUpNbno0OVJvOGVIUk1tVElobm4zMDJJaUlXTGx3WWMrYk1pWWpmWGF6M21XZWV5UzFuZDRZTkd4WlBQdmxreko0OU8xNS8vZldZTld0VzdObXpKMDQ3N2JRWU4yNWNEQnMyTE8rSUFBQUFVRFVVTVJrNTk5eHp1eDJ2VkNxeFo4K2VTTk0wSWo1ZEdiTnUzYnJZdUhGajE4Vnk5OG42OXRYN0RCMDZORzYrK2VhNCtlYWIrL1U4QUFBQU1OQXBZbkpVS0JSaXpabzFNV1BHakpnOGVYSkVSRHo4OE1QeDRZY2Z4dENoUXcrNERmVzhlZk42L0w1MzMzMTNGQXFGUHM4TEFBQUFISnNrN3dEVnFGZ3NwaEhSWjdlSnB1ZjJyZjVwYVdueDN5NEFBQUJWeDEyVEFBQUFBREtpaUFFQUFBRElpQ0lHQUFBQUlDT0tHQUFBQUlDTUtHSUFBQUFBTXFLSUFRQUFBTWlJSWdZQUFBQWdJNG9ZQUFBQWdJd29ZZ0FBQUFBeW9vZ0JBQUFBeUlnaUJnQUFBQ0FqdFhrSHFHWU5EUTE1UndBQUFBQ3FpQ0xtS0tScDJwUWt5UlY1NXhpczBqUnR5anNEQUFBQXZYUGhoUmQrcWJhMjlvT0krTENscGVWTGVlZkppeUxtS0xTMnRvN1BPd01BQUFCUWZWd2pCZ0FBQUNBamloZ0FBQUNBakNoaUFBQUFBREtpaUFFQUFBRElpQ0lHQUFBQUlDT0tHQUNPU2JGWVRJdkZZcHAzRGdBQXFBYUtHQUFBQUlDTUtHSUFBQUFBTXFLSUFRQUFBTWlJSWdZQUFBQWdJNG9ZQUFBQWdJd29ZZ0FBQUFBeW9vZ0JBQUFBeUlnaUJnQUFBQ0FqaWhnQUFBQ0FqQ2hpQUFBQUFES2lpQUVBQUFESWlDSUdBQUFBSUNPS0dBQUFBSUNNS0dJQUFBQUFNcUtJQVFBQUFNaEliZDRCcWxsOWZmMlNKRWt1eVR2SFlKV21hVk5yYSt2NHZITUFBQUJBVDFrUmN3eVVNUGxLa3VTS3ZETUFBQUJBYjFnUjB3ZEtwVkxlRVFhZGhvYUd2Q01BQUFCQXIxa1JBd0FBQUpBUksySUFBT0E0ZGNrbGwzeWhVcWxja0hjT2dMNVFxVlMrbEhlRzQ0RWlCZ0FBamxONzl1eDVOeUsra0hjT0FQcU9JZ1lBQUk1ZiswcVk1bHhUQVBTdDUvSU9rQ2RGREFBQUhPZGFXbHF1eURzREFIMURFUU5BbjJob2FQaUx2RE1BOUtYT3pzNS9XTFpzMlQva25RT0FnVVVSQThDeDZveUlJV21hUHBKM0VJQytWRk5URXhHUjVKMERnSUZGRVFQQU1hbFVLdGNsU2ZMdHZITUE5S1VrU2U3Tk93TUFBNU1pQm9CanNtelpzc2FJYU13N0IwQmZLaGFMaWhnQStrVk4zZ0VBQUFBQUJndEZEQUFBQUVCR0ZERVphMjl2ajZWTGwzWTd0M3o1OHBnMWExWlVLcFVldjE5SFIwZTgvdnJyZlJVUEFBQUE2RWVLbUl3MU56Zkh1KysrZTlENDVzMmJZL3IwNmZIa2swL0duRGx6ZXZ4K216WnRpdnZ1dTY4dkl3SUFBQUQ5UkJHVHNaVXJWOFlGRjF4d3dOaldyVnZqOXR0dmo0c3Z2amllZXVxcGVQenh4MlAyN05rSHZYYnExS214ZnYzNkk1NWovZnIxTVhYcTFGNW5lK1NSUjJMV3JGbngwVWNmeGZqeDQyUDM3dDBSRWJGdzRjSm9hR2pvK3ZYTmIzNHpycnZ1dXZoUC8ray94ZnZ2djMvUSt6ei8vUE54L2ZYWFIwVEVsVmRlR2ErOTlscXZzd0FBQU1CQTVLNUpHYnI4OHN0ang0NGQwZGJXMWpWMi8vMzN4OHlaTTJQMDZOSHg0SU1QUnFGUWlKa3paOFpkZDkwVjdlM3RNV1BHakJneFlrUkVSS3hZc1NKMjdkcDF4UFBzMnJVclZxeFkwYXRzNVhJNTVzMmJGNDg5OWxpOCt1cXJVVjlmSDNWMWRRY2M4OWhqajhXWlo1NFpuM3p5U2F4WnN5Ym16NThmZi9JbmZ4TC8vdC8vKy9qalAvN2pydU1XTFZvVTExNTdiYXhjdVRKMjd0d1pFeVpNNkZVV0FJREJxTDYrZm1TU0pIL2UzVnl4V0h4dy8rZHBtajdlMnRxNkxwTmdBUFFwUlV5R1pzK2VIUTg4OEVBODhjUVRFUkh4d2dzdnhFTVBQUlJmK2NwWG9xMnRMU1pQbnR4MTdLNWR1eUpKa3JqNjZxdmp0dHR1TzZvVkxyM1IxTlFVZFhWMWNjNDU1OFQ5OTk4Zk45NTQ0MEhIbkhubW1YSFdXV2RGUk1SWHYvclZtRGh4WXJ6ODhzdnhveC85S0w3NHhTL0d0NzcxclNpWHk5SGEyaG8vK01FUDRxV1hYb3JKa3lkSG9WRG8xK3dBQUFOQnVWeitwNkZEaDk0WkVhZDJNLzNEL1I1dnFhbXArVWxHc1FEb1k0cVlETFcxdFVWOWZYMWNjODAxMGRqWUdNT0dEWXViYnJvcGJybmxscWlwNlg2WDJCdHZ2QkdubjM1NnYyZWJOR2xTVEpvMEtTSSszVnJVVTMvMFIzOFVDeGN1akprelo4YTN2dld0S0JRSzBkVFVGQkVSTjk5OGN6OGtCUUFZbU41NTU1MXlmWDM5UzBtUzNIU0VReHRMcGRMdVRFSUIwT2NVTVJrcWxVb3hjZUxFZVBycHB5TWlZdUxFaVhIRERUZkUzTGx6dTQ2WlAzOStyRnExS3M0KysreUlpSGowMFVlanNiR3hhLzY2NjY3cjlyMGJHaHI2TWZuaGZmT2IzNHlISDM0NE9qbzY0cVNUVHNvdEJ3QkF0VXVTWkc1RUhLbUltWHVFZVFDT1k0cVlESlZLcGJqMzNuc1BHTnUwYVZNME56ZEh4S2ZYa0ltSXVQWFdXN3ZHMXEzNzNkYmZsMTkrK2FEM1hMdDJiVXliTnUyQXVYMWpXUmsrZkhoRVJHemZ2bDBSQXdCd0RJWVBINzVnMjdadEgwZkU1dzV4eVBadDI3WXR5RElUQUgxTEVaT2hEUnMyeElRSkU2SmNMc2RsbDEwV2wxNTZhYTllUDNMa3lJUEd5dVh5UVhNalI0Nk1VcWwwYkdGN1lmUG16VEZreUpBNDlkVHV0ak1EQUJ6ZjZ1dnJmeTlKa3ZlNm15c1dpK24rejlNMEhkUGEycnFtdjdJME5UVjlVaXdXWDRtSWd5L1lGeEZKa3J5eWF0V3FJOSs5QVlEamx0dFhaMmp4NHNXeGVQSGlLQlFLc1hqeDR2anBUMzhhRVJGVHBreUpLVk9tUkVkSHgyRmYzOURRRU8rOTkxNlB6dFdiWTQvVi8veWYvek8rL3ZXdnV5Z3ZBRkNWV2x0YjE2UnB1dlJJeDZWcHVyUS9TNWo5em5QSXJVZVZTc1cySklBcVowVk1UdGF0V3hkYnRteUppSWc1YytaRXhPKzJKbFdULy9iZi9sdXNXTEVpWnMyYWxYY1VBSUNqdHZmYUxKY2M0WmllMzlIZ0dIUjJkczZ2cmEzZEdSRW5mbVpxWjJkbjUydFpaQUNnL3loaU1sSXVsK09PTys2SUR6NzRJTXJsY3R4enp6MHhkdXpZaVBoMFJVeEVISEZGVE40MmJOZ1FFUkdmZlBKSi9QYTN2NDJYWG5vcDJ0dmI0Ni8rNnErNi9sMEFBS3BSa2lSejB6UjkrSERIREJreUpKUFZLTzN0N1R1S3hlSnJFZkhIbjVtYTM5N2V2aU9MREFEMEgwVk1SZ3FGUWt5ZlBqMUdqeDRkRXlaTWlHZWZmVFlpSWhZdVhIalFpcGhubm5rbXQ1eUhjOXR0dDBWRXhBa25uQkNqUm8yS2IzempHL0hBQXcvRUdXZWNrWE15QUlCalV5cVYvayt4V0d5TGlISGR6U2RKc3V6Tk45LzhiWWFSNXNabmlwaTlxM1lBcUhLS21BeWRlKzY1M1k1WEtwWFlzMmRQcE9tbjE0THI2T2lJZGV2V3hjYU5HK1BFRXc5Y2tackg3YXNuVHB5WTZjVi9BUUR5c0hkVlRMZEZUTmJYWmttUzVKVTBUWGRIUk4zZW9YSnRiZTByV1dZQW9IOG9ZbkpXS0JSaXpabzFNV1BHakpnOGVYSkVSRHo4OE1QeDRZY2Z4dENoUXcrNERmVzhlZk42L0w1MzMzMjNpK2NDQVBSQ3BWS1pteVRKajd1YnkzbzFTcWxVK3BmNit2b0ZTWkpjdFhkb3daSWxTN1psbVFHQS9wSGtIYUNhN2J1ZG9kVWkyZHUzQXFpbHBjVi93d0JBbnlrV2l5c2k0cnpQREs5b2FXazVQK3NzOWZYMXR5UkpzdStPQ0xlMHRMUThtWFVHQVBxZTIxY0RBTUR2SExUeUphOXJzOVRWMVRYdWUxeGJXL3RTSGhrQTZIdUtHQUFBMkt1bXB1YWcwcVd6c3pPWEltYnAwcVgvSEJFTDB6UmRzUGN4QUFPQUlnWUFBUFo2NjYyM2xpVkpzbnEvb2Q4dVc3YXNMYTg4YVpyT2RiY2tnSUZGRVFNQUFMK1RwbW02Zi9FeE55TFN2TUlVQ29VWDZ1cnFYc3pyL0FEMFBYZE5BZ0NBQTgyTmlMK0l5Ty82TVBzc1diSmtZNTduQjZEdldSRURBQUQ3YVdscFdSb1JIeVpKc3JaVUtyMlpkeDRBQmhZcllnQUE0RUNWSkVsK1VhbFUwb2lvNUIwR2dJRkZFUU1BQUo5UnFWU2VUNUlrdDJ2REFEQndLV0lBQU9BenpqNzc3RVVSRVMwdExYbEhBV0NBVWNRQUFNQm5QUGZjYzUxNVp3QmdZSEt4WGdBQUFJQ01XQkhUQnhvYUd2S09BQUFBQUZRQksyS09RWnFtVFhsbkdNejgvZ01BQUFBQUFBQUFBQUFBQUFBQUFBQUFBQUFBQUFBQUFBQUFBQUFBQUFBQUFBQUFBQUFBQUFBQUFBQUFBQUFBQUFBQUFBQUFBQUFBQUFBQUFBQUFBQUFBQUFBQUFBQUFBQUFBQUFBQWtKc2s3d0RWckw2K2ZrbVNKSmZrbldPd1N0TzBxYlcxZFh6ZU9RQUFBS0NuYXZJT1VNMlVNUGxLa3VTS3ZETUFBQUJBYjlUbUhXQWdLSlZLZVVjWWRCb2FHdktPQUFBQUFMMW1SUXdBQUFCQVJoUXhBQUFBQUJsUnhBQUFBQUJrUkJFREFBQUFrQkZGREFBQUFFQkdGREVBQUFBQUdWSEVBQUFBQUdSRUVRTUFBQUNRRVVVTUFBQUFRRVlVTVFBQUFBQVpVY1FBQUFBQVpFUVJrNVAyOXZaWXVuUnB0M1BMbHkrUFdiTm1SYVZTNmZIN2RYUjB4T3V2djk1WDhRQUFBSUIrb0lqSlNYTnpjN3o3N3JzSGpXL2V2RG1tVDU4ZVR6NzVaTXlaTTZmSDc3ZHAwNmE0Nzc3NytqSWlBQUFBME1jVU1UbFp1WEpsWEhEQkJRZU1iZDI2Tlc2Ly9mYTQrT0tMNDZtbm5vckhIMzg4WnMrZWZkQnJwMDZkR3V2WHJ6L2lPZGF2WHg5VHAwN3RkYlpISG5ra1pzMmFGUjk5OUZHTUh6OCtkdS9lSFJFUkN4Y3VqSWFHaG9OKy9aZi84bDhpSXVMNTU1K1A2NisvUGlJaXJyenl5bmp0dGRkNmZXNEFBQUFZeUdyekRqQVlYWDc1NWJGang0NW9hMnZyR3J2Ly92dGo1c3laTVhyMDZIand3UWVqVUNqRXpKa3o0NjY3N29yMjl2YVlNV05HakJneElpSWlWcXhZRWJ0MjdUcmllWGJ0MmhVclZxem9WYlp5dVJ6ejVzMkx4eDU3TEY1OTlkV29yNitQdXJxNkE0NTU3TEhINHN3enoreDYvdm5QZno0aUloWXRXaFRYWG50dHJGeTVNbmJ1M0JrVEprem8xYmtCQUFCZ29MTWlKZ2V6WjgrT2l5NjZLSnFibTZPNXVUbnV2dnZ1ZU9paGgrTHpuLzk4dExXMXhlVEprMlBDaEFreGJkcTAyTDU5ZXlSSkVsZGZmWFU4L2ZUVC9aNnRxYWtwNnVycTRweHp6b25HeHNiNHhqZStjZEF4WjU1NVpweDExbGxkdjRZUEh4N2xjamxhVzF2anFxdXVpa1dMRnNYa3laT2pVQ2owZTE0QUFBQ29KbGJFNUtDdHJTM3E2K3ZqbW11dWljYkd4aGcyYkZqY2ROTk5jY3N0dDBSTlRmZmQyQnR2dkJHbm4zNTZ2MmViTkdsU1RKbzBLU0krM1dyVVU0VkNJWnFhbWlJaTR1YWJiKzZIWkFBQUFGRDlGREU1S0pWS01YSGl4SzRWTGhNblRvd2JicmdoNXM2ZDIzWE0vUG56WTlXcVZYSDIyV2RIUk1Tamp6NGFqWTJOWGZQWFhYZGR0Ky9kME5EUWo4a0JBQUNBWTZHSXlVR3BWSXA3NzczM2dMRk5telpGYzNOelJIeDZEWm1JaUZ0dnZiVnJiTjI2ZFYzSHZ2enl5d2U5NTlxMWEyUGF0R2tIek8wYjYyczMzSEJESkVuUzlmeXBwNTZLcjM3MXEzMStIZ0FBQUJob0ZERTUyTEJoUTB5WU1DSEs1WEpjZHRsbGNlbWxsL2JxOVNOSGpqeG9yRnd1SHpRM2N1VElLSlZLeHhhMkczLzkxMzk5d01WNnU4c0RBQUFBSEV3Ums0UEZpeGRIUk1SbGwxM1c5Zmp5eXkrUEtWT21SRVJFUjBmSFlWL2YwTkFRYytmT2pURmp4aHp4WEwwNXRxZEdqUm9WWjUxMVZwKzlId0FBQUF3V2lwaWNyVnUzTHJaczJSSVJFWFBtekltSTMyMU5BZ0FBQUFZV1JVekd5dVZ5M0hISEhmSEJCeDlFdVZ5T2UrNjVKOGFPSFJzUjBlTVZNWG5ic0dIREFjK0hEaDJheVIyZEFBQUFvTm9wWWpKV0tCUmkrdlRwTVhyMDZKZ3dZVUk4Kyt5ekVSR3hjT0hDZzFiRVBQUE1NN25sUEp6YmJydnRnT2ZqeG8yTHYvdTd2OHNwRFFBQUFGUVBSVXdPemozMzNHN0hLNVZLN05teko5STBqWWhQVjhhc1c3Y3VObTdjR0NlZWVPSUJ4K1p4KytxSkV5ZjJ5OFYvQVFBQVlMQlF4QnduQ29WQ3JGbXpKbWJNbUJHVEowK09pSWlISDM0NFB2end3eGc2ZE9nQnQ2R2VOMjllajkvMzdydnZqa0toME9kNUFRQUFnTjVMOGc1UXpZckZZaG9SVm9ua1lOL0tuNWFXRnY4TkF3QUFVRFZxOGc0QUFBQUFNRmdvWWdBQUFBQXlvb2dCQUFBQXlJZ2lCZ0FBQUNBamloZ0FBQUNBakNoaUFBQUFBREtpaUFFQUFBRElpQ0lHQUFBQUlDT0tHQUFBQUlDTUtHSUFBQUFBTXFLSUFRQUFBTWhJYmQ0QkJvS0dob2E4SXdBQUFBQlZ3SXFZWTVDbWFWUGVHUVl6di84QUFBQUFBQUFBQUFBQUFBQUFBQUFBQUFBQUFBQUFBQUFBQUFBQUFBQUFBQUFBQUFBQUFBQUFBQUFBQUFBQUFBQUFBQUFBQUFBQUFBQUFBQUFBQUFBQUFBQUFBQUFBQUFBQUFBQUFBQUFBQUFBdzBDVjVCeGdvcnJqaWl0cHQyN2I5U1pJa04wUkVRNXFtWDR5SW9Ybm5xZ0s3a2lUWkhCR2xpSmd6Yk5pd09VMU5UWHZ5RGdVQUFBRDlRUkZ6N0pKaXNmam5FZkdYRVRFbTV5d0R3WHNSLzM5N2R4L2lWYm5nQWZ4N2ZMdWxqalk2TjRvMlgxSlFLaVNUY20yU0xBcTYxclM5YWQ3TGpZd3d5TEpkdVNBdFVWSDlFYjFaQzN0WElnTkxkclgxajlzbXNWRVVRekVOUnFNZ1JVbGFtcUdWT2FZMTVxUjI5cCtyYTJVMTQyL2lPUHI1d0EvT25HZk9NOS9mTS85OU9lYzhlV2oxNnRWUEp5a3J6Z0lBQUFBOVNoRlRnN0ZqeC81dXlKQWhpNVA4T1VuR2pSdVhHVE5tWk96WXNSa3hZa1NHRGgxYWNjS2ozODZkTy9QSko1OWsvZnIxV2JGaVJkYXRXM2RnYU9tdVhidm1yRisvdnJQS2ZBQUFBTkNURkRGSGFOS2tTUVBMc253NXlkVGh3NGZudnZ2dXl3VVhYSkNpc0tSSHFpekx2UFhXVzduLy92dXpmZnYySkhtektJckwyOXJhZGxlZERRQUFBSHBDbjZvRDlGYmZmLy85dnlXWk9tYk1tRHozM0hOcGJHeFV3dFNvS0lvME5qYm0yV2VmelpneFk1SmthbG1XVDFhZEN3QUFBSHFLNXVBSVRKbzA2VTlsV2Y1blEwTkRsaTlmbnZyNitxb2pIWE4yN05pUkcyNjRJZHUzYjA5WmxuOWFzMmJOc3FvekFRQUFRSzNjRWROTmpZMk5kV1ZaL250UkZIbmdnUWVVTUwrUit2cjZQUGpnZzBtU29paisydGpZV0ZkeEpBQUFBS2laSXFhYjl1elpjM3VTK3FhbXBreWVQTG5xT01lMHlaTW5wNm1wS1VucWQrL2VQYmZxUEFBQUFGQXJSVXczVEpnd1lWQlpsbjhwaWlLelo4K3VPczV4WWZiczJTbUtJa1ZSL0dYQ2hBbURxczREQUFBQXRWREVkRU8vZnYydVR0SXdiZHEwakJ3NXN1bzR4NFZSbzBabDJyUnBTZkw3L3YzNy8xUEZjUUFBQUtBbWlwanV1U1pKTHIvODhxcHpIRmNPV2U5cnFzd0JBQUFBdFZMRWROR1VLVk5PVFBLSGZ2MzZaY3FVS1ZYSFNaSTg4Y1FUMmJScDAwL09iOXUyTFFzV0xPanlQTjk4ODAwV0wxN2NrOUY2MUpRcFU5SzNiOStVWmZtSHYvOGZBQUFBb0ZkU3hIVFJkOTk5OTQ5SkJrNmNPREdEQmxYL3FwSjE2OWJsK2VlZlAyeVdqbzZPdlBiYWExMmVhOWV1WFZtMGFGRlB4dXRSZ3dZTnlzU0pFNU5rME42OWU3MGhHUUFBZ0Y2clg5VUJlcEVKU1RKKy9QaXFjeVJKbGkxYmx1blRwNmVob1NIZmYvOTk5dXpaYzNEc3dQSHUzYnQvY00zVXFWTi9jYzVKa3lZZDl2elNwVXR6NXBsbjFwaTROdVBIajg4Nzc3eVRzaXduSkdtdU5Bd0FBQUFjSVVWTUYvMjlBTWdaWjV4UmRaUjg4Y1VYZWVXVlY3SnMyYkswdDdlbnJhMHRkOTExMTA5Kzc4ZkZTMnRyNjJIbjI3cDFhNjY5OXRxZkhlL2Z2My90b1d0MHlMcFBxRElIQUFBQTFFSVIwM1ZuSmNubzBhT3J6cEZubm5rbUYxOThjVWFPSEpuNTgrZm43TFBQVGx0YjI4SHhqUnMzNXJycnJ2dkJ1Vjl5b0dnWk1HREFiNUszSnh3b1lzcXlQS3ZpS0FBQUFIREVGREZkMTVBa3c0WU5xelRFaHg5K21KVXJWMmI1OHVYWnNHRkRQdmpnZ3p6NDRJTmR2djd6enovUDlPblREenQydUVlVHVscm0vTmJxNitzUEhEWlVtUU1BQUFCcW9ZanB1cUZKS245Ujc2Wk5tOUxaMlpsWnMyYWxzN016ano3NmFBWVBIbnpZRXVYUWN3OC8vSEF1dmZUU2d6OGZXckJzMmJJbFRVMU5oejEzdERoazNZZFdtUU1BQUFCcW9ZanB1aUZKTW5EZ3dFcERYSHJwcFdscmE4dktsU3ZUMnRxYVN5NjVKRW5TM056OGk5ZWRlR0x2M3ZWWkVRTUFBTUN4UUJIVEM3Mzc3cnRadkhoeGxpNWRtbjM3OXVXYmI3N0pTU2VkMUswNWZ1ME9HZ0FBQUtEbktXSzZibGVTaHQyN2QxZjZVdHV2dnZvcTgrYk5TMTFkWFc2KytlWnMzcnc1czJmUFRsTlRVNjYrK3VxZnZlNkZGMTdJNmFlZm5xSW9NbURBZ0lNN0pMMy8vdnU1ODg0NzA5N2VubkhqeHVXcHA1NUtYVjNkd1oyVWpoWWRIUjBIRG5kV21RTUFBQUJxb1lqcHVwMUpHam82T3JwOTkwbFBxcXVyeTFWWFhaVlJvMFpsOU9qUkdURmlSSVlORzViTm16Y25TZDUrKysyZlhIUCsrZWNmUEQ3NTVKTVBsakROemMyNTU1NTdjdUdGRithVlYxN0o4T0hEYzhjZGQrVEpKNS9NcWFlZStyUGJXVmRCRVFNQUFNQ3hvRS9WQVhxUkw1T2t2YjI5MGhCOSsvYk4vUG56YzgwMTErU2NjODVKa3J6MzNucy9HUC94NThjNk96dXpjT0hDTEZpd0lMZmVlbXZtelp1WEpIbjg4Y2RUWDErZkcyKzg4UWR6SGcxMjdOaHg0UERMS25NQUFBQkFMUlF4WGZkZWtuejg4Y2VWaHZqMDAwK3pmUG55M0h2dnZibjIybXR6eFJWWDVLV1hYdXJ5OVMwdExaazVjMlplZSsyMUxGcTBLRGZlZU9QQnNRRURCbVRod29XWlBuMTZicm5sbGp6MjJHT0hGaUNWK3Vpamo1SWtSVkVjWFEwUkFBQUFkSU5Iazdxb0tJcTFaVmtlTEFTcTh2SEhIK2VOTjk3SWVlZWRsK3V2dno3ang0L1BnQUVERGo2YTlITXYzTjIvZjMvbXpwMmJ0cmEyekp3NU03ZmRkdHRoZDREcTA2ZFA1czZkbTRzdXVpaVBQUEpJcnJ6eXlpeGJ0aXdqUm96NFRiL1hyemxrM2RkV21RTUFBQUJxb1lqcHVyVko4c0VISDFRYVl1clVxWms2ZGVwUHp2ZnAweWVEQncvT3E2KysrcE94eXk2N0xQMzc5OCtjT1hOeTk5MTM1N1RUVHZ2VnYzUFdXV2ZsMldlZnpmdnZ2MTk1Q1pQOC83b1hSYUdJQVFBQW9OY3FxZzdRVzB5Wk11WEV6czdPYmYzNjlSdjArdXV2WjlDZ1FWVkhPbTUwZEhUazRvc3Z6djc5K3p1R0RCblMwTnpjdktmcVRBQUFBSEFrdkNPbWkxcGJXNzlOOHZLK2ZmdU9xdDJFamdldHJhM1p2MzkvaXFMNFh5VU1BQUFBdlpraXBuditsaVF2di94eTFUbU9LNGVzOTkrcXpBRUFBQUMxVXNSMHc3NTkrMTVJOG1WemMzTTJiZHBVZFp6andzYU5HOVBjM0p3azIvYnUzZnMvRmNjQkFBQ0FtaWhpdW1IdDJyVWRSVkU4WHBabGxpeFpVbldjNDhLU0pVdFNsbVhLc254ODdkcTFIVlhuQVFBQWdGb29ZcnJwaEJOTytHdVNIUysrK0dKV3JWcFZkWnhqMnFwVnE3Snk1Y29rMlRGdzRNRC9xRG9QQUFBQTFNcXVTVWRnNHNTSmZ5eUs0citHRHgrZTU1OS9QdlgxOVZWSE91YTB0N2RuMXF4WjJiNTllOHF5L09PYU5XdVdWNTBKQUFBQWF0VzM2Z0M5MFdlZmZmYnVLYWVjOGcvZmZ2dnR1UzB0TGJud3dndFRWMWRYZGF4anh0YXRXM1A3N2Jkbnk1WXRTZkwwbWpWckhxbzZFd0FBQVBRRWp5WWRvVDU5K3Z4emtqYzNiTmlRbTI2NktTMHRMU25Mc3VwWXZWcFpsbWxwYWNsTk45MlVqejc2S0VuZUxJcmlYNnJPQlFBQUFEM0ZvMGsxR0R0MjdPK0dEQm15T01tZmsyVGN1SEdaTVdOR3hvd1prNUVqUjJibzBLRVZKeno2N2R5NU01czJiY3FHRFJ1eVlzV0tyRnUzN3NEUTBsMjdkczFadjM1OVo1WDVBQUFBb0NjcFltcFhuSHZ1dVhPUy9HdVNVUlZuT1Jac1RQTFE2dFdybjA3aUZpTUFBQUNPS1lxWUhqSnQyclIrWDMvOTljeXlMR2NrbVpUazkwbE9xRGhXYjdBbnliWWtiVVZScktpcnEvdnY1dWJtZlZXSEFn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JSellJQUFBQUJlU1VSQlZBQUFBQUFBQUFBQUFBQUFBQUFBQUFBQUFBQUFBQUFBQUFBQUFBQUFBQUFBQUFBQUFBQUFBQUFBQUFBQUFBQUFBQUFBQUFBQUFBQUFBQUFBQUFBQUFBQUFBQUFBQUFBQUFBQUFBQUFBQUFBQUFBQUFBQUFBZ0o3eWZ5cHNNQi9KdlJhekFBQUFBRWxGVGtTdVFtQ0MiLAogICAiVHlwZSIgOiAiZmxvdyIsCiAgICJWZXJzaW9uIiA6ICI0NCIKfQo="/>
    </extobj>
    <extobj name="ECB019B1-382A-4266-B25C-5B523AA43C14-40">
      <extobjdata type="ECB019B1-382A-4266-B25C-5B523AA43C14" data="ewogICAiRmlsZUlkIiA6ICI4NDU3NDU3MDI1MiIsCiAgICJHcm91cElkIiA6ICI0OTg2Mjc1MzQiLAogICAiSW1hZ2UiIDogImlWQk9SdzBLR2dvQUFBQU5TVWhFVWdBQUFmQUFBQUlDQ0FZQUFBQXdIcDlwQUFBQUNYQklXWE1BQUFzVEFBQUxFd0VBbXB3WUFBQWdBRWxFUVZSNG5PemRlMXhVZGY0LzhOZm5nQ2lHbDFEQkxEZER6UlFWT0lPeXBwbmtMYlgxdGlKalgxMnRkZHN5ZFczYjZtZVhiYmV5M1c5bGxxalozYXlOUWJ5bGxWcVp0M1ZkbFprQkNSS0ZTaEVWTDREY0hJYVo4L245QWNNWEZSUzVuWm54OVh3OGZEanpPV2ZPZWMrZ3ZPZnpQcC96K1FC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Ua3hvVGVBWGdiZzhFUUphVjhGRUFvZ0RzQnROTTVKSGR4VmtwNVJBaGhkVHFkY1NrcEtVZjBEb2lJeUpNeGdUZVM4UER3Ym9xaXJBSndyOTZ4ZUFBSllJMFE0bzltcy9tQzNzRVFFWGtpSnZCR1lEQVlvZ0JzbGxKMkNnd014UC84ei85ZzRNQ0I2TnExSzlxMGFhTjNlTHFUVWlJL1B4L1oyZG5ZdVhNbjFxNWRpOUxTVWdnaDBqUk5HMmUxV28vcEhTTVJrYWRoQW04Z1ZWVjdBTEFDQ0JnL2Zqd1dMbHdJUHo4L3ZjTnlheGN1WE1Benp6eURnd2NQUWdqeGs2K3ZiOFQrL2ZzTDlZNkxpTWlUK09nZGdDZnIwYU5IeTVZdFcyNEZjUHZ2ZnZjN1BQMzAwL0QxOWRVN0xMZlhxbFVyakI0OUdwbVptZmpsbDE5dTFqU3QrNmxUcDlicEhSY1JrU2RSOUE3QWs3VnQyL1pQQUZSVlZURnYzandJd1lKR1hiVm8wUUovLy92ZjBhVkxGd0NZcXFycUEzckhSRVRrU2RnRHI2ZisvZnZmNU9Qams2Z29TdXVWSzFlaVhUc09OcjllZm41K3VPT09PL0QxMTE4RFFNOVRwMDU5b0hkTVJFU2VnajN3ZXZMeDhYbFlTdG54L3Z2dng2MjMzcXAzT0I3cjE3LytOWHIxNmdVQWtaR1JrU1Awam9lSXlGTXdnZGVURUdJYUFCaU5ScjFEOFdoQ0NNVEd4Z0lBcEpTeE9vZERST1F4bU1EcklTSWlvZ3VBUVIwNmRFRHYzcjMxRHNmajNYUFBQUkJDUUVvNVBpWW1ocGQxaUlqcWdBbThIaFJGR1FrQWd3WU5ncUs0LzBmb2REcng0b3N2UXRPMFM5cExTMHZ4dDcvOURXVmxaVHBGVmlFd01CQjkrdlFCZ0U0Ly9mUlRtSzdCRUJGNUNON3pWQTlTeWpBQXpkNzczcmh4STE1KytlVTY3MjgybXdFQXAwK2Z4djc5KzYvNHN2SFpaNStockt3TUxWdTJiTlE0NitPdXUrNUNXbHFhNjdPMTZCMFBFWkc3WXdLdm4vNEFFQklTMHF3bm5UQmhBbjd6bTk4QUFBWU9ISWhkdTNiQjM5Ky9hbnROYlFDUW5aMTlSYXduVDU2RXlXVENaNTk5QmszVE1IdjJiTHoyMm12bzJMRmowNytSR3R4eHh4MnVoLzExQ1lDSXlNTXdnZGRQTndETlB2cGNDQUVmbi8rN1JLd295aVhQYTJwNzZLR0hrSjZlRGlFRWhnd1pnb3NYTCtMZ3dZTjQ2YVdYTUgzNmROZDkySmd3WVFMZWVPTU4vUE9mLzJ5ZU4zTVpWeHlvL0d5SmlPanFtTURycHgwQUJBUUU2QjNITlgzODhjZDQ4Y1VYRVJVVmhaRWpSMkxVcUZGNDdiWFhjUERnUVRpZFR1ellzUU5GUlVVb0tTbEJZV0VoVWxKU0VCYlcvSmVocTMyV3ZLR2VpS2dPbU1EcnB4MEF0RzdkV3U4NDZpUWpJd01QUC93d2NuTnowYVZMRjR3WU1RSTllL2JFYmJmZGhvNGRPeUl3TUJEdDJyWERwazJiOE9HSEgyTHAwcVhOSG1PMXo3SjlzNStjaU1nRE1ZSFhqd1pVckxMVm5Bd0d3eVhQNzdubm5pdjJxZDcyeUNPUFlNYU1HVGgvL2p4KzlhdGZZZnYyN2Jqenpqc1JHUm1KeU1qSUsxNDdac3dZREI4K3ZQRURyNE5xSStTZHVnUkFST1JobU1EcjV3S0FvSktTa21aZGVjdzFxdHh1dDJQUW9FRTRjT0RBSmRlN0RRWUQ5dXpaYzBsbElDVWxCVzNhdEVGeGNUSDI3ZHRYOVNYQVlEQWdLQ2pva3VNWEZCUmczNzU5emZCT3JsUmFXdXA2eVBYQmlZanFnQW04SG9RUUJWTEtvTUxDUXR4ODg4M05mdjZ6WjgraWJkdTJWd3hncTBsWVdCakdqaDJMbVRObm9yaTRHQXNXTEFCUU1RLzVsaTFiTHRsMzBLQkJUUkp2WFJRVkZia2VGdWdXQkJHUkIzSC9XVWpja0pUeUtBQ2NPSEZDbC9QLzk3Ly9SV2hvYUozM256MTdOanAzN2d5NzNZNmZmLzY1Q1NPcnYrenNiQUQvOTlrU0VkSFZNWUhYZzVUeUVBQmtaV1UxKzdsLyt1a252UFBPTzVnMmJWcWRYN054NDBZVUZCVGcwVWNmeFdPUFBZYWZmdnFwQ1NPc24ycGZMQTdwR1FjUmthZGdDYjBlRkVXeFNpbnh3dzgvTk90NXYvamlDN3o1NXB0NDVKRkhNSGp3NERxOUpqNCtIbXZXck1HNzc3NkxvS0FnOU8vZkh5RWhJU2d2TDhlRUNST2FPT0s2UzB0TEF3QUlJWkoxRG9XSWlMeFZlSGg0ZTFWVnkrKzU1eDVaWGw0dW04dStmZnVreFdLcGRmdktsU3VsM1c2L3BPMC8vL21QUEhmdTNCWDdMbGl3b0U1dHplSEVpUk5TVlZXcHF1clBBSVRlUDE4aUl2SmlxcXB1VlZWVjd0dTNUNWVrNTAwKy9mUlRWd0ovVSsrZkt4R1JwK0ExOFByN0RLaFlFSVRxeitsMHdtUXlBUUNrbEovckhBNFJrY2RnQXErbnRtM2JtZ0JrN2R1M3I5bXZoWHVUTFZ1MjROU3BVd0N3MVdxMUp1a2REeEdScDJBQ3I2ZWRPM2M2aEJBdkE4QmYvL3BYWEx4NFVlK1FQTTdwMDZmeCt1dXZ1NmF6Kzd1dXdSQVJlWmhyendSQ3RUcDE2dFNoVzI2NUplTENoUXU5amg4L2pudnZ2YmRPazZ0UXhheHZmLzd6bjVHVGt5T0VFUDlyc1ZoVzZSMFRFWkVuWVErOFlXVExsaTBmRWtJYy8rNjc3ekJuemh5Y1BIbFM3NWpjM3VIRGgvSFFRdys1YmgzYkErQUZuVU1pSXZJNHZHV25FZlR2My84MlgxL2ZMd0dFS1lxQzBhTkhZK0RBZ2VqYXRTdmF0bTJyZDNpNmsxSWlMeThQMmRuWjJMbHpKLzd6bi8rNE5uMVpWbFkyTFMwdHJWalArSWlJUEJFVGVDTVpQSGh3bTRzWEwvNER3TzhCdE5JN0hqZVhMNlY4czBlUEh2OUlURXprNm1ORVJQWEFCTjdJb3FLaWdzdkx5MmRLS2ZzSUlYb0tJZHJwSFpNN2tGS2VBWkFwaEVpMjJXeXIyZXNtSWlLNkNsVlZsMVZPa2pKWDcxaUlpS2p4Y0JBYkVSR1JCMklDSnlJaThrQk00RVJFUkI2SUNaeUlpTWdETVlFVEVSRjVJQ1p3SWlJaUQ4UUVUa1JFNUlFNGtZc1hxWnpTOWZucWJVS0lJVkxLVUNubFhpRkUxYnFuRG9mamxVT0hEcDFvL2lpSmlLZ3hNSUY3a1ppWUdKL016TXdjSVVUdzFmYVRVdWIyNk5IalZrNWpTa1RrdWJqMnBSZEpUMCtYdDk1NmEzY0FrZGZZOWRQdDI3ZC8yUnd4RVJGUjArQTFjQytqYWRxNk91eFdsMzJJaU1pTk1ZRjdHVVZSZGtrcDg2Nnl5L2wyN2RydGFyYUFpSWlvU1RDQmV4bXoyVnd1aFBqaUtydDhzWFBuVGtlekJVUkVSRTJDQ2R3TENTRnFMWkVyaXNMeU9SR1JGMkFDOTBJWExsejREa0JoRFpzS0N3b0t0amQzUEVSRTFQaVl3TDFRWm1abW1aU3lwbEhtbXpNek04dWFQU0FpSW1wMFRPQmVxcFl5T3N2blJFUmVnZ25jU3draHRnSW9yZFpVS29UWXBsYzhSRVRVdUpqQXZaVFpiQzRGc01YMVhBanhkV1ViRVJGNUFTWndMeWFsckNxWjEzR0NGeUlpOGhCTTRGN016OC92SzlmajFxMWJmM1cxZlltSWlNaU5xS3E2V1ZYVlRYckhRVVJFamN0WDd3Q295YTBUUWtpOWd5QWlvc1oxSXkwbnFxaXErbDhBQS9RT2hOeUxsSEtuMVdxTjFqc09JcUxyY2NOY0F3OFBELzgxbUx5cEJrS0lZWHJIUUVSMHZXNllFcnFpS0RFQThPQ0REK0xKSjUvVU94eHlBNHNYTDhibm4zOE9BRy9wSFFzUjBmVzZVWHJnQ29BWUFCZzVjcVRPb1pBNzBEUU4zMzMzSFFCQVNybEc1M0NJaUs3YkRaSEFLOHZudHdZSEI2TnYzNzU2aCtQVmJEYWIzaUhVU1dwcUtzNmNPUU1oeEFtcjFicGY3M2lJaUs3WERaSEFYZVh6NGNPSFExSDBlY3NmZlBBQnZ2amkwbVc2cFpUNHkxLytndjM3YTg4Zk5wc05xMWV2Um1scDgweWk1bkE0c0dYTEZoUVcxclNZR1pDYm00dWNuQndBd0wzMzNnc0F5TXJLd3JsejUxQmFXb3BodzRiQmJyYzNTNndOVWEzM3ZSYUFwbTgwUkVUWDcwWkk0RzVSUGo5MDZCQzZkZXQyU2R1U0pVdlFvVU1IckYyN0ZtZlBucTN4ZFMxYXRFQjJkamFlZnZwcGFOclY4MHh4Y1RIT256OWZweisxZWYvOTkvSFh2LzRWcTFldnJuSDduajE3OE5KTEwxVTlsMUppMGFKRk9IYnNHRkpUVS9HclgvMEtmbjUrVjQxVGJ5eWZFNUUzOFBwQmJIcVh6MDBtRTlhdlg0L3M3R3ljT0hFQ3ZyNitpSStQeDJ1dnZRYUh3NEhubm5zT3AwNmR3c0tGQy9Ic3M4OGlKQ1Rra3RmNytQaGc0Y0tGZVBUUlI1R1ltSWpZMk5oYXovWFBmLzRUVzdac3FYVjdkV2F6K1lxMjNidDNZKzNhdGZqZ2d3L3c1Sk5QUWxWVjNIMzMzWmZzTTNueVpPemN1Uk9uVHAwQ0FLU25wK09PTys2QXdXREE0c1dMMGI5Ly96cWRYMC9WeStjV2k0WGxjeUx5U0Y1L0g3aXFxa3NBTE5CejlIbGFXaHJlZSs4OXZQMzIyemh4NGdTZWZmYlpLNjRWNStYbElTZ29DRk9tVE1Ia3laT3ZPTWJHalJ2eDFsdHZZZE9tVFdqYnRtMmp4N2gzNzE0OCsreXorT2MvLzRsQmd3WmgzNzU5K0gvLzcvOVZQWGVwSGx0MmRqYTZkdTBLQVBqTFgvNkNGMTU0QVg1K2Z2RHg4VUZKU1FuS3k4dng1Sk5QWXRLa1NZMGViME5VSDMxdXNWaWUwRHNlSWlLNmtxS3E2Z2xWVldWS1NvclV5L0xseStXR0RSdmtwRW1UNUMrLy9DTC85YTkvMWJqZkw3LzhJbzhlUFZyanRxZWZmbHFPR0RGQ0xsKyt2TkhqaTQrUGwwT0dESkU3ZHV5NHBIM0hqaDF5eUpBaDh0MTMzNVZPcC9PU09QL3doei9JcUtnbytlNjc3OHFTa2hMNTJXZWZTVlZWNVprelo2U1VVcjczM252eXpUZmZiUFJZRzhycGRNcjc3NzlmcXFvcUl5SWlCbDM3bnhBUmtYdnk2bXZnZXBmUFhYYnMySUhvNklxSnZtNi8vWGI4OTcvL3hiUnAwekJ0MmpROC9mVFRXTGx5SllDS25tR1BIajJ1ZUgxaFlTSCsvZTkvNDMvLzkzK1JtSmlJNHVMaVdzOVZVRkJ3elQrdTNuOU9UZzdtelp1SFZhdFdZZVhLbFJnMmJCZ0tDZ3BnTUJoUVVGQ0FZY09HNGYzMzM4Zm16WnN4ZWZKa2JOMjZGWEZ4Y1hqcHBaZncvUFBQbzJYTGx1alpzeWNlZmZSUm5ENTlHcEdSa2NqS3lnSlFNYkN0ZS9mdWpmMVJOaGhIbnhPUnQvRHFhK0R1TVBvOEx5OFB4NDhmeDBNUFBZU1RKMDlpOHVUSjhQWDF4Wm8xRldPbnBrNmRpbDkrK1FXUFB2b29qaDA3VnVNeDFxeFpBNFBCVUhWTit0TlBQOFZqanoxVzQ3N0RodysvWmt5UFBQSUkvdmpIUHlJaElRSHQyclhEbWpWcmFpM0wzM1hYWFZpelpnMCsrT0FEbEpXVm9YZnYzbmo4OGNleGVQRml2UERDQzRpT2prWmtaQ1RhdEdtRGhJUUU3Tm16QndNR0RFQlNVaExtelp0WHgwK3ArWEQwT1JGNUMyOU80RzR4K2p3d01MRHFOckhKa3lkai9mcjFHRDkrUEdiT25GbW4xK2ZsNWVIVFR6L0YwcVZMQVFCLy9PTWZNWDM2ZEl3ZlB4NjMzbnJyRmZ2WE5EaXROZ3NXTEtqVEZ4dC9mLytxWkR4NThtUXNXN1lNMmRuWjJMZHZIMWFzV0FFQStPaWpqeEFkSFkxcDA2YWhhOWV1Nk5LbFM0M3g2WW1qejRuSW0zaHRDZDFkeXVlWEt5a3BRYXRXcmZESko1L2drMDgrdWVxK1VrcTgvUExMR0RKa0NNTEN3Z0FBdi9yVnJ6QnAwaVQ4L2U5L3YrWnRaZGRTbjZyRXFsV3I0SEE0c0g3OWVxeGZ2eDZMRmkyQ3I2OHYyclp0aTZDZ0lBd1pNZ1N2di80NlpzK2UzYURZbWdMTDUwVGtUYnkyQis0TzVYTUFPSERnQU5hdlg0OXo1ODRoSnljSHMyYk53b1VMRi9Ed3d3OWY4N1hMbGkzRDBhTkhYU09tcXp6MjJHTjQ4TUVIOGNZYmIrRHBwNTl1cXRCclZGeGNqTDU5KytMRkYxL0V4SWtUOGNrbm4rREZGMStFb2lqUU5LM3Ercnc3VHViQzhqa1JrZnR6aTlIblVrcHBzOWxrZm42K2REcWRjdEtrU1ZKS0tXTmlZcXEyVjM4OGZ2eDRLYVdVRG9kRHZ2YmFhM0xZc0dFeU16T3p4dU5tWm1iS29VT0h5aGRlZUVFV0Z4Zkw4dkp5bVorZmYxMS9hcEtmbnk5VlZhMTF1NVJTbHBXVnlkZGVlMDBPR1RKRWpoZ3hRcHBNSmxsZVhpNy8rdGUveW9jZmZsanUyTEZERGg0OFdLNWJ0KzY2UDYrbXd0SG5ST1J0dkxJSDdrN2w4NVl0VzZKbHk1Wlh0RHVkVHRoc05yUnExUXJIamgyRG9paFZvOE9YTGwyS25UdDM0b01QUHFoMUpIZjM3dDJ4WXNVS1BQSEVFL2pvbzQ4d2NPQkF6Smt6NTdwaXU1N3I1VUJGNy92MTExK0gyV3pHdmZmZWl5KysrQUw1K2ZuWXUzY3Y1c3laQTM5L2Y4VEZ4YUYxNjlaNDQ0MDM4TXd6ejBCUkZFeWNPUEc2enRNVU9Ia0xFWkVIVUZWMWlhcXE4bzAzM3RDNzQzZUo5OTkvWDBvcDVhZWZmaW9QSHo0czQrUGo1ZEdqUitXcnI3NHFwMCtmTHQ5NTV4MHBwWlFYTGx5UUJRVUZkVHBtZm42K0xDOHZiN1FZTDF5NElNZVBIeTh2WExoUTQvWmR1M2JKaXhjdlh0RnVOcHVscG1tWHRKMCtmVnFXbFpVMVdtd044Y1liYjBoVlZXWGx4RDVFUkI3UEcyZGlVMVJWUFE3ZzFvOC8vdGdqcHZha3BxVnBHc2FORzRjelo4NUFTbm0zMVdyZHAzZE1SRVFONVhXajBOMnBmRTd1Z2FQUGljZ2JlVjBDZDVmUjUrUStPUHFjaUx5UnQyVTR0NWk4aGR3SEoyOGhJbS9sVlFtYzVmT0tjckhCWUVCcGFhbmVvYmdGbHMrSnlGdDVWUUpuK1p3dXgvSTVFWGtyYjhweUxKL1RKVmcrSnlKdjVqVUozSlBMNXdjT0hNQ0REejZJcUtnby9PWTN2OEcrZlEyL3k4bHF0V0xLbENrWU5HZ1E1cytmajRLQ2dnWWRUOU0wckZxMUN1UEhqMGRVVkJUR2poMkxIMy84c2NGeE5pV1d6NG5JbTNsTkF2Zms4bmxKU1FtZWYvNTU3Tm16QjhPR0RjTS8vdkdQQmg5ejA2Wk5lTys5OS9ERkYxL2czTGx6ZVAzMTF4dDB2Q1ZMbG1EOSt2VjQrZVdYc1hmdlhpeGJ0Z3p0MjdkdmNKeE5pZVZ6SXZKbTNqS1Zxa2VYejZPam8yR3oyWkNWbFlXQWdBRGs1T1RBNFhEQTE3ZitQNTdISG5zTWdZR0JBSUNaTTJmaWxWZGVxZmV4aW9xS2tKQ1FnQlVyVmxTdGloWVNFbEx2NHpVSGxzK0p5TnQ1UlFMMzVQSTVBTVRGeFdIVHBrM28zNzkvMWJ6cERWMHFOQ2dvNkpMSHBhV2wwRFN0WHRXSm5Kd2NPSjFPOU9yVnEwRXhOU2ZPZlU1RTNzNnphczIxOE9UeStZa1RKN0JxMVNxOCsrNjdXTHg0TVg3em05ODB5bkZkeTNvQ3dMRmp4eEFjSEZ6dnorYm1tMjhHQUJ3L2ZyeFJZbXNPTEo4VGtiZnpyR3hYTTQ4dW56c2NEZ0RBcVZPblVGaFlpUGo0K0V1MjUrYm0xdXU0eTVZdFEwbEpDWTRkTzRhUFB2b0k0OGVQci9jeGc0T0RNWFRvVUN4YXRBaEhqaHlCMCtsRVJrWUdjbkp5NmhWYlUyUDVuSWh1QkI2ZndEMjlmTjZ0V3pjWWpVWTg5ZFJUK04zdmZvZTc3NzY3YXB2ZGJzY2pqenlDanovKytMcVAyNjlmUDB5WU1BRXpac3pBNE1HRE1YdjI3QVlkYzlHaVJlalhyeC9tekptRElVT0c0RzkvK3h2S3lzcXVPNjdtd05IblJFUWV3RjJYRG0wc1o4NmNrYi85N1cvbGtpVkwzUHFZN29STGh4TFJqY0RUQjdGNWRQbThManAxNm9TVksxY2lLeXZMclkvcExsZytKNkliaFVjbmNFOHZuOWRWeDQ0ZDBiRmpSN2MvcGp2ZzZITWl1bEY0OURWd1R4NTlUazJEbzgrSjZFWWg5QTZnSVF3R1E3YVU4amE5NHlEM0k2VzgyMnExTm54T1dpSWlOK1hSM1ZaTjB6TDFqb0hjMGtHT1BpY2lJbzlXT1JwYjZoMEhFUkUxTG8vdWdSTVJFZDJvbU1DSmlJZzhFQk00RVJHUkIySUNKeUlpOGtCTTRFUkVSQjZJQ1p5SWlNZ0RNWUVURVJGNUlDWndJaUlpRDhRRVRrUkU1SUU4ZWk1MHVsSkVSTVNqUW9qd2FrMS9yUHo3M2VyN1NTbVRyVmJyeXVhTGpJaUlHcE5ITHlkS1YxSVVSWkZTL3JHR1RYKzhiTC9IbXlra0lpSnFBaXloZTU4TmRkbEpVWlQxVFIwSUVSRTFIU1p3TDJNMm0wOUpLZmRlWTdkL0h6eDQ4SFN6QkVSRVJFMkNDZHdMQ1NIV1hXT1hhMjBuSWlJM3h3VHVoYVNVVnkyUEN5RllQaWNpOG5CTTRGN0lhclVlQTVCVXkrYURaclA1ZUhQR1EwUkVqWThKM0V2VlZrYVhVcko4VGtUa0JaakF2WlRUNmF3eFVkZmgramdSRVhrQUpuQXZsWnljZkJSQTZtWE5oeXdXUzZZZThSQVJVZU5pQXZkdWwvUzIyZnNtSXZJZVRPQmVURkdVU3hLMncrRmdBaWNpOGhLY0M5MjdDVlZWTmRjVGk4V2lBSkE2eGtORVJJMkVQWER2SmdHOFYvbjRYVEI1RXhGNURTWnc3L2NlQUFnaDNydldqa1JFUk9RK2hLcXEyOEhMSlVSRVhvVy8xTDJYVUZWMUNJRFZBTG9CeUJkQ2pEZWJ6WHZCVWpvUmtjZGpBdmN5Z3dZTjhyZlpiTk1VUlprbnBReS9mTHNRSWxsS3ViUmx5NWFtZmZ2MlhkUWpSaUlpYWpnbWNDOWhNQmgrcFduYVkwS0lQd0RvQUFBMzMzd3pKaytlaktGRGgyTDM3dDFZdDI0ZENnb0tYQzg1TDZWODM5ZlhkOFhCZ3dlemRRdWNpSWpxaFFuY3M0bUlpSWloUW9oNUFDYWhjbEJpNzk2OVlUUWFNV3JVS1BqNStWWHRiTGZiOGMwMzN5QStQaDZIRHg5Mk5Uc0JiSlJTTHJWYXJYdkE4am9Sa1VkZ0F2ZEFCb09oTllBSHBaVHpBUFFIQUI4Zkg0d1lNUUpHb3hIOSt2V0RFTFgvYUtXVU9IVG9FRXdtRTdadjN3Nm4wK25hZEVoS3ViUlZxMWFmczd4T1JPVGVtTUE5U0VSRXhPMUNpRGxTeXRsQ2lFQUFDQXdNeE9USmt6Rmx5aFIwNnRUcHVvOTU1c3dackZ1M0R1dldyVU4rZmo0QVFFcVpweWpLK3dCV2NPbFJJaUwzeEFUdS9rUmtaT1M5bXFiTkJ6QUJsV1h5UG4zNndHZzBZdVRJa1plVXlldkxicmZqMjIrL2hjbGtRbnA2dXF0WkE3QlJVWlM0cEtTa1hXQjVuWWpJYlRDQnV5bUR3ZEJhU2prZHdEd0FmWUdLTXZuSWtTTmhOQnJSdDIvZnE1Yko2MHRLaVI5KytBRW1rd25mZnZ0dDlmSjZLb0E0SWNTL3pHWnphYU9mbUlpSXJnc1R1SnNKRHcvdnBpaks0d0IrRCtCbW9LSk1QbVhLRlB6MnQ3OUZ4NDRkbXkyV3MyZlBWcFhYOC9MeVhNMzVBRDdRTkcxRmNuTHlMODBXREJFUlhZSUozRDBJVlZXamhSRHpwWlMvUVdXWlBEUTBGTk9tVGNQdzRjTWJwVXhlWDNhN0hkOTk5eDFNSmhQUzB0SmN6UnFBVFFEaUxCYkxEckM4VGtUVXJKakFkZFMvZi8rYmZIMTlwd3NoNWtrcFF3SEExOWNYbzBhTmd0Rm9SR2hvcU40aFhxRjZlZDNoY0FBQWhCQnBVc280aDhQeDJhRkRoMHAwRHBHSTZJYkFCSzZEQVFNR2hHaWE5cmlVOG1FQTdRR2dRNGNPaUltSndlVEprOUdoUXdlZEk3eTI4K2ZQWTkyNmRWaTdkaTNPbnovdmFpNlFVbjdvZERxWEh6cDA2R2M5NHlNaThuWk00TTFIUkVSRURCZEN6QWZ3QUNvLyszNzkrc0ZvTkdMNDhPRm8wYUtGdmhIV1EzbDVPYlp2M3c2VHlZVFUxRlJYc3dTd3VYSnltTzl4QTVYWGI3cnBwaEYrZm43QitmbjUvN3Bza3c4dS9mL21hTWF3aU1nTE1ZRTNzZERRMElCV3JWck5rRkxPQmRBSEFGcTBhSUZSbzBZaE5qYldMY3ZrOVpXV2xvYUVoQVJzMjdhdHFyd09JRjBJc2N4bXMzMmFscFpXckdkOHphRnIxNjRyU2t0TDk5OTIyMjF2bDVlWG53Q0FGaTFhZEM4cEtkbmg2K3ZiQlFEOC9mMzdXSzFXL1FZMUVKRlhZQUp2SWdhRG9idVU4bkVBRHdOb0J3QWRPM2FzS3BNSEJnYnFHMkFUeXN2THcvcjE2NUdZbUloejU4NjVtaThBK0VnSXNkeHNObWZwR0Y1VEVuMzc5djM1aHg5K2lBb0xDOHRJU1VscER3RDkrdlU3a1pxYWVwdHJwOHVmRXhIVmg2L2VBWGdaWVRBWVJrb3A1MGtweDZIeUMxSllXQmlNUmlQdXUrOCsrUHA2LzBjZUdCaUkyYk5uWStiTW1maisrKytSa0pDQWxKU1VkZ0Nla0ZJdVVGWDFLMFZSbGlZbEpYMEhMeXF2QndRRTNDT0U4QVdRcTNjc1JPVDkyQU52QklNSEQyNXo4ZUxGM3dHWUMrQXVvS0pNUG5yMGFCaU5SdlR1M1Z2ZkFOM0Fqei8rQ0pQSmhHM2J0cUc4dk56VmZGZ0lFV2V6MlZaN1EzazlKQ1JrN1UwMzNmVHIxTlRVMjhMQ3dnckt5c3ArQVlDV0xWdjJzdGxzVmlGRWE0QWxkQ0pxSEV6Z0RhQ3FhZzlVSk8ySEFMUUZnS0NnSUV5Wk1nV1RKazN5NmpKNWZlWGw1V0hEaGcxSVRFekUyYk5uWGMyRkFENEdzTXhpc1dUcUYxMzkzWFRUVGYxRFFrSzJBSkN1Qk80cW9iZHQyM1owWVdIaE50ZStnWUdCTVhsNWVZbTZCVXRFWG9FSi9Qb3BxcXFPa2xMT0UwS01kVFdHaDRmRGFEUWlPanI2aGlpVE41VEQ0Y0NPSFRzUUh4K1BsSlFVVjdPVVVtNFJRaXkxV0N6Zm9tS3lHSThRR0JqNHNCREMwYVZMbDFkZENkdzFpSzJ3c0hCN3g0NGRIN2JaYkZrQTRPL3ZmOWZKa3ljWDV1Ym1MdEUzYWlMeVpFemdkUlFWRmRYV2JyZlBWQlJscnBUeVRnRHc4L1BEL2ZmZkQ2UFJpRjY5ZXVrZG9zZkt5TWlBeVdUQzFxMWJZYmZiQVFCQ2lDTlN5amgvZi85UDl1N2RXNlJ6aUhYUkNvRE5OVUN0ZWc4Y0FIcjA2TEU5TXpQemZnQktlSGg0WGtaR3h2Q0xGeS8rVjc5d2ljalRNWUZmUTFoWTJKMit2cjV6cFpTekFMUUJnT0RnWU1URXhHRFNwRWxvMzc3OTFROUFkWmFmbjQrTkd6Y2lNVEVSdWJsVjQ4Q0twSlFmU3ltWEpTY25IOVV6dnJxb0xZSGZldXV0cnhZV0Z2N0gxOWMzb0hQbnpzLzgrT09QRVhyR1NVU2Vqd204WmtwRVJNVG95a2xYN25jMXFxcUsyTmhZUkVkSHc4ZkhSOGZ3dkp2VDZjU09IVHRnTXBsZ3RWcXJiOW9pcFl5eldxM2I0S2JsOWVvSjNGVkN0OXZ0T2RuWjJYUHZ1T09PejMxOGZOb2NQMzU4ZGxGUjBiLzFqcFdJUEJzdjFsWmpNQmphQVpoVmVmOTJUNkNpVEQ1MjdGakV4c2Jpemp2dmJKTHpta3dtakI4L0hxMWJ0MjZTNDErTHBta29MaTVHMjdadGRUbi81WHg4ZkRCaXhBaU1HREVDR1JrWlNFaEl3Sll0VzJDMzI4Y0lJY2FvcW5wVUNMSE0xOWQzMWY3OSt3djFqcmMyNmVucGZhczliZVBqNDlQZTZYUVdGQlVWSmVzV0ZCRjVEZmJBQVJnTWhyc3FaMHFiQ1NBQXFDaVRUNTA2RlpNbVRVSzdkdTJhOVB3REJnekE1czJiMGJsejU5cmlxOU54ZnYvNzMyUE9uRGxJVFUzRnJGbXpzR2ZQbmhxL0ZHUmtaT0Rnd1lQSXpzNUdWbFlXc3JLeU1HclVLQ3hjdUxCQjc4UEZaRExoODg4L3grblRwM0g3N2JmanFhZWV3c0NCQXh0MHpJS0NBbXpjdUJGcjFxeXBYbDR2QnJCS1VaUmxTVWxKR1EyTnV6SFVVRUlYYmRxMEdkZTFhOWZYejUwNzk3NlBqMC9yRGgwNi9PSHMyYk52NWVibWZnREFFNjd2RTVFYnVwRjc0SXJCWUJnanBad3ZwUnpsYWpRWUREQWFqYmozM251YnJVd3VwWVNpS0xWdVAzRGd3Q1hQaTR1TGNkOTk5MTNSTGtUZHZvODVIQTZVbDVjalBEd2Ntelp0d3E1ZHUrRG41d2VuMDRtQkF3Y2lJQ0Rna25NZE9IRGd1ajZMdkx3OHZQYmFhd2dPRGtaQ1FnS2VldW9wZlBQTk4yalpzbVdkajNHNTl1M2JZOWFzV1pneFl3WjI3dHlKaElRRW1NM21BQUJ6TlUyYnE2cnFOaUZFbk5sczNnSWR5K3MybSswd0FKU1dscnBxL3dFZE8zYWMvdlBQUHova0dyUjIvdno1OVVGQlFUTUIyUFNLazRnODN3M1hBemNZRE8ya2xBK2g0djd0N2dEUXNtVkxqQmt6QmthakVUMTc5bXpXZURSTnc0QUJBL0R0dDkvVytiN3hvcUlpREJzMkRHYXp1Y2J0MStxQlZ6ZG8wQ0RzMjdjUEFLb1NlUFhqR2d5RzYwN2cxZGxzTmd3ZVBCaGZmdmtsYnJubGxub2RvelpIang2RnlXVEMxMTkvWFRWNkhVQW1nT1ZDaUkvTlp2T0ZSajBoRVpFYnVXRjY0S3FxOXE2YzR2UjNBRzRDZ0Z0dXVRVlRwMDdGeElrVEcvWDY3NEVEQi9EV1cyOGhLeXNMUVVGQmVQYlpaekZvMENDa3A2ZGp4b3daTmI1bTVNVzJNUTRBQUNBQVNVUkJWTWlSTmJiWGxxVHJ3bXExWXNtU0pjakp5Y0dBQVFQdzBrc3ZvWDM3OWxpNGNDSFMwOU5SWGw2Tzh2SnlUSmd3QVFDd2Z2MzZxeDVQMHpTc1hyMGE2OWV2UjI1dUxqcDA2SURGaXhkZmRhYTUvZnYzbzNQbnpnZ09EcTczKzZoTno1NDk4Y0lMTDJEKy9QbFY1ZlhUcDAvM0FMQkVTdm1LcXFxZm9HSnltQjhiL2VSRVJEcnoraDU0WkdUa01DbmxwMUxLMjZxMVlkcTBhUmc2ZE9oVlM5ZjF0V1BIRGdRSEI2TkhqeDZJaTR2RHJsMjdzR25UcGhyM1BYWHFGQjU0NEFGOC92bm5OZDVMWHRmcjN5NlBQUElJN3I3N2JzeWFOUXNqUm96QU04ODhBNGZEZ1FVTEZ1Q09PKzdBb2tXTHF2Wjk1NTEzc0hyMTZqcjN3QmN2WG94ZHUzYmg1WmRmUm1ob0tJNGZQdzUvZi85YWU5Wm1zeGtMRnk3RVAvN3hqK3QrSC9YaGREcXhlL2R1bUV3bUpDVWxWZCtVclNqSzd6Uk4yNEdLdWRjbEtzcnNXaU05cnZPK1VrcE5DSEhWeC9XSm8vTDF0VDJ1T2dlQVVnRC9hN1ZhcTZiQkl5TFA1UFU5Y0UzVE5xTnlZQm9BZlBqaGh3Z1BEMi9TYzBaSFI4Tm1zeUVyS3dzQkFRSEl5Y21CdytHb2NZYTJ0TFEwS0lxQ2YvLzczelVtOEpwNjRIVXBvUVBBWTQ4OVZsV1duemx6Smw1NTVaV3FmZkx6ODdGaHd3Wm9tb2Jubm5zT3p6Ly9QUHo4YXArZXU2aW9DQWtKQ1ZpeFlnWEN3c0lBQUNFaEliWHVmL2JzV1R6NTVKTjQ0NDAzbWlWNUF4V2oxNk9qb3hFZEhRMnIxWXJaczJlN05uV3QvSGNBVkh4cEZRQWEvNXRiSFZRZnAxRGI0Nlk2cnV1eEVPSW5BQ3NhZEVJaTBwM1hKM0FoeEJOU3l2ZGR6eDkvL0hFODhNQURpSTJOdldvQ2FvaTR1RGhzMnJRSi9mdjNyeHE0cFdrMWo2dmF1blVyWnMyYWhRMGJObURHakJsWFRhTFhLeWdvNkpMSHBhV2wwRFFOaXFKZzhlTEZHRGR1SEV3bUUvcjI3WXNubjN3U1M1Y3VyZlZZT1RrNWNEcWRkWjV4TGprNUdTRWhJWWlNakd6dys3Z2VQLzMwRXhJU0V2RGxsMTllMGk2RWVNSnNObjhJUUF3Yk5rd3BLaW9TRnk1Y1VEcDE2cVRZN1haaHM5bVVnSUFBeGVGd0NMdmRydmo3K3l0T3AxT1VsNWNyTFZ1MlZEUk5FdzZIUS9IejgxTTBUUk5PcDFOcDBhSkYxV01wcGZEMTlWVTBUVk0wVGF0NkxLVVVQajQrVjMwTVFDaUtjc2xqS2FXUVVpcU44UmlBSW9SUXBKVExBUWdwcFM1ZlhvaW9jWGw5QWplYnpSL0V4TVI4ZlBUbzBRY1VSWmxuczltR3IxMjdGbXZYcmtWVVZCUmlZMk54enozM05Gb3AvY1NKRTFpMWFoVVNFeE1SRWhLQ2ZmdjJZZHUyYlRYdW01cWFpdVRrWkx6ODhzdkl6czdHeXBVck1YLysvRWFKQTZnWVFlNGF4SGJzMkRFRUJ3ZERVUlJzM3J3WlZxc1ZpWW1KTUpsTW1EWnRHa0pDUXE3YUM3ejU1cHNCQU1lUEgwZG9hT2cxengwVkZkVms5ODFmVHRNMDdObXpCeWFUNmZLUitkdWxsRXQ3OU9qeFZXSmlvck95VGU3Y3ViUHEyMVJtcGtldW5WSXZxcXFHQW5oYzd6aUlxSEhjRU4vRUV4TVRuY25KeVY5WUxKWVJpcUwwQS9BdWdOTDkrL2ZqejMvK015Wk9uSWpQUHZzTWhZVU5ueFBFNFhBQXFMaTJYVmhZaVBqNCtCcjNPM2Z1SEo1OTlsbk1temNQL3Y3K2VPS0pKNnFtRVcwc3k1WXRRMGxKQ1k0ZE80YVBQdm9JNDhlUEJ3QWNPblFJaXhZdHVtU0VlbFJVMUZXUEZSd2NqS0ZEaDJMUm9rVTRjdVFJbkU0bk1qSXlrSk9UVStQK1dWbFoyTDE3ZDZPOWw1b1VGaGJpczg4K3c4U0pFL0huUC8vWmxieExoUkFyblU1blg0dkZNc0pxdFc2cWxyeUppTHlHMS9mQUw1ZVVsUFFEZ0VmNzlldTMwTS9QNzJFQWorZms1Tnl4Wk1rU3ZQUE9PeGczYmh4aVkyUFJ2WHYzZWgyL1c3ZHVNQnFOZU9xcHB4QVVGQVNqMFlpOWUvZGVzazlXVmhhZWVPSUpEQjQ4dUdvRWVIQndNTjU4ODAzTW16Y1A2ZW5wK05PZi9uVEZQT3V1OG5kZVhsNmRWanpyMTY4ZkpreVlBTHZkam5IanhsVmRFMTY0Y09GVkt3NzMzWGRmamUyTEZpM0MyMisvalRsejVxQ2twQVRkdW5XN1pGQmNkUmFMQlZ1MmJLbDExSDFEWkdWbElTRWhBVjk5OVJWc3RvcGJxWVVRUDJ1YXRzemhjSHljbXBxYTMrZ25KU0p5TTE0L0N2MWFZbUppZkRJek04Y0pJZVlCR09GcUh6QmdBSXhHWTZPT1ZDOHBLY0hxMWF1eGV2VnFUSjgrSFhQbXpMbWliSjJabVlubm5uc09KMCtleE5peFk3Rmd3UUw0Ky9zRHFMalZ6R2F6b2F5c0RJTUdEY0xiYjcvZDRKaWErajd3eHFKcFd0VUk4NE1IRDFiZjlCMkFwZDI3ZC8rYVBlMnJVMVYxR1NwSzZQTXNGc3N5dmVNaG9vYTU0WHJnbDZ2OHBiOEp3S2FJaUlnK0FPWUtJV1llUEhpdzljR0RCOUdsU3hkTW5Ub1ZFeVpNYVBDOTRzWEZ4VWhLU3NMYmI3OWQ2OVNpUFhyMFFIeDhQTDc2Nml1VWxaVlZKVzhBU0VoSVFGbFpHWHg5ZmRHcFU2Y0d4VklUSVFRbVRweDRTZHZFaVJNYlBFSzZJUW9MQzZzdUxadzhlZExWWENLbFhBMWdtZFZxVFFjcWV2eEVSRGVTRzc0SFhwUHc4UEQyaXFLNFptc0xBU3BtYXhzM2JoeU1SbU85eSt2dXlGV1dkemVabVpsVnM2eVZsWlc1bW44Q3NFelR0SStUazVNTGRBelBJN0VIVHVSZG1NQ3ZJaVlteGljcksydU1sSEsrRUtKcXFyVEl5TWlxK2RMZE1mbDVLdGRFTFBIeDhaZmY0LzROZ0xqdTNidHZZWm04L3BqQWlid0xFM2dkcWFyYUd4VTk4cG1vTmhWclRFd01KazJhNURaTGNYcWl3c0pDYk5pd3dUVVZxcXU1QkFDblFtMUVUT0JFM29VSi9EcTUyMklvbnN5MUdNbVdMVnVxbDhtemhCQnhBRlp4TVpMR3hRUk81RjJZd092UHRSenBQQUNqWFkxNkxFZnFTWnhPSjNidDJnV1R5WFI1bWR3dGxnUDFaa3pnUk43bGhoK0YzZ0NhMld6K0NzQlhrWkdSdlRSTm13dGdsdGxzRGpDYnplamN1WE5WZWIxZHUzWjZ4NnE3Q3hjdVZKWEpjM056WGMzRkFGWXBpcklzS1NrcFE4ZndpSWc4RG52Z2pjaGdNTFFETUV0S09SZEFEd0R3OC9QRDJMRmpFUnNiMjJ4VGk3cVRJMGVPSUNFaDRZbzF1NFVRY2I2K3ZxdjI3OS9mOE9udnFFWVJFUkYvRmtKVS9hTVRRZ3lSVW9aS0tmY0tJWDV3dFVzcDkxcXQxay8xaVpLSTZvc0p2R2tva1pHUjkydWFOZy9BL2E1R1ZWVmhOQm94Yk5nd3J5NnZPNTFPN05peEF3a0pDWmZmbjcxVlNyblVhclZ1QTh2a1RjNWdNUHhWU3ZuM2ErMG5wWHpRYXJYV1BPY3ZFYmt0SnZBbUZoa1oyVXRLK1hqbHdMY0FvR0xhMUtsVHAyTGl4SWxYVEpmcXlRb0tDckJod3dZa0ppWldMNU1YQ1NGV09SeU9aU2twS1VmMGpPOUdFeEVSMFVjSWtYYXQvVnEwYU5HT2xSQWl6OE1FM2t5aW9xTGEydTMybVpWVHR2WUVLc3JyWThhTVFXeHNiSjJYNlhSSEdSa1pNSmxNMkxwMWExV1pYQWh4Uk5PMFpYNStmcDh3T2VoSFZkVWZBZHgxbFYwMld5eVc4YzBWRHhFMUhpYnc1cWVvcWpvS3dId0FZMXlORVJFUk1CcU5pSTZPOW9qeXVzUGh3TTZkT3hFZkg0L2s1T1NxZGlubDEwS0lPSXZGOGcxWUp0ZWRxcXF2QUhpdXR1MUNpRmxtcy9tVFpneUppQm9KRTdpT3dzTEM3bFFVNVhFaHhFTUEyZ0FWNWZVcFU2WmcwcVJKVld0d3U1UDgvUHlxTXZtWk0yZGN6VVVBUHRJMGJYbHljdkpSSGNPank0U0hoNGNyaW1LdFpiT2p2THc4aUt1M0VYa21KbkEzTUhqdzREWVhMMTZjaVlySllYb0JGZVgxMGFOSFk5cTBhVzVSWGo5OCtEQk1KaE8yYmR0V2ZUUjVCb0E0ZjMvLzFYdjM3aTNTTVR5cW5WQlZOUk9WYy9wZlpwdkZZcm0vaG5ZaThnQk00TzVGVVZWMUpJQjVBTWE1R3NQQ3dqQnQyalJFUjBmWGFSM3d4dUp3T1BEOTk5L0RaREloSlNYRjFTd0JmQzJFV0dvMm03OER5K1J1VDFYVjF3QThWY09tUnl3V3kvdk5IUThSTlE0bWNEZWxxbW9QVk15YTlUQ0F0Z0FRRkJTRUtWT21ZUExreVUxYVhzL0x5OFA2OWV1eGR1MWFuRDE3MXRWY0NPQWpBTXN0Rmt0bWs1MmNHbDFrWk9SQVRkUDJYOWFzU1NrN1c2M1dzelcraUlqY0hoTzRteHM4ZUhBYm04MDJvM0xLMXJzQW9FV0xGaGc5ZWpTTVJpTjY5KzdkYU9mNjhjY2ZxOHJrNWVYbHJ1YkRRb2c0bTgyMk9pMHRyYmpSVGtiTlNhaXFlZ3hBMTJwdE95d1d5MzE2QlVSRURjY0U3amxFWkdUa0NFM1Q1cU9pdkM2QWl2SjZiR3dzaGc4ZlhxL3l1c1Bod1BidDI1R1FrSEI1bWZ3clJWR1dKaVVsZlZmNW5EeVlxcXB2QWZoVHRhYTVGb3RsdVY3eEVGSERNWUY3SUlQQjBGMUsrVGlBMzZPeXZONnBVNmVxOG5wZ1lPQTFqMUZMbWZ3Q2dJK0VFTXZOWm5OV1U4VlB6YzlnTUF5UlV1NXhQWmRTM21xMVdrL3FHUk1STlF3VHVBY0xEUTBOYU5XcWxhdTgzaHY0di9KNmJHd3MrdlRwYzhWcjB0TFNrSkNRZ0crKythWjZtZnpIeWpMNXB5eVRleTFGVlZVbkFFZ3B5NnhXYXl1OUF5S2lobUVDOXc0aUlpSml1QkJpUG9BSFVQbHo3ZCsvUDJKalkzSHZ2ZmRXTGVHWm1wcnFlbzBFc0ZsS0dXZTFXcmVEWlhLdnA2cnFMZ0JEcFpRcnJWYnJZM3JIUTBRTnd3VHVaUVlNR0JDaWFkcmpVc3JmQTZocEhkTUxVc29QZkgxOVZ4dzhlUENuNW82UDlCTVJFVEZDQ1BHdGxMS2IxV285cG5jOFJOUXdUT0JlS2pRME5NRFB6Mjk2NWR6cmZRQ2tBMWpxY0RnK08zVG9VSW5PNFpFT0RBWkRDeW5sbHhhTFpiVGVzUkJSd3pHQmV6bFZWYzhCNkNDbERPSTl2emNrb2FycUVBQ3JBWFFUUWx3QThJRFpiTjRMWGpZaDhtak5ONjBYNlVwUkZQNnl2b0VNR2pUSTMyYXpUVk1VWlo2VU10elZMcVZzQjJDUHdXQklsbEl1YmRteXBXbmZ2bjBYZFF5VmlPcUpQWEF2NStxQkN5RTZtYzNtYzNySFEwM0xZREQ4U3RPMHg0UVFmd0RRQVFCdXZ2bG1USjQ4R1VPSERzWHUzYnV4YnQwNkZCUVV1RjV5WGtyNWZ1V1lpR3pkQWllaTY4WUU3dVdZd0c4SUlpSWlZbWpsZUlkSkFCUUE2TjI3TjR4R0kwYU5HZ1UvUDcrcW5lMTJPNzc1NWh2RXg4Zmo4T0hEcm1ZbmdJMVN5cVZXcTNVUFdGNG5jbnRNNEY2T0NkeDdHUXlHMWdBZXJKd0hvRDhBK1BqNFlNU0lFVEFhamVqWHJ4K0VxUDIvdUpRU2h3NGRnc2xrd3ZidDIrRjBPbDJiRGtrcGw3WnExZXB6bHRlSjNCY1R1SmRqQXZjK0VSRVJ0d3NoNWtncFp3c2hBZ0VnTURBUWt5ZFB4cFFwVTlDcFU2ZnJQdWFaTTJld2J0MDZyRnUzRHZuNUZjdURTeW56RkVWNUg4QUtzOWw4dkZIZkJCRTFHQk80bDJNQzl4b2lNakx5M3NxNThDZWdza3plcDA4ZkdJMUdqQnc1OHBJeWVYM1o3WFo4KysyM01KbE1TRTlQZHpWckFEWXFpaEtYbEpTMEN5eXZFN2tGSm5Bdnh3VHUyUXdHUTJzcDVYUlVyQkhmRjZnb2s0OGNPUkpHb3hGOSsvYTlhcG04dnFTVStPR0hIMkF5bWZEdHQ5OVdMNituQW9nVFF2ekxiRGFYTnZxSmlhak9tTUM5SEJPNFp3b1BEKyttS0lwcndacWJnWW95K1pRcFUvRGIzLzRXSFR0MmJMWll6cDQ5VzFWZXo4dkxjelhuQS9oQTA3UVZ5Y25KdnpSYk1FUlVoUW5jeXpHQmV4U2hxbXEwRUdLK2xQSTNxQ3lUaDRhR1l0cTBhUmcrZkhpamxNbnJ5MjYzNDd2dnZvUEpaRUphV3BxcldRT3dDVUNjeFdMWkFaYlhpWm9ORTdpWFl3SjNmLzM3OTcvSjE5ZDN1aEJpbnBReUZBQjhmWDB4YXRRb0dJMUdoSWFHNmgzaUZhcVgxeDBPQndCQUNKRW1wWXpqZEwxRXpZTUozTXN4Z2J1dmFndlBQQXlnUFFCMDZOQUJNVEV4bUR4NU1qcDA2S0J6aE5kMi92eDVyRnUzRG12WHJzWDU4K2RkelFWU3lnK2RUdWZ5UTRjTy9heG5mRVRlakFuY3l6R0J1NTBhbDM3dDE2OGZqRVlqaGc4ZmpoWXRXdWdiWVQyVWw1ZGorL2J0dFMxWnU5UnF0WDZQRzdDOGZ0Tk5ONDN3OC9NTHpzL1AvOWRsbTN4dzZlOWZSek9HUlY2Q0NkekxNWUc3aDlEUTBJQldyVnJOa0ZMT1JjWHFjR2pSb2dWR2pScUYyTmhZdHl5VDExZGFXaG9TRWhLd2JkdTJxdkk2Z0hRaHhES2J6ZlpwV2xwYXNaN3hOYWV1WGJ1dUtDMHQzWC9iYmJlOVhWNWVmZ0lBV3JSbzBiMmtwR1NIcjY5dkZ3RHc5L2Z2WTdWYTlSdmNRQjZMQ2R6TE1ZSHJ5MkF3ZEpkU1BnN2dZVlN1ejk2eFk4ZXFNbmxnWUtDK0FUYWh2THc4ckYrL0hvbUppVGgzcnVxZjNnVUFId2tobHB2TjVpd2R3MnNPb20vZnZqLy84TU1QVVdGaFlSa3BLU250QWFCZnYzNG5VbE5UYjNQdGRQbHpvcnJpYW1SRWpVOFlESWFSVXNwNVVzcHhxUHlpSEJZV0JxUFJpUHZ1dXcrK3Z0Ny9YeTh3TUJDelo4L0d6Smt6OGYzMzN5TWhJUUVwS1NudEFEd2hwVnlncXVwWGlxSXNUVXBLK2c1ZVdGNFBDQWk0UndqaEN5Qlg3MWpJTzNuL2J4R2laako0OE9BMkZ5OWUvQjJBdVZMS3U0Q0tNdm5vMGFOaE5CclJ1M2R2blNQVWgrc3pHRDE2Tkg3ODhVZVlUQ1pzMjdaTmxKZVhQNkJwMmdPcXFoNFdRc1RaYkxiVjNsUmVEd29LbWwvOStWMTMzWlVNQUlxaWRPalZxOWQvaEJDdEFjRFgxemRJai9qSTg3R0U3dVZZUW05NnFxcjJBREFYd0VNQTJnSkFVRkFRcGt5WmdrbVRKbmwxbWJ5Kzh2THlzR0hEQmlRbUp1THMyYk91NWtJQUh3TllackZZTXZXTHJ1RnV1dW1tL2lFaElWc0F5TlRVMU52Q3dzSUtYQ1gwdG0zYmppNHNMTnptMmpjd01EQW1MeTh2VWJkZ3lXTXhnWHM1SnZBbW82aXFPa3BLT1U4SU1kYlZHQjRlRHFQUmlPam82QnVpVE41UURvY0RPM2JzUUh4OFBGSlNVbHpOVWtxNVJRaXgxR0t4Zkl1S3lXSThTbUJnNE1OQ0NFZVhMbDFlZFNWdzF5QzJ3c0xDN1IwN2Ruellack5sQVlDL3YvOWRKMCtlWEppYm03dEUzNmpKMC9BM0RORjFpSXFLYW11MzIyY3FpakpYU25tbkVBSitmbjY0Ly83N1lUUWEwYXRYTDcxRDlDaSt2cjRZT1hJa1JvNGNpWXlNREpoTUptemR1bFhZN2ZheEFNWWFESVlqVXNvNGYzLy9UL2J1M1Z1a2Q3eDFsWmVYOXprQVc1Y3VYVjUxdGFXbnAvZDFQVzdWcWxYZnpNek0rd0VvNGVIaGVZV0ZoZnYwaUpNOEd4TTRVUjJFaFlYZDZldnJPN2U4dkh5V0VLS05sQkxCd2NHSWlZbkJwRW1UMEw1OWU3MUQ5SGk5ZXZYQ2l5KytpUG56NTJQanhvMUlURXhFYm03dW5RRGlMbDY4K0dwRVJNVEhVc3BseWNuSlIvV090UTVzVjl0NDhlTEYvVzNhdEJudDYrc2JVRlpXZHVUaXhZdi9iYTdBeUh1d2hPN2xXRUp2RUNVaUltSjA1YVFyOTdzYVZWVkZiR3dzb3FPajRlUGpvMk40M3MzcGRHTEhqaDB3bVV5d1dxM1ZOMjJSVXNaWnJkWnRjUFB5dXVzV3Nlb2xkTHZkbnBPZG5UMzNqanZ1K056SHg2Zk44ZVBIWnhjVkZmMWI3MWpKODdBSFRuUVpnOEhRRHNDc3l2dTNld0tBbjU4ZnhvNGRpOWpZV054NTU1MzZCbmlEOFBIeHdZZ1JJekJpeEFoa1pHUWdJU0VCVzdac2dkMXVIeU9FR0tPcTZsRWh4REpmWDk5VisvZnZMOVE3M211cFhrSUgwTWJIeDZlOTAra3NLQ29xU3RZdEtQSm83SUY3T2ZiQTY4NWdNTnhWT1ZQYVRBQUJBQkFjSEl5cFU2ZGkwcVJKYU5ldVhaT2UzMlF5WWZ6NDhXamR1bldUbnFjMm1xYWh1TGdZYmR1MjFlWDhkVkZRVUlDTkd6ZGl6Wm8xeU0ydHVyMjZHTUFxUlZHV0pTVWxaZWdZM2hXcTk4QXJSNkdMTm0zYWpPdmF0ZXZyNTg2ZGU5L0h4NmQxaHc0ZC9uRDI3Tm0zY25OelB3RGdNZGY1U1gvc2dkT05UakVZREdPa2xQT2xsS05jalFhREFVYWpFZmZlZTIremxja1hMMTZNWWNPRzFackFEUVpEblk3eis5Ly9IblBtekVGcWFpcG16WnFGUFh2MjFIak1qSXdNSER4NEVObloyY2pLeWtKV1ZoWkdqUnFGaFFzWE51aDl1SmhNSm56KytlYzRmZm8wYnIvOWRqejExRk1ZT0hCZ2c0N1p2bjE3ekpvMUN6Tm16TURPblR1UmtKQUFzOWtjQUdDdXBtbHpWVlhkSm9TSU01dk5XK0FHNVhXYnpYWVlBRXBMUzEzWEFBSTZkdXc0L2VlZmYzN0lkZDM3L1BuejY0T0NnbWJpR3RmTmlTN0hCRTQzSklQQjBFNUsrUkFxSmwzcERnQXRXN2JFbURGallEUWEwYk5uejJhUFNVb0pSVkZxM1g3Z3dJRkxuaGNYRitPKysrNjdvbDJJdWhYV0hBNEh5c3ZMRVI0ZWprMmJObUhYcmwzdzgvT0QwK25Fd0lFREVSQVFjTW01RGh3NGNGMWZadkx5OHZEYWE2OGhPRGdZQ1FrSmVPcXBwL0ROTjkrZ1pjdVdkVDVHYlh4OGZEQjgrSEFNSHo0Y1I0OGVoY2xrd3RkZmZ3MjczVDVhU2psYVZkVk1BTXVGRUIrYnplWUxEVDVoUFIwOWVuUkU1ZC9SbFUxRlAvLzhzN0g2UG5hN1BmM0VpUlBQTkh0d1JPVGVWRlU5cDZxcU5CZ01IZldPeFIyb3F0bzdJaUppaGFxcXhhcXFTbFZWNWJoeDQrUW5uM3dpTDF5NElQWGlkRHFscXFyeS9QbnpkWDVOWVdHaFZGVzExdTJIRGgyU3FxcktrcEtTYXg3cjE3LytkZFZqaDhOeHhYRlZWWlVPaDZQT3NWM3U0c1dMVWxWVmVmTGt5WG9mNDFvS0NncmtxbFdyNU5peFk2WHJaMXY1YzE2dXF1cU5PUTBlZVRYMndPbUdFQmtaT1V4SythbVU4alpYRHpVeU1oTFRwazNEMEtGRHI5cnpyYThEQnc3Z3JiZmVRbFpXRm9LQ2d2RHNzODlpMEtCQlNFOVB4NHdaTTJwOHpjaVJJMnRzTjV2TjlZN0RhclZpeVpJbHlNbkp3WUFCQS9EU1N5K2hmZnYyV0xod0lkTFQwMUZlWG83eThuSk1tREFCQUxCKy9mcXJIay9UTkt4ZXZScnIxNjlIYm00dU9uVG9nTVdMRjE5MXF0ajkrL2VqYytmT0NBNE9ydmY3dUpaMjdkcGg1c3labUQ1OU9uYnYzZzJUeVlTa3BLU2JBTXdCTUVkVjFXeEZVWDZYbEpTMEM1WGpmMkppWXNUWnMyY0ZBQlFWRlFtYnpTWUFvS3lzVE54MjIyMVZqKzEydXdDQTh2Snk0WFE2QlFDMGI5OWVPQndPQVFBT2g2T3EzZWwwaW9DQWdLckhyblpOMDZvZSsvdjdDMDNUcXRxclA1WlNDZ0JvMmJMbEplMEFJS1dzYXF1K3ZYcTdsRkswYU5HaTZySHJlTlgzYWRHaWhTZ3ZMNWNPaCtOb1dscWF2UWwrSE5RTU9Jak55M0VRV3dWVlZZdFFPVEFOQUQ3ODhFT0VoNGMzNlRsMzdOaUI0T0JnOU9qUkEzRnhjZGkxYXhjMmJkcFU0NzZuVHAzQ0F3ODhnTTgvLzd6R3lXRHFldjNiNVpGSEhzSGRkOStOV2JObVljU0lFWGptbVdmZ2NEaXdZTUVDM0hISEhWaTBhRkhWdnUrODh3NVdyMTZOZmZzcTVoSnhsZENyZjJrd0dBeFZKZlRGaXhkajE2NWRlUG5sbHhFYUdvcmp4NC9EMzk4ZnQ5eHlTNDJ4bU0xbUxGeTRFUC80eHordSszMDBsTlZxeGV6WnM2czNGYVBhdndQQ0ZvdkZNdmJhdTVFN1lnK2NiZ2hDaUNla2xPKzduai8rK09ONDRJRUhFQnNiaTVDUWtDWTVaM1IwTkd3Mkc3S3lzaEFRRUlDY25CdzRISTRhcDFoTlMwdURvaWo0OTcvL1hXTUNyNmtIWGxSVWhHSERodFhhTzA5TlRRVUFQUGJZWTFYenNjK2NPUk92dlBKSzFUNzUrZm5Zc0dFRE5FM0RjODg5aCtlZmZ4NStmclV2VFYxVVZJU0VoQVNzV0xFQ1lXRmhBSERWeisvczJiTjQ4c2tuOGNZYmJ6UnI4djdwcDUrUWtKQ0FMNy84OHBMMnkvNGR5R3AvTjlsakthVVVRdFM0ajVSU1ZzWlY0MnVGRUZYNzFIRjcxV1BYT1N1M1g3NVBuOHJuWTBBZWl3bWNiZ2htcy9tRG1KaVlqNDhlUGZxQW9panpiRGJiOExWcjEyTHQycldJaW9wQ2JHd3M3cm5ubmtZdHBjZkZ4V0hUcGszbzM3OS8xY0F0VGF0NVlQVFdyVnN4YTlZc2JOaXdBVE5tekxocUVyMWVRVUZCbHp3dUxTMkZwbWxRRkFXTEZ5L0d1SEhqWURLWjBMZHZYeno1NUpOWXVuUnByY2ZLeWNtQjArbXM4NVN4eWNuSkNBa0pRV1JrWklQZng3Vm9tb1k5ZS9iQVpESmRQckJ2dTVSeWFZOGVQYjVLVEV4MEF2aWd5WU54Y3hFUkVTT0VFTjhDMks1M0xGUi9UT0IwdzZqODVmMEZnQzhpSXlQN2FwbzJGOENNL2Z2M3Q5Ni9mejl1dmZWV1RKMDZGZVBIajIvd3ZkQW5UcHpBcWxXcmtKaVlpSkNRRU96YnR3L2J0bTJyY2QvVTFGUWtKeWZqNVpkZlJuWjJObGF1WEluNTgrZlh1Rzk5RkJjWFY5MUdkdXpZTVFRSEIwTlJGR3pldkJsV3F4V0ppWWt3bVV5WU5tMGFRa0pDcmpxSy9lYWJid1lBSEQ5K0hLR2hvZGM4ZDFSVVZKTlBmRk5ZV0loTm16Wmh6Wm8xeU1uSmNUV1hDaUZXT3h5T1pTa3BLV2tBTHAvTmpjampOZjdJSFNJUGtKU1U5SVBGWW5tMHZMejhOaUhFWDRRUVArZms1R0RKa2lVWU0yWU1YbjMxVldSbFpkWDcrQTZIQTBERnRlM0N3a0xFeDhmWHVOKzVjK2Z3N0xQUFl0NjhlZkQzOThjVFR6eFJOUTk0WTFtMmJCbEtTa3B3N05neGZQVFJSeGcvZmp3QTROQ2hRMWkwYU5FbDk0aEhSVVZkOVZqQndjRVlPblFvRmkxYWhDTkhqc0RwZENJakk2TjY0cnhFVmxZV2R1L2UzV2p2NWZKanYvcnFxeGd6Wmt6VklEMGh4TTlTeWlmTHk4dHZNNXZOajdtU041RTNZZytjYm1pcHFhbjVBQmJIeE1TOGxabVpPVTRJTWM5bXM0MVl0MjRkMXExYmh3RURCc0JvTkY3M1NQVnUzYnJCYURUaXFhZWVRbEJRRUl4R0kvYnUzWHZKUGxsWldYamlpU2N3ZVBEZ3FoSGd3Y0hCZVBQTk56RnYzanlrcDZmalQzLzYweFVMcGJqSzMzbDVlWFZhc3JSZnYzNllNR0VDN0hZN3hvMGJWeldvYStIQ2hWZDlUL2ZkZDErTjdZc1dMY0xiYjcrTk9YUG1vS1NrQk4yNmRidGtVRngxRm9zRlc3WnNxWFhVL2ZYU05LMXFoUG5CZ3dlcmIvb093TktRa0pDdkt5c3RSRjZQbzlDOUhFZWhYNytJaUlnK0FPWUtJV1lDYUEwQVhicDB3ZFNwVXpGaHdvUUdsOWRMU2txd2V2VnFyRjY5R3RPblQ4ZWNPWE91S0Z0blptYml1ZWVldzhtVEp6RjI3RmdzV0xBQS92NytBQ3B1TmJQWmJDZ3JLOE9nUVlQdzl0dHZOeWdlQUJnMGFGQ2RSNkhyb2JDd3NLb3ljZkxrU1ZkemlaUnlOWUJsVnFzMVhaZkFQRlQxYStBV2kyV0UzdkZRL2JBSFRuU1p5bVF3Snp3OC9GbEZVUjRDTVBma3laTWhiNzMxRnQ1NTV4Mk1HemNPUnFNUjNidDNyOWZ4aTR1TGtaU1VoTGZmZnJ2V3FVVjc5T2lCK1BoNGZQWFZWeWdySzZ0SzNnQ1FrSkNBc3JJeStQcjZvbE9uVHZXSzRXcUVFSmc0Y2VJbGJSTW5UcXp6REcrTktUTXpzMnFXdGJLeU1sZnpUd0NXYVpyMmNYSnlja0d6QjBYa0p0Z0Q5M0xzZ1RkY1RFeU1UMVpXMWhncDVYd2hSTlZNSzVHUmtWWHpwVGZGUkRETnlWV1dkd2RPcHhPN2QrOUdmSHo4NWJmSWZRTWdybnYzN2x0WUptOFk5c0M5QTN2Z1JOZFFtU3krQlBCbDVaU2Njd0hNVEVwS3Vpa3BLUW0zM0hJTFltSmlNR25TSkxkZXlldHEzQ0Y1RnhZV1lzT0dEVml6WmcxT256N3RhaTRCOEFtQVpSYUw1VWVnNHJvNkViRUg3dlhZQTI4YTFSZERBZUFXaTZGNEt0ZGlKRnUyYktsZUpzOFNRc1FCV0tYbllpVGVpajF3NzhBZXVJZnAxYXZYem95TWpHRjZ4M0dqcTB3cWJ3RllXcmtjNmJ5eXNyTFJHemR1eE1hTkczVlpqdFNUT0oxTzdOcTFDeWFUNmZJeXVWc3RCMHJrenBqQTNWaWZQbjErdUx5dFZhdFdvVFcxYTVwV2R2anc0ZWFkYUpvQVFET2J6VjhCK0NveU1ySlg1ZVF3czh4bWM0RFpiRWJuenAycnl1dnQyclhUTzFiZFhiaHdvYXBNbnB1YjYyb3VCckJLVVpSbFNVbEpHVHFHUitSUldFTDNNS3FxU292RlV1ZWZHMHZvemM5Z01MUURNRXRLT1JkQUR3RHc4L1BEMkxGakVSc2IyK1F6azdtakkwZU9JQ0Vod2JWbXQ2czVVd2dSNSt2cnUyci8vdjJGZXNaM28yRUozVHN3Z2J1NWlJZ0kyOFdMRncvWHRyMTE2OWI5TFJaTHJTT1FtTUIxcFVSR1J0NnZhZG84QVBlN0dsVlZoZEZveExCaHc3eTZ2TzUwT3JGanh3NGtKQ1JjUHZCc3E1UnlxZFZxM1FhV3lYWEJCTzRkV0VMM0RBNjlBNkI2MFpLU2tyNEc4SFZrWkdRdktlWGpVc3FITEJaTGdNVmlRWEJ3TUtaT25ZcUpFeWRlSHR2UWN3QUFIL2hKUkVGVU1kdWFKeXNvS01DR0RSdVFtSmhZdlV4ZUpJUllWVGszK1JFOTR5UHlGa3pnSHVEdzRjTzFMdVVVRVJGaGE4NVlxSDRxciszT2o0cUtldDV1dDg4VVFzekx6YzN0R1JjWGgzZmZmUmRqeG94QmJHeHNuVmY1Y2tjWkdSa3dtVXpZdW5WclZabGNDSEZFMDdSbGZuNStuN0JNVHRTNG1NQTl3RjEzM1pWVTJ6WWhST090TzBsTnJqS0p4UUZZcnFycUtBRHo3WGI3bUMrKytBSmZmUEVGSWlJaVlEUWFFUjBkN1JIbGRZZkRnWjA3ZHlJK1BoN0p5Y2xWN1ZMS3J5dEhrMzhEbHNtSm1nUVR1QWRnRDl3cmFSYUxaU3VBcldGaFlYY3Fpdks0RU9JaHE5WGF4bXExSWpnNEdGT21UTUdrU1pPcWx2QjBKL241K1ZWbDhqTm56cmlhaXdCOHBHbmE4dVRrNUtNNmhrZDBRMkFDOXdEc2dYdTN5bXZDZnhvOGVQRHpGeTllbkFsZ2JtNXVicS9seTVmai9mZmZ4K2pSb3pGdDJqUzNLSzhmUG53WUpwTUoyN1p0cXo2YVBBTkFuTCsvLytxOWUvY1c2UmdlMFEyRkNkeE5CUVlHVHUzY3VmTmZoUkIraXFLMHV0cStydnZDMDlQVCt6WlBkTlFVS3BQZk1nQXJWRlVkQ1dDZTNXNGZ0M256Wm16ZXZCbGhZV0dZTm0wYW9xT2o2N1NNYUdOeE9CejQvdnZ2WVRLWmtKS1M0bXFXQUw0V1FpdzFtODNmZ1dWeW9tYkhCTzZtOHZMeTF1VGw1YTBCSU5xMGFUTXVPRGg0L3FsVHA1NHFLU2xKQVJEWXMyZlBkVVZGUlR1S2lvbzJsWlNVSkYvcmVPUlJOSXZGc2czQU5sVlZld0I0SE1EREtTa3BiVk5TVWhBVUZJUXBVNlpnOHVUSlRWcGV6OHZMdy9yMTY3RjI3VnFjUFh2VzFWd0k0Q01BeXkwV1MyYVRuWnlJcm9uM2didXg0T0RnaFIwN2RueTRyS3pzcHpObnpyeFZXRmk0RlJVOUgvajUrZDNWb1VPSDM3WnYzMzZxajQ5UG0zUG56bjE4K3ZUcGx5OC9CdThEOXc2REJ3OXVZN1BaWmtncDV3RzRDd0JhdEdpQjBhTkh3Mmcwb25mdjNvMTJyaDkvL0xHcVRGNWVYdTVxUGl5RWlMUFpiS3ZUMHRLS0crMWtwQXZlQis0ZG1NRGRXSWNPSFdhVWxKVHN0dGxzeDY2Mm41K2ZYMmlyVnExdUt5d3MzSGI1Tmlad3J5TWlJeU5IYUpvMkg4QTRWUDRmRGdzTFEyeHNMSVlQSDE2djhyckQ0Y0QyN2R1UmtKQndlWm44SzBWUmxpWWxKWDFYK1p5OEFCTzRkMkFKM1kyZFAzLyswN3JzWjdmYjAreDJlOXIvYisvZXc2T3E3bkNQdjNzU2trQzVTSlNMVUJRUlZDNENtUUJLRllFcWlsYUo1U2lDQlFYbDhTQThXRzJyRmtTalVHeVBHQkR4SUY3cUJUbUNZRkhSS3BWeURJZHFqR0dTRUFvRlM5QVFJS0FZSUNRaHQ1bDEvZ2lKdVpKSWt0bXpaNzZmNS9GeHN2ZWVtZDhNYS9hNzlwcTFaN2QwUFFnSVp0dTJiWnNrYllxTmpiM1lHRE5MMHIwVncrdWRPbldxSEY2UGpvNXU4TUhxR1NZL0llazF5N0wrdDhmanlXeTVsd0tnS1RnQ0QzSWNnUWUvL3YzN3Q0MktpcW9ZWHU4ci9UaThmc2NkZDZoZnYzNjE3ck56NTA2OTg4NDcrdlRUVDZzT2svL245REQ1V3d5VEJ6ZU93SU1EUitDQXc1ME8yeGNscllpSmlibldzcXdIU2t0TGIvN29vNCtzano3NlNBTUhEdFFkZDl5aGtTTkhWbDdDYzhlT0hSVjNONUkrTk1Zc1MwdEwyeXlHeVFISElNQ0I0R0hTMHRMK0tlbWZRNGNPN2VYeitXWVpZKzdOeU1qb2tKR1JVWFBiRThhWVY4UER3NWVucEtUc3M2RldBRTFFZ0FOQjZIUW8vNzUvLy83eEVSRVJreTNMbWkycG42UmRrcDR2S3l0YmxaR1JVV0J2bFFDYWdnQVBmbTNzTGdEMk9UMjh2a0xTUzRNSEQ3NHdQVDA5U3d5VEEwR2gzdXRJSTJpMHRyc0FCQVRqY3JuMnV0MXUzNmhSbytpNEEwR0FBQThSSG84bjErNGFBQUROaHdBUEhmeFdOUUFFRVFJY0FBQUhJc0FCQUhBZ0Fod0FBQWNpd0FFQWNDQUNIQUFBQnlMQUFRQndJQUljQUFBSElzQUJBSEFnQWh3QUFBY2l3QUVBY0NBQ0hBQUFCeUxBQVFCd0lBSWNBQUFISXNBQkFIQWdBaHh3bUVzdnZUVFI3aG9BMkMvYzdnSUExSzlmdjM3L3Jya3NLaXFxZjEzTGZUNWY4ZTdkdTJQOVV4a0F1eEhnUUFEYnRXdlhnSnJMM0c2M3FXczVnTkJDZ0FNQkxpWW1wdWpVcVZPN0svNHVMQ3pjZnRsbGw2VlgvTjJtVFp1QnFhbXBmQjBHaEJnQ0hIQ0dNcnNMQUJCWUNIREFBWGJ2M2oya3ZuVXhNVEZGL3F3RlFHQWd3QUVIdU95eXk3YlZ0ODZ5ckFoLzFnSWdNQkRnZ0FOd0JBNmdKZ0ljY0FDT3dBSFVSSUFEQVNvNk9ucEMxNjVkbjdBc0s4TGxja1dkYWR1Szg4STV2UXdJSFFRNEVLQnljM1BYNXVibXJwVmt0V3ZYN2xkZHVuUjVJQ2NuNStHQ2dvTHRrcUw3OU9uenQ1TW5UMzUyOHVUSkRRVUZCZWtOUFI2QTRNSzVvMEFBNjlLbHk1eisvZnQvM2FWTGw5bmZmZmZka29LQ2dvelRxM0t6c3JMdXR5ekxlOEVGRjd3NVlNQ0FmVjI3ZG4zYzFtSUIrQlZINEVBQUt5c3JPNUNabVhsZFVWRlJWczExSlNVbHUzTnljaGJtNU9Rc2pJaUk2QjhWRmZYekJoNHVySVhLQkdBREFod0lZRC84OE1OYmpkbXVwS1JrWjBsSnljN0diSnVZbU9ocldsVUFBZ0ZENkVEb0ljQ0JJRUNBQXdEZ1FBUTRBQUFPUklBREFPQkFCRGdBQUE1RWdBTUE0RUFFT0FBQURrU0FBd0RnUUFRNEFBQU9SSUFEQU9CQUJEZ0FBQTVFZ0FNQTRFQmN6Q1NJWEg3NTVSM0R3OE5qNjFvWEV4TnpYZFcveThyS1BEdDI3RGptbjhvQUFNM05zcnNBTkovWTJOZ094cGp2SkVVMHNHbUpaVm1kUFI3UENYL1VCZjhiT25Sb1Y2L1hPN0hHNGlXbi8vOVExWVZoWVdGclVsSlNEdnVuTXRnaEppYm1mMWlXTlVmbEIyMWxrdHBMNmlQcHBLU3ZLNVliWTQ2a3BhWGRMTW5ZVml3YWpTUHdJT0x4ZUU2NDNlNVBKZDNjd0tiL0lMeUQyODkrOXJQamVYbDVUNmw4UjEzVGtpcTM4NDRkTy9haW44cUNmYlpKcW10MHJsM1Y1WlpsdlN6QzJ6SDREano0L0syaERTekxhbkFiT0Z0aVltS1JNZWFqUm16NjRkNjllNHRidkNEWUtpMHRMVXZTdnh2YWpuMkRzeERnUVNZeU1uS0R5b2ZJNmxOV1VsS3l3Vi8xd0Q2TjNCbXp3dzRSbG1YOW53WTJPU2JwTTMvVWd1WkJnQWVacEtTa1hHUE1tVDZFLzVmSmE2SEJzcXlOa2dyUHNFbWhaVm4vOEZjOXNKZlg2MjJvcy9hQngrTXA5VXN4YUJZRWVCQnE0TWlMSTY0UTRmRjRDaVY5VXQ5Nnk3SStQcjBOUWtCNmV2cC9KZTA0d3lic0d4eUdBQTlDclZxMWVsOTFUMFR4bFpXVnZlL3ZlbUFmWTB5OU8yV2Z6OGNPTy9UVTkyOStNaTh2YjVOZkswR1RFZUJCS0RrNStZaWtyWFdzMnBxUmtmR2R2K3VCZlNJaUl2NHVxYVNPVmNWdDJyVDV1Ny9yZ2IxY0xsZWRBVzZNWVRLakF4SGdRYXF1WWZRekhZMGhPQ1VuSitkSityU09WWjkrL3ZubkovMWREK3kxYmR1Mm5aWmxmVjF6T2JQUG5Za0FEMUtscGFYcmF5N3orWHkxbGlFazFObzVzOE1PV2FhT3IwNEtUMDk0aE1NUTRFRXFJeVBqZ0tUa0tvdSszTDU5KzBHNzZvRjk2amkxa0ZNSlExak56aHVUR1oyTEFBOXVsUjlVanJoQ1Z4Mm5GbklxWVFoTFRVMU50U3pyU01YZlRHWjBMZ0k4aUlXRmhWVitNRXRMUy9tUWhyQWFIVGphUW1nenhwaTBpaitZek9oY0JIZ1FTMGxKMldkWlZycWt0SXlNakcvc3JnZjJPWDFxb1NTSlV3bmg4L2tXbkw2NWtjbU16a1dBQnpsanpMdVMzclc3RHRqcjlLbUYvMC9TRms0bFJIcDYrcGVTRGhsalZ0dGRDODRlVnlPclIweE1UTEpsV2NQc3JxTzV1TjN1aFhiWDBGVEdtTVMwdExUUmR0ZmhWTWFZZHkzTDRrcFRrQ1NmWlZsclNrdExQN1M3RUp3OXJnZGVEN2Zielk0dUFLV21wdnE5elFaYlp5NFkyTm1ab3owRW5sRHQzSE1FM2dDUHgyTjNDWkFVRzF2WHBZejlnNTExNExFc2E1U056MDE3Q0RCMnRnYzdFZUJBSTlHWkN3eDJkdWFxb2owRWhrQnBEM1pnRWhzQUFBNUVnQU1BNEVBRU9BQUFEa1NBQXdEZ1FBUTRBQUFPUklBREFPQkFCRGdBQUE1RWdBTUE0RUFFT0pxc3FLakk3aElBSU9RUTRDM28xVmRmMVFjZmZGQnRtVEZHZi9qREg1U2NuTnpnL1UrZVBLbEhIbm1rcGNxclpzMmFOU29zTEt4ejNaRWpSM1R3NEVGSjBzaVJJeVZKbVptWk9ucjBxQW9MQ3pWcTFDaVZsSlQ0cFU0RUxqcHlxSWsyMGJJSThCYVVrWkdobmoxN1ZsdTJaTWtTblh2dXVYcjMzWGYxL2ZmZlYxdFhNd1JMU2txMGVmUG1NMjRqU1ZkZWVhWHV2dnZ1ZXYrNzhjWWJHNncxSVNGQmVYbDVkYTdidW5XcjVzK2ZYL20zTVVZTEZ5NVVWbGFXZHV6WW9Rc3V1RUFSRVJFTlBrZW9vaU9IbW1nVGFBNzhGbm9MV0xObWpkYXZYNi9zN0d3ZE9IQkE0ZUhoV3IxNnRaNTU1aG1WbFpYcHNjY2VVMDVPanViTW1hTzVjK2VxVjY5ZWtxVGh3NGRyOCtiTk91ZWNjK3A5N1BxMkNRc0xhMUxOeGhpNVhIWDM1OGFQSDYvRXhFVGw1T1JJa25idDJxV0xMcnBJc2JHeFNraEkwTUNCQTV2MDNNRXVJeU5EOTk1N2I3VmxWVHR5dlhyMVVxZE9uU3JYbFpTVVZPc1ExZGVScTlscHV2TEtLM1hwcFpmV1c4ZDMzMzJuVHo3NTVJeTFKaVFrYU5Tb1VXclRwazJ0ZFZ1M2J0V21UWnYwMGtzdlNmcXhJemRyMWl5VmxaWFYyWkhic1dPSHBrNmRxcTFidDliNW1LRXFsTnNFbWc4QjNnSW1UcHlveXkrL1hDKy8vTEtXTGwycUF3Y09hTnEwYVpYRFNSTW5UcFFrNWVibWF0NjhlYnJ0dHRzMGZ2ejRzMzYramgwNzZyWFhYcXQzZlVOSDRENmZUOFlZaFlmWDNSeHV1KzAyU2RLc1diTlVXRmlveHg5L1hKTDB4UmRmNk9PUFAxWkVSSVJ1dnZsbUZSUVVxTFMwVkwvLy9lLzE2MS8vK2l4ZlRmQ2dJNGVhYUJOb1RnUjRDOW15Wll0R2p4NnQ4ZVBIYThtU0pSbzdkcXp1dlBQT1d0dGxaV1dwdExTMFNjOTE3Tmd4M1gzMzNZM2FkdGV1WFpveVpVcWQ2OGFNR1ZQbmNvL0hvNnlzTEMxY3VGQ0hEaDNTMkxGak5YbnlaTDMzM25zNmZ2eTRObTdjcUU2ZE91bVZWMTVSZm41K1pYaC85ZFZYZXU2NTU1U1ptYW5PblR0cjd0eTVHajU4K05tOVNBZWlJL2Q3OWU3ZCt5eGZUWENpVGRDNWIwNEVlQXY1N0xQUDlPcXJyMnJseXBXNjhNSUxsWkNRb0E4Ly9GQ1MxS05IRC9YcTFVc3pac3hRUWtLQ25uLysrY3I3MWZXQnFpLzBKaytlTEVscTE2NmR2RjV2dmJXVWxaVnA4dVRKdXY3NjYzWFhYWGZWdWd4aVRrNk9icjc1WnIzOTl0dTFodHRLU2txMGJOa3lwYWVuS3o0K1hsT21URkdmUG4wMFk4WU1EUm8wU0VPR0RGRm1acVk2ZGVxa3pNeE0vZUlYdjZpOGIwRkJnZWJObTZmZXZYdHIyYkpsK3ZPZi82d05HelkwOE00RmwxRHZ5TzNZc1VPU2xKYVdwaVZMbHVqZ3dZTWFPblNvNXMrZmY4YWp5V0FXNm0xQ0t1OFlyRnk1VXV2WHI5ZVJJMGQwN3JubktpRWhRWDM3OWoyN0Z4cWlDUEFXa0p1YnEvMzc5MnZhdEdrNmRPaVF4bzhmci9Ed2NLMWR1MWFTTkdIQ0JIMzc3YmVhTVdPR3NyS3lLdTlYTTFoLytPRUhYWC85OVVwS1NxcGNWdlhhdDZ0V3JWSmNYSncyYmRwVXVTd3VMcTdXNUppRzdOeTVVeTZYUy8vNjE3OXFCWGlyVnEzVXQyOWZ6Wm8xU3drSkNYcjg4Y2MxZXZSb0RSa3lSTzNhdGRNNzc3eWpyVnUzYXVqUW9kcTJiWnRtejU1ZGVkL1JvMGVycUtoSW1abVphdHUyclE0ZVBLaXlzcko2ZS9QQmlJNWN1UTBiTnVqbGwxOVdXVm1aSG56d1FTMWF0RWdMRnk0OHd6c1h2R2dUNWQvM2I5bXlSUXNXTEZELy92MjFmLzkrdFc3ZHVvRjNEaldGenA3VWo2S2pveXRua280ZlAxN3IxNi9YdUhIakd1d0oxelVKcFNhUHgxTnJWbWZWeDgzTHkxTnBhYWxHalJxbG5qMTdLanc4WEtkT25kSTMzM3lqbEpTVU9oOXo0OGFObWpwMXF0NTc3ejFObVRLbFdnMldaV241OHVWNjRZVVhsSjJkcmFTa0pDMWZ2bHlTOU5wcnIybjA2TkdhTkdtU2V2VG9vVzdkdXFsNzkrNlY5MTIyYkprMmJOaWdnUU1IS2pJeVVsSjV6enRVMEpINzBmMzMzNi9vNkdoSjVlMzFUMy82MDArcUxWalFKc3BuMEwvenpqdGF2bnk1QmcwYUpFbVYzL1hqcHlIQS9hQ2dvRUJSVVZGNjg4MDNKWlYvU092U21Ja3F4NDhmMTdYWFhsdnRBMTN4dUZMNWg3UlZxMVlhTjI2Y0JnMGFwTEZqeDJyNTh1VWFQSGh3blkrM1k4Y09wYWVuYThHQ0Jjck96dGFLRlN2MHdBTVBWTnZtalRmZTBKMTMzcW4xNjlmcndnc3YxSC8rOHgvRng4ZXJmZnYyY3JsY3V2cnFxN1ZvMFNJdFdiS2s4ajRIRGh6UUcyKzhvWFhyMXFsWHIxNUtTa3JTUC83eGo0YmZyQ0JDUis1SG5UdDNybmE3c0xCUVBwK3Yzc2xSd1lvMklSMDhlRkJlci9lTXMrUFJPQVI0Qy9qcXE2KzBmdjE2SFQxNlZBY1BIdFRVcVZOMTRzUUozWFBQUFMzeWZEVS9wSkkwZGVwVXpadzVVKzNhdGRPbVRadjArdXV2MTdyZjBhTkhOWGZ1WE0yZVBWdXRXN2ZXUXc4OXBFbVRKdW44ODgvWDdiZmZYcmxkZm42K0Jnd1lvUGo0ZU4xNjY2MTY4ODAzRlI4Zkw1ZkxKWi9QcC96OGZFblZ6MUV2S3l1VFZENEVkOTU1NTJuMTZ0VXQ4dHFkSkJRN2NoWHk4L01yVDBQS3lzcFNseTVkUWk2ODZ4S0tiYUpqeDQ2U3BQMzc5NnQvLy80TnZFTTRFd0s4QlF3YU5FaVhYSEtKMnJkdnI5dHV1MDNyMXEzVGhBa1RLbWVEVHBnd29YTElyRGtzV0xCQTMzLy92WEp5Y3JSNDhXTEZ4OGRyeG93WnV1YWFhL1RBQXcvb2ozLzhZNjBQZm1abXBoNTY2Q0ZkZGRWVmlvdUxreVIxNmRKRml4Y3YxdXpaczdWcjF5Nzk5cmUvMVRubm5LTnUzYnBwL3Z6NVdycDBxUklTRWhRVkZhVTllL1pvd0lBQldyQmdnWTRmUDY2RWhBVE5temRQZVhsNUdqOSt2SHIyN0ttSkV5ZnE0WWNmVnVmT25UVng0a1I5L3ZubnpmYWFuWUNPM0k5ZWVPRUZQZnJvb3pwNjlLaGVlKzAxalJzM3JybGZ2aVBRSnNyM005ZGNjNDBXTGx5b0o1OThVaGRmZkxIMjd0MnJ0bTNiMWhxNXdaa1I0QzBnTWpLeThqdmZxcnhlcjRxS2loUVZGYVdzckN5NVhLNWFQelg0VXlhcXpKMDdWOUhSMFhybGxWZlV2WHQzZGUvZVhSRVJFZnJsTDMrcFJZc1dLVGMzVjg4OTk1eFdybHlwelpzM2EvcjA2ZXJidDY5V3JseXBsU3RYYXZMa3labzVjMmExeHh3OGVMQmVmLzExUGZiWVk3cmxsbHMwWnN3WWxaU1VLRDA5WFNOSGp0UUhIM3lnWThlTzZmUFBQOWZNbVRQVnVuVnJMVnUyVEczYXROR3p6ejZyUng5OVZDNlhTN2ZlZXFzZWZ2aGhQZnp3dzVXUFhYR0tUS2lnSS9majZVK1hYMzY1NHVMaVZGSlNvbC85NmxlYVBuMTZzNzF1SjZGTmxMZUpoUXNYYXVuU3BabzVjNllLQ2dyVXMyZlBrSjNVMkJRRWVBdTc2YWFiSkVuanhvM1QzcjE3bFphV3BpZWVlRUp2di8yMmR1M2FWZTJjeUpvVFZlcFNNVXdtU1U4Ly9YU3Q5WHYyN0ZIUG5qMTF3dzAzYU15WU1YSzVYQm94WW9UMjdObWoxcTFiS3o4L1g5dTJiZFBTcFVzMWJOaXdPcCtqZCsvZVdyMTZ0ZjcrOTcrcnVMaFluVHQzMXJ4NTh4UVZGU1dwL0h1OGl5KytXQU1HREZCTVRJd3N5NUpVL3F0UGE5ZXVyUndpQzNWMDVNbzdjaFh0dXVxUlc2aWlUWlMzaVRadDJtak9uRG1hTTJkT0U5NU5vQjV1dDl1NDNXNkR3RkR4NytIVXR2REtLNjhZWTR4NTY2MjN6TzdkdTgzcTFhdk5mLy83WC9QMDAwK2J5Wk1ubXhkZmZQRW5QZDZ4WThmT1dOT2lSWXZNdDk5K2F6WnUzR2k4WG0vbDh0MjdkNXVzckN4eitQQmhjODg5OTVqazVPUXpQby9YNnpVYk5td3c2OWF0TTF1MmJER25UcDJxdFkzSDR6RStuNi9hc3NPSEQ1dmk0dUtmOUpvYXk4NjIwRnp0d1JqYVJIT3h1ejNZeWJLN2dFQlYwU0FhYzFTTWxsZHhpa3hxYXFyZjJ5eHRJYkRZMlJZazJrT2dzYnM5MklscG9BQUFPQkFCRGdDQUF4SGdBQUE0RUFFT0FJQURFZUFBQURnUUFRNEFnQU1SNEFBQU9CQUJEZ0NBQS9GVHFnMm9lbzFkQUFBQ0JRRmVEMk5Nb21WWm8reXVBejh5eGlUYStmeDA1bEFWN1FGMkk4RHJrWmFXTnRydUdwcER4YzgraHVMUEREWVhPbk9CeDg3T0hPMGg4TmpkdWJjTE8vVWdSNENqQW0wQlZibmQ3blJKZzN3K1gweDZlbnE2M2ZYZ3AyTVNHd0FBRGtTQUF3RGdRQVE0QUFBT1JJQURBT0JBQkRnQUFBNUVnQU1BNEVBRU9BQUFEa1NBQXdEZ1FBUTRBQUFPUklBREFPQkFCRGdBQUE1RWdBTUE0RUFFT0FBQURzVGxSRU9FMisxKzB1NGFBQUROaHdBUGZtVXEvM2VPdDdzUUJBYTMyMTFrZHcwSUNKRjJGNENtSWNDRG5ESG1Sc3V5cnJhN0RnU0VpazRjTzI1SWtpekxPaEFXRm5iQTdqcHdkaXk3Q3dEZ0gyNjMyMGhTcTFhdHVyWnUzZnFFM2ZYQWZvbUppU1dTZkhiWGdiUERFVGdRWW9xTGk0dVRrNU1aUmdjY2psbm9BQUE0RUFFT2hKaUlpSWd3dTJzQTBIUUVPQkJpdkY3dk9YYlhBS0RwQ0hBZ3hQaDh2aks3YXdEUWRBUTRBQUFPUklBREFPQkFuQWNPQktHWW1KZ0xYUzdYV3pVV2p6REdTRktLWlZtVnA1R0ZoNGMva3B5Yy9LVmZDd1RRWkp3SERnU2hWcTFhdWNyS3lrYlVzM3JvNlNDWEpCVVZGYkVmQUJ5SUkzQWdTTVhHeGhZWVk5bzBzRmxaYW1wcUs3OFVCS0JaOFIwNEVMdzJOYlNCTVNiZEg0VUFhSDRFT0JDa0xNdDZ0S0Z0SWlJaUh2TkhMUUNhSDBQb1FCQnp1OTJuSkVYVnRjNnlMSy9INDJrbHlkUzFIa0JnNHdnY0NHS1daVzJ0YjUweFpwY0liOEN4Q0hBZ2lEVXdqUDZrditvQTBQd1lRZ2VDbk52dExwWVVVV094THpVMU5Wd2NnUU9PeFJFNEVQeVM2MWoydFFodndORUljQ0RJZWIzZXVUV1h1Vnl1cCsyb0JVRHpZUWdkQ0FGdXQ3dFVQLzd5b2prOWZPNnpzU1FBVGNRUk9CQWEwcXJjemhiaERUZ2VBUTZFaGljcWJoaGpYclN6RUFETmd5RjBJRFJZc2JHeHBjWVlsMlZaa1I2UHA5VHVnZ0EwRFZjaEFrS0RNY2JzdEN5ckkrRU5CQWVPd0lFV0Voc2JlNFV4Wm9hay9wSXVrZFRCNXBJQ3hmZkdtSzh0eTByemVyM0x0bS9mL3JYZEJRRk9SSUFEeld6dzRNRTlYUzdYRzVKRzJsMkxBeGhKYXkzTCtwOGVqK2VFM2NVQVRrS0FBODBvTmpiMkNra2ZHbU02UlVkSDZ6ZS8rWTJHRFJ1bUhqMTZxRjI3ZG5hWFp6dGpqSTRkTzZiczdHd2xKaWJxM1hmZlZXRmhvU3pMMnVueitYNlZscGFXWlhlTmdGTVE0RUF6Y2J2ZHZWVit1bGJiY2VQR2FjNmNPWXFJcVBrTHBxanF4SWtUZXZUUlI1V1NraUxMc3ZhRmg0ZkhKQ2NuNTlsZEYrQUVZWFlYQUFTRDNyMTdSMFpHUm02VWRPRmRkOTJsUng1NVJPSGh6QkZ0U0ZSVWxHNjQ0UWJ0M2J0WDMzNzdiVWVmejNkeFRrN08zK3l1QzNBQ3pnTUhta0g3OXUxL0s4bnRkcnMxZS9ac1dSYURXNDNWcWxVclBmWFVVK3JXclpza1RYQzczVGZiWFJQZ0JCeUJBMDAwY09EQW40V0ZoYTF6dVZ4dFZxeFlvUTRkbUd6K1UwVkVST2lpaXk3U3h4OS9MRWw5Y25KeVhyVzdKaURRY1FRT05GRllXTmc5eHBqenhvNGRxKzdkdTl0ZGptTmRlZVdWdXZUU1N5VnB5SkFoUTY2enV4NGcwQkhnUUJOWmxqVkpraVpPbkdoM0tZNW1XWmJ1dU9NT1NaSXg1ZzZieXdFQ0hnRU9ORUZNVEV3M1NjUFBQZmRjOWUzYjErNXlIRy9FaUJHeUxFdkdtSEczMzM0N1gvRUJaMENBQTAzZ2NybkdTTkx3NGNQbGNnWCt4OG5yOVNvK1BsNCtYL1dMa1JVV0Z1ckpKNTlVY1hHeFRaV1ZpNDZPVnI5Ky9TU3AwNzU5K3diWldnd1E0RGpQQldnQ1k4d2dTWDQvK243Ly9mZTFZTUdDUm0vdjhYZ2tTWWNQSDFaeWNuS3R6c2FxVmF0VVhGeXN5TWpJWnEzemJGeDIyV1hhdVhObnhYdWJhbmM5UUtBaXdJR21HU2hKdlhyMTh1dVR4c1hGNlpaYmJwRWtEUnMyVEZ1MmJGSHIxcTByMTllMVRKS3lzN05yMVhybzBDR3RXYk5HcTFhdGtzL24wL1RwMC9YTU04L292UFBPYS9rWFVvZUxMcnFvNHVaQVd3b0FISUlBQjVxbXB5Uy96ejYzTEV0aFlUOStSZXh5dWFyOVhkZXlhZE9tYWRldVhiSXNTMWRmZmJWT25UcWxsSlFVelo4L1g1TW5UNjQ0RDF0eGNYRjY5dGxuOVplLy9NVS9MNmFHaWpwMCtyMEZVRGNDSEdpYURwTFV0bTFidSt0bzBPdXZ2Njc0K0hoZGNjVVZHak5taks2Ly9ubzk4OHd6U2tsSmtkZnIxV2VmZmFhVEowK3FvS0JBZVhsNTJyNTl1d1lOOHYvWDBGWGVTMDZvQjg2QUFBZWFwb01rdFduVHh1NDZHbVhQbmoyNjU1NTdkT1RJRVhYcjFrM1hYWGVkK3ZUcG81Ly8vT2M2Nzd6ekZCMGRyUTRkT21qRGhnMzY2MS8vcXVlZmY5N3ZOVlo1TDgveCs1TUREa0tBQTAzams4cXZzdVZQc2JHeDFmNGVNV0pFclcycUxydnZ2dnMwWmNvVS9mREREN3JnZ2d1MGVmTm1YWExKSlJveVpJaUdEQmxTNjc0MzNuaWpycjMyMnVZdnZCR3F6SkQzMmxJQTRCQUVPTkEwSnlSMUxpZ284T3VWeHlwbWxaZVVsR2o0OE9INjZxdXZxbjNmSFJzYnE2MWJ0MVliR2RpK2ZidmF0V3VuL1B4OEpTVWxWWFlDWW1OajFibHo1MnFQZi96NGNTVWxKZm5obGRSV1dGaFljWlByZ3dOblFJQURUV0JaMW5GalRPZTh2RHgxN05qUjc4Ly8vZmZmcTMzNzlyVW1zTlZsMEtCQnV1bW1tM1QzM1hjclB6OWZEejc0b0tUeTN5SC81Sk5QcW0wN2ZQandGcW0zTVU2ZVBGbHg4N2h0UlFBT0VQaS9QQUVFTUdQTWZ5WHB3SUVEdGp6L2wxOStxZjc5K3pkNisrblRwNnRyMTY0cUtTblJOOTk4MDRLVm5iM3M3R3hKUDc2M0FPcEdnQU5OWUl6SmtLVE16RXkvUC9lK2ZmdjA0b3N2YXRLa1NZMit6L3Z2djYvang0OXJ4b3dadXYvKys3VnYzNzRXclBEc1ZPbFlaTmhaQnhEb0dFSUhtc0RsY3FVWlkvVHZmLy9icjgvN3dRY2ZhUEhpeGJydnZ2dDAxVlZYTmVvK3ExZXYxdHExYS9YU1N5K3BjK2ZPR2pod29IcjE2cVhTMGxMRnhjVzFjTVdOdDNQblRrbVNaVm5wTnBjQ0FBaFdnd2NQUHNmdGRwZU9HREhDbEphV0duOUpTa295cWFtcDlhNWZzV0tGS1NrcHFiYnNpeSsrTUVlUEhxMjE3WU1QUHRpb1pmNXc0TUFCNDNhN2pkdnQva2FTWmZlL0x3QWdpTG5kN28xdXQ5c2tKU1haRW5yQjVLMjMzcW9JOE1WMi83c0NnWTd2d0lHbVd5V1ZYeEFFWjgvcjlXck5taldTSkdQTTJ6YVhBd1E4QWh4b292YnQyNitSbEptVWxPVDM3OEtEeVNlZmZLS2NuQnhKMnBpV2xyYk43bnFBUUVlQUEwMlVtSmhZWmxuV0FrbDY0b2tuZE9yVUtidExjcHpEaHc5cjBhSkZGVDluOTVTdHhRQU8wZkN2UHdCb1VFNU9Uc2I1NTU4ZmMrTEVpVXYzNzkrdmtTTkhOdXJIVlZEK3EyKy8rOTN2ZFBEZ1FjdXlyUCtWbXByNmh0MDFBVTdBRVRqUVBFeGtaT1EweTdMMi8vT2YvOVRNbVROMTZOQWh1MnNLZUx0Mzc5YTBhZE1xVGgzYkt1bHhtMHNDSElQVE5JQm1OSERnd0orSGg0ZC9KR21ReStYU0RUZmNvR0hEaHFsSGp4NXEzNzY5M2VYWnpoaWozTnhjWldkbkt6RXhVVjk4OFVYRnFvK0tpNHNuN2R5NU05L08rZ0FuSWNDQlpuYlZWVmUxTzNYcTFKOGwzU3NweXU1NkF0d3hZOHppM3IxNy8zbmR1blZjZlF6NENRaHdvSVZjY2NVVlhVcExTKzgyeHZTekxLdVBaVmtkN0s0cEVCaGp2cE8wMTdLczlLS2lvcFVjZFFN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nSUR4L3dFWFFqanFrakEzR2dBQUFBQkpSVTVFcmtKZ2dnPT0iLAogICAiVHlwZSIgOiAiZmxvdyIsCiAgICJWZXJzaW9uIiA6ICIiCn0K"/>
    </extobj>
    <extobj name="ECB019B1-382A-4266-B25C-5B523AA43C14-41">
      <extobjdata type="ECB019B1-382A-4266-B25C-5B523AA43C14" data="ewogICAiRmlsZUlkIiA6ICI4NTAzMjc3NDA0NSIsCiAgICJHcm91cElkIiA6ICI0OTg2Mjc1MzQiLAogICAiSW1hZ2UiIDogImlWQk9SdzBLR2dvQUFBQU5TVWhFVWdBQUJCSUFBQVh6Q0FZQUFBQnBOeHBWQUFBQUNYQklXWE1BQUFzVEFBQUxFd0VBbXB3WUFBQWdBRWxFUVZSNG5PemRlWHhVMWYzLzhmZE5RZ0lKU1FpS0lLSnNFUVFVekEwbzRKS3d5bEtRVlJGQlVBRlJpdFJTc1pXNjFBVi9DcGJsMnlvYXRFSXJRaUd4c29oc0FpcFFLMWtFZ2lKaEtZc0NJbGtna0VreWMzNS9RS1lKV1FpUVpKTEo2L2w0NUVIbW5IUFAvZHdCL3BqUG5NODVFZ0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ThCREwwd0ZVTjlIUjBYNFpHUm4zVzVZMVZGS2tNYWFlcEFCUHgxVUZPQ3pMK2xsU3ZLUi9CZ2NILzNQanhvMjVuZzRLQUFBQUFLb2JFZ2tWeDdKdGU1eWszMHRxNHVGWXZNRUJTYThsSkNURVNESWVqZ1VBQUFBQXFnMFNDUlVnUER3OElDUWtaSjZrRVpMVXNtVkxEUjA2Vk9IaDRicmhoaHNVR2hycTRRZ3J2L1QwZEIwOGVGQXBLU2xhc21TSmR1L2VuZGYxOTR5TWpMRXBLU2tPVDhZSEFBQUFBTlVGaVlSeUZoa1pHV2lNK1V6U1hWZGRkWlZlZU9FRmRlN2NXWmJGVzMrNWpESGFzbVdML3ZTblArbVhYMzZScEM4dHkrb1ZIeDkveHRPeEFRQUFBSUMzOC9GMEFON081WExObG5SWDgrYk50V0RCQXQxeHh4MGtFYTZRWlZtNjQ0NDdOSC8rZkRWdjNseVM3akxHelBKMFhBQUFBQUJRSGZDSnRoeEZSa1lPTjhaOGVQWFZWMnZSb2tVS0N3dnpkRWhlSnpVMVZmZmZmNzkrK2VVWEdXT0dKeVltZnVUcG1BQUFBQURBbTdFaW9aemNjY2Nkd2NhWXYxaVdwWmRlZW9ra1Fqa0pDd3ZUeXkrL0xFbXlMT3V2ZDl4eFI3Q0hRd0lBQUFBQXIwWWlvWnhrWldWTmtCVFdyMTgvM1g3NzdaNE94NnZkZnZ2dDZ0ZXZueVNGblRsejVnbFB4d01BQUFBQTNveEVRamxvMjdadGtERm1zbVZaR2oxNnRLZkRxUlpHang0dHk3SmtXZGJrdG0zYkJuazZIZ0FBQUFEd1ZpUVN5b0dmbjk4QVNWZEhSMGVyY2VQR25nNm5XbWpTcEltaW82TWxxVjZOR2pYdTlYQTRBQUFBQU9DMVNDU1VqNEdTMUt0WEwwL0hVYTNrZTc4SGVqSU9BQUFBQVBCbUpCTEtXS2RPbldwSjZ1M241NmRPblRwNU9weHFwVk9uVHZMMTlaVXhwdmY1dndjQUFBQUFRQmtqa1ZER3NyT3pPMG9LaklpSVVGQlExUzdWajQyTjFkS2xTNHZzUzBoSTBNc3Z2NnhqeDQ1VmNGVEZDd29LVWtSRWhDUUY1ZVRrc01NbEFBQUFBSlFEUDA4SDRJWGFTdEpOTjkza3NRQWlJeU12NjdwcnJybEdxMWF0Y3I5ZXUzYXRHalJvb0NGRGhoUWFPM2Z1WEdWbFphbGV2WHFYSFdkNXVPbW1tN1J0MnpZWlk5cEsydWpwZUFBQUFBREEyNUJJS0dQblA4Q3FXYk5tSG9zaE5qYlcvZnZnd1lQMXhodHZxSG56NWdYR0hEOStYSTgvL3JoZWZmVlZkOUxEejYvZ1A0ZkRodytyYytmT2hlYmZzbVdMZHV6WW9ZOCsra2crUGo1S1QwOVhmSHk4dW5idFdnNVBjMm55dmU5dFBSa0hBQUFBQUhnckVnbGxyNDBrTlczYTFHTUJOR25TcE1EcmE2Kzl0bENidjcrL0pLbEJnd2FGK2c0Y09LRGMzRndkUFhwVVFVRkJPbkRnZ0tSekt4WnExS2loR1RObWFQTGt5ZTdyZnZ6eFJ6My8vUE1LRFEyOTdOVVFaU1V2a1dDTWFlUFJRQUFBQUFEQVM1RklLSHRYUzFMZHVuVTlIY2RsR3p4NHNQdjNhZE9tdVg5Lzg4MDN0WFBuVHJWczJkSmQ3dUJ3T0ZTL2ZuMDkvUEREZXVtbGwvVFBmLzVUQVFFQkZSNXpuckN3c0x4ZnIvWllFQUFBQUFEZ3hVZ2tsTDFRU1ZWNm84WDQrSGg5L1BISGV1ZWRkL1RaWjU4cEp5ZEhuVHAxMHFaTm03UnMyVEpkZmZYVjZ0cTFxMDZmUGkybjArbSt6cklzTFZpd1FHUEhqdlZZN1BuZTkxQ1BCUUVBQUFBQVhveEVRdGtMa2FUQXdFQlB4M0ZGdnYvK2U5MXl5eTJTcEJNblRzZ1lvM2J0MnVuVXFWTnEwYUtGcnJubUd0V3JWMDlYWDMyMTZ0U3BvN0N3TUsxZnYxNnZ2dnFxQmd3WTRMRk5HRWtrQUFBQUFFRDVJcEhnWllyYW8yRGt5SkhGam4vMDBVY0x2SjQyYlpydXVlY2U3ZGl4UTMzNjlKRWs3ZHUzVDRHQmdlcmZ2NzhHREJoUTdGeFJVVkg2NXB0djVPdnJlNW5SQXdBQUFBQXFPeElKWlM5RDB0Vm56cHh4YjJoWWtmS2YyT0J3T0RSOCtIRE5uajFialJvMUtqQ3VxRk1icEhNYktwNDVjMFo3OXV5UmJkdVNwT1RrWk4xMDAwM3k4ZkZ4Yjd4WW5ELzg0UStxVWFORzJUM1FKY3JNek16N05kMWpRUUFBQUFDQUZ5T1JVUGJTSlYyZG1abXBPblhxVlBqTjg1L0FjUExrU1VuU2pUZmVxUHIxNnhjWVY5S3BEVjkvL2JWY0xwZHljM01sU1Y5KythV2lvNk1sRmR5SXNTaXhzYkdGNXF0SUpCSUFBQUFBb0h5UlNDaDdKeVExUDNueXBLNjc3anFQQm5Ma3lCSDUrUGpvNnFzdjdRQ0REaDA2YU5pd1lYcnNzY2MwZlBod2ZmZmRkM3JsbFZmYy9jVWxDeng5OUtNa3BhYW01djE2d3BOeEFBQUFBSUMzSXBGUTlwSWwzYjUvLzM3M1pvV2VzbTNiTmpWdDJ2U1M5eXp3OGZIUjAwOC9yV3V2dlZZelo4NVVlSGk0YnJqaGhuS0tzbXp0MjdkUGttUlpWcktIUXdFQUFBQUFyK1RqNlFDOGpXVloyNlgvZmFEMWxMUzBOQzFjdUZCUlVWR1hQWWVmbjU5cTFxeXAvZnYzNjhVWFg1VEw1U3JEQ010SHZ2ZDl1eWZqQUFBQUFBQnZ4WXFFc3JkZE9uZDhvcWVjUEhsU2t5Wk5rc3ZsMG9NUFBuaFpjNnhidDA1dnZ2bW1YbnJwSmRXcVZVdS8vLzN2M2FVTGFXbHArdVdYWDhveTVES1Q5NzduSlhRQUFBQUFBR1dMUkVJWjgvZjMvN2ZENGNoTVRFd015c3pNVkZCUVVJWGVmL1BtelhyNTVaZVZtWm1wT1hQbVhOYUdqd3NYTHRUTW1UTTFkdXhZOWU3ZFc1STBiOTQ4dFc3ZFduLzYwNThLSFJsWldXUm1aaW94TVZHU01tdlhydjF2VDhjREFBQUFBTjZJUkVJWjI3cDE2MW5idGovTHpjMGR2SFhyVm5YdjNyMUM3eDhRRUtEYXRXdHIxcXhaQlk1MXZKQ2ZuNThhTldxa2dJQ0FRbjFmZi8yMXhvOGZYeUJoY1BQTk43dC9YN1Jva1JvM2Jsem91azZkT2wxaDlGZG02OWF0Y2pxZHNpeHIxY2FORzdNOEdnd0FBQUFBQUtWbDIvYUR0bTJieVpNbkcwOXd1VnhYZEgxMmRuYXhmV3ZYcmpXWm1abEY5bTNZc0tIWXZvb3dlZkprWTl1MmlZeU1ITzdwZndNQUFBQUE0SzBzVHdmZ2pkcTJiUnZrNStkM3dMS3NxMk5qWTR2ODloNWw2OENCQXhveVpJaU1NVC9uNXVZMjNiNTllNmFuWXdJQUFBQUFiOFNwRGVWZysvYnRtWlpsdldtTTBRY2ZmT0RwY0txRkR6NzRRTVlZR1dQZUpJa0FBQUFBQU9XSFJFSTVxVm16NWw4bHBTNWJ0a3hmZi8yMXA4UHhhbDkvL2JXV0wxOHVTYW1CZ1lGdmVUb2VBQUFBQVBCbWxEYVVvNGlJaUFjc3kxcDQxVlZYYWZIaXhRb0xDL04wU0Y3bjVNbVRHalpzbUg3NTVSY1pZeDVJVEV4YzVPbVlBQUFBQU1DYitYbzZBRzkyOU9qUm5RMGFOR2gwOXV4WmUvUG16YnJ6empzVkhCenM2YkM4eGs4Ly9hUUpFeWJveHg5L2xLU1l4TVRFMXp3ZEV3QUFBQUI0TzBvYnlwbVBqODhrU1YvdTNidFhvMGFOMHViTm0yV004WFJZVlpveFJwczNiOWFvVWFPMGI5OCtTZnJTc3F6ZmVEb3VBQUFBQUtnT0tHMm9BT0hoNFFFaElTSHpKSTJRcEpZdFcycm8wS0ZxM3J5NUdqZHVyTkRRVUE5SFdQbWxwNmZydi8vOXIvYnUzYXNsUzVabzkrN2RlVjEvejhqSUdKdVNrdUx3Wkh3QUFBQUFVRjJRU0tnNGxtM2JZeVg5UVZJVEQ4ZmlEUTVJZWkwaElTRkdFa3M4QUFBQUFLQ0NrRWlvWU5IUjBYNm5UcDI2enhnelZGS2twSHFTYW5vNHJLb2dTOUxQa3VJdHkxb1NIQno4ejQwYk4rWjZPaWdBQUFBQUFLbzkyN2FOYmR0OHl3OEFBQUFBS0lUTkZnRUFBQUFBUUttUlNBQUFBQUFBQUtWR0lnRUFBQUFBQUpRYWlRUUFBQUFBQUZCcUpCSUFBQUFBQUVDcGtVZ0FBQUFBQUFDbFJpSUJBQUFBQUFDVUdva0VBQUFBQUFCUWFpUVNBQUFBQUFCQXFaRklBQUFBQUFBQXBVWWlBUUFBQUFBQWxKcmw2UURnV1czYnRtM2s1K2YzeHd1YUh6di81enY1RzNOemMxL1p2bjM3NFlxSkRBQUFBQUJRR1pGSXFPYUdEaDNxbTVLU2NzU3lyUG9salRQR0hBc1BENzl1eVpJbHpvcUtEUUFBQUFCUStmaDZPZ0I0MXE1ZHU4eDExMTNYWEZMN2l3ejkrL3IxNjFkVVJFd0FBQUFBZ01xTFBSSWdsOHNWVzRwaHBSa0RBQUFBQVBCeUpCSWdIeCtmVGNhWWt5VU0rU1UwTkhSVGhRVUVBQUFBQUtpMFNDUkE4Zkh4T1pabGZWTENrRTgyYnR5WVcyRUJBUUFBQUFBcUxSSUprQ1JabGxWczZZS1BqdzlsRFFBQUFBQUFTU1FTY0Y1NmV2bzZTUmxGZEdXa3BhV3RyK2g0QUFBQUFBQ1ZFNGtFU0pKU1VsSWN4cGlpVG1WWW5wS1M0cWp3Z0FBQUFBQUFsUktKQkxnVlU5NUFXUU1BQUFBQXdJMUVBdHdzeS9wTTBwbDhUV2NzeTFydHFYZ0FBQUFBQUpVUGlRUzR4Y2ZIbjVHMEt1KzFaVm1mbm04REFBQUFBRUFTaVFSY3dCampMbVZ3dVZ5VU5RQUFBQUFBQ2lDUmdBTDgvZjFYNXYwZUdCaTRzcVN4QUFBQUFBQUFzbTE3dVczYnl6d2RCd0FBQUFDZzh2SHpkQUNvbEdJdHl6S2VEZ0lBQUFBQVVQbFluZzZnSXJWcDA4WS9JQ0FnU1ZJclQ4ZUM2c2NZc3pFeE1iR0xwK01BQUFBQWdDdFJyZlpJcUZXclZuZVJSSUNIV0pZVjdla1lBQUFBQUFDWElDSWk0Z1BidHMyOGVmTk1XUms5ZXJTSmlZa3BzaThuSjhlTUh6L2VSRWRIbTh6TXpJdk81WFE2emF1dnZscnNmTVZKVGs0MkV5ZE9MSENQbkp3Y2s1cWFldEdmL0o1Ly9ublRwMDhmODhzdnZ4UzZ4K2VmZjI2aW9xTE1xVk9uaW96aDdObXpadXZXcmU3WHRtMmIvZnYzRzJPTTJieDVzMGxQVHpmR0dETnQyalR6OE1NUFg5THpWWFV6WnN3d3RtMGIyN2IvN09uL0F3QUFBQUJ3cGFyTkhnbHQyclR4dHl6clhrbnEzcjE3bWN6cGREcTFlL2R1alJvMXFzaStGMTU0UVR0MzdsVFRwazMxeHovK1VUTm16SkNQVC9HTFFIeDhmQlFSRWFFWFhuaEJ0V3ZYMXJCaHcwb1Z4N1hYWHFzZmZ2aEJVNlpNMFp3NWMrVGo0Nk90VzdmcU43LzV6VVd2alkrUGx5UjkvZlhYV3JseXBYeDlmZFcvZi84Q1k4YU5HNmQvL2V0Znlzek1WSzlldlFyTnNYVHBVaDA1Y2tSUFB2bWszbmpqRFVWSFI3djdkdTNhcFNsVHB1aXR0OTVTMjdadDlkMTMzNmxqeDQ2bGVpNXY0SEs1dEc3ZE9rbVNNV2FKaDhNQkFBQUFBSlJXKy9idCs5aTJiWVlORzFZbTN6S2ZQbjNhSkNZbUd0dTJ6WUVEQjB4R1JvYkp5TWh3OTAyY09OSGNmZmZkSmlrcHladzhlZEwwNnRYTFBQWFVVeVlySyt1aWN5OWV2TmpjZHR0dFpzK2VQYVdPWjl1MmJhWjkrL1pteG93WnhwaExXNUZ3OE9CQjA3VnJWN05xMVNwejRzUUowNjFiTjdOaXhRcjMzRysrK2FZWk9IQ2d5YzdPTmpObXpEQlBQLzIwY1RnY2hXSjQ2NjIzek5peFk0MHgvMXVSOE1BREQ1aTVjK2NhWTR4SlQwODM3ZHUzTnp0MjdDajFjMVYxU1VsSnhyWnRFeGtaZVVqVnJKUUlBQUFBQUtxMHNpNXI2TktsUzk1eTlRSS8yN2R2Ti8zNjlUUDkrL2MzKy9idGM0L2Z2MysvNmRHamh4azRjS0JKU2txNjZQemp4NDgzanp6eXlDWEZGQk1UWTVZdVhYcEoxemdjRHRPM2IxOHphOVlzZDl1bm4zNXFIbmpnQWVOME9vMHh4cno2NnF0bTI3WnR4aGhqTWpNenpjaVJJODNhdFdzTHpIUGl4QWx6OU9oUmMvVG9VWFBpeEFsajI3WkpURXcwMzMvL3ZUbCsvTGpKeWNreHk1Y3ZML0k5eTN2ZnZCRmxEUUFBQUFDOFRiVTR0ZUg4YVEzSEpZWEd4Y1dwY2VQR1pUTHZFMDg4b1ZhdFdtbml4SW5LenM3VzY2Ky9ybVhMbHFsNzkrNWFzMlpOb2ZITm16ZFhnd1lOdEhuelpnMFlNRURQUGZkY3NYUC8rdGUvMXRhdFd6Vmp4Z3gxNlZLK0cvM3YzTGxUTjk5OHM2S2lvdHh0THBlcjJES012TDdGaXhlclFZTUdrcVRJeU1nUzcvSGVlKzlwOXV6WkNnOFAxOE1QUHl6cFhObkRNODg4b3c4KytFQXRXN2JVNTU5L3JxbFRwMnJzMkxFYVAzNjgrOXJmLy83MzJyUnBrNVl1WGFycnJydnVTaCszd3JoY0x2WHQyMWZIangrWE1hWnpZbUxpVmsvSEJBQUFBQUJYcWxyc2tWQ3paczBleHBqUUZpMWFsRmtTSVMwdFRkdTJiZFBJa1NNVkdSbXArUGg0Tlc3Y1dOT25UMWQwZEhTUlNRSmZYMThGQkFUb3E2KytVdDI2ZFl1ZCs4eVpNNHFQajFkWVdKamVlZWNkUlVkSHk3S0t6dm1jUFh0V3g0NGRjNzl1MHFTSmxpOWZyaGRmZkxIVXo1SzNUOExwMDZjVkd4dXJKazJhbERnK096dGJuVHAxa3N2bEtqVEg3dDI3OWZUVFQrdklrU09hT0hHaUJnNGNxTkRRVUNVbUptcjc5dTFxMGFLRkdqWnNLT2xjSXNISHgwZXRXcldTbjUrZmV2WHFwYVZMbDJyaHdvVWFQbnk0UWtKQ3RHdlhMcTFidDA3ang0K3ZVa2tFU2RxeFk0ZU9Iejh1eTdJT0p5UWtmTzNwZUFBQUFBQ2dMRlNMUklMTDVScHFXVmFaYmJJb1NhdFhyMWFUSmszVW9rVUxkOXRERHoxVTVEZno4Zkh4Y2pxZDh2WDExZEdqUnpWMTZsUnQyclNwMkxuWHJGbWozTnhjdmY3NjZ4by9mcncyYmRwVVlBUEQvQklURXpWeDRzUUM5K3JTcFl0dXVlVVdTZWNTSHVQR2pkTjk5OTJuSVVPR1hQUzVKa3lZSUQrL2t2OVpHR01LdGJsY0xpMVpza1IvK2N0Zk5HblNKTDMyMm11S2o0L1g0c1dMOWRwcnIrbnR0OTlXVUZDUURoOCs3TDdteUpFanV2YmFhd3ZjYjhxVUtYcnd3UWMxZi81OFRadzRVZi8zZi8rbkcyNjRvY2dOTFN1N0N6WlpkSlU4R2dBQUFBQlFLYlJwMDhiZnR1MjB2RTBSeThwOTk5MW5GaXhZNE40UElJOXQyeVl0TGMzazV1YWF0TFEwWTl1MnljakljSTg1Y3VSSWdmRkZHVEZpaEprd1lZSXh4cGpKa3llYkJ4OTgwTGhjcmhLdjJiOS9mNUh6L3VVdmZ6RlJVVkh1NHhlUEhqMWE3QkdPK1k5c0xJbkQ0VEMyYlpzalI0NFlZODV0TGpsOCtIRFRyVnMzczJYTGxnSnpyVml4d3ZUcDA4ZXNXN2ZPZlB6eHg2WnIxNjd1ZVo1OTlsbnoxRk5QRlpwLzJyUnBwblBuem1ibHlwWEd0bTN6NzMvLys2SXhWVFpPcDlQMDZ0WEwyTFp0SWlJaU9ubjYvd0VBQUFBQWxCV3ZYNUZRSG1VTmtwU1NrcUpaczJacDFxeFprczd0RVRCdDJqUko1NDV4OVBYMUxmR294K0pzMmJKRnUzYnRjczg3WnN3WWpSZ3hRbXZXck5FOTk5eHpTWE9scHFacTBhSkZHak5takVKQ1FpU2QrOGIvbW11dTBmVHAwNHU4WnZ6NDhaZThJaUVvS0VoUlVWRWFNbVNJYXRldTdUNkdzbEdqUm1yU3BJbTZkZXVtbWpWcjZzaVJJMHBMUzlQZXZYdlZ2SGx6SlNZbWF1alFvWVhtbnpCaGd0YXNXYU1YWG5oQnZYcjEwdTIzMzM1SnoxMFpVTllBQUFBQXdGdDVmU0toUE1vYUpMazNVMHhOVGRYOTk5K3ZOV3ZXS0RnNFdKTFV2MzkvV1paVlpBbEFTWEp6Y3pWejVreTFidDFhZDkxMWx5VHBwcHR1VXJkdTNUUjc5bXpkZGRkZENnd01MUFY4Nzd6empzTEN3dlRBQXcrNDI2Wk9uYXFISG5wSWl4WXQwckJod3dwZE0zZnUzRkx2a1pEZmtDRkRaSXpSSjU5OG9nMGJObWpjdUhGS1QwOTM5OWVzV1ZQWFhYZWRHalZxcEEwYk5zanBkT3JZc1dPRjVwR2tHalZxS0RBd1VCa1pHUW9JQ0NqMTgxWW1sRFVBQUFBQThGWmVuVWdJRHc4UHNDeHJnS1F5VHlSY2RkVlZ4YjVldG15WmdvT0RkZXJVcVdMM05paEtURXlNOXUvZnIzbno1aFZvbnpScGtvWU1HYUtaTTJkcTZ0U3BwWnByNTg2ZGlvMk4xWi8vL0dmVnFGRkRtWm1aT25YcWxDUXBLaXBLczJmUFZvY09IZFM4ZWZNQzE0MGVQZnF5VmxMMDdkdFgyZG5aN3RmMzMzOS9nZjY4elJoNzl1eXBqei8rV0VlUEhsV2pSbzEwMDAwM0ZacnJyYmZlVWtaR2hrYU5HcVVGQ3hibzNudnZWYnQyN1M0NUprOXh1VnhhdjM2OUpIY2lBUUFBQUFCUUZVUkdSdmExYmR2Y2YvLzk1VllMbjdkSFFtSmlva2xJU0hEdmlXQ01jZStOVUpvOUVyNzY2aXZUdm4xNzg4WWJieFI1bi9uejV4dmJ0czJLRlN1SzdNKy9SNExENFREZHUzYzN0bTJicUtnbzA3NTllMlBidHJGdDIzVHMyTkgwNk5IRDNIMzMzZWFCQng0d09UazU3amsyYk5oZ01qTXp6ZDY5ZTgyQUFRT0t2TS9BZ1FQTndZTUh6WVlORzh6WnMyY0w5TTJaTThjTUhEalFaR1ZsdWR1ZWUrNDVNM2JzV1BmckgzLzgwWFRvME1IWXRtMysvdmUvRjVvL09Ublp0Ry9mM3NURXhCaUh3Mkg2OXUxcmhnMGJacHhPWjVIeDVPZDBPazFxYXFweE9Cd1hIVnVla3BLUzh0N3ZnNUl1UFNzREFBQUFBSldZVjY5SXlDdHI2TkdqUjVuUFBXWEtGUDMwMDAvNjhjY2ZKVW5QUHZ1c25uamlDVW5udnAyL2xOS0doSVFFVFpreVJhMWJ0OVp2ZnZPYklzZU1HREZDVzdaczBVc3Z2YVRhdFdzcktpcXFRUCsrZmZza25UdkNzWGJ0MnBvMGFaSWtxVjY5ZWdvTEMxT2RPblVVR2hycUxoWFlzMmVQNXM2ZHEvVDBkUFhzMmJQSWV4WjFBb1VrRFJnd29NRHIxMTkvWFIwNmROQ0tGU3NVR2hxcXpaczNLem82V3A5KytxbldybDJyRHo3NHdEMzI2cXV2VnNPR0RYWG8wQ0YxNk5DaHdEeE9wMU92dlBLSzZ0V3JwNUVqUjhyZjMxOFRKa3pRSC8vNFIzMzAwVWQ2OE1FSGkza0h6OW15WllzbVRacWtoUXNYcW1YTGxpV09MVTk1WlEyU2xvcXlCZ0FBQUFDb0dzTER3d1BLNDdTR1BJY09IVEpwYVdubTZOR2poVTV0dUhCRmdqSEcvUzM1aFNzU1ZxMWFaVHAyN0dnR0R4NXNVbE5UUzd4bmFtcXFHVEJnZ1BzYisrenNiT04wT2sxTVRJeTU4ODQ3emU5Kzl6dlRyMTgvRXhjWFozNzg4VWVUbTV0YjRueE9wOU5rWm1hYXpNeE00M0E0ak1QaE1ELy8vTE81OTk1N3pTdXZ2T0p1eS85ajI3YjU0WWNmQ3JUbHJSWndPQnhteVpJbHBtL2Z2dVpYdi9xVmFkKyt2Zm5razAvYzkzTzVYT2I1NTU4M0hUdDJOSDM3OWpVREJnd3d4NDRkYy9mLzdXOS9NN1p0bTVVclZ4YTRadmp3NGViT08rODB4NDhmTC9GNTVzeVpZL3IyN1Z2aW1QTG1kRHBONzk2OU9hMEJBQUFBZ05meTJoVUpvYUdoM1kweG9UZmVlR09abnRhUXAxR2pScExPYlpCNElXT01YQzZYTWpJeTVPdnJxOXpjWEtXa3BDZ29LRWp4OGZIdURSTVhMRmlnMmJObnEwMmJOcG96WjQ3cTFLbFQ0ajNyMUttanVYUG5hc0tFQ1hyNzdiZGxqRkczYnQwMGYvNTh6Wmt6UnhFUkVWcStmTGtXTEZpZ1YxNTVSWkxrNitzclB6OC85NCt2cjYreXM3UGxjRGlVazVNamYzOS9yVnExU2lkUG50UVhYM3loZi96akh3b0tDdEtFQ1JQazcrOWZaQncxYXRRb3NzL2YzMS9ObWpWVHc0WU50Vy9mUHRXcFUwZHo1c3hSZW5xNmhnOGZybGRmZlZXclZxM1NhNis5cHZEd2NEMzY2S01hUFhxMFhudnROYlZyMTA2alI0L1c2TkdqQzh4cFdaWSsvUEREaS81OVNOSzMzMzU3U1h0U2xJY2RPM2JvMkxGamtuUW9NVEdSMHhvQUFBQUFlQjJ2VFNSSXVrOHErMDBXU3lNMU5WVmR1M2FWWlZucTA2ZVBmSHg4OU5oamorbk1tVFB5OS9mWG80OCtLa25xMTYrZlVsTlQ5ZmpqanhmN29mMUM5ZXZYMS96NTg3Vm8wU0tOR2pWS2ZuNStXcng0c1JvMmJPaWVzMSsvZnNySXlOQ0pFeWVVbTVzcmw4c2xwOVBwTHJXd0xFdVdaY25IeDBlMWF0VlNVRkNRSG5ua0VXVm5aMnZnd0lFYU1XS0VhdFdxVmVyblBYWHFsTjU3N3oxdDJyUkpQLy84c3dZUEhxd1pNMmFvUm8wYSt1aWpqMlNNMGVPUFA2NWR1M1pwK3ZUcDdyS01tSmdZVFpvMFNXUEdqTkg3NzcrdlcyNjU1VkxlNWdKeWNuS1VuSnlzeHg5Ly9MTG5LQXVVTlFBQUFBQkFGVlRlWlEzNTVlYm1tdVRrWlBmcmxKUVU0M1E2amN2bEtyUkJZRjU3WlhUbXpKbkx2alluSjhkTW1UTEZmUHp4eHlZek03TlFmMjV1cnZuVG4vNWtVbEpTQ3ZXbHA2Y1h1ZW5pcGNyTXpEU3JWNjh1MWFhTTVZV3lCZ0FBQUFEVmdlWHBBTXBEWkdSa1gyUE1paHR2dkZHTEZpM3lkRGlvSnI3OTlsczk4c2dqa25Rb0lTR2hpVmlSQUFBQUFNQUxlZXZSZEI0cmEwRDFSVmtEQUFBQWdPckE2eElKNGVIaEFjYVlleVdWeTdHUFFGRmNMcGZXcjErZjkvS2Zub3dGQUFBQUFNcVQxeVVTUWtKQ2VrZ3F0OU1hZ0tMczNMblRmVnBEUWtJQ3B6VUFBQUFBOEZwZWwwaXdMR3VvUkZrREt0YmF0V3Z6ZmwwcXlYZ3dGQUFBQUFBb1YxNlZTS0NzQVo1QVdRTUFBQUNBNnNTckVnbDVaUTNoNGVHVU5hRENVTllBQUFBQW9Ecnhxa1JDWGxrRHF4RlFrU2hyQUFBQUFGQ2RlRTBpNFh4Wnd3Q0pSTUtsT0hUb2tDSWpJL1hjYzg4VjZsdTVjcVVpSXlQMTFWZGZlU0N5cW9HeUJnQUFBQURWamRja0VzNlhOWVJRMW5CcHJyLytla1ZFUkdqVHBrM0t6czR1MExkNjlXclZxMWRQblR0MzlsQjBsUjlsRFFBQUFBQ3FHNjlKSkZEV2NQbjY5Kyt2ek14TWJkbXl4ZDJXbHBhbWYvLzczK3JidDY5OGZMem1uMG1abzZ3QkFBQUFRSFhqRlo4UUtXdTRNdDI3ZDFldFdyWHlmeWpXdW5YcjVIUTYxYjkvZnc5R1ZybFIxZ0FBQUFDZ092S0tSQUpsRFZjbU1EQlEzYnQzMXhkZmZDR0h3eUZKV3JWcWxkcTFhOGY3V1FMS0dnQUFBQUJVUjE2UlNKQjBuOFJxaEN2UnYzOS9uVGx6Umw5OTlaV09IVHVtYjcvOVZ2ZmVlNitudzZyVTFxMWJKMG15TEd1SktHc0FBQUFBVUUzNGVUcUFLeFVlSGg0ZzZWN3AzQko5WEo2SWlBZzFhdFJJYTlldTFlSERoMVd6WmswU015Vnd1Vnp1UklJeFpvbUh3d0VBQUFDQUNsUGxFd241eXhxYU5Hbmk2WENxTE11eTFMOS9mMzN3d1FjNmRPaVF1bmZ2cnNEQVFFK0hWV2xSMWdBQUFBQ2d1dktHMGdiS0dzcklyMzcxSzJWbFplbjc3Nytuck9FaUtHc0FBQUFBVUYxVjZSVUpsRFdVcmZyMTY2dEpreWJLeWNsUlJFU0VwOE9wdENockFBQUFBRkNkVmVrVkNTRWhJVDFGV1VPWk9YRGdnUGJ0MjhlUmp4ZEJXUU1BQUFDQTZxeEtyMGlRTkZRNjkwMzZqaDA3UEIxTGxmZTN2LzFOZm41K2F0R2lCZTluQ1diT25DbUpzZ1lBQUFBQTFaUGw2UUN1aEczYnFaTHFlRG9PVkZ1ZEVoSVMvdTNwSUFBQUFBQ2dJbFgxRlFudlN1b3VLY2ZUZ1ZSeDdjLy9lVXpTSVU4R1VvVjhSMWtEQUFBQUFBQ1NiTnMydG0yelpCOEFBQUFBVUVpVjNtd1JBQUFBQUFCVUxCSUpBQUFBQUFDZzFFZ2tBQUFBQUFDQVVpT1JBQUFBQUFBQVNvMUVBZ0FBQUFBQUtEVVNDUUFBQUFBQW9OUklKQUFBQUFBQWdGSWprUUFBQUFBQUFFcU5SQUlBQUFBQUFDZzFFZ2tBQUFBQUFLRFVTQ1FBQUFBQUFJQlNJNUVBQUFBQUFBQktqVVFDQUFBQUFBQW9OY3ZUQWNDejJyWnRlMDJOR2pYNjUyOHp4c1JJa21WWlkvTzM1K1RrTE51K2Zmdnhpb3dQQUFBQUFGQzUrSGs2QUhoV1VGRFFLWWZETVV0UzBJVjllUW1GOHpLRGdvSStyTGpJQUFBQUFBQ1ZFYVVOMWR6V3JWdlBTbHBaaXFFcnpvOEZBQUFBQUZSakpCSWdTYkVYRzJCWjFrWEhBQUFBQUFDOEg0a0V5T0Z3ZkNvcHE0UWhXVmxaV2FzcUtoNEFBQUFBUU9WRklnRktUazQrYlZuVzZoS0dmSmFjbkh5NndzRHFMeFFBQUNBQVNVUkJWQUlDQUFBQUFGUmFKQklnU1hLNVhDV1ZMbERXQUFBQUFBQ1FSQ0lCNXhsamxrdktLYUlyeCtWeXJham9lQUFBQUFBQWxST0pCRWlTa3BLUzBpU3RMNkpyM2ZrK0FBQUFBQUJJSk9CL2lqcVp3UmhEV1FNQUFBQUF3STFFQXR4Y0x0Y25rbHo1bXB3K1BqNmZlQ29lQUFBQUFFRGxReUlCYm9tSmlUOUwycFN2YVZOOGZQd0pUOFVEQUFBQUFLaDhTQ1RnUXU1U2hxSktIUUFBQUFBQTFSdUpCQlJnalBrNDM4dVBpeDBJQUFBQUFBQWdTUkVSRVYvWnR2MmxwK01BQUFBQUFGUStmcDRPQUpYUCtaSUc0K2s0QUFBQUFBQ1ZqK1hwQUNwU216WnQvQU1DQXBJa3RmSjBMS2grakRFYkV4TVR1M2c2RGdBQUFBQzRFdFZxajRSYXRXcDFGMGtFZUlobFdkR2VqZ0VBQUFBQXJsUzFLbTF3T3AzM1daYWxKNTU0UW84KytxaW53MEUxOGVhYmIycmh3b1dTTk5QVHNRQUFBQURBbGFvMkt4TGF0R25qYjFuV3ZaTFV2WHQzVDRlRGFzTGxjbW5kdW5XU0pHUE1FZytIQXdBQUFBQlhyTm9rRXM2WE5kUnAwYUtGR2pkdTdPbHdVRTNzMkxGRHg0OGZsMlZaaHhNVEU3LzJkRHdBQUFBQWNLV3FUU0xCNlhUZUo3RWFBUlhyZ3RVSUxzOUdBd0FBQUFCWHJsb2tFczZYTlF5UVNDU2c0bERXQUFBQUFNQWJWWXRFUXMyYU5YdElDcVdzQVJXSnNnWUFBQUFBM3FoYUpCSmNMdGRRaWRVSXFGaVVOUUFBQUFEd1JsNmZTS0NzQVo1QVdRTUFBQUFBYitYMWlRVEtHdUFKbERVQUFBQUE4RlplbjBpZ3JBR2VRRmtEQUFBQUFHL2wxWW1FOFBEd2dJb3Fhemh6NWt5Si9TNlhTMmZQbmkzWEdNcks4ZVBIdFhEaFFuMzc3YmVGK293eCt1Yy8vNm4vL3ZlL0hvaXNhbkM1WEZxL2ZyMGt5aG9BQUFBQWVCK3ZUaVNFaG9aMmx4UjY0NDAzbG50Wnc0UUpFelJ2M3J3aSszSnpjelZod2dUMTZkUG5vZ2tINmR3SDBXblRwaFU3WDNGMjdkcWxKNTk4c3NBOWNuTnpsWmFXZHRHZi9QNzYxNy9xd3c4LzFQWFhYMS9vSGhzM2J0UmJiNzJscTY2NjZxTHhUSjgrWFcrLy9YYVJmYXRYcjliZ3dZTjE4T0RCUzNyR3FtREhqaDA2ZHV5WUpCMmlyQUVBQUFDQXQvSHpkQURseWVWeURiVXNTejE2OUNqWCt6aWRUdTNldlZ1alJvMHFzdStGRjE3UXpwMDcxYlJwVS8zeGozL1VqQmt6NU9OVGZBN0h4OGRIRVJFUmV1R0ZGMVM3ZG0wTkd6YXNWSEZjZSsyMSt1R0hIelJseWhUTm1UTkhQajQrMnJwMXEzN3ptOTljOU5yNCtIaEowdGRmZjYyVksxZksxOWRYL2Z2M0x6Qm0zTGh4K3RlLy9xWE16RXoxNnRXcjBCeExseTVWZ3dZTkpFbUhEeC9Xa2lWTDlNd3p6K2pBZ1FNRnhqVnMyRkR2dlBPTy9QMzk1WEs1Q3ZSZmRkVlZDZzRPTHRYelZsWjVaUTJTbG9xeUJnQUFBQUNvR3NMRHd3TnMyMDZ6YmRzY09IREFsSmZUcDArYnhNUkVrM2Vmakl3TWs1R1I0ZTZiT0hHaXVmdnV1MDFTVXBJNWVmS2s2ZFdybDNucXFhZE1WbGJXUmVkZXZIaXh1ZTIyMjh5ZVBYdEtIYysyYmR0TSsvYnR6WXdaTTR3eHh1VGs1SmpVMU5TTC9oaGp6TUdEQjAzWHJsM05xbFdyeklrVEoweTNidDNNaWhVcjNITy8rZWFiWnVEQWdTWTdPOXZNbURIRFBQMzAwOGJoY0JRWng2UkprNHh0MjBYK3pKa3pwOWkrUllzV2xmcFpLeU9uMDJsNjkrNXRiTnMyRVJFUm5Uejkvd0FBQUFBQVVFcVJrWkY5YmRzMjk5OS9mN2wrY096U3BVdVJINGkzYjk5dSt2WHJaL3IzNzIvMjdkdm5IcjkvLzM3VG8wY1BNM0RnUUpPVWxIVFIrY2VQSDI4ZWVlU1JTNG9wSmliR0xGMjY5Skt1Y1RnY3BtL2Z2bWJXckZudXRrOC8vZFE4OE1BRHh1bDBHbU9NZWZYVlY4MjJiZHVNTWNaa1ptYWFrU05IbXJWcjF4YWFhK25TcGFaRGh3NG1LU25KTEYrKzNEejc3TE1tSnlmSEdHUE03dDI3VGNlT0hjMjBhZE9NTWNZOC8veno1cU9QUHJxa1dDdXpwS1Nrdkg4REIrWGxwVU1BQUFBQXFpZkwwd0dVbDhqSXlQbkdtSWNlZi94eGpSa3pwbHp2OWNRVFQ2aFZxMWFhT0hHaXNyT3o5ZnJycjJ2WnNtWHEzcjI3MXF4WlUyaDg4K2JOMWFCQkEyM2V2RmtEQmd6UWM4ODlWK3pjdi83MXI3VjE2MWJObURGRFhicDBLYy9IME02ZE8zWHp6VGNyS2lySzNlWnl1WW90dzhqclc3eDRzYnVrWWN1V0xYcnFxYWMwY2VKRWpSZ3hRai8vL0xQR2poMnJxS2dvUGZMSUl4bzVjcVNDZzRQMXQ3LzlUZjcrL2twT1R0YjQ4ZVAxd1FjZnFIbno1Z1htUDN2MnJONTc3ejJ0V2JOR3g0NGRVMGhJaU82NDR3NU5tREJCOWVyVmM0K0xqSXhVejU0OTlkaGpqMm5HakJuNjl0dHY1ZWZucHk1ZHV1aXBwNTZxMEZLSk45OThVd3NYTHBTa21Ra0pDYit0c0JzREFBQUFRQVh4eWowU3dzUERBNHd4OTBvcTkvMFIwdExTdEczYk5vMGNPVktSa1pHS2o0OVg0OGFOTlgzNmRFVkhSeGVaSlBEMTlWVkFRSUMrK3VvcjFhMWJ0OWk1ejV3NW8vajRlSVdGaGVtZGQ5NVJkSFMwTEt2bzNNL1pzMmZ6TnZpVEpEVnAwa1RMbHkvWGl5KytXT3BueWRzbjRmVHAwNHFOalZXVEprMUtISitkbmExT25Ucko1ZnJmTmdBTkdqVFFyMy85YTQwWU1VSzdkKy9XaEFrVDlKZS8vRVhObWpYVDZkT24xYUZEQnozKytPUHk5L2VYZEc1Zmg3dnZ2cnRRRWlFN08xdmp4NC9YcmwyNzFMTm5UL2ZHakN0WHJ0UTMzM3lqano3NlNDRWhJZTd4SjA2YzBQang0OVdwVXllTkdUTkdTVWxKK3VTVFQzVHc0RUhGeE1RVSs3NlZKVTVyQUFBQUFGQWRlR1VpSVRRMHRMc3hwa0pPYTFpOWVyV2FOR21pRmkxYXVOc2VldWdoUlVaR0Zob2JIeDh2cDlNcFgxOWZIVDE2VkZPblR0V21UWnVLblh2Tm1qWEt6YzNWNjYrL3J2SGp4MnZUcGsyS2pvNHVjbXhpWXFJbVRweFk0RjVkdW5UUkxiZmNJdWxjd21QY3VIRzY3Nzc3TkdUSWtJcysxNFFKRStUblYvSS9EMk5Nb2JabXpacXBXYk5tTXNib2pUZmVVSFIwdEc2NjZTWkpVdDI2ZFFzbFZqSXlNdlRaWjUvcDFWZGZMZEMrY09GQzdkeTVVODg5OTV3R0RCamdici9ycnJzMGVmSmt2Zi8rK3dVMmtVeElTTkQwNmRQVnRXdFhTZEtvVWFQMDJtdXZhZW5TcGRxNmRhczZkKzU4MFdlK1VweldBQUFBQUtBNjhNcEVncVQ3SktsNzkrN2xmcU80dURqMTY5ZXZ5TDdQUC85Y3RXdlgxdW5UcDlXMWExZWRPblZLMGRIUmlvK1BsOHZsMHVuVHAwdWNPelkyVnJmZmZyc2lJeU1WRlJXbGVmUG1LU29xcXNodjF6dDM3cXo0K0hnZE9IQkFnd2NQbGlUVnJsMWJ0V3ZYbG5UdVNNZkF3RUNOR3pkT0lTRWhPbmJzbUlLQ2d0ejlGL3JyWC85YTZoVUpSZm5vbzQrVWxKU2tsMTU2cWNpa3lvWHl4a3llUEZuRGh3L1htalZyMUtCQkE5MTc3NzBGeGtWSFIrdUdHMjdRRjE5OFVTQ1JjT09OTjdxVENIbUdEeCt1cFV1WDZwdHZ2cW1RUkFLbk5RQUFBQUNvRHJ3dWtWQ1JaUTJTbEpLU29sbXpabW5XckZtU3puMGdualp0bXFSenh6ajYrdnFXZU5SamNiWnMyYUpkdTNhNTV4MHpab3hHakJpaE5Xdlc2SjU3N3Jta3VWSlRVN1ZvMFNLTkdUUEdYUTR3WmNvVVhYUE5OWm8rZlhxUjE0d2ZQLzZ5VmlSSTUvWmFtRE5uamlUSno4OVBzYkd4a3FTc3JDelZyRm16d05nalI0N295U2VmZEkvSksvVTRjT0NBT25ic1dHVFNwRm16WnRxeVpVdUJ0cUpXbmpScTFFaVM5TXN2djVUNEhHVWhmMW1EcEgrVyt3MEJBQUFBd0VPOExwRVFFaExTUTFLRmxEVkljbSttbUpxYXF2dnZ2MTlyMXF4eGIrN1h2MzkvV1paVjdBZnU0dVRtNW1ybXpKbHEzYnExN3JyckxrblNUVGZkcEc3ZHVtbjI3Tm02NjY2N0ZCZ1lXT3I1M25ubkhZV0ZoZW1CQng1d3QwMmRPbFVQUGZTUUZpMWFwR0hEaGhXNlp1N2N1WmUxSXVIUW9VUDY3VzkvcTRpSUNQM25QLytSZEc2L2hyVnIxMnI2OU9uNis5Ly9ydnIxNnhlYTY4SjdHV05LM05mZ3d1Uk1VY21hckt3c1NYTHZ4MUNlZHU3YzZTNXJTRWhJb0t3QkFBQUFnTmZ5dWtTQ1pWbERqVEVWVXRZZ1NWZGRkVld4cjVjdFc2Ymc0R0IzU1VOcHhjVEVhUC8rL1pvM2IxNkI5a21USm1uSWtDR2FPWE9tcGs2ZFdxcTVkdTdjcWRqWVdQMzV6MzlXalJvMWxKbVpxVk9uVGttU29xS2lOSHYyYkhYbzBLSFFab2VqUjQrK3JKVVUvL3JYdnhRWUdLZ1hYM3hSZmZyMGNiZmZmdnZ0a3FRLy9PRVBtamR2M2tYbnZ1NjY2N1JuejU0aSsvYnQyMWNvU1hUeTVNbEM0M2J0MmlWSmF0cTA2U1U5dytWWXUzWnQzcTlMSlYxYTVnZ0FBQUFBcWhDdlNpUlVkRmxEVVpLU2tpNTVCVUorbXpkdjF2dnZ2Ni83Nzc5ZnQ5NTZhNEcraGcwYmF2ejQ4Wm85ZTdadXZmVlc5ZTNidDhTNXNyT3o5ZFJUVDhubGN1bTU1NTVUWm1hbSs0UUZmMzkvQlFjSHk5L2ZYODg5OTV3V0xGamdMbVY0ODgwM2RkdHR0K25vMGFPYVBIbXlQdjc0NDBKekR4bzBTTE5uejliZXZYc0xuRHh4MzMzM2FjQ0FBWVdPWEF3SkNkR3p6ejZyeVpNbjY4TVBQOVRJa1NOTGpMMWJ0MjZhTjIrZWxpMWJwdjc5Kzd2Yk4yN2NxSU1IRCtySko1OHNNRDRoSVVIZmZmZWRXclZxSmVsY3FjRjc3NzBuSHgrZmNqODJrN0lHQUFBQUFOV0pWeVVTOHNvYXdzUERLNlNzUVRxMzE4QlBQLzJrSDMvOFVaTDA3TFBQNm9rbm5wQWs5ZTNiOTVKS0d4SVNFalJseWhTMWJ0MjZ3RWFDK1kwWU1VSmJ0bXpSU3krOXBOcTFheXNxS3FwQS83NTkreVNkTzhLeGR1M2FtalJwa2lTcFhyMTZDZ3NMVTUwNmRSUWFHcXFBZ0FCSjBwNDllelIzN2x5bHA2ZXJaOCtlUmQ2enVNMFM4NSttSUVtdnYvNjZleVhJbVRObkNvMlBqbzdXd3c4L3JEdnV1S080dDhCdDFLaFJXcjkrdlY1KytXWDk1ei8vVVlzV0xYVHc0RUd0V0xGQ2JkcTBLVkNtSVozYkQrR0pKNTVRdjM3OUZCWVdwZzBiTmlnNU9WbGp4b3hSdzRZTkwzcS9LMEZaQXdBQUFBQlVVWkdSa2ZOdDJ6WXhNVEdtb2h3NmRNaWtwYVdabzBlUEd0dTIzZTIyYlp1TWpBeGpqREVaR1JudVBvZkRZWXd4NXNpUkl3WEdyMXExeW5UczJORU1IanpZcEthbWxualAxTlJVTTJEQUFOTytmWHNURXhOanNyT3pqZFBwTkRFeE1lYk9PKzgwdi92ZDcweS9mdjFNWEZ5YytmSEhIMDF1Ym02Sjh6bWRUcE9abVdreU16T053K0V3RG9mRC9Qenp6K2JlZSs4MXI3enlpcnN0LzQ5dDIrYUhIMzRvME9aME90MXpabVptR3R1MnpkR2pSMHU4OS83OSt3dThEL21scDZlYi8vZi8vcCs1NTU1N3pHMjMzV2I2OXUxclpzMmFaVEl6TXd1TXMyM2IvUDczdnpjYk5td3dnd2NQTnJmZmZyc1pPSENnV2JSb1VZbjNMaXN6WnN3d3RtMGIyN2IvN09uL0F3QUFBQUJRM3J4bVJjTDVzb1lCVXNXV05lU2RESkNibTF1b3p4Z2psOHVsakl3TStmcjZLamMzVnlrcEtRb0tDbEo4Zkx4N3c4UUZDeFpvOXV6WmF0T21qZWJNbWFNNmRlcVVlTTg2ZGVwbzd0eTVtakJoZ3Q1KysyMFpZOVN0V3pmTm56OWZjK2JNVVVSRWhKWXZYNjRGQ3hib2xWZGVrU1Q1K3ZyS3o4L1AvZVByNjZ2czdHdzVIQTdsNU9USTM5OWZxMWF0MHNtVEovWEZGMS9vSC8vNGg0S0NnalJod29SaU55dXNVYVBHWlcxa21KS1NJb2ZEb1pvMWEycno1czJGeWlEeWhJU0U2SmxubnRFenp6eFRxbm1qbzZNdmFTK0tza0JaQXdBQUFJRHF4bXNTQ2VmTEdrSXFzcXpoWWxKVFU5VzFhMWRabHFVK2Zmckl4OGRIanozMm1NNmNPU04vZjM4OSt1aWprcVIrL2ZvcE5UVlZqei8rZUtrL21OZXZYMS96NTgvWG9rV0xOR3JVS1BuNStXbng0c1h1WmZ6OSt2VlR2Mzc5bEpHUm9STW5UaWczTjFjdWwwdE9wOU5kYW1GWmxpekxrbytQajJyVnFxV2dvQ0E5OHNnanlzN08xc0NCQXpWaXhBalZxbFdyek4rWDlldlg2OTEzMzVVa0JRUUV1RXRCcWlMS0dnQUFBQUNnaXZKRVdVTit1Ym01SmprNTJmMDZKU1hGT0oxTzQzSzVDaXo1TjhhNDJ5dWpNMmZPbE1rOExwZkxIRGx5cE5DejUxZFMzNlhJSzIzd0JNb2FBQUFBQUZRM1hyRWl3Vk5sRGZuNSt2cXFkZXZXN3RmNWoxTzBMS3ZBMk1zNVZyR2lsTlVLQk11eUxyckpZV1YrSDBxRHNnWUFBQUFBMVpGWEpCSXFZMWtES2s1OGZMeEg3a3RaQXdBQUFJRHFxR3AvSmZ3LzkwbWVXNDJBNm1uZHVuV1NKTXV5bGtncTNSbWZBQUFBQUZERlZmbEVRbmg0ZUlDa2V5V3BlL2Z1SG80RzFZWEw1WEluRW93eFN6d2NEZ0FBQUFCVW1DcWZTTWhmMXRDa1NSTlBoNE5xZ3JJR0FBQUFBTlZWbFU4a2lMSUdlQUJsRFFBQUFBQ3FxeXFkU0tDc0FaNUFXUU1BQUFDQTZxeEtKeEpDUWtKNmlySUdWRERLR2dBQUFBQlVaMVg5K01laGtsUy9mbjN0MkxIRDA3R2dtcGc1YzZZa3lob0FBQUFBVkUrV3B3TzRFclp0cDBxcTQrazRVRzExU2toSStMZW5nd0FBQUFDQWlsVFZWeVM4SzZtN3BCeFBCNEpxNXp2S0dnQUFBQUFBa0dUYnRyRnRteVg3QUFBQUFJQkNxdlJtaXdBQUFBQUFvR0tSU0FBQUFBQUFBS1ZHSWdFQUFBQUFBSlFhaVFRQUFBQUFBRkJxSkJJQUFBQUFBRUNwa1VnQUFBQUFBQUNsUmlJQkFBQUFBQUNVR29rRUFBQUFBQUJRYWlRU0FBQUFBQUJBcVpGSUFBQUFBQUFBcFVZaUFRQUFBQUFBbEJxSkJBQUFBQUFBVUdva0VnQUFBQUFBUUttUlNBQUFBQUFBQUtWbWVUb0FlRmJidG0ydnFWR2pSdi84YmNhWUdFbXlMR3RzL3ZhY25KeGwyN2R2UDE2UjhRRUFBQUFBS2hjL1R3Y0F6d29LQ2pybGNEaG1TUXE2c0M4dm9YQmVabEJRMEljVkZ4a0FBQUFBb0RLaXRLR2EyN3AxNjFsSkswc3hkTVg1c1FBQUFBQ0Fhb3hFQWlRcDltSURMTXU2NkJnQUFBQUFnUGNqa1FBNUhJNVBKV1dWTUNRckt5dHJWVVhGQXdBQUFBQ292RWdrUU1uSnlhY3R5MXBkd3BEUGtwT1RUMWRZUUFBQUFBQ0FTb3RFQWlSSkxwZXJwTklGeWhvQUFBQUFBSkpJSk9BOFk4eHlTVGxGZE9XNFhLNFZGUjBQQUFBQUFLQnlJcEVBU1ZKU1VsS2FwUFZGZEswNzN3Y0FBQUFBQUlrRS9FOVJKek1ZWXlockFBQUFBQUM0a1VpQW04dmwra1NTSzErVDA4Zkg1eE5QeFFNQUFBQUFxSHhJSk1BdE1USHhaMG1iOGpWdGlvK1BQK0dwZUFBQUFBQUFsUStKQkZ6SVhjcFFWS2tEQUFBQUFLQjZJNUdBQW93eEgrZDcrWEd4QXdFQUFBQUFBQ1FwSWlMaUs5dTJ2L1IwSEFBQUFBQ0F5c2ZQMHdHZzhqbGYwbUE4SFFjQUFBQUFvUEt4UEIwQUtnMGYyN1o3R0dQbVc1WlYzeGh6MnJLc0lRa0pDV3RWOENRSEFBQUFBRUExUmlLaG1vdUlpR2hvV2RiRGtzWklhbExFa0FPUzVsbVc5WDU4ZlB4UEZSa2JBQUFBQUtEeUlaRlFEUTBkT3RRM0pTV2xwMlZaNHlUMWsrUXJTZGRkZDUwR0RScWt6cDA3YTh1V0xZcUxpOU9SSTBmeUxuTktXbTZNZVRjOFBIek5raVZMbkI0S0h3QUFBQURnUVNRU3FwRjI3ZHBkNStmbjk0Z3hab3lrR3lUSno4OVAwZEhSR2pSb2tEcDA2Q0Fmbi84ZDVPRnl1ZlROTjk4b0xpNU9Helpza05QcHpoMGN0Q3hyWG01dTd2dmZmdnZ0a2NKM0FnQUFBQUI0S3hJSlhtN28wS0crKy9idDYyV01HU2ZwVnpwLzVPZjExMSt2Z1FNSHFsKy9mcXBidCs1RjV6bDU4cVNXTDErdXVMZzRIVDU4T0svWmFWbldDc3V5M20zYXRPbHFWaWtBQUFBQWdQY2prZUNsT25Ub2NMM1Q2WHhFMHFPU3JwZk9yVDdvMnJXckJnMGFwTWpJeUFLckQwckw1WElwUGo1ZWNYRngrdnp6ejVXYm01dlhkY2l5ckhrNU9UbnZiOSsrL1hCSmN3QUFBQUFBcWk0U0NWNGtPanJhTHlNam83ZWtjWkw2NlB6cWd4dHV1RUdEQmczU3IzNzFLNFdGaFpYWi9WSlRVN1ZpeFFyRnhjWHA0TUdEZWMwdVNTc2x2UnNTRXZMWnhvMGJjNHVmQVFBQUFBQlExWkJJOEFLUmtaRTN1Rnl1UnkzTGVsVFNkWkpVbzBZTmRldldUWU1HRFpKdDI3S3M4dnVyTnNZb0lTRkJjWEZ4V3I5K3ZYSnljaVJKbG1VZE5zYThkLzdFaDRNWG1RWUFBQUFBVUFXUVNLaWlvcU9qL2RMUzB2cGFsalhPc3F6ZU92OTMyYmh4WS9mcWd6cDE2bFI0WEdscGFlNVZDdi85NzMvem1sMlNWaGxqM2cwTkRmMlVWUXFYSnlnb3FGM3o1czNYN05tekovTHMyYk5wUlF6eE9mK1RYNGJPdmY4QUFBQUFVQ1pJSkZReEVSRVJqWDE4Zk1ZWVl4NlIxRkNTL1AzOTNhc1BJaUlpeW5YMVFXa1pZNVNZbU9oZXBaQ2RuWjNYOWFNeDVqMUo3eVVtSnY2M2hDbHdnWHIxNmsyb1g3LytsQjkrK09HZW0yKysrYnNMKzNOeWNvN1ZxRkdqZnY2Mm5UdDN0c3JPenY2KzRxSUVBQUFBNE8wOC80a1RGeFVaR1ZuREdQTXJTV01sOWRMNXY3ZW1UWnRxMEtCQjZ0dTNyMEpEUXowYVkwblMwOU8xY3VWS3hjYkc2c0NCQTNuTlJ0Sm5sbVc5SzJsbGZIeDhqc2NDckNLYU5XdjJjVTVPenBGang0Nzk1ZWFiYi80dUlTR2hoaVQ1Ky91M3ZQbm1tM2NtSkNRVStQOXMyN1loa1FBQUFBQ2dyUGw1T2dBVXIyM2J0azM5L1B6eVZoODBrTTZ0UHVqUm80Y0dEUnFrZHUzYVZZclZCeGNUR2hxcTRjT0g2NEVISHRDMzMzNnJ1TGc0clYyNzFzck96dTV0ak9rdDZTZmJ0dDkzdVZ6emtwS1NEbmc2M2tvcUtDUWs1SjZVbEpRKytkcnlTa1E0ZGhNQUFBQkFoU0dSVU1sRVJrYldjTGxjL1MzTEdpdXBwODZ2UG1qV3JKa0dEeDZzUG4zNktDUWt4TE5CWGliTHNuVHJyYmZxMWx0djFlOSs5enQ5K3VtbmlvMk4xYjU5KzY2Vk5OWEh4K2RaMjdiWFNIclhzcXpsckZMNG43Q3dzSUUrUGo2MXNyT3pqK1pycmlOSmZuNSt3ZWRmTjZqNHlBQUFBQUJVTjVYLzYreHFva09IRHMxeWMzUEhTbnJZc3F6NjByblZCejE3OXRTZ1FZUFV0bTNiS3JINjRGSVpZN1I5KzNiRnhjVnB6Wm8xN3IwVWpESEhKTDN2NStjMzc1dHZ2dG5uMlNnOXIyWExsbHVDZ29JNjdkeTVzNVVrRmJWSGdqSEdrZisxWlZrQmxEWUFBQUFBS0d2ZTk4bTBDbW5UcG8xL3pabzE3M1c1WEdNdHkrcVIxOTY4ZVhNTkhqeFl2WHYzcnJLckR5NUhSa2FHVnExYXBkallXTzNkdTlmZGJveFpLK25kN096c1pjbkp5ZG5GeitDZGdvT0RPemR2M255ZGo0OVByZnlKaEh4N0lselRxRkdqWnc4ZlB2eWIvTmMxYmRyMEgvdjM3MzlhMGs4VkhUTUFBQUFBNzBVaXdRTnMydzdYdVkwVEg1WlVUNUlDQWdKMHp6MzNhTkNnUWJyNTVwdTljdlZCYVJsanRIUG5Uc1hGeFduMTZ0VnlPTnhmdEIrM0xPdHZ4cGg1Q1FrSktaNk1zU0sxYU5IaTg4ek16TVQ2OWV2L3RwaEVncVJ6bXl0ZWVLM0Q0ZGlibkp3Y1hsR3hBZ0FBQVBCKzFmZlRhZ1ZyMDZhTmYwQkF3QUJKNHlSMXkydS84Y1liTlhqd1lQWHExVXZCd2NIRlQxQk5uVHAxU3A5OTlwbGlZMk8xWjgrZS9GM3JKYjNyY0RqKzVlMnJGTUxEdzFlbHBLU01zRzM3UkhHbERVZU9IUG5EMVZkZi9lamV2WHQ3WkdWbEhaWlVLeUlpNHVTcFU2ZldYckJCSXdBQUFBQmNFVFpiTEdmdDJyVnI0ZXZyTzBiU2FKMWZmVkN6WmszMTZ0Vkxnd1lOVXV2V3JhdjE2b09MQ1E0TzF0Q2hRelZreUJBbEp5ZTdWeWxrWldWMWs5UXRJQ0RnWjl1MlAzQzVYREZKU1VsN0xqcGhGWlNTa2pKVTB1a0wyeE1TRXNMeXZUd2JHQmdZVWF0V3JjNVpXVmtMUTBKQzdySXN5Ky9reVpOTEtpNVNBQUFBQU5VQm4yRExRWGg0ZUVCd2NQQkF5N0xHU2VxUzE5NnlaVXNOR2pSSXZYdjNWbEJRa0FjanJOcE9uejZ0eno3N1RIRnhjZHE5ZTNmK3JnM0dtSGRQblRyMWNVcEtpcU80NjZzcTI3Wk5TYVVOZGV2V2ZiaHUzYnIzcGFTazlHN2V2UGtuZ1lHQjdYZnMyTkZNa3RlOUZ3QUFBQUE4aDBSQ0dXcmZ2bjFMcDlNNTFyS3MwWkt1a3FSYXRXcTVWeCswYXRXSzFRZGx5QmlqWGJ0MnVWY3BuRDE3TnEvckYyUE1CNzYrdmpIYnRtM2JYZEljVmNtRmlZVDhmUTZIWTNkeWNuS0hkdTNhSFRsMjdOajBoZzBiL21udjNyMzNwYWVuTC9WTXRBQUFBQUM4Rlo5cXIxQjBkSFROVTZkT0RUTEdqSk1VbGRmZXFsVXJEUm8wU0wxNjlWSmdZS0FISTd3OGtaR1I2dG16cDE1NzdiVnl1LzdvMGFPS2lZblJsMTkrcWZUMGREVnUzRmhqeDQ1Vmp4NDlpcjJtT0ptWm1lNVZDdDkvWCtDMHcwMldaYjBiSEJ3Y3QzSGp4cXhMZjVMS280Z1ZDZmxMRzV5U1RsMTc3Yld2WEh2dHRWTlBuRGp4ZndjUEhuelNNNUVDQUFBQThHYnNrWENaYk50dUpXbHNlbnI2S011eTZrcFNZR0NnZXZmdXJZRURCNnBWcTFZZWpyRHkrK1NUVHhRZkg2OEJBd2JJMTlkWHNiR3grc01mL3FDd3NEQzFiOS8ra3VZS0NnclM0TUdETlhqd1lIMzMzWGVLaTR2VFo1OTlwak5uemtRWlk2TFMwOU5QMnJZOVgxSk1Ra0xDZHhlZHNHcEl5LytpVnExYWplcldyVHZFR09NSURnN3VFeGdZT1AvTW1UUHhuZ29PQUFBQWdIY2lrWEFKT25YcVZNdmhjQXpXdVpNWDdwSWt5N0xVdW5WckRSNDhXRDE3OXF5U3F3ODhwV1BIam5yNDRZZmw3Kzh2U1lxT2p0Ync0Y08xZHUzYVMwNGs1TmVxVlN0Tm5UcFZUejMxbEZhdlhxMjR1RGp0MnJXcnJxU25KRDFsMi9hWGt0NE5DQWlJM2JwMTY5bUxURmNsMUtsVFo5RDExMS8vVm5aMjl2Zjc5Ky92MnJCaHcvZGJ0bXo1OWNtVEorZi85Tk5QZjg3T3prNzJkSXdBQUFBQXZBT0poUC9QM3IxSFJYWGZlK04vZjJlNEUwWXdVYU1pS2w0UVVYSDJ3R2xJVGsvSEc0aTNaamFoT2NsSlRFeUVOQ2ROMDZUdGVaclQ1T2w2dW56aU9yOG03VmsxNStSWmlDWnAyaWJQTW02TW9oSk1sS2FuNlhtV3pvQUlLQkZ2cUZHajRSb3VNekQ3Ky9zRFpqcklSVlNZQVh5LzFtS3R6R2Z2MmZ0RDJHdmMzODk4OXZjN0NNbkp5VWxHb3pISDZYU3VCeEFEZEhVZnJGcTFDcXFxSWlFaEljQVpqazdKeWNrOVhzZkZ4UUVBT2pzN2grVDRFUkVSc05sc3NObHNPSEhpQkFvS0NyQnYzejYwdHJaK0c4QzNuVTduYnhWRitaMlVNcSswdExScVNFNGFBT1BIajM5Nnhvd1pXNjlldmZyVytmUG5Yd0xnckttcHladzRjZUt6a3lkUDNxVHJ1dlA4K2ZQL0hPZzhpWWlJaUlob2JPQWNDZjFJUzBzTGIyOXZ6d2FRSzRSNHdCTlBTa3BDVmxZV1ZxeFlNYXpkQjIxdGJkaTJiUnVLaTR0eDVjb1ZtRXdtUFBEQUEzanV1ZWN3WWNJRTczNmV1UWllZWVZWnZQNzY2emg2OUNpQ2dvS3daTWtTdlBqaWk0aUtpaHFXL0Y1KytXVVVGeGZEYmgrNnp2bUNnZ0pzMnJRSm16ZHZSbnA2K3BBZDExZHJheXVLaTR1aGFSb3FLLy8ySmIyVThpOEE4c0xDd25hTTFDNkZlKzY1WitPMWE5ZDJBSkF4TVRIcjZ1dnJmOSs5S1RnaUltSkJhMnRyYVI5dkc0ZXVWUnRHOWZ3UVJFUkVSRVEwY3JDUWNKMlVsSlFGVXNwY0tlWGpBS0tCcnVmdlY2OWVEWnZOaHJsejV3NTdEaTZYQ3prNU9haXFxa0o2ZWpybXpwMkwydHBhN04yN0YzZmZmVGZlZi85OW1Fd21BRjJGQkVWUmNQNzhlYVNscFdIR2pCa29LeXZEWjU5OUJyUFpqSzFidDNwWGl2anl5eThIUE8rVUtWTUduZU5RRnhLT0hUdUc3My8vK3pDYnpkaXlaWXRmVnJlb3JxNzJkaW0wdExSNHdnMUNpUGVFRUhsSGpoeXBHUFlraUlpSWlJaUlSaGtXRXJvcGltSURvUG5HRmk1Y2lLeXNMQ3hmdmh6aDRlRit5K1dkZDk3QmxpMWI4T3FycitMQkJ4LzB4a3RLU3ZEakgvOFlqei8rT0g3MG94OEI2Q29rQU1DdmZ2VXJMRjI2MUx2djVzMmI4ZUdISDJMTGxpMjQvLzc3ZSt6Ym41c3BDZ3hsSWVIOCtmTll2MzQ5SmsrZWpQejhmTC9QTTlIVzFvWURCdzVBMHpRY08zYnMrczJxdytFbzhHdENSRVJFUkVSRUl4am5TUGliOTN4ZmJOcTBDWm1abVFGSnBMaTRHUGZlekVZNFpBQUFJQUJKUkVGVWV5KysrOTN2OW9oYnJWYkV4Y1hoczg4Kzh4WVNBR0RPbkRrOWlnZ0E4T2lqaitMRER6L0U0Y09IdllXRU45NTQ0N2J5OHUxb2FHdHI2eFc3bVk0R1gvLzJiLytHam80Ty9Qclh2dzdJWkpYaDRlRll0MjRkMXExYmgzMzc5dUhWVjEvMTNmeWVvaWlSUHErbHo4LzFyMjg2THFXVUFDQ0VHRlRjRSt2ZTdxKzROMjhwcGZUSjZiYmpVc3IvTGkwdC9VWGZmeGtpSWlJaUlocUpXRWo0bThjQjdFUjNsOFlycjd5Q0R6NzR3RHNmZ2o4N0VzNmVQWXY3N3J1dnovYisrUGg0ZlA3NTV6MWkwNmRQNzdWZmJHd3NBT0RycjcvMnhxeFc2MjNsdFhidDJnRmp0OXFkWUxmYmtaYVdobnZ2dmZlV2M3c2RiVzF0M25rVEtpcDZQTTBnMFhWZCtIYXFDQXhoSjA5L2ozQU05R2hIZDQzQjcvR0I4cnJWdUJBaUhRQUxDVVJFUkVSRW93Z0xDZDI2MjljTktTa3BDOXh1ZDQ0UVluMUZSVVYwUlVVRlhuLzlkYXhhdFFvMm04MHZLelJJS1FjY1NCb01oZ0ZmQTBCN2U5ZmNlcDZsRllIYm55UEJ0NlBodmZmZVExbFoyVzEzT1FCQVZGUVVRa05EYi9zNE42dTZ1aHFhcG1ILy92MDk1a2lRVXY3T2FEUnU5Wmtqd1ZNOEVObloyZUxxMWFzQ0FKcWJtMFY3ZTd0d09wMGlOalpXT0oxT0FRQXVsMHQwZEhRSXQ5c3RvcU9qUldkbnB3Q0F6czVPNFhhN2hkdnRGbmZkZFpkd3U5MENBTnh1dDlCMVhiamRiaEVlSGk1MFhSY0FvT3U2OFB4SUtRVUFoSWFHOW9oNTl2WEVQVEhQL3NIQndVSks2ZjN4N0g5OTNMTi9VRkJRcjVpVVV0eE1ISUF3R28wM2pBTW9HdnEvS2hFUkVSRVJEVGNXRXE3VFBYaDhJUzB0N1dmdDdlMFBDU0Z5VzFwYS9uN0hqaDNZc1dNSGtwS1NvS29xMHRQVGg2ME5mK3JVcVRoNThtU2YyMDZmUHQyckE2R3VycTdYZmxWVlhhc1p6cHc1MHh2cnE2UEExNDA2Q253N0dqNysrT05lc1Z1bGFWcWZ4WkRoME4rcURRRCtTMHFaRnhZVzltRS9xelpJQUhMSGpoMTlIcmVtcG1ZWXNoM2JGRVVKZEFwRVJFUkVSSFFMV0Vqb1IvZGc4ajBBNzVuTjV2bENpQndBVDFSV1ZzWlVWbGJpalRmZThIWXB6SnMzYjBqUHZXelpNdVRuNTJQMzd0MVl0MjZkTjE1U1VvTGEybHI4OEljLzdMRy93K0hBOGVQSGtaaVlDQURRZFIzYnRtMkR3V0RBa2lWTHZQc05SZmZBY0JudWpvUVRKMDU0dXc5YVcxczk0WG9BNzBvcHQ1YVdsbFlOYXdKRVJFUkVSRVJqQkZkdHVBbFdxeldzcWFrcEMwQXVnSC93eEJNVEU1R1ZsWVdNakl3aDZWSm9iVzNGK3ZYcmNlN2NPV1JrWkhpWGZ5d3NMTVRjdVhPUm41L3ZmV1RCWXJFZ0xpNE9EUTBOV0x0MkxXSmlZbkRvMENGVVZsWmk0OGFOZVBiWloyODduNzRNNWFvTmE5ZXVSWHA2T3A1Ly92a2h5T3h2V2x0YlVWUlVCRTNUY1B6NGNkOU5ud0hJTTVsTU8wdEtTdHFIOUtRMGFJcWlTQUJ3T0J6OEhDSWlJaUlpR2tWNEEzK0xMQmJMUEFBNXVxNC9LWVFZRHdBUkVSRll1WElsVkZYMWRnZmNxcWFtSnJ6MTFsczRkT2dRNnV2ck1XSENCS3hZc1FJNU9UazlpaFVXaXdYcDZlbkl5TWpBbTIrK2lRc1hMbURLbENsNCtPR0g4ZkRERDk5V0R2NnlmdjE2cEtlbjQ3SEhIaHVTNDFWVlZVSFROQlFWRlhsWGx3RHd0UkRpWFFCYjdYYjdpU0U1RWQwV0ZoS0lpSWlJaUVZbjNzRGZKcXZWR3RiWTJHZ0RrQ3VFc0hyaTgrYk5nNnFxV0xseUpTSWpJL3Mvd0czeUZCSTJiOTQ4Yk9jWURWcGFXckIvLzM1b21vYnE2bXB2WEVwWkFpQnYzTGh4QmV3K0dGbFlTQ0FpSWlJaUdwMTRBeitFVWxKU0VuUmQzd2pnU1FEM0FFQjRlRGd5TWpLZ3Fpcm16NTgvNEdvTXQrSk9MaVJJS1h0MEgzaFdxZ0J3RGNBN0JvTWgvOGlSSTlVREhJSUNpSVVFSWlJaUlxTFJpWk10RHFIdVFldFBaOCtlL1lySlpIb1FRRzViVzl2U1hidDJZZGV1WFVoSVNQQjJLZHgxMTEyQlRuZlUrdWFiYjd6ZEIxOTg4WVh2cG9NQThwcWFtbmJWMU5RNEE1UWVFUkVSRVJIUm1NWnZBb2ZaNHNXTDV4Z01obzBBTmdDWUFBQmhZV0hlTG9Xa3BLVGI2bEs0VXpvU3BKU29xS2lBcG1rb0xpNzI3VDY0Q3VCdFhkZnp5OHJLK2w0emt3SnU5dXpab1RFeE1URytNYmZiZlFrQWpFYmpaTjk0ZlgxOVBRdEJSRVJFUkVRakZ3c0pmcEtVbEJRU0ZoYjJYU2xsTG9EbG52aWNPWE9ncWlveU16TVJGUlVWd0F4SHB1Ym1abS8zd2NtVFBlb0Vud2doOHRyYjJ6K3FyS3gwQlNvL0dwelUxTlI3M1c3M2w3anhaNDV1TkJxbkhqNTgrTEkvOGlJaUlpSWlvcHZIUWtJQVdDeVdXUUJ5cEpRYkFFd0VnTkRRVUtTbnAwTlZWU3hjdUhESTUxSVlUYVNVT0hic21MZjd3T24wZmpuOWxaUnl1OEZneUxmYjdhY0NtU1BkUEVWUlNnQjg1d2E3L2NuaGNGaUhQeHNpSWlJaUlycFZkKzVvZFFSSVNrb0tDUWtKV1NlRXlBR1E3b25QbWpVTHFxcGkxYXBWTUpsTUFjelF2NXFhbXJCdjN6NW9tb1pUcDNyVUNZcWxsSGt1bDJzUHV3OUdMN1BaL0x3UTRyYzMyTzE1aDhQeHBsOFNJaUlpSWlLaVc4SkN3Z2lSbXBvYTM5blp1UkhBVTBLSVNRQVFFaExpN1ZKWXRHalJtT3hTa0ZLaXZMemMyMzNnY25uckJKY0JiRGNhamRzT0h6NThPb0FwMGhCSlRrNmVhalFhTHd5MGo5dnRqajE2OU9oRmYrVkVSRVJFUkVRM2IreU5URWM1aThVU0xLVmNDeUFIUUFhNi8wYng4ZkZRVlJXclY2OGVFMTBLVFUxTjJMdDNMelJOdytuVDNqcUJCUEF4Z0R3aFJLSGRidThJWElZMEhCUkYrU3VBKy9yWi9GZUh3M0cvUC9NaElpSWlJcUtieDBMQ0NMWjQ4ZUlaM1NzK1BBVmdNdERWcGJCOCtYS29xb3JGaXhlUHFpNEZLU1hLeXNxZ2FSbysrZVFUMys2RFMwS0liVzYzZTF0WldkblpBS1pJdzh4aXNmeEVTdm1ydnJZSklYNWl0OXZmOEhkT1JFUkVSRVIwYzBiUEtQUU9ackZZZ2dHczFuVTlSd2lSaWU2LzI0d1pNNkNxS3Rhc1dZTng0OFlGTnNrQk5EWTJvckN3RUpxbTRlelpzNTZ3bEZMdWwxTG1SVWRIN3kwcEtla01ZSXJrSjRzV0xab1pGQlRVNTZNcW5aMmQ4ZVhsNVdmOG5STVJFUkVSRWQwY0ZoSkdHYlBaUEIzQTAwS0lwd0ZNQVlEZzRHQXNXN1lNcXFwQ1VaUVIwYVVncFlURDRZQ21hZmowMDAvUjBlRjlTdUdpbEhJYmdPMmxwYVhuQXBnaUJZaWlLQTRBNXV2Q0RvZkRZUWxFUGtSRVJFUkVkSE1DUCtLa1cySzFXb01hR3h0WENTRnlBV1FDTUFEQTlPblR2VjBLMGRIUmZzK3JvYUhCMjMxdzdweTNUcUFEMkFjZ3oyUXk3V2Yzd1oxTlVaU2ZBOWgwWGZqbkRvZmp0VURrUTBSRVJFUkVONGVGaERIQVlySEVTU21mRWtJOExhV01CYnE2RkpZdVhRcFZWV0d4V0lhMVMwRktDYnZkRGszVGNQRGdRVy8zZ1JEaWdwUXkzMmcwYmo5OCtQRDVZVXVBUmhXTHhUSlBTbm5jTjJZd0dPWWRPWEtrT2xBNUVSRVJFUkhSNExHUU1JWllyZGFncHFhbWxRQnlBYXhHZDVkQ1hGd2NiRFliMXF4WmcvSGp4dy9aK2VycTZsQllXSWlDZ2dMVTF0WjZ3anFBUWlGRVhueDhmTkdPSFR2Y1EzWkNHak1VUmFrRU1COEFoQkNWZHJ0OVFZQlRJaUlpSWlLaVFXSWhZWXhhdEdoUmJIQnc4Rk5TeW8wQXBnRkFVRkFRbGl4WkFsVlZrWktTQW9QQmNOUEgxWFVkUjQ0Y2dhWnBPSFRvRURvN3ZVOHAxQW9oOGpzNk90NHVMeSsvTUhTL0NZMUZaclA1bDBLSVZ3RkFTdm5MMHRMU1h3UTZKeUlpSWlJaUdod1dFc2E0N094czQ1a3paektrbExsU3lqVUFqQUFRR3hzTG04MkdkZXZXRGFwTG9hNnVEcnQzNzBaQlFRRXVYUERXQ2R3QTlrZ3A4MmJQbmwzTTdnTWFMTFBabkN5RUtPdCttZXh3T01vRG1oQVJFUkVSRVEwYUN3bDNrT1RrNUtrR2cyR0RFQ0lIUUJ6UTFhVmd0VnFocWlwU1UxTjdkQ25vdW83RGh3OTd1dy9jYm0rZDRKeVVNaDlkS3k5ODZmZGZoTVlDb1NqS1JRRFM0WERFQXBDQlRvaUlpSWlJaUFhSGhZUTdVSFoydHZIVXFWTXIwRFdYd2pwMGR5bE1uVG9WTnBzTjk5OS9QejcvL0hNVUZCVGc0c1dMbnJlNUFld0drRGRyMXF3RDdENmcyNlVveXI4SklhVGRidjlab0hNaElpSWlJcUxCWXlIaERtZXhXQ1pMS1RjQXlBRXdvNDlkemdMWUtvUjQyMjYzWC9KbmJqUm1HUlJGV1NHbC9LTVFZanlBSmdEZmN6Z2NCOUExV1NjUkVSRVJFWTFnTENTUWg4RmlzU3lYVXVZQ3lBU3dYd2lSWjdmYlB3RUhkelFFekdiekZDSEVCZ0FiMFgvUktsOElzWjFGS3lJaUlpS2lrWXVGQk9wRlVSUUpBQTZIZzljSDNaYnM3R3hqVFUxTnVoQWlGOEJhK0R4R282cXE5ekVhVGRPdWY0eUdrM2dTRVJFUkVZMVFIQ2hTTHl3azBPMUtUazZlR2hRVTVGbCs5SFltOXF3VlF1UjNkblp1UDNyMDZNWGVaeUlpSWlJaUluL2pRSkY2WVNHQmJrVjJkcmJ4OU9uVEs3c2ZqMWtEd0FBQTA2Wk5nODFtdzlxMWF3ZTkxT2llUFh1Z2FWcVBwVWFGRUlWQ2lMeVpNMmQrekM0RklpSWlJcUxBNFVDUmVtRWhnVzVHYW1ycU5MZmIvUlNBcHdGTUE3cTZENVl1WFFwVlZXR3hXSHAwSHd5V3J1dXcyKzNRTkEwSER4NUVaMmVuWjlONUlVUitSMGZIOXZMeThnc0RIWU9JaUlpSWlJWWVCNHJVQ3dzSmRDTldxeldvcWFrcEUxMUxpSzVDZC9kQlhGd2NWRlhGbWpWckVCTVRNMlRucTYrdlIyRmhJVFJOUTIxdHJTZXNBOWdMSU05a01oV1ZsSlIwOW44RUlpSWlJaUlhS2h3b1VpOHNKRkIvTEJaTG5LN3JUd3NobmdZd0ZRQ0NnNE94Yk5reXFLb0tSVkVneFBCZE5sSktPQndPYUpxR1R6LzlGQjBkSFFBQUljUUZLZVcyN2hVZmFtOXdHQ0lpSWlJaXVnMGNLRkl2TENTUUw2dlZHdFRRMExCYUNKRXJoTWhFOStmRzlPblR2ZDBIMGRIUmZzK3JvYUhCMjZWdzd0dzVUMWdIc0Y5S21UZHUzTGg5N0ZLNGRaR1JrY216WnMwcVBubnlwS1d0cmEyaGoxME0zVCsrbXNEbFlvbUlpSWpHUEE0VXFSY1dFZ2dBekdiemRJUEJzRkZLK1JTQUtRQVFFaExpN1Q0d204M0QybjB3V0ZKS2xKYVdlcnNVWEM2WFo5T1hVc3B0QUxhVmxwYWVHK0FRMUljSkV5WThOMm5TcEgvNTRvc3ZNaFlzV0hEOCt1MGRIUjFYZ29PREovbkdLaW9xRWwwdTF3bi9aVWxFUkVSRWdSRDRVUUNOT0N3azNMa3NGa3V3bEhJTmdCd0FLOUg5R1RGejVreW9xb3JWcTFkajNMaHhBYzF4SUkyTmpkaTdkeTkyN3R5SnMyZlBlc0lTUUpFUUlnL0FYcnZkM2hHd0JFZVIrUGo0Z282T2pvdFhybHg1YzhHQ0JjY2REa2N3QUlTRWhDUXNXTENnNHZyUEIwVlJKQXNKUkVSRVJIZUdvRUFuUUVTQnQyalJvcGxCUVVHZTdvTjdnYTd1Z3hVclZrQlZWU1FuSjQrSTdvTWJHVGR1SEI1OTlGRTg4c2dqT0hyMEtEUk53NEVEQjRUTDVjcVVVbVlDdUtRb3luWmQxL1BMeXNyT0JqcmZFU3pTWkRKbDFOVFVyUEtKZVI0VDRkS2JSRVJFUkhjNEZoS0k3bEFXaXlWWTEvVjFRb2djQU9ubzdqNklqNDlIVmxZV1ZxMWFCWlBKRk5na2I1RVFBb3NYTDhiaXhZdnhrNS84QlB2MjdjUE9uVHR4K3ZUcHlRQitiakFZL2xWUmxHSUFlVUtJUGV4UzZDa21Kc1ptTUJqQ1hTN1haWjl3TkFBRUJRVkZkYisrMS8rWkVSRVJFZEZJTVBLL1lpUy80Nk1OWTF0cWFtcDhaMmRuRG9BTlFvaEpRRmYzUVhwNk9sUlZ4YUpGaTBaRjk4SE5rbEtpdkx3Y21xYWh1TGpZTzVlQ2xQSUtnTzFCUVVINWh3OGZQaDNZTEVlR2hJU0V6eU1qSTlNcUtpb1NBYUN2T1JLa2xFN2YxMEtJVUQ3YVFFUkVSSFJuR0h1akJicHRMQ1NNUFVsSlNTRmhZV0hmMVhVOVJ3aXh3aE9mTldzV3NyS3lrSm1aT1dxN0QyNUZVMU1UOXUvZmo1MDdkK0xVcVZQZXVKVHlBSUE4bDh1MXU3S3kwdFgvRWNhdXFLaW8rMmZObXZXSndXQUk5eTBrK0h3ZVRJeU5qZjNYQ3hjdS9NajNmVE5uenZ6OW1UTm5mZ3Jna3I5ekppSWlJaUwvNGtDUmVtRWhZZXhRRkdVMnVpWk8zQUJnQWdDRWhvWWlJeU1EcXFwaXdZSUZZN0w3WUxDa2xLaW9xSUNtYWZqNDQ0L2hkSHEvWlA5S0NQRzJsRExmNFhEVUJESkhmNXM3ZCs3QmxwYVcwa21USnIzVVR5RUJ3TjgrSjN3NW5jNVRsWldWcy8yVkt4RVJFUkVGeHAwN2dxQitzWkF3dWlVbEpZV0Vob1krQ0NBWHdESlBmTTZjT2NqS3lzTEtsU3NSRlJYVi93SHVVTTNOelNncUtzTE9uVHR4OHVSSjMwMmZBc2h6T3AyNzdvUXVoZG16WisrdnFhbDVURkdVYS8wOTJuRHg0c1dYNzdubm5xZFBuVHExb3IyOS9RS0FjTFBaWE5mYzNIemd1Z2thaVlpSWlHZ000bVNMUkdORWNuTHlYS1BSdUJIQWsranVQZ2dMQzhQS2xTdWhxaXJtejU5L1IzY2YzRWhVVkJTeXM3UHgwRU1Qb2JLeTB0dWwwTjdldmd6QXN0RFEwS3VLb3J5ajYvcldzckt5a3pjODRDaFZVMU9URGVDYjYrTU9oeVBHNTJWYlJFU0VPVHc4L1A3Mjl2WS9ta3ltYndzaGd1cnE2bmI0TDFNaUlpSWlDaFFXRW9oR3NkbXpaNGRHUlVYWmhCQzVBSlo0NGdrSkNWQlZGWm1abVlpTWpBeGdocU9QRUFJTEZpekFnZ1VMOE5KTEw2R29xQWlhcHFHNnVub0NnSjhhRElhZktvcHlTRXFaMTl6Y1hGQlRVK084NFVGSGwxNUZoRzROdmk4YUd4dUw3cjc3N3NmcjYrdi9PR0hDaEdjNk9qcStyS3VyKzZNZjhpTWlJaUtpQU9QWGs5UUxIMjBZK1ZKU1VoTGNibmVPRU9KSkFIY0RRSGg0dUxmN0lERXhrZDBIUTBoS2lhcXFLbStYUWx0Ym0yZlQxMUxLZDR4RzQ5WWpSNDVVQnpMSG9hWW9pdXp2MFFhbjAxbGRXVm1abXB5Y2ZQSEtsU3UvbWpKbHl2ODZkZXJVOXhvYkd6OE1UTFpFUkVSRTVFOGNhVkF2TENTTVRGYXJOYXk1dVZtVlV1WUMrSTRubnBpWUNGVlZzWExsU2tSRVJBUXd3OXRqc1ZpUW5wNk96WnMzRDhtK2x5OWZ4dGF0Vy9IblAvOFpqWTJObUQ1OU9uSnljckJpeFlwKzN6TVlMUzB0M2k2RkV5ZDZySFQ0SnlGRVhsUlVsRlpTVXRKK1d5Y1pBYTR2SkZ6M2FJTWJRUFBreVpNM1RaNDgrZWZYcmwzYlVsdGIrOFBBWkVwRVJFUkUvc1pIRzRoR09FVlJFZ0hrTkRZMlBpR0VHQThBRVJFUnlNek1oTTFtUTJKaVlvQXpISmsrK3VnajJPMTJQUGpnZ3pBYWpkaTVjeWRlZnZsbHhNVEVJQ1VsNVphUEd4a1ppYXlzTEdSbFplSDQ4ZVBRTkExRlJVVm9iVzM5anBUeU80Mk5qWFdLb3J3TFlLdkQ0VGgrd3dPT0hqMGViUWdQRDQ4ZFAzNzhRMUpLWjFSVTFLcUlpSWgzVzF0YjdZRktqb2lJaUlqOGg0VUVvaEVvTFMwdDNPbDBacUZyNVlWdkExM1A3cytmUHg5WldWbElUMDhmMWQwSC9uRGZmZmRodzRZTkNBa0pBUUJZclZZOCt1aWpPSERnd0cwVkVud2xKaWJpNXovL09WNTg4VVY4L1BISDBEUU5WVlZWNHdHOENPQkZSVkgrRENBdk5EUjA1MS8vK3RlMkd4eHUxSWlPamxhblRadjJueTZYNjhTWk0yZVdUcGt5Wlh0Q1FzTC9xNnVyZS9mU3BVdS9kcmxjbFlIT2tZaUlpSWlHRHdzSlJDTkljbkp5a3RGb3pIRTZuZXNCeEFCZDNRZXJWcTJDcXFwSVNFZ0ljSWFqUjNKeWNvL1hjWEZ4QUlET3pzNGhQMWRFUkFSc05odHNOaHRPbkRpQmdvSUM3TnUzRDYydHJkOEc4RzJuMC9sYlJWRitKNlhNS3kwdHJScnlCUHhvL1BqeFQ4K1lNV1ByMWF0WDN6cC8vdnhMQUp3MU5UV1pFeWRPZkhieTVNbWJkRjEzbmo5Ly9wOERuU2NSRVJFUkRSOCtBMCs5Y0k0RS8wcExTd3R2YjIvUEJwQXJoSGpBRTA5S1NrSldWaFpXckZqaGwrNkR0clkyYk51MkRjWEZ4Ymh5NVFwTUpoTWVlT0FCUFBmY2M1Z3dZWUozUDgvOEJNODg4d3hlZi8xMUhEMTZGRUZCUVZpeVpBbGVmUEZGUkVWRkRYdXV0Nktnb0FDYk5tM0M1czJia1o2ZVB1em5hMjF0UlhGeE1UUk5RMlhsMzc2Z2wxTCtCVUJlV0ZqWWpwSGNwWERQUGZkc3ZIYnQyZzRBTWlZbVpsMTlmZjN2dXpjRlIwUkVMR2h0YlMzdDQyM2pBRGdCalBvNUlvaUlpSWlvZnh3b1VpOHNKUGhIU2tyS0FpbGxycFR5Y1FEUlFOZno5NnRYcjRiTlpzUGN1WFA5bG92TDVVSk9UZzZxcXFxUW5wNk91WFBub3JhMkZudjM3c1hkZDkrTjk5OS9IeWFUQ1VCWElVRlJGSncvZng1cGFXbVlNV01HeXNySzhObG5uOEZzTm1QcjFxM2VGU08rL1BMTEFjODdaY3FVWWYvZEFPRFlzV1A0L3ZlL0Q3UFpqQzFidHZoOVJZdnE2bXB2bDBKTFM0c24zQ0NFZUU4SWtYZmt5SkVLdnlaRVJFUkVSSFFiT0ZDa1hsaElHRjZLb3RnQWFMNnhoUXNYSWlzckM4dVhMMGQ0ZUxqZmMzcm5uWGV3WmNzV3ZQcnFxM2p3d1FlOThaS1NFdno0eHovRzQ0OC9qaC85NkVjQXVnb0pBUENyWC8wS1M1Y3U5ZTY3ZWZObWZQamhoOWl5WlF2dXYvLytIdnYyeDI0Zi9ybjV6cDgvai9YcjEyUHk1TW5Jejg4UDZOd1NiVzF0T0hEZ0FEUk53N0ZqeDY3ZnJEb2Nqb0pBNUVWRVJFUkVkRE00VUtSZVdFZ1lYb3FpZkFNZzB2TjYwNlpOeU16TURHQkd3S09QUG9yR3hrWVVGaGIyK3JiZVpyTkJDQUZONjZwOVdDd1d6Smt6Qng5ODhFR1AvYzZkT3dkVlZiRisvWHE4OE1JTEFMb0tFUU94V3EzOWJ1dXJtK0ZXT2hoKzhJTWZvS3lzREI5KytDSHV2ZmZlbTM3L2NObTNieDllZmZWVjMxQUxmSzRMQU5MbjUvclh0eFNUVWtvaHhFRHhIdS8zeEtTVXZZNHBoSkNEak1OekxKODRmTS9SSGUrVnV5ZnVrN1AzL2RmOUx0NzMzK2gzbEZMK2QybHA2UzlBUkVSRVJMZU1reTBTK2QvakFIYWl1NUQzeWl1djRJTVBQdkRPaHhDSWpvU3paOC9pdnZ2dTY3UGxQejQrSHA5Ly9ubVAyUFRwMDN2dEZ4c2JDd0Q0K3V1dnZiR0JDZ1Uzc25idDJsNnhXK2xnc052dFNFdExHeEZGaExhMk51KzhDUlVWUFo1bWtPaTZMbnc3VlFTR3VOamIzeU1kL2NYL05yNGYvTGFoaWcrVTEwRGJiaFFYUXFRRFlDR0JpSWlJNkRhd2tFRGtaOTN0NjRhVWxKUUZicmM3UndpeHZxS2lJcnFpb2dLdnYvNDZWcTFhQlp2TjV0Y1ZHcVNVQXc3YURBYkRnSzhCb0wyOWEzNDl6M0tMd08zTmtmREdHMjhNK043QmlvcUtRbWhvNkpBYzYxWlZWMWREMHpUczM3Ky94eHdKVXNyZkdZM0dyVDV6SkhpS0J5STdPMXRjdlhwVkFFQnpjN05vYjI4WFRxZFR4TWJHQ2dCd09wM0M1WEtKam80TzRYYTdCUUJFUjBlTHpzNU8wZG5aNlkyNTNXNXgxMTEzQ2JmYkxkeHV0OUIxM1JzUER3OFh1cTU3WTU3L2xsS0swTkRRWGpIUGZxR2hvVDFpVWtvQkFNSEJ3VUpLNmYzeHZOODNEZ0NlL3c0S0N1b1Z1MUg4K2xqMy95OFlqY1plNXdZZ2ZPTUFpb2I2YjB0RVJFUjBKMkloZ1NoQXVnZVBMNlNscGYyc3ZiMzlJU0ZFYmt0THk5L3YyTEVETzNic1FGSlNFbFJWUlhwNityQS8xejkxNmxTY1BIbXl6MjJuVDUvdTFZRlFWMWZYYTcrcXFxNVZEV2ZPbk9tTjlkVlY0R3VnRG9QYjZXYndwV2xhbjRXUDRkYmZxZzBBL2t0S21SY1dGdlpoUDZzMlNBQnl4NDRkZlI2M3BxWm1HTEs5TXlpS0V1Z1VpSWlJaU1ZRUZoS0lBcXg3TVBrZWdQZk1adk44SVVRT2dDY3FLeXRqS2lzcjhjWWJiM2k3Rk9iTm16Y3NPU3hidGd6NStmbll2WHMzMXExYjU0MlhsSlNndHJZV1AvemhEM3ZzNzNBNGNQejRjU1FtSmdJQWRGM0h0bTNiWURBWXNHVEpFdTkrUTlWVmNMdjgyWkZ3NHNRSmIvZEJhMnVySjF3UDRGMHA1ZGJTMHRJcXZ5VkRSRVJFUkRRTU9Ka2U5Y0xKRmdQUGFyV0dOVFUxWlFISUJmQVBubmhpWWlLeXNyS1FrWkV4cEYwS3JhMnRXTDkrUGM2ZE80ZU1qQXp2OG8rRmhZV1lPM2N1OHZQenZZOHNXQ3dXeE1YRm9hR2hBV3ZYcmtWTVRBd09IVHFFeXNwS2JOeTRFYzgrKyt5UTVUVVUxcTVkaS9UMGREei8vUFBEZG83VzFsWVVGUlZCMHpRY1AzN2NkOU5uQVBKTUp0UE9rcEtTOW1GTGdBYUZuMjFFUkVSRVE0TTNVOVFMYjdaSEZvdkZNZzlBanE3clR3b2h4Z05BUkVRRVZxNWNDVlZWdlYwQnQ2dXBxUWx2dmZVV0RoMDZoUHI2ZWt5WU1BRXJWcXhBVGs1T2o2S0Z4V0pCZW5vNk1qSXk4T2FiYitMQ2hRdVlNbVVLSG43NFlUejg4TU5Ea3N0UVdyOStQZExUMC9IWVk0OE4rYkdycXFxZ2FScUtpb3JRMXVaOVN1RnJJY1M3QUxiYTdmWVRRMzVTdW1YOGJDTWlJaUlhR3J5Wm9sNTRzejB5V2EzV3NNYkdSaHVBWENHRTFST2ZOMjhlVkZYRnlwVXJFUmtaMmY4QmhvaW5rTEI1OCtaaFA5ZEkxTkxTZ3YzNzkwUFRORlJYVjN2alVzb1NBSG5qeG8wcllQZkJ5TVRQTmlJaUlxS2h3VGtTaUVhSjdzSHArd0RlVDBsSlNkQjFmU09BSjArY09ISFBhNis5aHQvODVqZkl5TWlBcXFxWVAzLytnS3N3ME0yUlV2Ym9QdkNzVUFIZ0dvQjNEQVpEL3BFalI2b0hPQVFSRVJFUjBaakJRZ0xSS05ROWFQM3A3Tm16WHpHWlRBOEN5RzFyYTF1NmE5Y3U3TnExQ3drSkNkNHVoYnZ1dWl2UTZZNWEzM3p6amJmNzRJc3Z2dkRkZEJCQVhsTlQwNjZhbWhwbmdOSWpJaUlpSWdvSWZtVkp2YkQ5ZDNSYXZIanhISVBCc0JIQUJnQVRBQ0FzTE16YnBaQ1VsRFFrWFFwai9kRUdLU1VxS2lxZ2FScUtpNHQ5dXcrdUFuaGIxL1g4c3JLeXZ0ZktwQkZqOXV6Wm9URXhNVEcrTWJmYmZRa0FqRWJqWk45NGZYMTlQUXRDUkVSRVJJUEhnU0wxd2tMQzZKYVVsQlFTRmhiMlhTbGxMb0RsbnZpY09YT2dxaW95TXpNUkZSVVZ3QXhIcHVibVptLzN3Y21UUGVvRW53Z2g4dHJiMnorcXJLeDBCU28vdWptcHFhbjN1dDN1TDNIamYrZDBvOUU0OWZEaHc1ZjlrUmNSRVJIUldNQ0JJdlhDUXNMWVliRllaZ0hJa1ZKdUFEQVJBRUpEUTVHZW5nNVZWYkZ3NGNJN2VpNEZLU1dPSFR2bTdUNXdPcjFmU244bHBkeHVNQmp5N1hiN3FVRG1TTGRPVVpRU0FOKzV3VzUvY2pnYzF1SFBob2lJaUdqc3VITkhFTlF2RmhMR25xU2twSkNRa0pCMVFvZ2NBT21lK0t4WnM2Q3FLbGF0V2dXVHlSVEFEUDJycWFrSisvYnRnNlpwT0hXcVI1MmdXRXFaNTNLNTlyRDdZUFF6bTgzUEN5RitlNFBkbm5jNEhHLzZKU0VpSWlLaU1ZSURSZXFGaFlTeExUVTFOYjZ6czNNamdLZUVFSk1BSUNRa3hOdWxzR2pSb2pIWnBTQ2xSSGw1dWJmN3dPWHkxZ2t1QTlodU5CcTNIVDU4K0hRQVU2UWhscHljUE5Wb05GNFlhQiszMngxNzlPalJpLzdLaVlpSWlHZ3NHSHVqQmJwdExDVGNHU3dXUzdDVWNpMkFIQUFaNlA0OGlJK1BoNnFxV0wxNjlaam9VbWhxYXNMZXZYdWhhUnBPbi9iV0NTU0Fqd0hrQ1NFSzdYWjdSK0F5cE9Ha0tNcGZBZHpYeithL09oeU8rLzJaRHhFUkVkRll3SUVpOWNKQ3dwMW44ZUxGTTdwWGZIZ0t3R1NncTB0aCtmTGxVRlVWaXhjdkhsVmRDbEpLbEpXVlFkTTBmUExKSjc3ZEI1ZUVFTnZjYnZlMnNyS3lzd0ZNa2Z6RVlySDhSRXI1cTc2MkNTRitZcmZiMy9CM1RrUkVSRVNqM2VnWkdaRGZzSkJ3NTdKWUxNRUFWdXU2bmlPRXlFVDNaOFNNR1RPZ3FpcldyRm1EY2VQR0JUYkpBVFEyTnFLd3NCQ2FwdUhzMmJPZXNKUlM3cGRTNWtWSFIrOHRLU25wREdDSzVHZUxGaTJhR1JRVTFPY2pLNTJkbmZIbDVlVm4vSjBURVJFUjBXakhnU0wxd2tJQ0FZRFpiSjRPNEdraHhOTUFwZ0JBY0hBd2xpMWJCbFZWb1NqS2lPaFNrRkxDNFhCQTB6UjgrdW1uNk9qd1BxVndVVXE1RGNEMjB0TFNjd0ZNa1FKTVVSUUhBUE4xWVlmRDRiQUVJaDhpSWlLaTBTNG8wQWtRMGNqVVBmaituMWFyOVplTmpZMnJoQkM1SFIwZG1VVkZSWWFpb2lKTW56N2QyNlVRSFIzdDkvd2FHaHE4M1FmbnpubnJCRHFBZlFEeVRDYlRmbllmVUxlZDZGMUkyQm1JUklpSWlJakdnc0IvblVnakRqc1NxRDhXaXlWT1N2bFZmK2NuQUFBZ0FFbEVRVlNVRU9KcEtXVXMwTldsc0hUcFVxaXFDb3ZGTXF4ZENsSksyTzEyYUpxR2d3Y1BlcnNQaEJBWHBKVDVScU54KytIRGg4OFBXd0kwS2xrc2xubFN5dU8rTVlQQk1PL0lrU1BWZ2NxSmlJaUlhRFRqUUpGNllTR0Jic1JxdFFZMU5UV3RCSkFMWURVQUF3REV4Y1hCWnJOaHpabzFHRDkrL0pDZHI2NnVEb1dGaFNnb0tFQnRiYTBuckFNb0ZFTGt4Y2ZIRiszWXNjTTlaQ2VrTVVkUmxFb0E4d0ZBQ0ZGcHQ5c1hCRGdsSWlJaW9sR0xBMFhxaFlVRXVobUxGaTJLRFE0T2ZrcEt1UkhBTkFBSUNnckNraVZMb0tvcVVsSlNZREFZYnZxNHVxN2p5SkVqMERRTmh3NGRRbWVuOXltRldpRkVma2RIeDl2bDVlVVhodTQzb2JITWJEYi9VZ2p4S2dCSUtYOVpXbHI2aTBEblJFUkVSRFJhY2FCSXZiQ1FRTGNpT3p2YmVPYk1tUXdwWmE2VWNnMEFJd0RFeHNiQ1pyTmgzYnAxZytwU3FLdXJ3KzdkdTFGUVVJQUxGN3gxQWplQVBWTEt2Tm16Wnhleis0QnVsdGxzVGhaQ2xIVy9USFk0SE9VQlRZaUlpSWhvRk9OQWtYcGhJWUZ1VjNKeThsU0R3YkJCQ0pFRElBN282bEt3V3ExUVZSV3BxYWs5dWhSMFhjZmh3NGU5M1FkdXQ3ZE9jRTVLbVkrdWxSZSs5UHN2UW1PSlVCVGxJZ0RwY0RoaUFjaEFKMFJFUkVRMFduR2dTTDJ3a0VCREpUczcyM2pxMUtrVjZKcExZUjI2dXhTbVRwMEttODJHKysrL0g1OS8vamtLQ2dwdzhlSkZ6OXZjQUhZRHlKczFhOVlCZGgvUVVGRVU1ZCtFRU5KdXQvOHMwTGtRRVJFUmpXWWNLRkl2TENUUWNMQllMSk9sbEJzQTVBQ1kwY2N1WndGc0ZVSzhiYmZiTC9rek54clRESXFpckpCU3ZpdUVtQ1NsYkJGQ1pEa2NqZ1BvbXJDVGlJaUlpRzRTQjRyVUN3c0pOTXdNRm90bHVaUXlGMEFtZ1AxQ2lEeTczZjRKT0xDaklXSTJtNmNJSVRZQTJJaitDMWY1UW9qdExGd1JFUkVSM1J3T0ZLa1hGaExJSDNpZDBWREx6czQyMXRUVXBBc2hjZ0dzaGMrak5LcXFlaCtsMFRUdCtrZHBPSkVuRVJFUjBVM2dEVHoxd2dFZStRT3ZNeG9xeWNuSlU0T0NnanhMa043TzVKNjFRb2o4enM3TzdVZVBIcjNZKzB4RVJFUkVCTENRUUgzZ0FJLzhnZGNaM1k3czdHemo2ZE9uVjNZL0lyTUdnQUVBcGsyYkJwdk5oclZyMXc1NnVkRTllL1pBMDdRZXk0MEtJUXFGRUhrelo4NzhtRjBLUkVSRVJEM3hCcDU2NFFDUC9JSFhHZDJLMU5UVWFXNjMreWtBVHdPWUJuUjFIeXhkdWhTcXFzSmlzZlRvUGhnc1hkZGh0OXVoYVJvT0hqeUl6czVPejZielFvajhqbzZPN2VYbDVSY0dPZ1lSRVJIUm5ZSTM4TlFMQjNqa0Q3ek9hTENzVm10UVUxTlRKcnFXRVYyRjd1NkR1TGc0cUtxS05XdldJQ1ltWnNqT1YxOWZqOExDUW1pYWh0cmFXazlZQjdBWFFKN0paQ29xS1NucDdQOElSRVJFUkdNYmIrQ3BGdzd3eUI5NG5kR05XQ3lXT0YzWG54WkNQQTFnS2dBRUJ3ZGoyYkpsVUZVVmlxSkFpT0c3ZktTVWNEZ2MwRFFObjM3NktUbzZPZ0FBUW9nTFVzcHQzU3MrMU43Z01EU0F5TWpJNUZtelpoV2ZQSG5TMHRiVzF0REhMb2J1SDE5TjRBb3ZSRVJFQWNVYmVPcUZBenp5QjE1bjFCZXIxUnJVME5Dd1dnaVJLNFRJUlBlL1U5T25UL2QySDBSSFIvczlyNGFHQm0rWHdybHo1enhoSGNCK0tXWGV1SEhqOXJGTDRlWk5tRERodVVtVEp2M0xGMTk4a2JGZ3dZTGoxMi92Nk9pNEVod2NQTWszVmxGUmtlaHl1VTc0TDBzaUlpSzZYbENnRXlBaUlqS2J6ZE1OQnNQR3BxYW1wd3dHd3hRQUNBa0o4WFlmbU0zbVllMCt1SkhvNkdnODl0aGorS2QvK2llVWxwWjZ1aFFNTHBkcnRSQmlkVk5UMDVkbXMza2JnRzJscGFYbmJuaEFBZ0JFUlVVdGIyeHMzT041N1hBNGdnRWdKQ1FrWWNHQ0JSWEhqaDI3MTNkL1R3R1NpSWlJQW91RkJDSWlDZ2lMeFJJc3BWd0RJQWZBU2ltbEFJQ1pNMmRDVlZXc1hyMGE0OGFOQzJ5UzF4RkNRRkVVS0lxQ24vNzBwOWk3ZHk5Mjd0eUpzMmZQVGhGQ3ZBcmdGVVZSaW9RUWVRRDIydTMyamtEblBJSkZta3ltakpxYW1sVStNVTlYQjFmS0lDSWlHc0ZZU0NBaUlyOWF0R2pSektDZ29JMVN5cWNBM0F0MGRSK3NXTEVDcXFvaU9UazVvTjBIZ3pWdTNEZzgrdWlqZU9TUlIzRDA2RkZvbW9ZREJ3NElsOHVWS2FYTUJIQkpVWlR0dXE3bmw1V1ZuUTEwdmlOTlRFeU16V0F3aEx0Y3Jzcys0V2dBQ0FvS2l1cCtmVy92ZHhJUkVWR2dqZnc3TmZJN1BydE8vc0RyN001aXNWaUNkVjFmSjRUSUFaQ083bjkvNHVQamtaV1ZoVldyVnNGa01nVTJ5U0hRMU5TRWZmdjJZZWZPblRoOStyUW5MQUVVQThnVFF1eGhsMEtYaElTRXp5TWpJOU1xS2lvU0FhQ3ZPUktrbEU3ZjEwS0lVTTZSUUVSRUZIanNTQ0Fpb21HVG1wb2EzOW5abWFQcitnWWh4Q1NncS9zZ1BUMGRxcXBpMGFKRm82TDdZTEJNSmhQKzhSLy9FUTgvL0RES3k4dWhhUnFLaTR1RnkrWEtBSkNoNi9vVnM5bThQU2dvS1AvdzRjT25iM2pBTVNvcUt1cis4UER3eGRmSGZRcUxFMk5qWS8vMXdvVUxQL0xkUG5QbXpOKzdYSzVHdnlSSlJFUkUvUm83ZDIvVXA3aTR1UDlUVzF2N0N3QlhCdnNlZmxOTS9zRHJiT3hLU2tvS0NRc0wrNjZ1NnpsQ2lCV2UrS3haczVDVmxZWE16TXd4MFgwd1dFMU5UZGkvZno5Mjd0eUpVNmRPZWVOU3lnTUE4bHd1MSs3S3lrcFg0REwwdjdsejV4NXNhV2twblRScDBrdStIUW5YZng3ME5ibWkwK2s4VlZsWk9kdGZ1UklSRVZGdjdFZ1k0KzY1NTU1bkxsKysvTzh1bDJ2UWhRUWlvbHVoS01wc2RFMmN1RUZLT1VFSWdkRFFVR1JrWkVCVlZTeFlzR0JNZFI4TWxzbGt3c01QUDR6dmZlOTdxS2lvZ0tacCtQampqK0YwT2xjQVdCRWFHdnFWeFdKNVcwcVo3M0E0YWdLZHJ6L291dTY4ZVBIaWE1TW1UWHJKTis1Yk9MaDQ4ZUxMVHFlejV0U3BVeXZhMjlzdkFBZzNtODExVHFmekM3OG5URVJFUkQyd2tEQUczR2c1ckw2ZU8vV29yNi8vdzVrelp4NGIrcXlJNkU2UWxKUVVFaG9hK2lDQVhBRExQUEU1YytZZ0t5c0xLMWV1UkZSVVZQOEh1SU1JSWJCdzRVSXNYTGdRTDczMEVvcUtpckJ6NTA2Y1BIbHlvcFR5ZndENEg0cWlmQW9neitsMDdockxYUW8xTlRYWkFMNjVQdTV3T0dKOFhyWkZSRVNZdzhQRDcyOXZiLytqeVdUNnRoQWlxSzZ1Ym9mL01pVWlJcUsrc0pBd0JseDM0OVdEb2lqMUowNmMrTHZXMXRhVC9ld3labTlVaVdqNEpDY256elVhalJzQlBBbGdBZ0NFaFlWaDVjcVZVRlVWOCtmUHZ5TzdEd1lyS2lvSzJkblplT2loaDFCWldlbnRVbWh2YjE4R1lGbG9hT2hWUlZIZTBYVjlhMWxaV1grZjM2TlpyeUpDdHdiZkY0Mk5qVVYzMzMzMzQvWDE5WCtjTUdIQ014MGRIVi9XMWRYOTBRLzVFUkVSMFFCNGx6ZUczS2d6d2RkQXMxN3oyWFh5QjE1bm84L3MyYk5EbzZLaWJFS0lYQUJMUFBHRWhBU29xb3JNekV4RVJrWUdNTVBSN1p0dnZrRlJVUkUwVFVOMWRiWHZwa05TeXJ6bTV1YUNtcG9hWjMvdkg0MFVSWkg5cmRyZ2REcXJLeXNyVTVPVGt5OWV1WExsVjFPbVRQbGZwMDZkK2w1alkrT0hnY21XaUlpSVBOaVJNTVpVVjFjbnQ3UzBEUGo4cUtJb2JmN0toNGhHdjVTVWxBUzMyNTBqaEhnU3dOMEFFQjRlN3UwK1NFeE1aUGZCRUxqcnJydncwRU1QSVNzckMxVlZWZDR1aGJhMnRpVkNpQ1VtaytscnM5bjhqdEZvM0hya3lKSHFHeDl4OUxtdXc4NE5vUG1ycjc3NjdaUXBVMzU1N2RxMUxTd2lFQkVSalF3c0pJd3hIUjBkTGdEdGdjNkRpRVkzcTlVYTF0emNyRW9wYzNWZC80Nm5VSkNZbUFoVlZiRnk1VXBFUkVRRU9NdGJaN0ZZa0o2ZWpzMmJOL2VJUC9QTU0xaTBhQkdlZSs2NVFlM3Y2L0xseTlpNmRTdisvT2MvbzdHeEVkT25UMGRPVGc1V3JGalI3M3Y2SW9SQVVsSVNrcEtTdkhNcGFKcUdFeWRPM0MyRStMR3U2ejlXRk9WUFFvaThxS2dvcmFTa1pDeDk1dmQ0dENFOFBEeDIvUGp4RDBrcG5WRlJVYXNpSWlMZWJXMXR0UWNxT1NJaUl1ckNRc0lZazVTVVZCSG9ISWhvOUZJVUpSRkFUbU5qNHhOQ2lQRUFFQkVSZ2N6TVROaHNOaVFtSmdZNHcrRWhwWVFRQXRIUjBZaUppZWtSRzZ5UFB2b0lkcnNkRHo3NElJeEdJM2J1M0ltWFgzNFpNVEV4U0VsSnVhVzhJaU1qa1pXVmhheXNMQncvZmh5YXBxR29xQWl0cmEzZmtWSitwN0d4c1U1UmxIY0JiSFU0SFAxT3JEc2FSVWRIcTlPbVRmdFBsOHQxNHN5Wk0wdW5USm15UFNFaDRmL1YxZFc5ZStuU3BWKzdYSzdLUU9kSVJFUjBwMkloWVl5cHJLeGMwTi9jQng0M001Y0NFWTE5YVdscDRVNm5Nd3RkS3k5OEcrajZWbnorL1BuSXlzcENlbnI2cU80K3VKRnIxNjdoeVNlZnhJTVBQZ2kzMjQyNnVqcHMzcndaVlZWVmVPKzk5d1o5blB2dXV3OGJObXhBU0VnSUFNQnF0ZUxSUngvRmdRTUhicm1RNENzeE1SRS8vL25QOGVLTEwrTGpqeitHcG1tb3Fxb2FEK0JGQUM4cWl2Sm5BSG1ob2FFNy8vclh2NDdxUjlqR2p4Ly85SXdaTTdaZXZYcjFyZlBuejc4RXdGbFRVNU01Y2VMRVp5ZFBucnhKMTNYbitmUG4vem5RZVJJUkVkMnBXRWdZWTVLU2tvNENZS0dBaUc0b09UazV5V2cwNWppZHp2VUFZb0N1N29OVnExWkJWVlVrSkNRRU9FUC9DQWtKUVc1dUxpb3JLL0duUC8wSjVlWGxXTE5tRFo1ODhrbm91ZzZEd1RDbzR5UW5KL2Q0SFJjWEJ3RG83T3djMG53aklpSmdzOWxnczlsdzRzUUpGQlFVWU4rK2ZXaHRiZjAyZ0c4N25jN2ZLb3J5T3lsbFhtbHBhZFdRbm55STFkYlc1cmhjcmtzQTVKa3paeDczeE92cTZuN1gzdDd1YUcxdExmWFpYWDcxMVZmLytkVlhYLzBCd0ppYWRKS0lpR2kwWVNGaGpLbXNyRXhtUndJUjlTY3RMUzI4dmIwOUcwQ3VFT0lCVHp3cEtRbFpXVmxZc1dLRlg3b1AydHJhc0czYk5oUVhGK1BLbFNzd21VeDQ0SUVIOE54enoySENoQW5lL1R4ekV6enp6RE40L2ZYWGNmVG9VUVFGQldISmtpVjQ4Y1VYRVJVVmRVdm50OXYvOXBpOXlXVEN1blhyME56Y2pBVUxGdURTcFV0WXVuUXBGaXhZME9mK2cxVlVWQVFBK05hM3ZuVkxPUTdHdkhuejhQTExMK09GRjE1QWNYRXhORTFEWldWbERJQVhoQkF2bU0zbXZ3RElDd3NMMnpFU3V4U3VYYnVXNy9udit2cjYzL3RzNnJpdWlPQ3JjWGl6SWlJaW9odmhOTnRqaUtJb1VrcnB3ZzA2RW9RUW9WeitrUUtOMTVsL3BhU2tMSkJTNWtvcEh3Y1FEWFE5Zjc5NjlXclliRGJNblR2WGI3bTRYQzdrNU9TZ3Fxb0s2ZW5wbUR0M0xtcHJhN0YzNzE3Y2ZmZmRlUC85OTJFeW1RQjBGUklVUmNINTgrZVJscGFHR1RObW9LeXNESjk5OWhuTVpqTzJidDNxbmNmZ3l5Ky9IUEM4VTZaTTZYZGJaV1VsTm03Y2lHM2J0cUc4dkJ6dnZmZGVqenh1MXJGangvRDk3MzhmWnJNWlc3WnM4ZXVxRnRYVjFkNHVoWmFXRmsrNFFRanhuaEFpNzhpUkk1eExoNGlJaU9nT1owVFhvQ0JhVVJRWkVSR1I2bm5kMzA4ZisvV2dLSXBrMXdJTk4xNW4vcUVvaXMzei85cno4OFFUVDhqZHUzZkwxdFpXR1FodnYvMjJWQlJGRmhRVTlJZ2ZPblJJS29vaWYvT2IzM2hqbnB3Ly9mVFRIdnUrOXRwclVsRVUrWmUvL0tYWHZ2MzlET1R5NWN2eTdiZmZsbEpLNlhLNTVILzh4My9JdHJhMlcvcjlhbXRycGRWcWxZODg4b2hzYVdtNXBXTU1oZGJXVnZuUlJ4L0pKNTU0b3EvL0g3WkFYNXRFUkVRMGV2R2J3RkV1UER6OHZzVEV4TC9lempHdS8wYVkzeFNUUC9BNjh3OUZVYjRCRU9sNXZXblRKbVJtWmdZd0krRFJSeDlGWTJNakNnc0xlMzFUYjdQWklJU0FwbWtBdWpvUzVzeVpndzgrK0tESGZ1Zk9uWU9xcWxpL2ZqMWVlT0VGQUVCSlNjbUE1N1ZhclVQMk93emtCei80QWNyS3l2RGhoeC9pM252djljczViMlRmdm4xNDlkVlhmVU10OExrdTBOWEo1dm01L3ZWTng2V1VFZ0NFRUlPS2UyTGQyLzBhOStUbGs1UDM5N21OK0g2SHcvSHZmZjB0aUlpSXhnTE9rVERLdGJXMS9mZDFBN0dZaVJNbmJvaUtpdnFIVTZkT1BRS2dEUUFtVHB6NGs3Q3dzTmtORFEwZk5UVTFmUXJBRlpDRWljamZIZ2V3RTkyRjQxZGVlUVVmZlBDQmR6NkU4UEJ3dnlkMDl1eFozSGZmZlgyMis4Zkh4K1B6enovdkVacytmWHF2L1dKall3RUFYMy85dFRmbXIwTEJqZGp0ZHFTbHBRVzhpTkRXMXVhZE42R2lvc2ZUREJKZDE0WG1FeE1Zd2k4WCtudVVZNkJIUExwckRINlBENVRYcmNhbGxNa0FXRWdnSXFJeGk0V0VzU0hJWkRJdEh6OSsvT1BqeG8xVDNXNzNWMWV2WG4wTFFEQzZDd2x0YlcwbklpTWoveTQrUHY1REtXVm5RMFBEN3NiR3hoME5EUTFGWUZHQmFNeHlPQndGQUF3cEtTa0wzRzUzamhCaWZVVkZSWFJGUlFWZWYvMTFyRnExQ2phYnphOHJORWdwQnh4UVhyOUtRbCtySnJTM3R3T0FkNmxGNFBibVNCaEtVVkZSQ0EwTjljdTUrbEpkWFExTjA3Qi8vLzRlY3lSSUtYOW5OQnEzK3N5UjRDa2VpT3pzYkhIMTZsVUJBTTNOemFLOXZWMDRuVTRSR3hzcm5FNm5BQUNYeXlVNk9qcUUyKzBXMGRIUm9yT3pVd0JBWjJlbmNMdmR3dTEyaTd2dXVrdTQzVzRCQUc2M1craTZMdHh1dHdnUER4ZTZyZ3NBMEhWZGVINmtsQUlBUWtORGU4UTgrM3JpbnBobi8rRGdZQ0dsOVA1NDlyOCs3dGsvS0Nob1VIRUFrRktLdnVJQWhORm9IREFPWUxLVThwMGgvNk1TRVJHTk1Dd2tqQUZ6NTg0OUdCa1orWGVOalkyRjU4NmQrOGVHaG9aQ0FHN2ZmWnFibXd1Ym01c0xBVVRHeE1ROGVQZmRkejhSSHg5ZjhPV1hYNzU4K2ZMbC95OHdtUk9SdjNRUEhsOUlTMHY3V1h0NyswTkNpTnlXbHBhLzM3RmpCM2JzMklHa3BDU29xb3IwOVBSaFg3Vmg2dFNwT0hueVpKL2JUcDgrM2FzRG9hNnVydGQrVlZWZHF4ck9uRG5URzF1N2R1MkE1NzJWbFJkdWhhWnBnMTR5Y3FpMHRyYjZydHJndSttL3BKUjVZV0ZoSC9hemFvTUVJSGZzMk5IbmNXdHFhb1loMjdFck5UWDFYcmZiZmVNZGlZaUlSamtXRXNhQWMrZk9iWFE2blZjd3VDV3hXdXJyNi85UVgxLy9oNGlJaUNtdHJhMWYzL2d0UkRSV2RBOG0zd1B3bnRsc25pK0V5QUh3UkdWbFpVeGxaU1hlZU9NTmI1ZkN2SG56aGlXSFpjdVdJVDgvSDd0Mzc4YTZkZXU4OFpLU0V0VFcxdUtIUC94aGovMGREZ2VPSHorT3hNUkVBSUN1NjlpMmJSc01CZ09XTEZuaTNlK05OOTRZbG54dmhiODZFazZjT09IdFBtaHRiZldFNndHOEs2WGNXbHBhV3VXWFJJaUlpT2lPd2tuT3FCZE9na2Yrd090czVMQmFyV0ZOVFUxWkFISUIvSU1ubnBpWWlLeXNMR1JrWkF4cGwwSnJheXZXcjErUGMrZk9JU01qdzd2OFkyRmhJZWJPbll2OC9IenZJd3NXaXdWeGNYRm9hR2pBMnJWckVSTVRnME9IRG5tWGEzejIyV2VITEsraHNuYnRXcVNucCtQNTU1OGZsdU8zdHJhaXFLZ0ltcWJoK1BIanZwcytBNUJuTXBsMmxwU1V0QS9MeVdsQTNSMEpsNlNVVjBwTFMwZkdUSnRFUkVURGdCMEpSRVIzdU81QjV4OEEvTUZpc2N3RGtLUHIrcFBIang4ZnYyblRKdno2MTcvR3lwVXJvYXFxdHl2Z2RrUkVSR0Q3OXUxNDY2MjNjT2pRSVJ3NGNBQVRKa3pBSTQ4OGdweWNuQjd6SGdEQXZIbnprSkdSZ1RmZmZCTVhMbHpBbENsVDhDLy84aTk0K09HSGJ6dVg0UkFURTRPWW1KZ2hQMjVWVlJVMFRVTlJVUkhhMnJ4UEtYd3RoSGdYd0ZhNzNYNWl5RTlLUkVSRTFBZCtFMGk5OEp0aThnZGVaeU9iMVdvTmEyeHN0QUhJRlVKWVBmRjU4K1pCVlZXc1hMa1NrWkdSL1I5Z2lGZ3NGcVNucDJQejVzM0RmcTZScUtXbEJmdjM3NGVtYWFpdXJ2YkdwWlFsQVBMR2pSdFh3TzZEa1lNZENVUkVkS2RnUndJUkVmWFNQVGg5SDhEN0tTa3BDYnF1YndUdzVJa1RKKzU1N2JYWDhKdmYvQVlaR1JsUVZSWHo1ODhmY0JVR3VqbFN5aDdkQjU0VktnQmNBL0NPd1dESVAzTGtTUFVBaHlBaUlpSWFWaXdrRUJIUmdMb0hyVCtkUFh2Mkt5YVQ2VUVBdVcxdGJVdDM3ZHFGWGJ0MklTRWh3ZHVsY05kZGR3VTYzVkhybTIrKzhYWWZmUEhGRjc2YkRnTElhMnBxMmxWVFUrTU1VSHBFUkVSRVhpd2tFQkhSb0hRUFl2OHZnUCs3ZVBIaU9RYURZU09BRGRYVjFSTTJiOTdjbzBzaEtTbUpYUXFESUtWRVJVVUZORTFEY1hHeGIvZkJWUUJ2NjdxZVgxWlcxdmRhbVJSd2FXbHA0WjJkbmVNOHJ3MEd3MFMzMncwaGhDRTFOYlhIb3cyNnJuOXR0OXM3L0o4bEVSSFIwT05kSHZYQ1o5ZkpIM2lkalExSlNVa2hZV0ZoMzVWUzVnSlk3b25QbVRNSHFxb2lNek1UVVZGUkFjeHdaR3B1YnZaMkg1dzgyYU5POElrUUlxKzl2ZjJqeXNwS1Y2RHlvOEZKVGs1T01ocU5GWVBZdFZVSU1jRnV0N2ZlZUZjaUlxS1JqemZ3MUFzSGVPUVB2TTdHSG92Rk1ndEFqcFJ5QTRDSkFCQWFHb3IwOUhTb3FvcUZDeGZlMFYwS1Vrb2NPM2JNMjMzZ2RIcWZVdmhLU3JuZFlERGsyKzMyVTRITWtXNmFVQlRsT0lDRUFYY1M0a083M1o3dHA1eUlpSWlHSFI5dElDS2lJZEU5Q1A1WlVsTFMvd3dKQ1ZrbmhNaHhPcDNwZS9ic3daNDllekJyMWl5b3FvcFZxMWJCWkRJRk9sMi9hV3Bxd3I1OSs2QnBHazZkNmxFbktKWlM1cmxjcmozc1BoaTFKSUNkQVA1MW9KMTBYZC9wbjNTSWlJajg0ODc5YW9qNnhXK0t5Ujk0bmQwWlVsTlQ0enM3T3pjQ2VFb0lNUWtBUWtKQ3ZGMEtpeFl0R3BOZENsSktsSmVYZTdzUFhDNXZuZUF5Z08xR28zSGI0Y09IVHdjd1JSb2lGb3RGa1ZMYUI5akZHUjRlUHVFdmYvbExzOStTSWlJaUdtWmo3KzZOYmhzSGVPUVB2TTd1TEJhTEpWaEt1UlpBRG9BTWRQLzdFeDhmRDFWVnNYcjE2akhScGREVTFJUzllL2RDMHpTY1B1MnRFMGdBSHdQSUUwSVVjc0s5TVVjb2luSWF3SXgrdHU5Mk9CemY5V00rUkVSRXc0NDM4TlFMQjNqa0Q3ek83bHlMRnkrZTBiM2l3MU1BSmdOZFhRckxseStIcXFwWXZIanhxT3BTa0ZLaXJLd01tcWJoazA4KzhlMCt1Q1NFMk9aMnU3ZVZsWldkRFdDS05Nek1adlByUW9nZjk3Vk5TdmxFYVducDcveWRFeEVSMFhBYVBYZHE1RGNjNEpFLzhEb2ppOFVTREdDMXJ1czVRb2hNZFArYk5HUEdES2lxaWpWcjFtRGN1SEVESHlTQUdoc2JVVmhZQ0UzVGNQYnNXVTlZU2luM1N5bnpvcU9qOTVhVWxIUUdNRVh5RTdQWm5DYUUrTHlQVFIwZEhSMlRqaDA3VnUvM3BJaUlpSVlSYitDcEZ3N3d5Qjk0blpFdnM5azhIY0RUUW9pbkFVd0JnT0RnWUN4YnRneXFxa0pSbEJIUnBTQ2xoTVBoZ0tacCtQVFRUOUhSNFgxSzRhS1VjaHVBN2FXbHBlY0NtQ0lGaGtGUmxQUG92blo5RkRrY2pzeEFKRVJFUkRTY3VHb0RFUkVGWFBmZyszOWFyZFpmTmpZMnJoSkM1SFowZEdRV0ZSVVppb3FLTUgzNmRHK1hRblIwdE4vemEyaG84SFlmbkR2bnJSUG9BUFlCeURPWlRQdlpmWEJIMHdGb0FIN2dHeFJDY0xVR0lpSWFrd0wvOVE2Tk9QeW1tUHlCMXhuZGlNVmlpWk5TUGlXRWVGcEtHUXQwZFNrc1hib1VxcXJDWXJFTWE1ZUNsQkoydXgyYXB1SGd3WVBlN2dNaHhBVXBaYjdSYU54KytQRGg4OE9XQUkwcUtTa3BWbDNYRC9tRTNFS0llKzEyKzdXQUpVVkVSRFJNZUFOUHZYQ0FSLzdBNjR3R3kycTFCalUxTmEwRWtBdGdOUUFEQU1URnhjRm1zMkhObWpVWVAzNzhrSjJ2cnE0T2hZV0ZLQ2dvUUcxdHJTZXNBeWdVUXVURng4Y1g3ZGl4d3oxa0o2UXhJVHM3MjNqcTFLa3JBTzd1RGgxME9CekxBcGtURVJIUmNPRU5QUFhDQVI3NUE2OHp1aFdMRmkyS0RRNE9ma3BLdVJIQU5BQUlDZ3JDa2lWTG9Lb3FVbEpTWURBWWJ2cTR1cTdqeUpFajBEUU5odzRkUW1lbjl5bUZXaUZFZmtkSHg5dmw1ZVVYaHU0M29iRklVWlRmQS9nbkFCQkNQR2UzMi84endDa1JFUkVOQzg2UlFFUkVvMGIzWVA2WDJkblovL3ZNbVRNWlVzcmN6czdPTlFjT0hEQWVPSEFBc2JHeHNObHNXTGR1M2FDNkZPcnE2ckI3OTI0VUZCVGd3Z1Z2bmNBTllJK1VNbS8yN05uRjdENmd3VElZREh0MVhmK243cGNGQVUyR2lJaG9HUEdiUU9xRjN4U1RQL0E2bzZHU25KdzgxV0F3YkJCQzVBQ0lBN3E2Rkt4V0sxUlZSV3BxYW84dUJWM1hjZmp3WVcvM2dkdnRyUk9jazFMbW8ydmxoUy85L292UXFKZVFrQkFWR1JsNUNjQVpoOE94TU5ENUVCRVJEUmZld0ZNdkhPQ1JQL0E2bzZIVy9ZejZDblROcGJBT2dCRUFwazZkQ3B2Tmh2dnZ2eCtmZi80NUNnb0tjUEhpUmMvYjNBQjJBOGliTld2V0FYWWYwTzJ5V0N6dlNpbExIUTdIdndjNkZ5SWlvdUhDRzNqcWhRTTg4Z2RlWnpTY0xCYkxaQ25sQmdBNUFHYjBzY3RaQUZ1RkVHL2I3ZlpML3N5TnhpU0RvaWdycEpUdkNpRW1TU20vRVVJODVIQTREcUJyb2s0aUlxSXhoVGZ3MUFzSGVPUVB2TTdJVHd3V2kyVzVsRElYUUNhQS9VS0lQTHZkL2drNHdLUGJaRGFicHdnaE5nRFlpUDRMVnZsQ2lPMHNXQkVSMFZqQ0czanFoUU04OGdkZVorUnZ2T1pvS0dSblp4dHJhbXJTaFJDNUFOYkM1eEVhVlZXOWo5Qm9tbmI5SXpTY3dKT0lpTVlNM2t4Ukw3elpwbHNSRnhmM2YycHJhMzhCNE1wZzl1ZDFSdjdHYTQ1dVIzSnk4dFNnb0NEUDBxTzNNNmxuclJBaXY3T3pjL3ZSbzBjdjlqNFRFUkhSeU1mbEg0bG9TTnh6enozUFhMNTgrZDlkTHRlZ0NnbEVSQ05kZG5hMjhmVHAweXU3SDQxWkk2VTBBTUMwYWROZ3M5bXdkdTNhZnBjWk5SZ00rTmEzdm9WdmZldGJxS3VydzU0OWU2QnBHaTVjdUJBbnBmeWwwV2o4aGNWaUtSUkM1TTJjT2ZOamRpa1FFZEZvd205bHFCZCthMGY5OFZ3YnQ2Syt2djRQWjg2Y2VlejZZL0U2STMvaE5VZURsWnFhT3MzdGRqOEY0R2tBMDRDdTdvT2xTNWRDVlZWWUxKWWUzUWVEcGVzNjdIWTdORTNEd1lNSDBkblo2ZGwwWGdpUjM5SFJzYjI4dlB6Q2tQMGlSRVJFdzRRM1U5UUxiN1pwQU5IOWJWQVVwZjdFaVJOLzE5cmFlcktmWFZ3QVduMzI1M1ZHZnNWcmpnWml0VnFEbXBxYU10RzFmT2dxQUFZQWlJdUxnNnFxV0xObURXSmlZb2JzZlBYMTlTZ3NMSVNtYWFpdHJmV0VkZnovN04xNWVGTmw5Z2Z3NzV1V3JyUlFrRlZrS1l0QTBkS2s2S0R6R3d1eUl3Z3BpREN5aUZBUXhBMEhCcEZCSGJVaTdxQW9nb015TGlNMHJJVzJnRlJRY0lTa0JWcWtBcklqaTlPVkxrbWJlMzkvdEkwcDNkTGw1cWJOOS9NOFBBKzU5eVk1TGVjaDd6MDU1MTRnRnNEcXdNREF1TVRFeEtMS1g0R0lpRWc5WEV4Uk9WeHNVM1ZxMHBtUWtwTFN5Mkt4bktqc05aaG41Q3pNT2FxSVRxZnJLRW5TWTBLSXh3RGNDZ0JObWpUQi9mZmZENzFlRDYxV0N5R1VTeGxabG1FeW1XQXdHTEJueng0VUZoWUNBSVFRRjJWWlhsdHl4NGZ6MWJ3TUVSR1JVL0VhQ1VSVUsybHBhYUc1dWJtL1ZIV01WcXZOZDFZOFJFU09pb2lJOE16TXpCd3BoSWlTWlhtNEtLa1VkT3JVeWRaOTBMeDVwUTFZOVVvSUFaMU9CNTFPaDcvOTdXKzJMb1Z6NTg1MUFMQlVsdVVsV3ExMnB5ekxxNXMxYTdhRFhRcGwrZnY3aDNidDJqWGg1TW1UdXZ6OC9Nd0tEdEdVL0xHWERkNytsWWlvVGxoSUlLSmFLU3dzdEFBb1VEc09JaUpIaFlXRmRkSm9ORE95czdPbmF6U2E5Z0RnNWVWbDZ6NElDd3RUdFB1Z09zMmJOOGNqanp5Q3YvNzFyMGhLU2lydFV0QllMSmFSUW9pUjJkblpsOFBDd3RZQ1dKdVVsSFJPdFVCZGlKK2YzNThsU1Nxd1dxMU50VnJ0aFp2M0Z4WVdYbTNTcEVrYisyMlZkY29SRVpIaldFZ2dvbG9KQ1FsSlVUc0dJcUxxNkRTcEhhZ0FBQ0FBU1VSQlZIUzZKcklzUHdCZ0pvQmhzaXdMQU9qU3BRdjBlajFHamh5SlpzMmFxUnZrVFlRUTBHcTEwR3ExK052Zi9vYlkyRmpFeE1UZzdObXo3WVVRU3dDOG9OVnE0NFFRcXdIRUdvM0dRclZqVmt0QVFNQ2dyS3lzYmFXUFRTWlRFd0R3OHZLNnZVK2ZQaW5IamgxcmEzOThYUzRhVEVSRWYyQWhnWWhxSlRVMXRVOTEzK2h3d1VaRWFybnp6anU3ZUhwNnpwQmxlVHFBdGtCeDk4SGd3WU9oMStzUkdocXFhdmVCbzVvMWE0WkpreVpoNHNTSk9ITGtDQXdHQTNidDJpVXNGc3R3V1phSEEvaE5xOVYrS2tuU211VGs1TE5xeCt0ay9vR0JnVU5QblRvMXdtNWI2ZWdIYjZkSlJLUWdGaEtJcUZaQ1FrS09BR0NoZ0loY2hrNm5heUpKMG1naHhFd0FRMUJ5VWVuZzRHQkVSa1ppeElnUkNBd01WRGZJV2hKQ29HL2Z2dWpidHkrZWUrNDU3Tml4QXpFeE1majExMS9iQVZpczBXaWUxMnExQ1FCV0N5RzJ1VU9YUWxCUTBGaU5SdU5yc1ZpdTJHMXVEZ0NlbnA0QkpZL2JsbjhtRVJIVkZRc0pSRlFycWFtcG9leElJQ0pYMEs5ZnYrQ2lvcUtaa2lROUtvUm9BeFIzSHd3Wk1nUjZ2UjUzM25sbmcrZytjRlJnWUNBZWZ2aGhUSmd3QVVlUEhvWEJZRUJDUW9Ld1dDeERBUXlWSk9scVdGallwNTZlbm1zT0hUcjBxOXJ4S3FWMTY5WnpidDZtMVdvejdCK0hoWVdkZFZwQVJFUnVoSVVFSXFvVmRpUVFrWnBDUWtLOGZIeDhIcFFrYWFiVmFoMWNXaWpvMnJVcklpTWpNWHo0OEFiYmZlQW9JUVJDUTBNUkdocUsrZlBuWStmT25ZaUppY0hwMDZmYkFGaGt0Vm9YaFlXRjdRS3cybUt4YkUxTlRiV29IWE45Q1FnSXVNZlgxN2Z2emR2dGJ1L2F1a09IRHM5ZnZIanhhZnY5WGJwMCtiZkZZc2x5U3BCRVJJMFlDd2xFNUNnUEFLV3Rva2hMUy90elhsN2V5YXFlb05WcU16dzlQUU1zRmt2cGZkUXF1alVYRVpIRHRGcHROeFJmT1BGUldaWmJDU0hnN2UyTm9VT0hRcS9YbzArZlBvMnErOEJSZ1lHQm1EQmhBaDU2NkNHa3BLVEFZREFnUGo0ZVpyTjVNSURCM3Q3ZTEzUTYzYjlrV1Y1ak1wbE9xUjF2WGJWcjErNlY2OWV2cjJyVHBzMnpsUnh5N2VMRmkwOVgxQm5uNStmM3A5VFUxRzRLaDBoRTFLaXhrRUJFRHZIMTllM1hxMWV2ZzZXUGUvYnMrWk1qejdNL3p1NmJJaUlpaDRXRWhIaDVlM3VQQVJBRjRQN1M3ZDI3ZDBka1pDU0dEUnVHZ0lDQXlsL0FqUWdoY01jZGQrQ09PKzdBczg4K2k3aTRPTVRFeE9Ea3laT3RaVmxlQ0dDaFZxdmRBMkMxMld6ZTNGQzdGQ1JKTWwrNmRPbTFtd3NKOW9XRFM1Y3VMVEtiemFkT256NDl1S0NnNENJQTM3Q3dzSFN6MmZ5TDB3TW1JbXBrV0VnZ0lvZms1K2YvZUZNaElLaDE2OWFQQmdRRS9PWDA2ZE1UQWVRRFFPdldyWi96OGZIcGxwbVp1U1U3TzNzUGdBYTVTQ1VpOVlXR2h2Ync4UENZQVdBYWdGWUE0T1BqZzJIRGhrR3YxNk4zNzk1dTJYM2dxSUNBQUl3ZlB4N2p4bzFEYW1xcXJVdWhvS0RnZmdEM2UzdDdYOWRxdGVza1Nmb2tPVG01eWc0elYzUHExS254QUc3Y3ZOMWtNZ1haUGN6MzgvTUw4L1gxdmFlZ29PREx3TURBL3hOQ2VLYW5wMjl3WHFSRVJJMFRDd2xFVkJPZWdZR0JnMXEwYURHNVdiTm1lcXZWZXUzNjlldXJBRFJCU1NFaFB6Ly9oTCsvLzEzQndjRWJaVmt1eXN6TTNKcVZsYlVoTXpNekRpd3FFRkUxdW5YcjVoMFFFREJXQ0JFRllFRHA5dHR2dngxNnZSN0RodytIdjcrL2loRTJQRUlJOU9uVEIzMzY5TEYxS1JnTUJxU2xwYlVDOERlTlJ2TTNyVmE3VjVibDFUazVPWnRPblRwbFZqdG1CNVFySXBRb00wS1hsWlVWMTdKbHk4a1pHUmxmdG1yVmFsWmhZZUhsOVBUMEw1MFFIeEZSbzhaQ0FoRTVyRWVQSHQvNisvdmZsWldWdGYzY3VYTVBaMlptYnNkTjkrck95Y25abnBPVHN4MkFmMUJRMEppV0xWdE9EUTRPM25UNTh1VkZWNjVjZVVPZHlJbkkxWVdIaDk5dXRWcG5DaUdtQVdnSkFMNit2cmJ1ZzE2OWVySDdvQjQwYmRvVTQ4YU5RMlJrSkk0ZlAyN3JVc2pQeng4Z2hCZ1FHQmo0djdDd3NIVWVIaDZmSEQ1OE9FM3RlR3ZLZnJUQmJEYW5wYWFtOXJ2dHR0dmVhOXUyN1pKbXpacU5PbjM2OUVNQUdrS2hoSWpJcGJHUVFFUU9PM2Z1M0F5ejJYd1ZnQ05Ydk03TnlNajRJaU1qNHdzL1A3LzJlWGw1LzFNNlBpSnFXQ0lpSW54eWNuTDBzaXhIU1pKMFgybWhvRmV2WHREcjlSZzJiQmo4L1B4VWpyTDJkRG9kaGd3Wmd1am82QXIzNzl1M0Q4ODg4d3crLy94elRKa3lwY3BqQWVES2xTdjQ1Sk5Qc0gvL2ZtUmxaYUZUcDA2WU9YTW1CZzhlWE9QWWhCQUlDUWxCU0VoSW1TNkZFeWRPdEJSQ3pKY2thYjVXcS8xT0NMRTZJQ0RBa0ppWVdGRGpOMUhCVGFNTlZnQTUxNjVkZTc5OSsvWXYvLzc3N3l1eXNySTJxaFViRVZGandrSUNFVG1zdGhlb3lzdkx1MXpmc1JCUnc2WFZhbnNCbUptVmxUVlZDTkVDQVB6OC9EQjgrSENNSFRzV3ZYcjFVamxDNTlpeVpRdTZkdTJLa0pBUWg0ODNHbzBZTTJZTVBEdzhFQk1UZzBXTEZpRW9LQWpoNGVHMWpzUGYzeCtSa1pHSWpJekV6ei8vRElQQmdMaTRPT1RsNWQwbnkvSjlXVmxaNlZxdDlqTUFuNWhNcHA5ci9VYk9VV2Ewd2RmWHQwT0xGaTNHeWJKc0RnZ0lHT0huNS9kWlhsNmVVYTNnaUlnYUN4WVNpSWlJU0hIOSsvZjNOWnZOa1NpKzg4TC9BY1hmaXZmdTNSdVJrWkVZTW1SSWcrNCtxS24wOUhUczM3OGZUejMxbE1QUCtkT2Yvb1JISDMwVVhsNWVBSUNJaUFoTW1qUUp1M2J0cWxNaHdWNnZYcjJ3ZVBGaVBQUE1NNGlQajRmQllNRHg0OGRiQUhnR3dETmFyWFkvZ05YZTN0NHhCdzhleksrWE4xVkk4K2JOOWJmZGR0dUhGb3ZseEprelp3YTJiOS8rMDl0dnYvMi82ZW5wbi8zMjIyOXZXeXlXVkxWakpDSnFxRmhJSUNJaUlzV0Vob2FHZUhoNHpEU2J6Vk1BQkFIRjNRY2pSb3lBWHEvSDdiZmZybktFNnRpMmJSdUVFQmd4WW9URHp3a05EUzN6dUdQSGpnQ0FvcUtpZW8wTktQNDNHanQyTE1hT0hZc1RKMDVnMDZaTjJMRmpCL0x5OHY0UHdQK1p6ZWIzdFZydDU3SXNyMDVLU2pwZTd3SFVVWXNXTFI3cjNMbnpKOWV2WDE5MTRjS0Zad0dZVDUwNk5ieDE2OWFQdDJ2WDdoVkprc3dYTGx5WW8zYWNSRVFORlFzSlJFUkVWSy82OSsvdlcxQlFNQjVBbEJEaTN0THRJU0VoaUl5TXhPREJnNTNTZlpDZm40KzFhOWNpSVNFQlY2OWVSV0JnSU82OTkxN01uVHNYclZxMXNoMVhlaTJEV2JObTRjMDMzOFNSSTBmZzZlbUpBUU1HNEpsbm5rRkFRRUN0M3Q5b3JMeURmdXZXcmJqdnZ2c1FGQlJVN2JHVmlZdUxBd0RjZmZmZHRZclBVVDE3OXNTaVJZdncxRk5QSVNFaEFRYURBYW1wcVVFQW5oSkNQQlVXRnZZRGdOVStQajRibk4ybGNQNzgrWmtXaStVM0FQS1pNMmNtbDI1UFQwLy92S0Nnd0pTWGw1ZGtkN2g4N2RxMUQ2OWR1L1lGZU1GRklxSTY0ZVdQcVp6U0t4NmJUQ2JtQnltR2VVYk94cHhUWG5oNGVCOVpscU5rV1o0TW9EbFFQSDgvY3VSSWpCMDdGajE2OUhCYUxCYUxCVE5uenNUeDQ4Y3haTWdROU9qUkErZlBuMGRzYkN4YXRteUpyNzc2Q29HQmdRQ0tDd2xhclJZWExseEEvLzc5MGJselp5UW5KMlBmdm4wSUN3dkRKNTk4WXJ0anhPWExWVi95cFgzNzl0WEdkdVRJRVV5ZlBoM3Z2LzgrN3IzMzNtcVByOGl4WThjd2UvWnNoSVdGWWNXS0ZVNi9vMFZhV3BxdFN5RTNON2QwYzZZUVlyMFFZdlhodzRkVG5Cb1FFUkU1RlJkVFZBNFgyK1FNekROeU51YWNjclJhN1ZnQUJ2dHRkOXh4QnlJakl6Rm8wQ0Q0K3ZvNlBhWjE2OVpoeFlvVldMSmtDY2FNR1dQYm5waVlpUG56NTJQeTVNbDQrdW1uQVJRWEVnQmcrZkxsR0Rod29PM1k2T2hvYk55NEVTdFdyTUE5OTl4VDV0aktPTkpaOE5KTEwrSEhIMzlFYkd3c05CcE5qWCsyQ3hjdVlNcVVLV2pYcmgzV3JGbWo2clVsOHZQenNXdlhMaGdNQmh3N2R1em0zWHFUeWJSSmpiaUlpRWhaSEcwZ0lpS2l1bHB2LytDVlYxN0I4T0hEMVlvRkFKQ1FrSUMyYmR2aXdRY2ZMTE05SWlJQ0hUdDJ4TDU5KzJ5RkJBRG8zcjE3bVNJQ0FFeWFOQWtiTjI3RW9VT0hiSVdFdDk1NnEwNXg1ZVhsWWRldVhaZzRjV0t0aWdnQXNHelpNaFFXRnVMdHQ5OVcvUUtWdnI2K0dEMTZORWFQSG8wZE8zWmd5WklsOXJ2WGE3VmFmN3ZIOGsxL0t0cFczVDdiZGxtV1pTRkV1WDBWYkpjQlFBZ2h5N0xzMFBhUzU2T2k3U1hiNE1qMm0rSkJKZHVyK3JsdTNpN0pzcndtS1NtSnQ3RWtJbFd4a0VCRVJFUjFOUmxBREVvNkhWOTQ0UVY4L2ZYWHR1c2hxTkdSY1Bic1dmenBUMytxc09VL09EZ1lCdzRjS0xPdFU2ZE81WTdyMEtFREFPQi8vL3VmYlZ0RVJFU2Q0a3BJU0VCQlFVRzVBa2ROR0kxRzlPL2ZIMjNidHExVExQVWhQei9mZHQyRWxKUXkwd3d5aXZQQ3ZsTkZvQjY3WVNzYjU2aHMreC9uK2RWdnI4bXhWVzJ2S3A3YWJoZEMrQUJnSVlHSVZNVkNBaEVSRWRWSlNmdTZKanc4dkkvVmFwMHBoSmlTa3BMU1BDVWxCVysrK1NaR2pCaUJzV1BIT3ZVT0RiSXNWM25kZ0p1N0FTcnFEaWdvS0FBQTIrMFdnYnBmSTJITGxpM1FhclcySWtWdEJBUUV3TnZidTliUHJ3OXBhV2t3R0F6WXVYTm5tV3NreUxMOHVZZUh4eWQyMTBnb0xSNkk4ZVBIaSt2WHI0dWNuQndCQUFVRkJjSnNOb3NPSFRvSXM5a3NMQmFMS0N3c0ZBQmd0VnBGOCtiTlJWRlJrU2dxS2hKV3E5VzJ2V25UcHNKcXRRcXIxU29rU2JMdDgvWDFGWklrbGZrank3SUFBRzl2N3pMYkpFa3FzNzEwbXl6TG9rbVRKZ0lBWkZrV3BYOGtTUkpObWpTeHZaNzlQazlQenlxMzM3elBmbnZwUGdEQ3c4T2p5dTJTSkEwUVF2eGRvWDlTSXFJYVlTR0JpSWlJNmtYSnllTlQvZnYzLzN0QlFjRTRJVVJVYm03dW56ZHMySUFOR3pZZ0pDUUVlcjBlUTRZTVVid2wvOVpiYjhYSmt5Y3IzUGZycjcrVzYwQklUMDh2ZDl6eDQ4VjNOZXpTcFl0dDI2aFJvNnA4MzZxdWtYRG16QmtjUFhvVUw3LzhjcFd2VVIyRHdWRHJzWWk2eU12THM3OXJnLzJ1NzJWWlh1M2o0N094a3JzMnlBRGtEUnMyVlBpNnAwNmRVaURheGljOFBOd2lTUklMQ1VUa0VsaElJQ0lpb25wVmNqSzVIc0Q2c0xDdzNrS0ltUUNtcHFhbUJxV21wdUt0dDk2eWRTbjA3TmxUa1JqdXYvOStyRm16Qmx1M2JzWG8wYU50MnhNVEUzSCsvSGs4K2VTVFpZNDNtVXo0K2VlZjBhdFhMd0NBSkVsWXUzWXROQm9OQmd3WVlEdXVMdGRJMkx4NU0vejkvVEZvMEtCYXYwWXBaM1lrbkRoeHd0WjlrSmVYVjdvNUE4Qm5zaXgva3BTVWROeHB3UkFSa1V0Z0lZR0lpSWdVVTNLUytVeEVSTVNpN096c1NBQlJlWGw1ZjltNGNTTTJidHlJWHIxNklUSXlFa09IRHEzWExvV3BVNmRpejU0OStPYy8vNG1mZnZySmR2dkg3ZHUzSXlRa0JCTW5UaXh6ZkljT0hUQm56aHlNR2pVS1FVRkIyTHQzTDFKVFV6Rmp4b3d5NHdxMXZVWkNVVkVSZHV6WWdXSERodFc1Q0RCeDRrUU1HVElFOCtiTnE5UHJWQ1V2THc5eGNYRXdHQXo0K2VlZjdYZnRBN0E2TURBd0pqRXhzVUN4QUlpSXlLV3hrRUJFUkVTS0t6bnAvQUxBRnpxZHJpZUFtWklrVGZ2NTU1OWJ2UExLSzNqNzdiY3hiTmd3NlBWNlcxZEFYZmo1K2VIVFR6L0ZxbFdyc0hmdlh1emF0UXV0V3JYQ3hJa1RNWFBtekRMWFBRQ0FuajE3WXVqUW9WaTVjaVV1WHJ5STl1M2JZOEdDQlpnd1lVS2RZd0dBL2Z2M0l6MDl2VTRYV1N3VkZCU0VvS0NnZW9pcXZPUEhqOE5nTUNBdUxnNzUrYllwaGY4SklUNEQ4SW5SYUR5aHlCc1RFVkdEd2tJQ0VSRVJPVlhKeWVqOGlJaUl4VmxaV1dOUjNLVVFZVEFZWURBWTBMTm5UK2oxZWd3Yk5neisvdjdWdlZ5bEFnTURzWERoUWl4Y3VOQ2g0eU1pSXVwOFY0YktiTjY4R1YyN2RrVklTRWlkWCt2enp6K3ZoNGora0p1Ymk1MDdkOEpnTUNBdExjMjJYWmJsUkFDcm16VnJ0b25kQjBSRVpJK0ZCQ0lpSWxKRnljbnBWd0MrQ2c4UHYxMlNwQmtBcHAwNGNlS1cxMTU3RGUrODh3NkdEaDBLdlY2UDNyMTdWM2tYQmxkMi9mcDFIRGh3QUU4Ly9iVGFvZGpJc2x5bSs2RDBEaFVBZmdld1RxUFJyRGw4K0hCYUZTOUJSRVJ1aklVRUlpSWlVbDNKU2V2ZnVuWHI5a0pnWU9BWUFGSDUrZmtETjIvZWpNMmJOK1AyMjIrM2RTazBiZHBVN1hCcnBGV3JWamgwNkpEYVlRQUFidHk0WWVzKytPV1hYK3gzZlF0Z2RYWjI5dVpUcDA2WlZRcVBpSWdhQ0JZU2lJaUl5R1dVbk1UK0I4Qi8rdmJ0MjEyajBjd0E4R2hhV2xxcjZPam9NbDBLSVNFaERiWkx3WmxrV1VaS1Nnb01CZ01TRWhMc3V3K3VBL2lYSkVscmtwT1RLNzVYSmhFUlVRVllTQ0FpSWlLWFZISnl1ekFrSkdTSmo0L1BnN0lzUnhVVUZBemFzbVVMdG16Wmd1N2R1ME92MTJQNDhPRUlDQWlvOWZzWWpjYjZDOXFGNU9UazJMb1BUcDRzVXlmWUxZUllYVkJRc0NVMU5kV2lWbnhFUk5Sd3NaQkFSRVJFTHEza1pIY0RnQTA2bmE0cmdKbXlMRDk2OHVUSjFzdVdMY083Nzc2TElVT0dRSy9YNDQ0NzduRHJMZ1ZabG5IczJERmI5NEhaYkp0U3VDYkw4cWNhaldhTjBXZzhyV2FNUkVUVThMR1FRRVJFUkExR3lVbnczME5DUXY3aDVlVTFXZ2d4MDJ3MkQ5bTJiUnUyYmR1R3JsMjdRcS9YWThTSUVRZ01ERlE3WEtmSnpzN0dqaDA3WURBWWNQcDBtVHBCZ2l6THF5MFd5eloySHhBUlVYMWhJWUdJaUlnYW5KS1Q0bzBBTnZicjF5KzRxS2hvQm9EcHAwK2Zick44K1hLODk5NTd0aTZGTysrOHMxRjJLY2l5aktOSGo5cTZEeXdXVzUzZ0NvQlBQVHc4MWg0NmRPaFhGVU1rSXFKR2lvVUVJaUlpYXRCS1RwYWYxK2wwUzJWWkhnVmdwc1ZpR2JwOSszYXhmZnQyQkFjSFE2L1hZK1RJa1kyaVN5RTdPeHV4c2JFd0dBejQ5VmRiblVBR0VBOWd0UkJpdTlGb0xGUXZRaUlpYXV4WVNDQWlJcUpHb2VUazJRREEwTGR2Mzg0bGQzeVkvdXV2djdaNzg4MDM4Zjc3NzJQUW9FSFE2L1hvMjdkdmcrcFNrR1VaeWNuSk1CZ00yTDE3dDMzM3dXOUNpTFZXcTNWdGNuTHlXUlZESkNJaU44SkNBaEVSTlVnZE8zYjg2UHo1ODBzQlhGVTdGbkk5SlNmVkwraDB1cGNBakpRa2FhYkZZaG0rWThjT3NXUEhEblR1M0JsNnZSNFBQUEFBbWpWcnBuSzBsY3ZLeXNMMjdkdGhNQmh3OXV6WjBzMnlMTXM3WlZsZTNieDU4OWpFeE1RaUZVTWtJaUkzeEVJQ0VSRTFTTGZjY3N1c0sxZXV2R3V4V0ZoSW9FcVZkQ2xzQnJBNUxDeXNFNERIaEJDUG5UMTd0djNiYjcrTkZTdFc0UDc3NzRkZXI0ZFdxM1dKTGdWWmxtRXltV0F3R0xCbnp4NFVGdHFtRkM3SnNyd1d3S2RKU1VublZBeVJpSWpjSEFzSlJFVGtzclJhclZ6Vi9qNTkrdnhjMmI2TWpJd3Z6cHc1ODBqOVIwVU5WY25KOXo4aUlpSmV6c3JLR2lHRWlDb3NMQndlRnhlbmlZdUxRNmRPbld4ZENzMmJOM2Q2ZkptWm1iYnVnM1BuYkhVQ0NjQU9BS3NEQXdOM3N2dUFpSWhjQVFzSlJFVGtza3dtVTFCbCs3UmFiY2FKRXlmdXlzdkxPMW5KSWJ6VkhWV281R1I4SzRDdE9wMnVveXpMMDRVUWo1MDdkNjdETysrOGc1VXJWMkxnd0lIUTYvWFE2WFNLZGluSXNneWowUWlEd1lCdnYvM1cxbjBnaExnb3kvSWFEdytQVHc4ZE9uUkJzUUNJaUlocWdZVUVJaUp5WlpsQTVaMEpQWHYyL09ubWJTa3BLYjBzRnNzSnBRT2p4c0ZvTko0SDhHSkVSTVFyMmRuWnd3QkVGUllXam95UGo5ZkV4OGVqWThlT0dEdDJMQjU0NEFHMGFOR2kzdDQzUFQwZDI3ZHZ4NlpObTNEKy9QblN6UktBN1VLSTFjSEJ3WEViTm15dzF0c2JFaEVSMVNNV0VvaUlxRUZJUzBzTHpjM04vYVdxWTdSYWJiNno0cUhHcGFSTFlUdUE3WGZlZVdlSEprMmFUSmRsZWNiNTgrZHZlKys5OS9EQkJ4OWd3SUFCME92MUNBOFBoMGFqcWZGN1NKS0V3NGNQdzJBd1lPL2V2U2dxc2swcG5CZENyQ2tzTFB6WDBhTkhMd0tBMFdpc3Q1K05pSWlvdnJHUVFFUkVEVUpoWWFFRlFJSGFjVkRqVjNJeS8vTDQ4ZU5mUFhQbXpGQlpscU9LaW9vZTJMVnJsOGV1WGJ2UW9VTUhqQjA3RnFOSGozYW9TeUU5UFIxYnQyN0ZwazJiY1BIaXhkTE5WZ0RiWkZsZTNhMWJ0d1IySHhBUlVVUENRZ0lSRVRVSUlTRWhLV3JIUU82bDVPUitCNEFkb2FHaHQybzBta2VGRURNdlhyelljY1dLRlZpMWFoVWlJaUtnMSt2UnIxKy9NbDBLa2lUaDBLRkR0dTREcTlWV0p6Z255L0lhRk45NTRUSUFKQ1VsT2Z0SEl5SWlxaE1XRW9pSXFFRklUVTN0VTkyMUQ2cTd5d05SYlIwNWN1UVNnRmZHang4ZmZmcjA2Y0VBb29xS2lrYnYzcjNiWS9mdTNiajExbHN4ZHV4WTNIUFBQVGh3NEFBMmJkcUVTNWN1bFQ3ZGl1S0xPNjd1MnJYckxuWWZFQkZSUThkQ0FoRVJOUWdoSVNGSEFMQlFRS29xS1FMRUFZalQ2WFR0WkZsK0ZNRE1TNWN1ZFY2NWNpVldybHhwZi9oWkFKOElJZjVsTkJwL0F3Q1R5ZVQwbUltSWlPb2JDd2xFUk5RZ3BLYW1ocklqZ1Z4SlNYSGdOUUN2NjNTNlFiSXNSd0VZRG1DbkVHSzEwV2pjamVJN01SQVJFVFVxTENRUUVWR0R3STRFY21HUzBXaE1BSkJRVXN5S05CcU40OVFPaW9pSVNDa3NKQkFSa2F2eUFCQlEraUF0TGUzUGVYbDVKNnQ2Z2xhcnpmRDA5QXl3V0N6TlN6WmxLaGtnTlY0ZE8zYjg2UHo1ODBzQlhGVTdGaUlpSWxmRFFnSVJFYmtrWDEvZmZyMTY5VHBZK3Jobno1NC9PZkk4KytOTUpwTlFJalpxL0c2NTVaWlpWNjVjZWRkaXNiQ1FRRVJFZEJNV0VvaUl5Q1hsNStmL2VGTWhJS2gxNjlhUEJnUUUvT1gwNmRNVEFlUURRT3ZXclovejhmSHBscG1adVNVN08zc1BBSXNxQVZPRFU5MDFOZnIwNmZOelpmc3lNaksrT0hQbXpDUDFIeFVSRVpIcll5R0JpSWhjbVdkZ1lPQ2dGaTFhVEc3V3JKbmVhclZldTM3OStpb0FUVkJTU01qUHp6L2g3KzkvVjNCdzhFWlpsb3N5TXpPM1ptVmxiY2pNekl3RGl3cFVCWlBKRkZUWlBxMVdtM0hpeEltN3FoaW5ZVzRSRVpIYllpR0JpSWhjVm84ZVBiNzE5L2UvS3lzcmEvdTVjK2NlenN6TTNBN0FhbjlNVGs3TzlweWNuTzBBL0lPQ2dzYTBiTmx5YW5CdzhLYkxseTh2dW5MbHlodnFSRTROUkNaUWVXZENSZU0wS1NrcHZhcTdld2dSRVZGangwSUNFUkc1ckhQbnpzMHdtODFYQVdRNWNIaHVSa2JHRnhrWkdWLzQrZm0xejh2TCs1L1M4Vkhqa1phV0ZwcWJtL3RMVmNkb3RkcDhaOFZEUkVUa3lsaElJQ0lpbDJVMm02czhzYXRNWGw3ZTVmcU9oUnEzd3NKQ0M0QUN0ZU1nSWlKcUNGaElJQ0lpSXJjWEVoS1NvbllNUkVSRURRVUxDVVJFUk9UMlVsTlQrMVIzN1lQcTd2SkFSRVRrTGxoSUlDSWlJcmNYRWhKeUJBQUxCVVJFUkE1Z0lZR0lpSWpjWG1wcWFpZzdFb2lJaUJ6RFFnSVJFUkc1UFhZa0VCRVJPWTZGQkNJaUluSkhIZ0FDU2gra3BhWDlPUzh2NzJSVlQ5QnF0Um1lbnA0QkZvdWxlY21tVENVREpDSWljbFVzSkJBUkVaSGI4ZlgxN2RlclY2K0RwWTk3OXV6NWt5UFBzei9PWkRJSkpXSWpJaUp5ZFN3a0VCRVJrZHZKejgvLzhhWkNRRkRyMXEwZkRRZ0krTXZwMDZjbkFzZ0hnTmF0V3ovbjQrUFRMVE16YzB0MmR2WWVBQlpWQWlZaUluSWhMQ1FRRVJHUnUvSU1EQXdjMUtKRmk4bk5talhUVzYzV2E5ZXZYMThGb0FsS0NnbjUrZmtuL1AzOTd3b09EdDRveTNKUlptYm0xcXlzckEyWm1abHhZRkdCaUlqY0ZBc0pSRVJFNUpaNjlPanhyYisvLzExWldWbmJ6NTA3OTNCbVp1WjJBRmI3WTNKeWNyYm41T1JzQitBZkZCUTBwbVhMbGxPRGc0TTNYYjU4ZWRHVksxZmVVQ2R5SWlJaWRiR1FRRVJFUkc3cDNMbHpNOHhtODFVQVdRNGNucHVSa2ZGRlJrYkdGMzUrZnUzejh2TCtwM1I4UkVSRXJvb1hDWEp6M2JwMTh3NEtDZ3F5MzJhMVduOERBQThQajNiMjJ6TXlNakpPblRwbGRtWjgxRGd3ejhqWm1IUGtETXd6Y3FidzhQQUlTWkwyQXZqT1pESkZxQjBQRWJrM2RpUzR1YUNnb0NDcjFYb1pGUlNWU2hkREphU2dvS0JiQVZ4eFduRFVhRERQeU5tWWMrUU16RE1pSW5KWEdyVURJSFVkT25Ub0NvQjlEaHk2ditSWW9ocGpucEd6TWVmSUdaaG5SRVRrcmxoSUlNaXlIT1BBWVJzVkQ0UWFOZVlaT1J0empweUJlVVpFUk82SWhRU0NKRW1HNm82eFdxMmJuQkVMTlY3TU0zSTI1aHc1QS9PTWlJamNFUXNKaENOSGpsd0M4R01WaHh3c09ZYW8xcGhuNUd6TU9YSUc1aGtSRWJrakZoSUlBQ0NFcUxRMXM2cDlSRFhCUENOblk4NlJNekRQaUlqSTNiQ1FRQUNBd3NMQ1NoYzZoWVdGMWJadEVqbUNlVWJPeHB3aloyQ2VFUkdSdTJFaGdRQUFSNDhlUFFNZ3FZSmRwcEo5UkhYR1BDTm5ZODZSTXpEUGlJakkzYkNRUVBZcStrYUZMWmxVMzVobjVHek1PWElHNWhrUkVia05GaExJcHFJNVRvMUd3MFVRMVN2bUdUa2JjNDZjZ1hsR1JFVHVoSVVFc2pFYWpTY0FIQzk5TElSSVBYejRjSnFLSVZFanhEd2paMlBPa1RNd3o0aUl5SjJ3a0VCbHlMSnMrL1pFa2lSK2swS0tZSjZSc3pIbnlCbVlaMFJFNUM1WVNLQ2IyUlkrdkdVVktZaDVSczdHbkNObllKNFJFWkZiWUNHQnlraEtTam9LNERTQVV5YVQ2WmphOFZEanhEd2paMlBPa1RNd3o0aUl5RjE0cWgwQXVSd1pRSXdRUWk3NU81RVNtR2ZrYk13NWNnYm1HUkVSdVFVV0VxZ2NqVVlUVTFSVXhBVVFLWXA1UnM3R25DTm5ZSjRSRVpFN0VHb0gwQmlGaFlYOVZ3aHhsOXB4dUN0WmxoT1RrcElHcUIySE16RFgxT1ZPdVFZdzM5VG1Mdm5HUEZPWHUrUlpReFFlSGg0aFNkSmVBTitaVEtZSXRlTWhJdmZHYXlRb2dBc2dkUWtoSXRTT3dWbVlhK3B5cDF3RG1HOXFjNWQ4WTU2cHkxM3lqSWlJNm9hakRRb3lHbzFxaCtCMmREcWQyaUdvZ3JubWZPNmFhd0R6VFEzdW1HL01NK2R6eHp3aklxTGFZVWNDRVJFUkVSRVJFVG1NaFFRaUlpSWlJaUlpY2hnTENVUkVSRVJFUkVUa01CWVNpSWlJaUlpSWlNaGhMQ1FRRVJFUkVSRVJrY05ZU0NBaUlpSWlJaUlpaDdHUVFFUkVSRVJFUkVRT1l5R0JpSWlJaUlpSWlCekdRZ0lSRVJFUkVSRVJPWXlGQkNJaUlpSWlJaUp5R0FzSlJFUkVSRVJFUk9Rd0ZoS0lpSWlxTVd2V0xIend3UWRxaDBGdVl0KytmZERwZEVoTlRWVTdGQ0lpb2dxeGtFQkVSRlFKV1pZQkFNMmJOMGRRVUZDWmJVUksyYkpsQzdwMjdZcVFrQkMxUXlFaUlxb1FDd2xFUkVRVitQMzMzekZxMUNpc1diTUdWcXNWNmVucGlJNk94cFFwVTlRT2pScXg5UFIwN04rL0h3OCsrS0Rhb1JBUkVWV0toUVFpSXFJS2VIbDVJU29xQ3Rldlg4ZDMzMzJIclZ1M3d0L2ZIOU9tVFlNa1NXcUhSNDNVdG0zYklJVEFpQkVqMUE2RmlJaW9VaXdrdUJpcjFZcC8vL3ZmbURCaEF2cjM3NDhCQXdiZzZhZWZWdlE5NCtMaW9OUHA4TkZISDVYWi92ZS8veDM5Ky9mSHBVdVhISDZ0UllzV1FhZlRPWFRzaFFzWG9OUHBzR1RKa25MN1ltTmpvZFBwOFAzMzN6djgzbFE3RFQzbktzUDhjazBOS2Q4Q0F3TXhldlJvZE96WUVYMzY5SUZHbzhIQWdRTngvLzMzUTZNcC8vSEpuSE1kRFNuUGJyWjE2MWJjZDk5OXRsRWFlOHd4SWlKeUZaNXFCMEIva0dVWkN4WXNRR0ppSXNMRHd6RnMyRERrNWVWaDE2NWQxVDczOHVYTFZlNXYzNzU5cGZ1R0RSdUdqUnMzNHNzdnY4U2tTWk1RR0JpSTQ4ZVBZL2Z1M1pnOWV6WnV2ZlhXR3Y4c2pyanR0dHNRRmhhRzc3NzdEaGFMQlY1ZVhyWjkzRWFPS2dBQUlBQkpSRUZVOGZIeGFOV3FGZTY1NXg1RjNwdUtOZWFjWTM2NW5vYVliNm1wcVZpNWNpWFdybDJMbzBlUFl1SENoZmpxcTY4UUdCaFk3bGptbkd0b2lIbFc2c2lSSXpoNzlpeWVmZmJaQ3Zjeng0aUl5Rld3a09CQ3Rtelpnc1RFUkR6NjZLTjQ0b2tuYk51am9xS3FmZTZvVWFPcTNHODBHcXZjdjJEQkF2ejFyMy9GWjU5OWhubno1bUhGaWhYbzJMRWpwazZkNmxqd3RUUjY5R2k4OU5KTE9IRGdBQ0lpSWdBQW1abVorUEhISHpGNTh1UUt2L1dqK3RQWWM0NzU1Vm9hWXI3ZGNzc3RtRFZyRm5yMzdvM3UzYnNqUFQyOXpNbmJ6Wmh6Nm11SWVWWnE4K2JOYU4yNk5mcjM3MS9wTWN3eElpSnlCU3drdUpDdFc3ZWlSWXNXbUQxN2RwbnRUWm8wcWZhNWI3MzFWcDNldTBlUEh0RHI5Zmo2NjYvUnRXdFgvUFRUVC9qd3d3OGRlbS83YjNEeTgvUExiYXZxRzV4Qmd3YmhqVGZld0s1ZHUyd0xvdDI3ZDhOcXRXTDA2TkcxL0duSVVRMHg1eXI2eHJDeUhHTit1WmFHbUc5dDJyVEJ0R25UYkhIT21UT255dU9aYytwcmlIa0d3TlkxTVhIaXhDcUxBY3d4SWlKeUJTd2t1SkNUSjA5Q3E5WEMwN1BtL3l5bGk0bTZtRHQzTGhJU0VyQjA2VklNR3pZTWQ5OTl0MFBQcStnYkhQdHRWWDJENCtmbmgwR0RCbUhQbmowd204M3c5dmJHenAwN0VSb2FpazZkT3RYOGg2QWFhWWc1VjFHK1ZaWmp6Qy9YMGhEenJhYVljK3BycUhtV2tKQ0Fnb0tDYXUvV3dCd2pJaUpYd0VLQ0M3RllMTFZhK0FCMW0rc3MxYVJKRS9qNStTRTdPeHZlM3Q0T3Y3ZjlOempyMTY5SGNuSnlqYjdWR1QxNk5MWnQyNGJ2di84ZWZmcjB3WkVqUnlxOGtCVFZ2NGFZY3pYOXhwRDU1VG9hWXI3VkJuTk9YUTAxejdaczJRS3RWb3NPSFRwVWV5eHpqSWlJMU1aQ2dndHAzNzQ5VHA0OENWbVdJWVNvMFhQck90Y0pBQjkrK0NHeXM3TXhkZXBVZlA3NTUzand3UWNSR2hwYTdmUHN2OEdKajQ4dnQ2MDZZV0ZoNk5DaEEzYnQyb1dMRnkvQ3g4Y0hnd2NQZHZqNVZIc05NZWRxK28waDg4dDFOTVI4cXczbW5Mb2FZcDZkT1hNR1I0OGV4Y3N2dit4UW5Nd3hJaUpTR3dzSkx1VCsrKy9Idi83MUw4VEV4R0RjdUhHMjdmbjUrZkQxOWEzeXVYV2Q2engrL0RpKy92cHJ6Sm8xQzFPbVRFRkNRZ0plZi8xMWZQSEZGNHBmdUVrSWdkR2pSMlBkdW5XNGNPRUNCZzBhQkQ4L1AwWGZrNHE1UTg0eHYxeUhPK1Fid0p4VFcwUE1zODJiTjhQZjN4K0RCZzF5NkgyWVkwUkVSSTJRVnF1VnRWcXRYRk81dWJseVpHU2tyTlBwNUdlZmZWWmV0MjZkL082Nzc4ckRodyt2OFd2VlJGRlJrVHh4NGtSNStQRGhja0ZCZ1N6THNyeGp4dzVacTlYSy8vNzN2MnYwV24vLys5OXI5Yk5mdVhKRkRnOFBsN1Zhcld3eW1XcjgvRktsdjN1MWM4QlphcHRycFJwRHpqbWl2dkxMbnJ2bEdzQjhxNG42empsM3lqZDN5N1BDd2tKNTBLQkI4cXV2dmxxajkrUC9hKzRuUER3OG91VGZLRkh0V0lpSWVJOGdGK0xuNTRkUFAvMFU0OGVQdDkyN1BDNHVybDR1L2xTVjlldlhJeTB0RFU4ODhZUnRublBZc0dIbzJiTW5QdnJvSTF5L2Z0M2gxNHFPam5hbzlmTm1iZHEwUWVmT25XMzN5Q2JuYUF3NTV3am1sMnR3bDN3RG1ITnFhbWg1dG4vL2ZxU25wMWQ3a2NXYk1jZUlpSWdhbWJwK20rS096cHc1STJ1MVdubnQyclYxZWgxMyt6YUZ1ZWFZK3NvdmUrNldhd0R6clNicU8rZmNLZC9jTGMrZWZQSkplZno0OFRWK0h2OWZjei9zU0NBaVY4S09CSElKNjlldmg1ZVhWNDIva1NGeUJQT0xuSTA1UjQ2NGZ2MDZEaHc0VUtzOFlZNFJFWkdhZUxGRlV0V0tGU3Z3KysrL1kvdjI3Wmd4WXdaYXRteXBka2pVaURDL3lObVljMVFUclZxMXdxRkRoMnIwSE9ZWUVSRzVBaFlTU0ZYZmZQTU5OQm9OcGsyYmhsbXpacWtkRGpVeXpDOXlOdVljS1kwNVJrUkVyb0NGQkZMVi92MzcxUTZCR2pIbUZ6a2JjNDZVeGh3aklpSlh3R3NrRUJFUkVSRVJFWkhEV0VnZ0lpSWlJaUlpSW9leGtFQkVSRVJFUkVSRURtTWhnWWlJaUlpSWlJZ2N4a0lDRVJFUkVSRVJFVG1NaFFRaUlpSWlJaUlpY2hnTENVUkVSRVJFUkVUa01CWVNpSWlJaUlpSWlNaGhubW9IMEpqcGREcTFReUEzd1Z3aloySytrVE13ejRpSWlGd1hPeElVSU10eW90b3h1RE4zK3YyNzA4L3FpdHp0OSs5dVA2K3JjWmZmdjd2OG5LNkt2MzhpSW5LRVVEc0FjajFhclZZR0FKUEp4UHdneFREUHlObVljK1FNekROU1NuaDRlSVFrU1hzQmZHY3ltU0xVam9lSTNCczdFb2lJaUlpSWlJaklZU3drRUJFUkVSRVJFWkhEV0VnZ0lpSWlJaUlpSW9leGtFQkVSRVJFUkVSRURtTWhnWWlJaUlpSWlJZ2N4a0lDRVJFUkVSRVJFVG1NaFFRaUlpSWlJaUlpY2hnTENVUkVSRVJFUkVUa01CWVNpSWlJaUlpSWlNaGhubW9IUUVSRVJFUkVaWVdGaFQwTTRGMGhSQ3RabHE5YnJWWXZJUVJrV2U0ZkZoWjJSUWpSREVBK2dGOU5KbE0vQUxLNkVST1JPMkVoZ1lpSWlJakl4V2cwbXQyeUxMY0JBQ0ZFbTlMdFFnZ3ZBS1dQZlFEc0I0c0lST1JrSEcwZ0lpSWlJbkl4UnFQeGR3RDdxanRPQ0JIamhIQ0lpTXBnUndJUkVSRlJMZlR2Mzk4M1B6Ky9UVVg3K3ZidDI5bitzYSt2NzlXREJ3L21PeVV3YWpTRUVQK1JaZmt2VlJ4eXhXZzBIbkJhUUVSRUpWaEljSE9ob2FHM2VuaDQvSzJpZlZxdDlsMzd4MWFyZGZtUkkwY3VPU2N5YWt5NmRldm1IUlFVRkdTL3pXcTFBZ0Q2OWV2WDFuNTdSa1pHeHFsVHA4eE9ESThhb2Y3OSs3Y3dtODMzVkxSUHE5VStZUC9ZMjl2N3dNR0RCOU9kRXhrMUpwSWtCV28wbXRPb29NTlRvOUdjc1Q4ME56ZTNIWXJuMllscVloT0FsUUJFUlR0bFdkNEVRSEpxUkVSRVlDSEI3UVVGQlYzTnpzNmVCS0JWQmJ1ZnN2djd0YUNnb09lY0ZCWTFNa0ZCUVVGV3EvVXlLbGdJV2EzVzMrd2VTa0ZCUWJjQ3VPSzA0S2hSMG1nMGhRQTJvSGgrK0diYjdQNWVvTkZvV2pzbkttcHMvdnZmLzE0TkN3dmJKNFNJcU9iUTc0NGVQWHJOR1RGUjQySTBHbjhMQ3dzN0lJUzR0NUpET05aQVJLcmdOUkxjWEdKaVloR0txOTNWMlZSeUxGR05IVHAwNkFvY21QTUVzTC9rV0tJNitlR0hIM0lBeERsd2FGekpzVVMxNHVCOE9rLzJxTmFxeUxIL05Xdlc3RHVuQmtORVZJS0ZCSEpvRWFUUmFMZ0lvanFSWmRtUkhOcW9lQ0RrVG5pQ1I0cXpXcTNWRnVOTDJzK0pha1dXWlVNbHU3YndTeDRpVWdzTENRUUFld0ZrVkxFL1E1YmxSQ2ZGUW8yVUpFbVZMWVJzSEZtUUV6bEtrcVR0QUFxck9LU3c1QmlpV2l1NWR0REJLZzQ1a0pTVWRObFo4VkRqazVTVWRBN0E0WnUzODBzZUlsSVRDd2tFbzlGWUtNdnkxaW9PMldJMEdxdGFqQk5WcTJTeC9XTVZoeHpreFR5cFBpVW5KMmNDMkYzRklidExqaUdxazZvNit4enN4aUtxVWdVNWxwMlptYmxIbFdDSWlNQkNBcFdvWnJ5Qml5Q3FGMVhsR2UrRFRVcW82aVNPSjNoVVh3b0xDeXZ0dUtxaUxaM0lZVmFyOWViL3I3YnhEa2RFcENZV0VnZ0FFQmdZdUF2QWpRcDI1V1JuWis5eWRqelVPQlVXRmxaNjRsYlZRcHlvdGpRYXpSWUExZ3AyV1V2MkVkWFowYU5IendBd1ZiRExtSnljZk5iSjRWQWpsSnljZkJMQXIzYWJXQWdsSWxXeGtFQUFnTVRFeEFJQTVXYUZoUkRiV2ZHbStsS3kyRTZxWUplcFpCOVJ2VElhamI4RHFPaXE1dCtWN0NPcUwrVk83TmhwUmZVc3VmUXZRb2g0TlFNaEltSWhnV3dxYXZPVkpJbUxJS3B2RmVVVTg0d1VVOUhKSEUvd3FMNVZkT0c3b3FJaTVoblZHNDFHOHpZQUNDRytOUnFOZVdySFEwVHVqWVVFc3JGYXJUc0I1TnR0eXJkYXJZN2NoNTNJWVJXZHdQSEswNlN3VFFCa3U4ZHl5VGFpZW5QNDhPRTBJVVNxM2FhVUkwZU8vS0phUU5Ub0hENTgrSUFRNGhkSmtqNVJPeFlpSXFGMkFPUmF0RnF0QWNEWWtvY0drOGtVcVdZODFEaHB0ZHBVQUwwQlFBaVJhalFhKzZnY0VqVnlZV0ZoM3dzaDdnVUFXWlovU0VwSytyUGFNVkhqRXhZVzlwSVE0aDhsRDE4eW1Vd3ZxaG1QT3dnSkNmSHk5dlpPQnRCTDdWakl0UWdodmpJYWpaUFVqb09vc1dKSEF0M005czB3VzM5SktmWmpOQnlmSVdldy8vK00vN2VSVXBobnp1ZnI2enNJTENKUUJXUlpucWgyREVTTm1hZmFBWkJyRVVKc2wyVmJCM0NzbXJGUW94WURZQW5BeFRZNWh5ekxCaUhFMjZWL1Z6c2VhcHhNSnRNeHJWWjdHWUJzTkJwVDFJN0hIVml0MW9lRUVKZ3padzRlZSt3eHRjTWhGN0JvMFNJa0pDUkFDUEdjMnJFUU5XYnNTS0F5akVaamxpekxPd0RFR28zR0xMWGpvY1lwS1NucEtJRGZBRncybVV6SDFJNkhHcitrcEtSekFBNERPRlR5ZHlJbHlMSXNmeTdMOHVjb2UxME9Va0JJU0lpWEVPSkJBQmcwYUpEYTRaQUxNSnZOMkw5L1B3QkFrcVNOS29kRDFLaXhJNEVxRWdNdWdFaFpNb0QxUWdnWnpEVnlFaUZFakNSSnpMZEdRS3ZWM2duZ0J3Qk4xWTZsTWxxdGRwSGFNZFFIV1pZVGs1S1NCcWdkUjBWOGZYMEhTWkxVdkVlUEh1alVxWlBhNFpBTCtPR0hINUNmbnc4QS8yWFJtRWhaTENTb1NLdlZMZ0N3VE8wNEtxUFZhajlWTzRhNmttVjVjRkpTMG02MTQxQ1RLeSs0WlZtR1ZxdGRxSFljOVNUVDA5T3oyMDgvL2ZRL3RRTlJrNnZubXhBQ1dxMzJkYlZqcVErdWZJTG5CTlBnZ2puV0dBa2hJdFNPb1RLbFl3Mk9kaVBrNWVYQno4K3YwdjJTSk1Gc05zUFgxN2UrUW5ScDE2NWR3KzdkdXhFU0VvTFEwTkF5KzJSWnhvWU5HM0QzM1hjM3FDTE5ybDI3QUFCQ2lBMHFoMExVNkxHUW9CNEI0QW0xZzJqc2hCQi9CdURXaFFSd3dlMHN6YTFXYTNNQWJsMUlBUFBOYVZ6NUJFOWhHaUhFZUZtVzhkbG5uNkZQSDk3MFJRbHZ2ZlVXdnZ6eVN3QjRSKzFZS2xLYnNZYTVjK2ZpM252dnhZd1pNOHJ0S3lvcXdyeDU4M0RpeEFuRXhzWldXWEM0V1hKeU1oNTc3REdzVzdjT2Q5eHhoOFBQcThxVksxY3dhdFFvN04yN0Z5a3BLWGpwcFpld2MrZE9BTUR4NDhmeDBVY2Y0ZlhYWDdmRldWUlVoQnMzYmxUN3VzMmJON2Y5L1lNUFBzRGh3NGV4ZnYzNmNzY2xKaWJpd3c4L3hJZ1JJNnA5emVYTGw2TnAwNlo0L1BISHkrMkxqNC9INnRXcjhjNDc3NkJqeDQ3VnZsWmRjS3lCeUxsWVNGQ0pWcXU5RzhCdGJkcTBRV3hzTElUZ25UanJTMlptSmdZUEhneEprcXllbnA0cjFJNUhaVnh3S3l3eE1SSHo1ODhIZ0NTajBYaGE3WGhVeG54ekFsYy93Vk5hV0ZqWTNiSXNkMmpidGkxQ1FrTFVEcWRSa2lRSnUzY1gxK0JsV1hiSmIzWnJPdFpndFZxUmxwYUdxVk9uVnJodjZkS2xTRWxKUVpjdVhmRENDeS9nelRmZmhFWlQvbEppeTVZdHc5Q2hROUczYjk5cTN6TTVPUm54OGZGWXVMRG1qWGU3ZCs5RzkrN2QwYlJwVSt6ZXZSdGhZV0cyZmUzYXRjTXZ2L3lDQlFzVzRQMzMzNGRHbzhIQmd3Zng5Tk5QVi91NlJxTVJBUERmLy80WHNiR3g4UER3d09qUm84c2NFeFVWaGMyYk55TTNOeGZEaGcwcjl4b2JOMjVFMjdadEFRQVhMMTdFaGcwYnNIRGhRcHc5ZTdiTWNlM2J0OGZISDM4TUx5OHZTSkpVWm4vTGxpMFJFQkRnNksvRElSeHJJSEl1RmhKVVVycllIang0TUlzSTlXenYzcjJRSkFrQTlyaDdtemtYM01wakcrVWZtRy9LYXdnbmVFb1RRb3dIaXIrRjV1ZW5NbzRkTzRacjE2NUJDSEhSWkRMOVYrMTRLbEtUc1liYzNGeWNQSGtTWnJNWlhicDBRVTVPRGdBZ0lDQUF1Ym01V0xSb0VZNGNPWUtWSzFlaVk4ZU9tRFJwRXA1NzdqbEVSMGZEMjl1N3pHdDk4ODAzNk5xMXEwT0ZoRk9uVHVHYmI3NnBWU0ZoejU0OUNBc0xneVJKU0V4TXhPelpzMjM3Z29LQzhPcXJyMkwyN05sNDU1MTNNSC8rZlBUdjN4OTc5dXh4NkxVdlhMaUE1NTkvSHErODhncjY5ZXVIQ1JNbTRKbG5uc0hJa1NNQkFHKy8vVFlBNE1DQkEzai8vZmR4OWVwVnZQTEtLL0R5OGlyM1dtKysrU2FzVml0ZWUrMjFjdnVtVFp1R2MrZUt6K2NqSXlQTDdGdXdZQUVtVEpqZzJDL0RRZnc4Sm5JdUZoTFVJV1JadGkyRXFIN3hnK1FQWEhBcnkyS3hZTisrZlFEYzk2VE9Idk5OZVEzaEJFOWhHdnRDUENuanBtS1ZwRzQwNWRWMHJHSFVxRkhJeWlxK0VaVmVyN2R0WDdkdUhSWXZYZ3doQk5hdFc0Y3VYYm9BQUZhdFdvV29xQ2hNbkRnUlM1Y3VMWGY5QUtWZHUzWU54NDRkd3lPUFBBS2owWWlNakl3eUhRa0FvTlBwTUd2V0xBUUZCUUVBUEQwOXk0d3RWTVppc2VEeHh4L0g2TkdqYmQwRzgrZlB4L3IxNnpGOCtIQm9OQm9VRkJSZzhlTEZhTktrQ1I1Ly9ISE1uajBiKy9idEsvZTdqb21Kd1lFREIvRHBwNS9pd29VTE9IandJRjU2NlNWNGVucmlsMTkrd2RTcFV6RnUzRGdzV3JRSVM1Y3VSYTlldmZEd3d3L1gwMitwTEk0MUVEa2ZDd2txc0I5cllPdHYvY3JNek1TaFE0Y0F3T3JoNGJGSjdYaFV4Z1czd2c0Y09JQzh2RHdBU0RLWlRLZlVqa2RsekRjbmNQVVRQS1d4NjBWNWtpVFp2dGwyMVFKcFRjY2F2djMyVzh5Wk13ZTlldlhDdkhuellMRllzR3paTWt5ZlBoMkRCZzFDUWtJQ3hvMGJWK1k1WGJ0MlJkdTJiVEY5K25TTUdUTUdTNVlzVWVySEthZDE2OVk0ZlBpdzdYSHBPTUxOS3JyV1EzVzh2THp3K3V1dm8wK2ZQcmp2dnZ0czJ5Vkp3b0FCZjF5N05UNCt2c3krZi83em4ralRwNDl0cE9IQWdRTjQ0NDAzOE9TVFR5STBOQlR0MjdmSG1qVnJzR0xGQ2t5ZlBoM1BQZmNjZ29PRFMwZi84TkJERDJIMjdObm8xNjhmdW5idFd1TzRxOE94QmlMbll5RkJCUnhyVUE3SEd2N0FCYmZ5U2svcTJQM0NmSE9HaG5DQ3B6UjJ2U2p2MkxGanVIcjFxa3QzdmRUMGJnMlptWms0ZlBnd0prK2VESjFPQjZQUmlFNmRPbUg1OHVXSWlJaW9zRWpnNGVFQmIyOXZmUC85OTJqUm9rVjkvd2kxbHArZmo2dFhyOW9lZCs3Y0dkdTJiY09MTDc3bzhHdVVGaVp1M0xpQm1KZ1lkTzdjdWNyakxSWUwrdmZ2WDdxK0FnQzBiZHNXVHp6eEJCNTU1QkdrcGFWaDd0eTVXTGx5SllLRGczSGp4ZzMwNjljUGp6Lyt1RzBjb2wyN2R2akxYLzZpU0JFQllEY3FrUnBZU0hBK0RjY2FsRlA2UVNMTDhqY3FoNkk2THJpVlpiRlk4TjEzM3dGdzM1TTZlOHczNVRXRUV6eUZzZXZGQ1Z5OTY2VmtyR0VNNFBnNktqNCtIcDA3ZDBhUEhqMXMyNlpNbVFLZFRsZnVXS1BSQ0t2VkNnOFBEMXk1Y2dXTEZ5KzIvVjlmS2pvNkd0SFIwZVdlTzIzYXRKcjhLTFdTbEpTRWVmUG0yUjRialVZTUdEREFkcmVJek14TVJFVkY0YUdISGlyWFpWR1J1WFBud3RPejZ0TUJXWmJMYlFzT0RrWndjREJrV2NZYmI3eUJpSWdJOU96WkV3RFFva1dMY3NXWjdPeHN4TVhGNGRWWFg2MDJwcG9xS0NqZ1dBT1JDbGhJY0RLdFZuc1hPTmFnQ1B1eGhpWk5tbXhXT3g2VmNjR3RNSTQxbE1GOGN3SlhQOEZUR3J0ZWxOY1F1bDU4Zkh3R3k3TGNySHYzN2c2Tk5RQ0F3V0RBcUZHakt0ejM3YmZmb21uVHByaHg0d1lHRGh5SW5Kd2NSRVJFd0dnMFFwS2tjcmRVakltSktmY2FKMDZjd09MRml4RWRIVjJtV0pHUWtJQ1BQLzY0Qmo5ZDllNjU1eDRZalVhY1BYdldkZ0hEcGsyYm9tblQ0cnZ1ZnZEQkIvRHo4ME5VVkJRQ0F3Tng5ZXBWK1B2NzIvYmY3SU1QUG5DNEk2RWlYMzMxRlpLVGsvSHl5eTlYV0ppNVdla3g4K2ZQeDZSSms2bzkzaEdsWXcyeUxQL0VzUVlpNTJFaHdjazQxcUFjampYOGdRdHU1WEdzNFEvTU4rVTFoQk04cGJIclJYa05vZXRGa3FUeFFvZ2FGUzFQblRxRmQ5OTlGKysrK3k2QTRwUFowcnNNYURRYWVIaDRWSGlyeDRwVWROS2RtWmtKb0xoOTMzNS9WRlFVb3FLaUhJNnpyakl5TXZEMTExOWp4b3daQ0F3TUJGQjhkNFRXclZ0aitmTGxGVDVuOXV6WnRlcElBSUNVbEJTOC8vNzdBSW92OWxoYVpDa29LSUNQajArWll5OWR1b1FubjN6U2RreDlqb3VVZmg1ck5CcTM3MFlsY2lZV0VweUxZdzBLNGxqREg3amdWaGJIR3NwaXZpbXZJWnpnS1l4ZEwwN2c2bDB2dFJsckFJbzdBNERpRSswSkV5WWdJU0VCQVFFQkFJRFJvMGREQ0ZIcHliSzlwS1FrN055NUU4OC8vN3pENy8zYWE2OWg1TWlSVHJuenc4Y2ZmNHlnb0NCTW5EalJ0bTN4NHNXWU1tVUt2djc2Nndydm1QRFJSeC9WcWlQaHdvVUxlUGJaWnhFV0ZvYWZmdm9KUUhHUlpkZXVYVmkrZkRuV3IxK1BObTNhbEh1dDZ0NnJwampXUUtRZUZoS2NpR01OeXVGWVF4bGNjQ3VNWXcxbE1OK2N3TlZQOEpUR3JoZmxOWVN1bDlxTU5RQkF5NVl0SzMyOGRldFdCQVFFMkVZYXFuTDY5R25FeE1UVXFKQVFFeE9EM3IxN0sxNUlTRWxKUVV4TURONSsrMjAwYWRJRXVibTV5TW5KQVFEY2Q5OTllTys5OXlxOFk4SzBhZE1jN3Nhd3Qzbnpadmo1K2VIRkYxL0VpQkVqYk52dnZ2dHVBTUNpUll1d1pzMmFXcjEyVFhDc2dVZzlMQ1E0MTBOQS9YOXJsNWVYQno4L3YwcjNTNUlFczlrTVgxL2ZlbnRQVjVPWW1GZzYxckNiWXcxY2NDdU5ZdzEvWUw0cHJ5R2M0Q2xOQ0tISTUyY3BmbzRXbjRpVzNBM2dRbEpTa2t0MnZkUm1yS0VpeWNuSkRuVWdOQlFXaXdYUFBQTU1KRW5Da2lWTGtKdWJhN3ZEZ3BlWEZ3SUNBdURsNVlVbFM1Ymc4ODgvdDQweXZQWFdXN2pycnJ0dzVjb1Z6SjgvSDVzMmxiOXJ0bDZ2eDN2dnZZZlRwMCtYR1VkNDZLR0hNR2JNR0Z0blI2bkF3RUE4Ly96em1EOS9Qcjc0NGd0TW5qeFp3WitjWXcxRWFtSWh3WGswQU1ZQnFQZHY3ZWJPbll0Nzc3MjN3dnNKRnhVVllkNjhlVGh4NGdSaVkyT3JYQ2pkTERrNUdZODk5aGpXclZ0bnV4cXdxeXB0VzNUWFJiWTlKUmZjWEd4enJPRm16RGZsTllRVFBJVnBoQkRqbE94NjRlZm9IK09CQURiQ0JidGVhanZXQUJSZkorQzMzMzdENWN1WEFRRFBQLzg4NXN5WkF3QVlPWEtrdzZNTnJ1VFhYMzhGVUh3THg2Wk5tK0twcDU0Q0FMUnExUXBCUVVGbzNydzVtalZyQm05dmJ3REF5Wk1uOGRGSEh5RXJLd3REaGd5cDhEVXJ1MWppbURGanlqeGV0bXlaN2QrZ3BEdXZqSWlJQ0R6NjZLTzQ5OTU3YS9mRE9ZaGpEVVRxVXJiZmlHeVVHbXV3V3ExSVMwdER0MjdkS3R5M2RPbFNwS1NrNExiYmJzTUxMN3hRNWg3QTlwWXRXNGJrNUdTSDNqTTVPUm5MbGkyclU5ejFpV01OWldpRUVJb1VySURpeGZhYU5Xc3EzRmRVVklTNWMrZGl4SWdSRlM0c3FwS2NuQXlkVG9kang0N1ZSNWlLNGxoREdjdzNKM0QxRXp5bEtkMzF3cy9SaHRIMTR1UGpNeGhBamNjYUFPREpKNS9FeXBVcjhlV1hYd0lBZHV6WWdRY2VlQUFBRUJzYmkrKysrdzZ4c2JFQWdJQ0FBQnc4ZUxCZVk2OVBraVJoelpvMVdMcDBLUVlPSEloSmt5WmgwNlpOME9sMEdENThPTzYrKzI3MDZORURyVnUzdGhVUkFLQjc5KzVZdm53NWZIMTlzWC8vZmh3OGVCQUhEeDVFZkh3OGJydnROdWoxZXRzMit6OEE4UFhYWDVmWk5uRGd3R3JqZk9LSkp4QWNIS3pZN3dIZ1dBT1IydGlSNER6MS9xMWRibTR1VHA0OENiUFpqQzVkdXRobTRRSUNBcENibTR0Rml4Ymh5SkVqV0xseUpUcDI3SWhKa3liaHVlZWVRM1IwZEprUEZ3RDQ1cHR2MExWclYvVHQyN2ZhOXoxMTZoUysrZVliTEZ5NHNGNStqcnJpV01NZmxGeHdseTYycDA2ZFd1Ryswc1YybHk1ZDhNSUxMK0ROTjkrc2NEWnkyYkpsR0RwMHFFTzVscHljalBqNGVKZkpOWUJqRGZhWWI4cHJDQ2Q0U2xPeTY0V2ZvOFVhUXRkTDZWaERiUzVXM2FGREJ3REZCY2lieWJJTVNaS1FuWjBORHc4UEZCVVY0ZFNwVS9EMzk0ZlJhS3l3QTZXeWIrNm5UWnRXNDlocTZ1elpzL2pzczgvdy92dnZJeXdzRE51MmJjUG5uMytPVjE1NUJRRGc0ZUVCVDA5UDJ4OFBEdzlZTEJhWXpXWVVGaGJDeThzTE8zZnVSSHA2T3ZidDI0ZC8vL3ZmOFBmM3g5eTVjK0hsNVZYaGV6WnAwcVRTZlZVNWRlb1V6R1l6Zkh4ODhNTVBQNVFiZzZncnU3RUd0L3kva1VodExDUTRoeUpqRGFOR2pVSldWaGFBNGhtMlV1dldyY1BpeFlzaGhNQzZkZXZRcFVzWEFNQ3FWYXNRRlJXRmlSTW5ZdW5TcFU2NWdyQXpjS3poRDBvdHVMbllMc2F4aHJLWWI4cHJDQ2Q0Q3JPTk5TaHh0eU4ramhZclBTR0RpM2E5Mkk4MTFIZjNVMFpHQmdZT0hBZ2hCRWFNR0FHTlJvTlpzMlloTHk4UFhsNWVlT3l4eDJ6SERoMDZGT0hoNFRWNi9jakl5SHFOTnpnNEdQLzV6My9Rdm4xN0FNVTVQR3JVS0dSblorUDMzMzlIVVZFUkpFbUMxV3ExaldzSUlTQ0VnRWFqZ2ErdkwvejkvVEY5K25SWUxCYU1IVHNXanp6eWlDSWpZbnYyN01IcTFhc0JBTjdlM3JaeGt2cHcwMWlEMjM4ZUU2bUJoUVFuQ0FzTHV4c0tqRFY4KysyM21ETm5EbnIxNm9WNTgrYkJZckZnMmJKbG1ENTlPZ1lOR29TRWhBU01HemV1ekhPNmR1Mkt0bTNiWXZyMDZSZ3paZ3lXTEZsU2IvRllyVlo4OWRWWDJMWnRHODZmUHc4Zkh4K0Vob2JhN3R1c0JMdXhoaUtPTlNpMzRPWml1OWpCZ3djNTF2QUg1cHNUdVBvSm50THN1MTZVdU5zUlAwZUx1MTV1dWl1SXk2bnQzUnB1MXJ4NWM2eGZ2OTcyK0p0dnZzRnR0OTJHUTRjT1FaWmxXMWZUL3YzN0lVbVM3UVM4VkVCQVFJMi9WVGNhamJXT3R6S2xSUVI3Z1lHQkNBd01kUGcxdnZqaUM0ZUtCOVhGNyt2cmkyM2J0cUZWcTFibDlzMmFOUXV6WnMyQ0pFbjFmdmNHampVUXFZK0ZCQ2RRNmg3cm1abVpPSHo0TUNaUG5neWRUZ2VqMFloT25UcGgrZkxsaUlpSXFIQng0K0hoQVc5dmIzei8vZmRscnI1YlY3SXNZOEdDQlVoTVRFUjRlRGlHRFJ1R3ZMdzgrOWxlUmRpTk5lemhXSU55QzI0dXRvdVY1alBIR3BodnpzaTNobkNDcHpTbDc5YkF6OUdHMGZWU2w3RUdleDRlSHVqZHU3ZnRzZjJ0RUcvT0w2VnZXNmkyK3VwQUVFSlVXTml3cDhUdmttTU5ST3BqSVVGNWl0MnRJVDQrSHAwN2QwYVBIajFzMjZaTW1WTGg3SjdSYUlUVmFvV0hod2V1WExtQ3hZc1gyMXEwUzBWSFJ5TTZPcnJjY3gyWitkdXlaUXNTRXhQeDZLT1A0b2tubnJCdGo0cUtxc0ZQVkhNY2EvaURrZ3R1THJZNTFuQXo1cHV5K1FZMGpCTThoU2s2MWdEd2N4UncvYTZYYnQyNmVTczExa0FOVTBGQkFmYnQyd2NBc0ZxdHZGc0RrVXBZU0ZDWVVtTU5BR0F3R0RCcTFLZ0s5MzM3N2JkbzJyUXBidHk0Z1lFREJ5SW5Kd2NSRVJFd0dvMlFKQWszYnR3b2MzeE1URXk1MXpoeDRnUVdMMTZNNk9qb01vdXNoSVFFZlB6eHgyV08zYnAxSzFxMGFJSFpzMmVYMmQ2a1NaUGEvbmpWNGxoREdZb3V1TG5ZNWxqRFRaaHZDdWNiNFBvbmVFb3I3WHBSNHZPemxMdC9qdHAzdlFENFJyRTNxb05telpvTnFvK3hCbW84ZnZqaEJ4UVVGRUNXNVorU2s1UFBxaDBQa2J0aUlVRmhTbzAxQU1VWEJudjMzWGR0N2JVNm5RNnZ2ZllhZ09JMk1nOFBENGZieVRwMzdseHVXMlptSmdDZ1hidDJaZlpIUlVXVlcwU2ZQSGtTV3EwV25wN09TeW1PTmZ4QjZRVzN1eSsyZ1RKakRTNjUySFltNXB2eStkWVFUdkNVVnRyMU1uandZRVhHR2dCK2p0cDN2WmhNSnBmc2VxbXZzUVlBeU12THEvQXVESGJ2QmJQWnJNaUZCNnRTV0ZnSXM5bU1wazJiT3ZWOUd5cU9OUkM1QmhZU2xLVVJRb3hYNmx1NzByYitqSXdNVEpnd0FRa0pDYmFMQUkwZVBScENDTnNWZTZ1U2xKU0VuVHQzNHZubm4zZjR2Vjk3N1RXTUhEblNkbEV6aThYaTFNVVA4TWVKblN6TGJybkl0cWYwZ3R2ZEY5djJZdzBBM0g3aHdueFRYa000d1ZPWTRtTU5BRDlIYitwNnFmNEhkYkw2SG11WU8zY3U3cjMzWHN3OHVEdFJBQUFnQUVsRVFWU1lNYVBjdnFLaUlzeWJOdzhuVHB4QWJHeHNsUVVIb0xqbzhQcnJyNk4xNjlZVnZsNU43TnExQy8vNHh6OWdNQmpRc1dQSGFvKy9ldlVxL1B6OGJMa3FTUkt1WDc5ZTdmUGF0R2xUcHpodmR2cjBhVHowMEVQNDZLT1BrSnViaS9uejV5TTJOaFp0MjdhdDEvZXh4N0VHSXRmQlFvS0NsUDdXcm1YTGxwVSszcnAxS3dJQ0FtemYxbFhsOU9uVGlJbUpxZEVDS0NZbUJyMTc5N1l0Z05xM2I0K1RKMDlDbG1YRnZqbXlsNW1aaVo5Kytna0Fpbng4ZkRqV29QQ0MyOTBYMi9aakRVYWo4YlJUMzl6MU1OK2N3TlZQOEpUV3QyL2ZQeWs5MWdDNDkrZG9RK2g2cWMreEJxdlZpclMwTkV5ZE9yWENmVXVYTGtWS1NncTZkT21DRjE1NEFXKysrV2FWQlV1TlJvT3dzREFzWGJvVVRaczJ4Y01QUCt4UUhLVzNzN1czY2VORzlPN2RHMEZCUVJYdXR4Y1FFSUFGQ3hiQXg4Y0hIM3p3QVR3OVBaR2RuWTBSSTBaVSs5Nk8zRUVpTGk0T2l4Y3Z4anZ2dklPLy9PVXZWUjZibEpTRW9LQWc2SFE2dlBmZWV3Z0pDVkcwaUFCd3JJSElsYkNRb0NEN3NRWm5YUDAzT1RuWm9jVzFFdTYvLzM3ODYxLy9Ra3hNVEptcnFlZm41eXZTSW1nLzFuRHc0TUgwZW4rREJzUVpDMjUzWG13RGY1elVjYXlCK2VZTURlRUVUMmthaldZOG9PeFlRMFhjNlhPMElYUzkxTmRZUTI1dUxrNmVQQW16Mll3dVhicllUdFlEQWdLUW01dUxSWXNXNGNpUkkxaTVjaVU2ZHV5SVNaTW00Ym5ubmtOMGREUzh2YjByZmQzaHc0Y2pKeWNIYjczMUZzTER3OUd0VzdjcTQ3QmFyVlgrdjFYZC8ybEFjVEhnMVZkZnhXT1BQWWEzM25vTEN4Y3V0TzNiczJjUG1qZHZYdTQ1WjgrZVJXUmtaTFd2RGNCV09IVmtmTXRrTWlFaUlnSWFqUVltazBuUjdxRlNIR3NnY2gwc0pDaEgwYkVHQUZpd1lBRisrKzAzWEw1OEdRRHcvUFBQWTg2Y09RQ0FrU05IT3Z5dFhYMllQbjA2RWhNVDhmcnJyK1Bnd1lPNDg4NDdrWm1aaWZqNGVPellzYVBlMzQ5akRYOVFZOEh0VG90dGk4V0N4TVRFMG9kdXYzQmh2aFZUS3QrQWhuR0NwekNuakRVQTd2MDU2dXBkTC9VNTFqQnExQ2hrWldVQkFQUjZ2VzM3dW5YcnNIanhZZ2doc0c3ZE9uVHAwZ1VBc0dyVktrUkZSV0hpeElsWXVuU3ByYkJZa1ljZWVnaDc5KzVGZEhRMDFxNWRXMlVjSGg0ZXRvNHJvSGljWXViTW1lalVxUk5lZlBGRmgzK2VEaDA2WU1XS0ZUaDM3cHpEejNGVWFTSEJrVTZzcEtRa0xGMjZGSGw1ZVVoTFM4UHJyNzllNy9IWTQxZ0RrV3RoSVVFaHpyamE5Sk5QUG9tQWdBQVVGQlJneElnUnRvWEcwcVZMRVJzYlcrWmJ1NENBQUJ3OGVGQ1JPQURBejg4UG4zNzZLVmF0V29XOWUvZGkzNzU5dU9XV1d6Qmd3SUI2ZnkrT05aVHgvK3pkZTFpVWRmNy84ZGNOQ0NZS2twckhrb0pOTzFrTWRqQjFKUTlsbXFkdm1tYWFibW9lV0RPdk5tdHJ5N0xTTE52VXl1eW5iUjYrbWNlMU5MTzBVcitHWmdtWXFadEZhcWFtcFhMUVFZRmhQcjgvbEZsUURvTXkzQXc4SDlmRkpUUDNQZmY5bXZIV21mczluL2ZuTHBjUDNGWDV3elp0RFFWd3ZQbjRlSk1xL2dtZXI1VlhXNE5VZGQ5SC9XSFVTMTViUTNSMDlFVzNOWHo1NVpjYU5XcVVycm5tR28wZVBWcloyZG1hUEhteUhucm9JWFhzMkZGcjFxd3BVQ2lVcEtpb0tEVm8wRUFQUGZTUWV2YnNXZWhsWi9NRUJnWnEyN1p0V3JkdVhZbC9YL2xIV0wzMzNuczZldlNvM25ycnJmTkdZcFhrNnF1dkxqQlpySFNtOEhteFNsTklXTDE2dGVmM3M1L0xmQ3F2clVIU3Q3UTFBUGFqa09BaithK3g3cXUyaGlaTm1rZzZVOUUrbHpGR2JyZGJHUmtaQ2d3TWxNdmxVa3BLaWtKRFE1V1ltRmpvSkVLRlhWcE44dTRTYVpJVUZoYW1KNTU0b3NBd08xL0kxOWJ3T1cwTjVmT0J1NnArMkpab2E4aVA0ODMzeDVzL25PRDVXdDZvRjE5YzdlaGNWZlY5ZE9mT25SVisxRXRlVzBOWlRMS1lscGFtclZ1M2F1REFnWXFOalZWaVlxS2FObTJxVjE5OVZYRnhjWVVXQ1FJREF4VVNFcUt2dnZwS2wxNTZhWkhienN6TVZHSmlvaUlpSXZUT08rOG9MaTdPcStQMnUrKyswOHlaTStWeXVkU3paODhTMTgrYjMrQ1hYMzd4RkZJYk4yNWNvQVZoMGFKRm52bGs4anR3NElEWGw2d05EQXlVNUYwaG9ienhmZ3hVTEJYdmY0bktvZHlHWlJZbE5UVlY3ZHUzbDJWWjZ0S2xpd0lDQWpSOCtIQmxabVlxT0RoWVE0WU04YXg3MTExM3FXWExscVhhdnJlOWRyNlFyNjJCWWVibDlJRzdxbjdZNW1vTkJYRzgrZlo0ay96akJNL0hQTytmWlhFQ2VUR3F3dnVvS3Vpb2w3SytXc05ubjMybXlNaklBdC9nUC9qZ2c0WCszNUNZbUtqYzNGd0ZCZ2JxOE9IRGV2cnBwL08vRDV4bnpabzFjcmxjbWp4NXNrYU1HS0VOR3phVU9OZkJ3WU1ITlc3Y09MbGNMazJmUGwyTkd6Y3VkdDFISG5uRWM3dGZ2MzdLenM2V2RHWk9sOGpJU0xuZGJqM3p6RE82OU5KTEM1M2JvRW1USm5ybW1XZThhc2txelJ3SjVZbTJCcURpb1pEZ0ErWFIxcEJmN2RxMU5YLytmTS90eFlzWDYvTExMOWUzMzM0clk0eG5STVRHalJ2bGRydGxXVmFCazRCYXRXb1ZXc0V1ampjei8vb0NiUTBGVklnUDNKWDV3L2Jtelp2bGREb2wyaG9ranJkeVVkRlA4SHl0UE5zYThxdEs3NlArTU9xbExOc2FKT25mLy82M3VuWHJWdWl5TDcvOFVqVnIxdFRKa3lmVnZuMTd6MmlueE1SRXVkMXVuVHg1c3RodEwxdTJUTGZlZXF0aVkyUFZybDA3elo0OVcrM2F0U3V5Mkhya3lCSEZ4OGQ3aXA2Tkd6Y3U5REsxUmNrYmdaVy9DT0x0LzhucjFxM1R0R25UaWwybk5LME41WW0yQnFEaXFWai9TMVFTNWRIV2tGOWdZS0N1dmZaYXorMm9xS2o4V1Fxc1d4NTVmSW0yaHYreTR3TjNWZnF3TFRHTU1qK09OOS96aHhNOFh5dlB0b2I4cXRMN3FKK01lcmxQS3B2UkNKS1VrcEtpcVZPbmF1clVxWkxPbklSUG5EaFIwcG0vejhEQXdBdjZlOTIwYVpOMjdkcmwyZTdRb1VNMVlNQUFyVm16Um5mZGRkZDU2Ky9mdjE4alI0NVVZR0NnWnMyYXBTNWR1cFJKOFRML0JJNTUreGs2ZEtnKysreXpBc2R2Y0hCd2lkdXFxSVdFZkVYV0tqODZFS2dvS3RiL0VwV0Q3VzBObFJsdERmOWx4d2Z1cXZSaG03YUdnamplZk05UFR2QjhLVUNTNXppRGIrUXJrQzVSQlJ6MUVoMGRIV0tNNlNHVjNYR1FkNktkbXBxcXZuMzdhczJhTlo0aVkvZnUzUzlvQWxlWHk2WFhYMzlkMTE1N3JkcTJiU3RKYXQ2OHVUcDA2S0JwMDZhcGJkdTI1N1ZhaFlTRXFHSERobnI1NVpkVnQyNWRTV2V1RUpIWHpsV1lBd2NPYU9USWtjVm1PWGVpeGdNSERpZ2tKTVN6ajlLb2lJV0UwNmRQYStQR2paSWt0OXRkNWQrUGdZcWk0dnd2VVVuWU5TeXpLa2hQVDZldDRiLzR3TzFqWDMvOWRWNWJReEp0RFJ4djVhR2luK0Q1MmswMzNYU2JwTWE4Zi9xTzIrMnU4QVg1L0cwTnBSbnlYNXh6VDdUejMxNnhZa1dCQ1Z5OU5XdldMTzNkdTFlelo4OHVjUCtZTVdQVXUzZHZ2Zjc2NjNyNjZhY0xMS3Rmdi81NTYxOTIyV1ZxMUtoUmtmdkptdytoS1BmY2M0OSsrKzIzUXBjVk5RZEVjYTY2NmlvdFdMQkE5ZXZYTDNhOThrUmJBMUF4VVVnb1kvbS90YXNNMzVCVkpPdldyYU90NFN3K2NQdGUzb2Z0c3lkMVZSckhtKy81d3dtZXIvSCs2WHQrTXVxbFROc2FDck50MjdhTHVvUnNRa0tDL3ZXdmY2bHYzNzY2NmFhYkNpeHIxS2lSUm93WW9XblRwdW1tbTI1UzE2NWRpOTNXeGJZMnZQMzIyOHJKeWZIOG0zRzczWHJra1VlVW5wNnVEaDA2ZUQycGJKNlFrQkExYTlic29qS1ZOZG9hZ0lxSlFrTFpvcTNCaDZyNmgrejgrTUR0VzdRMUZNVHg1bnQrY29MblM0eDZLUWNWZmRTTEw5b2FKR25jdUhINjdiZmZkT2pRSVVuU1UwODlwVkdqUmttU3VuYnRXcXJXaHFTa0pJMGJOMDdYWG51dEhuMzAwVUxYR1RCZ2dEWnQycVFKRXlhb1pzMmFhdGV1WFpIYmUrdXR0MHE4YWtOOGZIeWh5NDRjT2FLNWMrZHEvUGp4bmhFRVU2ZE9WWFoydGw1Ly9YV05HVE5HL2ZyMVUvUG16YjE2YnRLWnoxb1RKa3pRK1BIaks4Uy9SZG9hZ0lxTFQ0UmxpTFlHMzZHdG9RQStjUHNZYlEwRmNMeVZnNHArZ3VkcmpIcnhQWDhZOVJJZUh0NVJVcG0yTlVqU0k0ODhvamZmZkZNTEZpeVFKSDN5eVNlNjU1NTdKRW1yVnEzU2hnMGJ0R3JWS2tsbkptbk51ekxDdVQ3OTlGUEZ4OGVyWWNPR21qWnRXcEdYU0F3SUNORExMNytzUm8wYTZXOS8rNXRtejU2dG5KeWNRdGR0MEtDQkxyLzg4aUovQ3B2bklDMHRUZEtaTmdxWHk2WFEwRkJsWkdUb21XZWUwZUxGaXpWcDBpUzFiTmxTRHp6d2dFYU5HcVV0Vzd5dlRhYW5weXN6TTFNWkdSbGVQOGFYYUdzQUtpNUdKSlFodnJYekhkb2Evb3NQM0w1SFc4Ti9jYno1bmorYzRQa2E3NSsrNXllalhuelMxcEEzbWFITDVUcHZtVEZHYnJkYkdSa1pDZ3dNbE12bFVrcEtpa0pEUTVXWW1PaVpNSEhldkhtYU5tMmFycnZ1T2syZlBsMjFhOWN1ZHArMWE5Zld6Smt6RlI4ZnI3ZmZmbHZHR0EwYk5zeXJ2SG1GeGFDZ0lLMVpzK2E4ZlNVa0pDZ3dNRkFqUjQ3VUhYZmNvWG56NW1ueDRzVUtEdy9YckZtemROMTExMG1TUm80Y3FaeWNITVhIeCt2UGYvNnp1bmZ2cnRhdFd4ZFpBSkdrM3IxN3EzUG56cXBaczZaWFdYMk50Z2FnNHFLUVVIYjQxczZIOHIyUlZNbExvdVhIQjI3Zm9xMmhJSTQzMy9PVEV6eGY0djJ6SEZUMFVTKythbXNvU1dwcXF0cTNieS9Mc3RTbFN4Y0ZCQVJvK1BEaHlzek1WSEJ3c0lZTUdTSko2dGF0bTFKVFV6Vnk1RWl2THFNb25abGNjZTdjdVZxNGNLRUdEUnJrZGFiVnExZm5qY0pVV0ZpWXhvNGRXMkQ1M1hmZnJjaklTRjExMVZVYU5HaVFuRTZuaGc0ZHF2dnV1NjlBTnN1eU5HYk1HTFZ1M1Zvelo4N1U5T25UUFZlWUtFNUZLU0xrYjJ0d3VWeExiWTRENEJ3VUVzb0kzOXI1VHY2MmhwQ1FrSS9zem1NelBuRDdHRzBOQlhDOGxZT0tmb0xuYTd4LytwNHhwc0tQZXZIRjFSck9WYnQyYmMyZlA5OXplL0hpeGJyODhzdjE3YmZmeWhqaktaWnUzTGhSYnJkYmxtVjVMalViRVJHaE1XUEdsSHFmb2FHaG5tTEV1Wll0VzFiby9BaXZ2Zlphc2RzTUNBandqRHFZTTJlT3FsZXZYbXlodDJYTGxwbzllN2F5czdNVkdCaFlpdlQyeXQvV3NIMzc5cjEyNXdGUUVJV0VNc0szZHI1RFc4Ti84WUhiOTg0NXFhdlNPTjU4eng5TzhIeU45MC9mMjdGamh6K01lcmxQa2hvM2JxeGR1M2I1ZEVmNXQvL0REei80ZEY4bCtlbW5uMnpkZjBYMnhodHY1UDFhSmY5dkJDbzZDZ2xsSk85cURlKy8vNzdlZi85OXUrTlVWclExOElIYnA3S3pzN1YrL2ZxOG0xWCtnd3ZIbSsvNXlRbWVUL0grV1g0cThxZ1hZMHgzU2Rxd1lVUCs5aktBdGdhZ2dxS1FVRWJjYm5lS1pWbE43TTVSaVIzTXljbXA2bGRyNEFOMythR3RRUnh2NWFraW4rRDVHdStmNWVha3BEbDJoeWpHYkVsM1NjcTJPd2dxbEkyME5RQVZFNFdFTXBLY25IeUgzUm5LaXNQaE1KS1VsSlJrMlowRkJmR0J1MXk0alRFejdBNVJFWEM4bFp1S2ZvTG5VNVhwL1ZPU0hBN0hURW5EalRFams1T1RaOXFkeDE4a0pTVTlMdWx4dTNOVWRERXhNZjBzeS9wQTBxS2twS1IrZHVjQlVIVlJTQUQ4U0dYNndFM0JxdUtyVE1lYnhERUhBQUJRVm1oNkJRQUFBQUFBWHFPUUFBQUFBQUFBdkVZaEFRQUFBQUFBZUkxQ0FnQUFBQUFBOEJxRkJBQUFBQUFBNERVS0NRQUFBQUFBd0dzVUVnQUFBQUFBZ05jb0pBQUFBQUFBQUs5UlNBQUFBQUFBQUY2amtBQUFBQUFBQUx4R0lRRUFBQUFBQUhpTlFnSUFBQUFBQVBBYWhRUUFBQUFBQU9DMUlMc0RBS2phSEE3SGJYWm5RTlVTRXhNejBPNE1xTlQrZlBiUHBqRXhNUzF0VFlMS2lHTUtRSVZnMlIwQUZZL0Q0VEJuZjkxZ2F4QlVkdTNzRGdBQWdKOWFsSlNVMU0vdUVBQ3FMa1lrb0RESEpOVVJKM29BS3FkTXV3T2cwbk1aWTM2MUxPdTAzVUZRS1dWTGV0L3VFQUNxTmdvSk9JOWxXYzB0eTdyZTdod0FVRlp5YzNNSFc1WTFTSktTa3BKQzdjNERBQURnejJodEFBQlVPdlhyMXcrOTVwcHJxdVhkZGpxZFQrYm01ajRoU1dGaFlSRjU5NTg0Y2NJa0ppWTZKYmxzaUFrQUFPQ1hLQ1FBQUNvZGg4UHhmNUxhZXJPdU1XWkljbkx5djN3Y0NRQUFvTkxnOG84QWdFckhzcXpKM3E0YkVCQXczNWRaQUFBQUtoc0tDUUNBU3VmMDZkTnJKWm1TMXJNc0t5TXhNVEduSENJQkFBQlVHaFFTQUFDVnpzNmRPN010eS9xaHBQVnljM1BmTFk4OEFBQUFsUW1GQkFCQXBlUjJ1NThwYVoyVEowLyt2VHl5QUFBQVZDWVVFZ0FBbFZKNGVQZ3FGZC9lNEV4SlNja3FyendBQUFDVkJZVUVBRUNsdEg3OSt0UEdtSDNGckxLb3ZMSUFBQUJVSmhRU0FBQ1ZsbVZaenhhemJIUjVaZ0VBQUtnc0tDUUFBQ3F0ckt5c0Q0dFlkRG94TVRHelhNTUFBQUJVRWhRU0FBQ1YxczZkTzA4YVl3NFZzbWhsdVljQkFBQ29KQ2drQUFBcXV4Zk92U01uSjJlNEhVRUFBQUFxQXdvSkFJQkt6Uml6OEp5N3NyLy8vdnRVVzhJQUFBQlVBaFFTQUFDVjJyWnQyOUtNTWU1OGQzMWhXeGdBQUlCS2dFSUNBS0RTc3l6cmIzbS9aMmRuLzhYT0xBQUFBUDZPUWdJQW9OSUxDZ3FhWjR5UnBKd2RPM1ljc1RzUEFBQ0FQNk9RQUFDbzlMNzU1cHRqbG1YdGtmU1YzVmtBQUFEOG5XVjNBQUNBLzR1TGl3dkt5TWpvYTFsV0gwbXh4cGg2a2tMc3p1VUhzaXpMK2tOU29xVEZ0V3JWV3J4Ky9YcVgzYUVBQUFDS1F5RUJBSEF4TElmRDhiQ2tKeVZGMnB5bE10Z25hVkpTVXRJc1NjYm1MQUFBQUlXaWtBQUF1Q0RSMGRFaFlXRmhzeVVOa0tSbXpacXBUNTgraW82TzFoVlhYS0h3OEhDYkUxWjg2ZW5wMnI5L3YxSlNVclJreVJMdDNyMDdiOUg4akl5TVlTa3BLVmwyNWdNQUFDZ01oUVFBUUtuRnhzYldNTVo4S3FsdG5UcDFOSDc4ZU4xKysrMnlMTjVXTHBReFJwczJiZEx6enordlk4ZU9TZEpHeTdJNkp5WW1adHFkRFFBQUlEOG1Xd1FBbEpyYjdaNG1xVzFVVkpUbXpadW4xcTFiVTBTNFNKWmxxWFhyMXBvN2Q2NmlvcUlrcWEweFpxcmR1UUFBQU03RnB6NEFRS25FeHNiMk44YThYN2R1WFMxY3VGQVJFUkYyUjZwMFVsTlQxYmR2WHgwN2RrekdtUDdKeWNrZjJKMEpBQUFnRHlNU0FBQmVhOTI2ZFMxanpKdVdaV25DaEFrVUVYd2tJaUpDTDd6d2dpVEpzcXkzV3JkdVhjdm1TQUFBQUI0VUVnQUFYanQ5K25TOHBJaHUzYnJwMWx0dnRUdE9wWGJycmJlcVc3ZHVraFNSbVprNXl1NDhBQUFBZVNna0FBQzgwcUpGaTFCanpHT1daV253NE1GMng2a1NCZzhlTE11eVpGbldZeTFhdEFpMU93OEFBSUJFSVFFQTRLV2dvS0Nla3VyR3hjV3BhZE9tZHNlcEVpSWpJeFVYRnlkSjlhcFZxOWJENWpnQUFBQ1NLQ1FBQUx6WFM1STZkKzVzYTRpMWE5Y3FQVDI5MEdVWkdSbWFQMzkrcWJlWm5aMnQzYnQzWDJ3MG44ajNldmV5TXdjQUFFQWVDZ2tBZ0JLMWF0WHFFa2wzQndVRnFWV3JWcmJsT0hMa2lKNTY2aWx0MkxDaDBPWEhqeC9YMUttbHYyTGlvVU9IMUw5Ly80dU41eE90V3JWU1lHQ2dqREYzbi8xN0FBQUFzRldRM1FFQUFCVmZkbmIyYlpKcXhNVEVLRFRVdmxiOWYvLzczNnBidDY3dXZ2dnVVajkyMzc1OVJTNDdlUEJnaWV0Y2NjVVZDZ2dvLy9wN2FHaW9ZbUppdEhYcjF0Q2NuSnhiSmEwdjl4QUFBQUQ1VUVnQUFIaWpoU1ExYjk3Y3RnQ25UcDNTNHNXTE5YejRjRldyVmszUytTZitSUlVFd3NMQ2RPKzk5NWE0aitMVytlS0xMMVM3ZHUzU2hTNGp6WnMzMTlhdFcyV01hU0VLQ1FBQXdHWVVFZ0FBSlRwN0FxdXJycnJLdGd4TGx5NVZ0V3JWMUt0WEwyVmtaTWl5ckNKUC9NKzkvNzc3N2xOaVltS1IyOTYzYjUvdXZmZmVZdGV4VTc3WHZZV2RPUUFBQUNRS0NRQUE3MXduU1ZkZWVhVXRPejl4NG9UZWUrODlQZnp3d3dvSkNkRS8vL2xQSlNVbGFldldyYklzeTdOZVNRVUJsOHVsMzMvLy9iejc4KzQ3ZE9qUWVjc3V1K3d5QlFYWiszYVpWMGd3eGx4bmF4QUFBQUJSU0FBQWVLZXVKRjE2NmFXMjdQeXR0OTVTVUZDUWJyLzlkaVVsSlduNTh1VjY2YVdYQ2hRUnZISGd3SUZpMnhlNmRldDIzbjNMbGkxVFpHUmthU09YcVlpSWlMeGY2OXFaQXdBQVFLS1FBQUR3VHJnazJ5WmFURTFOMWJGang5U25UeCs1WEM2MWF0VktuVHAxMHZ6NTh3dTlTa05zYkd5QjIrZU9VRGozZGxFakdjN2RqbDN5dmU3aGR1WUFBQUNRS0NRQUFMd1RKa2sxYXRTd1plZVRKazNTcEVtVDlPV1hYMnI4K1BGNjhza25KVWs5ZXZSUTI3WnRiY2xVbmlna0FBQ0Fpb1JDQWdDZ3dnc0lDRkJhV3BvbVQ1NnMwYU5IcTBtVEpwTE9YSTBoTEN5czFOczdkeTZFNHVaSUFBQUFRRUVVRWdBQTNzaVFWRGN6TTFQQndjSGx2bk5qako1NzdqbEZSa2FxVDU4Kyt2WFhYN1YvLzM2MWF0VksrL2Z2TC9heGpSczM5bHd1TWs5aGN5RVVkNy9kbkU1bjNxL3BkdVlBQUFDUUtDUUFBTHlUTHFtdTArbFU3ZHExeTMzbkgzMzBrVFp1M0tpNmRldXFUWnMyeXNuSlVjdVdMZFdpUll0aUowK1VDazZXV0x0MmJUMzg4TU1hUG55NFovbnExYXYxeWl1dktDTWpRMUZSVVhyampUZFV2MzU5U2RJNzc3eGp5L005RjRVRUFBQUFBSUJmY1RnY1h6c2NEck45KzNaamgvLzg1ei9tN2JmZk5wOSsrcW41NFljZnpLbFRwNHd4eG1Sa1pCaUh3MkdPSGoxYTZPTWNEb2ZadTNkdm9jdE9uejV0WG5ubEZYUFBQZmVZZGV2V0dZZkRZVmF2WG0yNmR1MXFkdXpZNGF1bmNrRzJiOTl1SEE2SGNUZ2NtKzArRmdBQUFCaVJBQUR3eGs1SnQrN2R1MWMzM0hCRHVlKzhlZlBtYXQ2OHVlZTIwK25VMXExYmRkVlZWMTNROWhJVEUvWFNTeStwWHIxNm1qTm5qazZjT0NGSjZ0eTVzeVJweElnUkdqUm9rQjU4OEVGYldqbk90V2ZQSGttU1pWazdiWTRDQUFCQUlRRUFVRExMc3JZYll6d250T1h0MjIrLzFjNmRPL1hqanovcWh4OSswSysvL3FyR2pSdHIxcXhacGRyTzNyMTc5ZFpiYnlraElVRkRoZ3pSUXc4OXBJQ0FBRThoUVRwVFRHalVxSkdlZXVvcGZmVFJSeG8rZkxqdXZQTk9Xd3NLK1Y3MzdiYUZBQUFBT0l0Q0FnREFHOXNsNlljZmZyQmw1MHVYTHRYaHc0ZmxjRGgwOTkxMzY0WWJibER0MnJVOUJZQTc3N3l6Mk1kbloyZnI3My8vdXpaczJLQmJicmxGQ3hjdVZOT21UWXRjdjBXTEZscThlTEhlZU9NTlRaZ3dRVE5uenRTQ0JRc3U2QW9SWlNIdmRiY3NpMElDQUFDd0hZVUVBRUNKZ29PRHY4N0t5bkltSnllSE9wMU9oWWFHbHV2K0owK2VYT3p5ZDk5OXQ5QkpFZk1tWWd3T0RsYW5UcDNVdDI5ZjNYTExMVjd0czBhTkducmlpU2QwLy8zMzYralJvN1lWRVp4T3A1S1RreVhKV2JObXphOXRDUUVBQUFBQVFHazVISTZsRG9mRHJGMjcxdTY1QnoxT256NXRYbjc1WmVOME9ndGQvdkxMTDV0ang0NTV0WjNrNU9TeWpsY20xcTVkYXh3T2g0bU5qVjFpOXpFQUFBQWdTWUYyQndBQStJZUdEUnRXay9RL3VibTVKYllTbEplZ29DQzFhZE5HMWFwVkszUjVtelp0ZE1rbGwzaTFuUVlOR3BSMXZESXhZOFlNN2R1M1Q1Wmx2ZlRiYjc5OWIzY2VBQUNBQUxzREFBRDhnOHZsK2xEUzBmWHIxK3VYWDM2eE8wNlZzRy9mUHExZnYxNlMvc2pKeWZuSTVqZ0FBQUNTS0NRQUFMeTBmZnQycDJWWnJ4bGpOR2ZPSEx2alZBbHo1c3lSTVViR21OZTJiOS91dERzUEFBQ0FSQ0VCQUZBSzFhdFhmMHRTNm9vVks3Umx5eGE3NDFScVc3WnMwY3FWS3lVcHRVYU5HalBzemdNQUFKREhzanNBQU1DL3hNVEUzRzlaMW9JNmRlcG8wYUpGaW9pSXNEdFNwWFA4K0hIMTY5ZFB4NDRka3pIbS91VGs1SVYyWndJQUFNakRaSXNBZ0ZJNWZQandqZ1lOR2pRNWRlcVVJeUVoUVczYXRGR3RXclhzamxWcC9QYmJiNHFQajllaFE0Y2thVlp5Y3ZJa3V6TUJBQURrUjJzREFLRFVBZ0lDeGtqYStQUFBQMnZRb0VGS1NFaVFNY2J1V0g3TkdLT0VoQVFOR2pSSWUvYnNrYVNObG1VOWFuY3VBQUNBYzlIYUFBQzRJTkhSMFNGaFlXR3pKUTJRcEdiTm1xbFBuejZLaW9wUzA2Wk5GUjRlYm5QQ2lpODlQVjIvL1BLTGZ2NzVaeTFac2tTN2QrL09XelEvSXlOaldFcEtTcGFkK1FBQUFBcERJUUVBY0RFc2g4TXhUTkxmSlVYYW5LVXkyQ2RwVWxKUzBpeEpEUEVBQUFBVkVvVUVBTUJGaTR1TEN6cHg0c1I5eHBnK2ttSWwxWk5VM2VaWS91QzBwRDhrSlZxV3RhUldyVnFMMTY5Zjc3STdG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ZHJIc0RvREN4Y1hGQldWa1pQUzFMS3VQcEZoalREMUpJWGJuOGdOWmxtWDlJU2xSMHVKYXRXb3RYcjkrdmN2dVVBQUFBQUJRV1ZCSXFIZ3NoOFB4c0tRbkpVWGFuS1V5MkNkcFVsSlMwaXhKeHVZc0FBQUFBT0QzS0NSVUlOSFIwU0ZoWVdHekpRMlFwR2JObXFsUG56NktqbzdXRlZkY29mRHdjSnNUVm56cDZlbmF2MysvVWxKU3RHVEpFdTNldlR0djBmeU1qSXhoS1NrcFdYYm1Bd0FBQUFCL1J5R2hnb2lOamExaGpQbFVVdHM2ZGVwby9Qanh1djMyMjJWWi9CVmRLR09NTm0zYXBPZWZmMTdIamgyVHBJMldaWFZPVEV6TXREc2JBQUFBQVBpckFMc0Q0QXkzMnoxTlV0dW9xQ2pObXpkUHJWdTNwb2h3a1N6TFV1dldyVFYzN2x4RlJVVkpVbHRqekZTN2N3RUFBQUNBUCtOTXRRS0lqWTN0YjR4NXYyN2R1bHE0Y0tFaUlpTHNqbFRwcEthbXFtL2Z2anAyN0ppTU1mMlRrNU0vc0RzVEFBQUFBUGdqUmlUWXJIWHIxcldNTVc5YWxxVUpFeVpRUlBDUmlJZ0l2ZkRDQzVJa3k3TGVhdDI2ZFMyYkl3RUFBQUNBWDZLUVlMUFRwMC9IUzRybzFxMmJicjMxVnJ2alZHcTMzbnFydW5Yckpra1JtWm1abyt6T0F3QUFBQUQraUVLQ2pWcTBhQkZxakhuTXNpd05IanpZN2poVnd1REJnMlZabGl6TGVxeEZpeGFoZHVjQkFBQUFBSDlESWNGR1FVRkJQU1hWall1TFU5T21UZTJPVXlWRVJrWXFMaTVPa3VwVnExYXRoODF4QUFBQUFNRHZVRWl3Vnk5SjZ0eTVzOTA1cXBSOHIzY3ZPM01BQUFBQWdEK2lrR0NUVnExYVhTTHA3cUNnSUxWcTFjcnVPRlZLcTFhdEZCZ1lLR1BNM1dmL0hnQUFBQUFBWHFLUVlKUHM3T3piSk5XSWlZbFJhS2gvdCtvdlc3Wk1TNWN1TFhSWlVsS1NYbmpoQlIwNWNxU2NVeFV0TkRSVU1URXhraFNhazVQRERKY0FBQUFBVUFwQmRnZW93bHBJVXZQbXpXMExFQnNiZTBHUHUreXl5N1I2OVdyUDdiVnIxNnBCZ3dicTNidjNlZXZPbkRsVHAwK2ZWcjE2OVM0NHB5ODBiOTVjVzdkdWxUR21oYVQxZHVjQkFBQUFBSDlCSWNFbVowOWdkZFZWVjltV1lkbXlaWjdmNzczM1hyM3l5aXVLaW9vcXNNN3Z2Lyt1a1NOSDZxV1hYdklVUFlLQ0NoNDJCdzRjME8yMzMzN2U5amR0MnFUdnYvOWVIM3p3Z1FJQ0FwU2VucnN2aXpBQUFDQUFTVVJCVks3RXhFUzFiOS9lQjgrbWRQSzk3aTNzekFFQUFBQUEvb1pDZ24ydWs2UXJyN3pTdGdDUmtaRUZiamRzMlBDOCs0S0RneVZKRFJvME9HL1p2bjM3NUhLNWRQandZWVdHaG1yZnZuMlN6b3hZcUZhdG1xWk1tYUxISG52TTg3aERodzdwMldlZlZYaDQrQVdQaGlncmVZVUVZOHgxdGdZQkFBQUFBRDlESWNFK2RTWHAwa3N2dFR2SEJidjMzbnM5djArY09OSHorMnV2dmFZZE8zYW9XYk5tbm5hSHJLd3MxYTlmWDMvNXkxODBZY0lFTFY2OFdDRWhJZVdlT1U5RVJFVGVyM1Z0Q3dFQUFBQUFmb2hDZ24zQ0pmbjFSSXVKaVlsYXZueTUzbm5uSFgzNjZhZkt5Y2xScTFhdHRHSERCcTFZc1VKMTY5WlYrL2J0ZGZMa1NlWG01bm9lWjFtVzVzMmJwMkhEaHRtV1BkL3JIbTViQ0FBQUFBRHdReFFTN0JNbVNUVnExTEE3eDBYNTRZY2ZkTU1OTjBpU2poNDlLbU9NYnJ6eFJwMDRjVUpYWDMyMUxydnNNdFdyVjA5MTY5WlY3ZHExRlJFUm9TKysrRUl2dmZTU2V2YnNhZHNrakJRU0FBQUFBT0RDVUVpb29ncWJvMkRnd0lGRnJqOWt5SkFDdHlkT25LaTc3cnBMMzMvL3ZicDA2U0pKMnJObmoyclVxS0h1M2J1clo4K2VSVzZyWGJ0Mit2YmJieFVZR0hpQjZRRUFBQUFBZHFHUVlKOE1TWFV6TXpNOUV4cVdwL3hYYk1qS3lsTC8vdjAxYmRvME5XblNwTUI2aFYyMVFUb3pvV0ptWnFaKyt1a25PUndPU2RMT25UdlZ2SGx6QlFRRWVDWmVMTXJmLy81M1ZhdFdyZXllVUNrNW5jNjhYOU50Q3dFQUFBQUFmb2hDZ24zU0pkVjFPcDJxWGJ0MnVlODgveFVZamg4L0xrbjYwNS8rcFByMTZ4ZFlyN2lyTm16WnNrVnV0MXN1bDB1U3RISGpSc1hGeFVrcU9CRmpZWll0VzNiZTlzb1RoUVFBQUFBQXVEQVVFdXh6VkZMVThlUEgxYmh4WTF1REhEeDRVQUVCQWFwYnQzUVhNTGo1NXB2VnIxOC9EUjgrWFAzNzk5ZC8vdk1mdmZqaWk1N2xSUlVMN0w3MG95U2xwcWJtL1hyVXpod0FBQUFBNEc4b0pOaG5wNlJiOSs3ZDY1bXMwQzVidDI3VmxWZGVXZW81Q3dJQ0F2VDQ0NCtyWWNPR2V2MzExeFVkSGEwcnJyakNSeW5MMXA0OWV5UkpsbVh0dERrS0FBQUFBUGlWQUxzRFZGV1daVzJYL250Q2E1ZTB0RFF0V0xCQTdkcTF1K0J0QkFVRnFYcjE2dHE3ZDYrZWUrNDV1ZDN1TWt6b0cvbGU5KzEyNWdBQUFBQUFmOE9JQlB0c2w4NWNQdEV1eDQ4ZjE1Z3hZK1IydS9YQUF3OWMwRFkrLy94enZmYmFhNW93WVlJdXVlUVNQZm5razU3V2hiUzBOQjA3ZHF3c0k1ZVp2TmM5cjZBREFBQUFBUEFPaFFTYkJBY0hmNTJWbGVWTVRrNE9kVHFkQ2cwTkxkZjlKeVFrNklVWFhwRFQ2ZFQwNmRNdmFNTEhCUXNXNlBYWFg5ZXdZY04wOTkxM1M1Sm16NTZ0YTYrOVZzOC8vL3g1bDR5c0tKeE9wNUtUa3lYSldiTm16YS90emdNQUFBQUEvb1JDZ2swMmI5NTh5dUZ3Zk9weXVlN2R2SG16T25ic1dLNzdEd2tKVWMyYU5UVjE2dFFDbDNVOFYxQlFrSm8wYWFLUWtKRHpsbTNac2tValJvd29VREM0L3ZyclBiOHZYTGhRVFpzMlBlOXhyVnExdXNqMEYyZno1czNLemMyVlpWbXIxNjlmZjlyV01BQUFBQUFBZU12aGNEemdjRGpNWTQ4OVp1emdkcnN2NnZIWjJkbEZMbHU3ZHExeE9wMkZMbHUzYmwyUnk4ckRZNDg5Wmh3T2g0bU5qZTF2OXpFQUFBQUFBUDdHc2p0QVZkYWlSWXZRb0tDZ2ZaWmwxVjIyYkZtaDM5NmpiTzNidDArOWUvZVdNZVlQbDh0MTVmYnQyNTEyWndJQUFBQUFmOEpWRzJ5MGZmdDJwMlZacnhsak5HZk9ITHZqVkFsejVzeVJNVWJHbU5jb0lnQUFBQUJBNlZGSXNGbjE2dFhma3BTNllzVUtiZG15eGU0NGxkcVdMVnUwY3VWS1NVcXRVYVBHREx2ekFBQUFBSUEvb3JXaEFvaUppYm5mc3F3RmRlclUwYUpGaXhRUkVXRjNwRXJuK1BIajZ0ZXZuNDRkT3laanpQM0p5Y2tMN2M0RUFBQUFBUDRvME80QWtBNGZQcnlqUVlNR1RVNmRPdVZJU0VoUW16WnRWS3RXTGJ0alZScS8vZmFiNHVQamRlalFJVW1hbFp5Y1BNbnVUQUFBQUFEZ3IyaHRxQ0FDQWdMR1NOcjQ4ODgvYTlDZ1FVcElTSkF4eHU1WWZzMFlvNFNFQkEwYU5FaDc5dXlScEkyV1pUMXFkeTRBQUFBQThHZTBObFFnMGRIUklXRmhZYk1sRFpDa1pzMmFxVStmUG9xS2lsTFRwazBWSGg1dWM4S0tMejA5WGIvODhvdCsvdmxuTFZteVJMdDM3ODViTkQ4akkyTllTa3BLbHAzNUFBQUFBTURmVVVpb2VDeUh3ekZNMHQ4bFJkcWNwVExZSjJsU1VsTFNMRWtNOFFBQUFBQ0FpMFFob1lLS2k0c0xPbkhpeEgzR21ENlNZaVhWazFUZDVsais0TFNrUHlRbFdwYTFwRmF0V292WHIxL3ZzanNVQUFBQUFBQlZtc1BoTUE2SGcyLzRBUUFBQUtDS1liSkZBQUFBQUFEZ05Rb0pBQUFBQUFEQWF4UVNBQUFBQUFDQTF5Z2tBQUFBQUFBQXIxRklBQUFBQUFBQVhxT1FBQUFBQUFBQXZFWWhBUUFBQUFBQWVJMUNBZ0FBQUFBQThCcUZCQUFBQUFBQTREVUtDUUFBQUFBQXdHc1VFZ0FBQUFBQWdOY29KQUFBQUFBQUFLOVpkZ2RBeGRlaVJZc21RVUZCL3pqbjd1Rm4vM3duLzUwdWwrdkY3ZHUzSHlpZlpBQUFBQUNBOGtZaEFTWHEwNmRQWUVwS3lrSExzdW9YdDU0eDVraDBkSFRqSlV1VzVKWlhOZ0FBQUFCQStRcTBPd0FxdmwyN2RwbkdqUnRIU1dwWndxcnp2L2ppaTQvTEl4TUFBQUFBd0I3TWtRQ3Z1TjN1WlY2czVzMDZBQUFBQUFBL1JpRUJYZ2tJQ05oZ2pEbGV6Q3JId3NQRE41UmJJQUFBQUFDQUxTZ2t3Q3VKaVlrNWxtVjlWTXdxSDYxZnY5NVZib0VBQUFBQUFMYWdrQUN2V1paVlpPdENRRUFBYlEwQUFBQUFVQVZRU0lEWDB0UFRQNWVVVWNpaWpMUzB0Qy9LT3c4QUFBQUFvUHhSU0lEWFVsSlNzb3d4aFYyVllXVktTa3BXdVFjQ0FBQUFBSlE3Q2drb2xTTGFHMmhyQUFBQUFJQXFna0lDU3NXeXJFOGxaZWE3SzlPeXJNL3N5Z01BQUFBQUtGOFVFbEFxaVltSm1aSlc1OTIyTE91VHMvY0JBQUFBQUtvQUNna29OV09NcDVYQjdYYlQxZ0FBQUFBQVZRaUZCSlJhY0hEd3FyemZhOVNvc2FxNGRRRUFBQUFBQU9Sd09GWTZISTRWZHVjQUFBQUFBSlN2SUxzRHdHOHRzeXpMMkIwQ0FBQUFBRkMrTExzRFZEU3hzYkV2RzJPZXNEc0hxalMzcEI1SlNVa2YyeDBFQUFBQUFNN0ZIQW41UkVkSGh4aGpSdGlkQTFWZWdHVlpiZXdPQVFBQUFBQ0ZvYlVobjdDd3NFNlN3cHMxYTZZRkN4YllIUWRWVEZwYW1qcDE2aVMzMjUwcmFZcmRlUUFBQUFDZ01JeEl5TWV5ckQ2UzFLbFRKN3Vqb0FwYXQyNmQzRzYzSkgyUm1KaDQxTzQ4QUFBQUFGQVlDZ2xublcxcjZDRkpIVHQydERzT3FxQzFhOWRLa2l6TFdtSnpGQUFBQUFBb0VvV0VzL0szTlZ4KytlVjJ4MEVWazVhV3BtKy8vVmFTY2lWOWFITWNBQUFBQUNnU2hZU3o4dG9hR0kwQU82eGZ2NTYyQmdBQUFBQitnVUtDYUd1QS9kYXNXU09KdGdZQUFBQUFGUitGQkJWc2E3amlpaXZzam9NcWhyWUdBQUFBQVA2RVFvSm9hNEM5YUdzQUFBQUE0RStxZkNHQnRnYllqYllHQUFBQUFQNmt5aGNTOHRvYXJyNzZhdG9hVU81b2F3QUFBQURnYjZwOElTR3ZyYUZUcDA1bHNyM016TXhpbDd2ZGJwMDZkYXBNOXVWcnYvLyt1eFlzV0tEdnZ2dnV2R1hHR0MxZXZGaS8vUExMUmUzRDZYUXFKeWZub3JiaHoyaHJBQUFBQU9CdnFuUWg0V3hiUTArcDdOb2E0dVBqTlh2MjdFS1h1Vnd1eGNmSHEwdVhMaVVXSEtRelJZZUpFeWNXdWIyaTdOcTFTNDg4OGtpQmZiaGNMcVdscFpYNGs5OWJiNzJsOTk5L1g1ZGZmdmw1KzFpL2ZyMW16SmloT25YcUZKcmg5T25UK3ZycnJ6MjNZMk5qdFcvZlBrblNwazJibEpHUklVbWFQbjI2aGc4Zlhxcm5WNW1zWGJ0V0VtME5BQUFBQVB4SGtOMEI3SFMyclNHc3JOb2Fjbk56dFh2M2JnMGFOS2pRWmVQSGo5ZU9IVHQwNVpWWDZoLy8rSWVtVEptaWdJQ2lhemtCQVFHS2lZblIrUEhqVmJObVRmWHIxOCtySEEwYk50U1BQLzZvY2VQR2FmcjA2UW9JQ05EbXpadjE2S09QbHZqWXhNUkVTZEtXTFZ1MGF0VXFCUVlHcW52MzdnWFdlZmpoaC9YaGh4L0s2WFNxYytmTzUyMWo2ZEtsT25qd29CNTU1Qkc5OHNvcmlvdUw4eXpidFd1WHhvMGJweGt6WnFoRml4YjZ6My8rbzl0dXU4MnI1MVhacEtXbDZadHZ2cEZvYXdBQUFBQUEveEFiR3p2WDRYQ1kyYk5ubTR0MTh1UkprNXljYkJ3T2g5bTNiNS9KeU1nd0dSa1pubVdqUjQ4MmYvN3puODIyYmR2TThlUEhUZWZPbmMzWXNXUE42ZE9uUzl6Mm9rV0x6QzIzM0dKKyt1a25yL05zM2JyVnRHelowa3laTXNVWVkweE9UbzVKVFUwdDhjY1lZL2J2MzIvYXQyOXZWcTllYlk0ZVBXbzZkT2hnUHY3NFk4KzJYM3Z0TmRPclZ5K1RuWjF0cGt5WlloNS8vSEdUbFpWMVhvWVpNMmFZWWNPR0dXT01jVGdjWnUvZXZlYisrKzgzTTJmT05NWVlrNTZlYmxxMmJHbSsvLzU3cjU5WFpiSjgrWExqY0RpTXcrSDR6TzUvQ3dBQUFBQ0FFa1JIUjRjNEhJNzB2QlAvaTNYSEhYZmtuUlFXK05tK2ZidnAxcTJiNmQ2OXU5bXpaNDluL2IxNzk1cE9uVHFaWHIxNm1XM2J0cFc0L1JFalJwaUhIbnFvVkpsbXpacGxsaTVkV3FySFpHVmxtYTVkdTVxcFU2ZDY3dnZrazAvTS9mZmZiM0p6YzQweHhyejAwa3RtNjlhdHhoaGpuRTZuR1Rod29GbTdkbTJCN1J3OWV0UWNQbnpZSEQ1ODJCdzlldFE0SEE2VG5KeHNmdmpoQi9QNzc3K2JuSndjczNMbHlrSmZzN3pYcmJJYk5XcVVjVGdjSmpZMmRxamQveDRBQUFBQXdGdVczUUhzNG5BNDdwRzA4dXFycjlZSEgzeFFKdHNjTldxVXJybm1HbzBlUFZyWjJkbWFQSG15VnF4WW9ZNGRPM291OFpkZlZGU1VHalJvb0lTRUJQWHMyVlBQUFBOTWtkdis2MS8vcXMyYk4ydktsQ202NDQ0N3lpUnZVWGJzMktIcnI3OWU3ZHExODl6bmRydUxiTVBJVzdabzBTSTFhTkJBMHBrNUVZcno3cnZ2YXRxMGFZcU9qdFpmL3ZJWFNXZmFIcDU0NGduTm1UTkh6Wm8xMDVkZmZxbW5uMzVhdzRZTjA0Z1JJenlQZmZMSko3Vmh3d1l0WGJwVWpSczN2cWpuK3V1dnY2cG56NTdxMHFXTFhuamhoUUxMVnExYXBXZWZmVmJUcGsxVG16WnRMbW8vNTBwUFQxZkhqaDNsZHJ0ekxjdHF3RVNMQUFBQUFQeEZsWjBqd2JLc1BzYVlNcHRrTVMwdFRWdTNidFhBZ1FNVkd4dXJ4TVJFTlczYVZLKysrcXJpNHVJS0xSSUVCZ1lxSkNSRVgzMzFsUzY5OU5JaXQ1MlptYW5FeEVSRlJFVG9uWGZlVVZ4Y25DeXI4QnJRcVZPbmRPVElFYy90eU1oSXJWeTVVczg5OTV6WHp5VnZub1NUSjA5cTJiSmxpb3lNTEhiOTdPeHN0V3JWS3UvcUF3VzJzWHYzYmozKytPTTZlUENnUm84ZXJWNjllaWs4UEZ6SnljbmF2bjI3cnI3NmFqVnExRWpTbVVKQ1FFQ0Fycm5tR2dVRkJhbHo1ODVhdW5TcEZpeFlvUDc5K3lzc0xFeTdkdTNTNTU5L3JoRWpSbHgwRVVHU0xyLzhjc1hFeEdqRGhnM0t6czVXY0hDd1o5bG5uMzJtZXZYcTZmYmJiNy9vL1p4cjNicDFYSzBCQUFBQWdGK3Frb1VFWDF5dDRiUFBQbE5rWktTdXZ2cHF6MzBQUHZoZ29kL01KeVltS2pjM1Y0R0JnVHA4K0xDZWZ2cHBiZGl3b2NodHIxbXpSaTZYUzVNblQ5YUlFU08wWWNPR0FoTVk1cGVjbkt6Um8wY1gyTmNkZDl5aEcyNjRRZEtaZ3NmRER6K3MrKzY3VDcxNzl5N3hlY1hIeHlzb3FQakR4Qmh6M24xdXQxdExsaXpSbTIrK3FURmp4bWpTcEVsS1RFelVva1dMTkduU0pMMzk5dHNLRFEzVmdRTUhQSTg1ZVBDZ0dqWnNXR0IvNDhhTjB3TVBQS0M1YytkcTlPalJldU9OTjNURkZWY1VPcUhsaGVyZXZidWVmLzU1YmRxMHlmTzZwcVdsNmV1dnY5YkFnUU9MblJEelFuRzFCZ0FBQUFEd0l3Nkg0eDZIdzJINjlldFhadjN1OTkxM241azNiNTVuUG9BOERvZkRwS1dsR1pmTFpkTFMwb3pENFRBWkdSbWVkUTRlUEZoZy9jSU1HRERBeE1mSEcyT01lZXl4eDh3RER6eGczRzUzc1kvWnUzZHZvZHQ5ODgwM1RidDI3VXg2ZXJveHhwakRodytiRXlkT0ZMcU52QWtTUzVLVmxXVWNEb2M1ZVBDZ01lYk01Skw5Ky9jM0hUcDBNSnMyYlNxd3JZOC8vdGgwNmRMRmZQNzU1MmI1OHVXbWZmdjJudTA4OWRSVFp1ellzZWR0ZitMRWllYjIyMjgzcTFhdE1nNkh3M3o5OWRjbFppb05wOU5wV3JkdWJaNTY2aW5QZlV1V0xERmxOWC9HdWRMUzBrekxsaTJOdytGd3hjYkcxclg3M3dNQUFBQUFsRWFWSEpFZzZUNnA3RVlqU0ZKS1NvcW1UcDJxcVZPblNqb3pSOERFaVJNbG5ibU1ZMkJnNEFWOXM3MXAweWJ0MnJYTHM5MmhRNGRxd0lBQldyTm1qZTY2NjY1U2JTczFOVlVMRnk3VTBLRkRGUllXSnVuTU4vNlhYWGFaWG4zMTFVSWZNMkxFaUZLUFNBZ05EVlc3ZHUzVXUzZHYxYXhaMDNNWnlpWk5taWd5TWxJZE9uUlE5ZXJWZGZEZ1FhV2xwZW5ubjM5V1ZGU1VrcE9UMWFkUG4vTzJIeDhmcnpWcjFtajgrUEhxM0xtemJyMzExbEk5NzVMVXFGRkRIVHQyMUJkZmZLR3NyQ3lGaElSbzllclZ1dkhHRzlXMGFkTXkzWmRFV3dNQUFBQUEvMWJsQ2duUjBkRWhrbnBJWlZ0SXlKdE1NVFUxVlgzNzl0V2FOV3RVcTFZdFNXZUd6bHVXVldnTFFIRmNMcGRlZi8xMVhYdnR0V3JidHEwa3FYbno1dXJRb1lPbVRadW10bTNicWthTkdsNXY3NTEzM2xGRVJJVHV2LzkrejMxUFAvMjBIbnp3UVMxY3VGRDkrdlU3N3pFelo4NzBlbzZFL0hyMzdpMWpqRDc2NkNPdFc3ZE9Eei84c05MVDB6M0xxMWV2cnNhTkc2dEpreVphdDI2ZGNuTnpkZVRJa2ZPMkkwblZxbFZUalJvMWxKR1JvWkNRRUsrZmIybDA3OTVkSzFldTFGZGZmYVhycjc5ZTMzMzNYYkdUWDE0TTJob0FBQUFBK0xNcVYwZ0lDd3ZySkNuc1QzLzZVNWwrMjF5blRwMGliNjlZc1VLMWF0WFNpUk1uaXB6Ym9EQ3paczNTM3IxN05YdjI3QUwzanhrelJyMTc5OWJycjcrdXA1OSsycXR0N2RpeFE4dVdMZE0vLy9sUFZhdFdUVTZuVXlkT25KQWt0V3ZYVHRPbVRkUE5OOStzcUtpb0FvOGJQSGp3QlkyazZOcTFxN0t6c3oyMysvYnRXMkI1M21TTWQ5NTVwNVl2WDY3RGh3K3JTWk1tYXQ2OCtYbmJtakZqaGpJeU1qUm8wQ0RObXpkUFBYcjAwSTAzM2xqcVRNV0ppWWxSa3laTnRIYnRXaDA0Y0VEVnExZFhwMDZkeW5RZjBwbXJOWHp6elRlU2xDdnB3ekxmQVFBQUFBRDRXSlVySk1nSGJRMkYyYlp0VzZsSElPU1hrSkNnZi8zclgrcmJ0Njl1dXVtbUFzc2FOV3FrRVNOR2FOcTBhYnJwcHB2VXRXdlhZcmVWbloydHNXUEh5dTEyNjVsbm5wSFQ2ZlJjWVNFNE9GaTFhdFZTY0hDd25ubm1HYzJiTjgvVHl2RGFhNi9wbGx0dTBlSERoL1hZWTQ5cCtmTGw1MjM3Zi83bmZ6UnQyalQ5L1BQUEJhNDhzWG56WnIzeHhodGF0MjZkUHZqZ0E4OUlnbWVmZlZhSER4OHU4UGk1YytkcStmTGxHanQyN0huYjM3VnJseFl1WEtqaHc0ZnJ3UWNmMUpvMWEvVHl5eS9yL2ZmZkw3SEE0WGE3bFpHUm9SbzFhaFM0R2tOaExNdFM5KzdkTldmT0hQMzY2Ni9xMkxGanFVWjdlSXUyQmdBQUFBRCtya29WRXZLM05aVDF0ODNqeG8zVGI3Lzlwa09IRGttU25ucnFLWTBhTlVyU21XL25TOVBha0pTVXBISGp4dW5hYTYvVm80OCtXdWc2QXdZTTBLWk5telJod2dUVnJGbFQ3ZHExSzdCOHo1NDlrczVjd3JGbXpab2FNMmFNSktsZXZYcUtpSWhRN2RxMUZSNGU3am5CLyttbm56Uno1a3lscDZmcnpqdnZMSFNmaFYyQlFwSjY5dXhaNFBia3laTjE4ODAzNitPUFAxWjRlTGdTRWhJVUZ4ZW5Uejc1Ukd2WHJ0V2NPWE04NjlhdFcxZU5HalhTcjcvK3FwdHZ2cm5BZG5KemMvWGlpeStxWHIxNkdqaHdvSUtEZ3hVZkg2OS8vT01mK3VDREQvVEFBdzhVOFFxZXNXblRKbzBaTTBZTEZpeFFzMmJOaWwxWGt1NjU1eDdObkRsVFAvendnLzcydDcrVnVQNkZvSzBCQUFBQUFQeEkzdFVhK3ZidFcrWXo4Zi82NjY4bUxTM05IRDU4K0x5ck5tUmtaQmhqVElHck5XUmxaUmxqenI5cXcrclZxODF0dDkxbTdyMzNYcE9hbWxyc1BsTlRVMDNQbmoxTnk1WXR6YXhaczB4MmRyYkp6YzAxczJiTk1tM2F0REYvKzl2ZlRMZHUzY3kvLy8xdmMralFJZU55dVlyZFhtNXVybkU2bmNicGRKcXNyQ3lUbFpWbC92ampEOU9qUncvejRvc3ZldTdMLytOd09NeVBQLzVZNEw3YzNGelBjMXl5WklucDJyV3J1ZWVlZTB6TGxpM05SeDk5NU5tZjIrMDJ6ejc3ckxudHR0dE0xNjVkVGMrZVBjMlJJMGM4eTk5Nzd6M2pjRGpNcWxXckNqeW1mLy8rcGsyYk51YjMzMzh2OXZsTW56N2RkTzNhdGRoMXp0VzdkMi9UbzBlUFVqM0dXMXl0QVFBQUFFQmxVS1ZHSk1pSGJRMU5talNSZEdhQ3hITVpZenpEN0FNREErVnl1WlNTa3FMUTBGQWxKaVo2aHREUG16ZFAwNlpOMDNYWFhhZnAwNmVyZHUzYXhlNnpkdTNhbWpsenB1TGo0L1gyMjIvTEdLTU9IVHBvN3R5NW1qNTl1bUppWXJSeTVVck5temRQTDc3NG9pUXBNREJRUVVGQm5wL0F3RUJsWjJjckt5dExPVGs1Q2c0TzF1clZxM1g4K0hIOTMvLzluLzczZi85WG9hR2hpbytQTDdJOW9GcTFhb1V1Q3c0TzFsVlhYYVZHalJwcHo1NDlxbDI3dHFaUG42NzA5SFQxNzk5Zkw3MzBrbGF2WHExSmt5WXBPanBhUTRZTTBlREJnelZwMGlUZGVPT05Hang0c0FZUEhseGdtNVpsNmYzMzN5L3g3ME9TdnZ2dXUxTE5TYkZ2M3o3dDJiTkg4Zkh4WGorbU5HaHJBQUFBQUZBWlZKbENnaS9iR2txU21wcXE5dTNieTdJc2RlblNSUUVCQVJvK2ZMZ3lNek1WSEJ5c0lVT0dTSks2ZGV1bTFOUlVqUnc1c3NTZS9qejE2OWZYM0xsenRYRGhRZzBhTkVoQlFVRmF0R2lSR2pWcTVObG10MjdkbEpHUm9hTkhqOHJsY3NudGRpczNOOWZUYW1GWmxpekxVa0JBZ0M2NTVCS0Zob2Jxb1ljZVVuWjJ0bnIxNnFVQkF3Ym9ra3N1OGZyNW5qaHhRdSsrKzY0MmJOaWdQLzc0US9mZWU2K21USm1pYXRXcTZZTVBQcEF4UmlOSGp0U3VYYnYwNnF1dmV0b3laczJhcFRGanhtam8wS0g2MTcvK3BSdHV1S0UwTDNNQk9UazUycmx6cDBhT0hPbjFZK2JQbjYvZzRHRDE2TkhqZ3ZkYm5NOC8vMXdTYlEwQUFBQUE0QmQ4MmRhUW44dmxNanQzN3ZUY1RrbEpNYm01dWNidGRudUcvT2ZKdTc4aXlzek12T0RINXVUa21ISGp4cG5seTVjYnA5TjUzbktYeTJXZWYvNTVrNUtTY3Q2eTlQUjBNMy8rL0F2ZWR4Nm4wMmsrKyt5ejgxN3p3a3lmUHQwOCsreXp4dUZ3bUJrelpsejB2Z3REV3dNQUFBQ0F5c0t5TzBCNWNUZ2M4eVFOSERseXBJWU9IV3AzSEZRZ2JkdTJWVUJBZ0hyMzdxMzQrUGdMdXR4bFNUNzg4RU85OE1JTGtyUW1LU25wcmpMZkFRQUFBQUNVa3lyUjJtQm5Xd01xdm8wYk4vcDhIN1ExQUFBQUFLZ3N5djZyMXdvb0xDenNUa2xoMGRIUmF0cTBxZDF4VU1Xa3A2ZnJtMisra2FSY1NSL2FIQWNBQUFBQUxrcVZLQ1JJNmlNeEdnSDJXTGR1blhKemN5V3UxZ0FBQUFDZ0VxajBoUVRhR21BMzJob0FBQUFBVkNhVnZwQkFXd1BzbEpHUlFWc0RBQUFBZ0VxbDBoY1NSRnNEYkVSYkF3QUFBSURLcGxJWEV2SzNOWFRzMk5IbU5LaUsxcTVkSzRtMkJnQUFBQUNWUjZVdUpPUnZhNGlNakxRN0Rxb1kyaG9BQUFBQVZFWkJkZ2Z3c1Q2U1ZMOStmWDMvL2ZkMlowRVY4OUZISDlIV0FBQUFBS0RTcWV5RmhHNlNsSkNRb0lTRUJMdXpvSXFpclFFQUFBQkFaVkxaQ3duL1QxSkhTVGwyQjBHVjlZY2tDZ2tBQUFBQWdLck40WEFZaDhOaDdNNEJBQUFBQUNoZmxYcXlSUUFBQUFBQVVMWW9KQUFBQUFBQUFLOVJTQUFBQUFBQUFGNmprQUFBQUFBQUFMeEdJUUVBQUFBQUFIaU5RZ0lBQUFBQUFQQWFoUVFBQUFBQUFPQTFDZ2tBQUFBQUFNQnJGQklBQUFBQUFJRFhLQ1FBQUFBQUFBQ3ZVVWdBQUFBQUFBQmVzK3dPZ0lxdlJZc1dsMVdyVnExNy92dU1NYk1reWJLc1lmbnZ6OG5KV2JGOSsvYmZ5ek1mQUFBQUFLRDhCTmtkQUJWZmFHam9pYXlzckttU1FzOWRsbGRRT01zWkdocjZmdmtsQXdBQUFBQ1VOMW9iVUtMTm16ZWZrclRLaTFVL1Byc3VBQUFBQUtDU29wQUFieTByYVFYTHNrcGNCd0FBQUFEZzN5Z2t3Q3RaV1ZtZlNEcGR6Q3FuVDU4K3ZicTg4Z0FBQUFBQTdFRWhBVjdadVhQblNjdXlQaXRtbFU5Mzd0eDVzdHdDQVFBQUFBQnNRU0VCWG5PNzNjVzFMdERXQUFBQUFBQlZBSVVFZU0wWXMxSlNUaUdMY3R4dTk4ZmxuUWNBQUFBQVVQNG9KTUJyMjdadFM1UDBSU0dMUGorN0RBQUFBQUJReVZGSVFLa1VkbVVHWXd4dERRQUFBQUJRUlZCSVFLbTQzZTZQSkxuejNaVWJFQkR3a1YxNUFBQUFBQURsaTBJQ1NpVTVPZmtQU1J2eTNiVWhNVEh4cUYxNUFBQUFBQURsaTBJQ0xvU25sYUd3VmdjQUFBQUFRT1ZGSVFHbFpveFpudS9tOGlKWEJBQUFBQUFBa0tTWW1KaXZIQTdIUnJ0ekFBQUFBQURLVjVEZEFlQ2Z6clkwR0x0ekFBQUFBQURLbDJWM2dJcmt1dXV1Q3c0SkNka202UnE3czZCS2MwdnFrWlNVOUxIZFFRQUFBQURnWE15UmtNOGxsMXpTVVJRUllMOEF5N0xhMkIwQ0FBQUFBQXBEYTBNK3VibTU5MW1XcFZHalJtbklrQ0YyeDBFVms1YVdwazZkT3NudGR1Y0dCZ2ErYW5jZUFBQUFBQ2dNSXhMT3V1NjY2NEl0eStvaFNSMDdkclE3RHFxZ2Rldld5ZTEyUzlJWDMzenp6VEc3OHdBQUFBQkFZU2drbkhXMnJhSDIxVmRmcmFaTm05b2RCMVhRMnJWckpVbVdaUzJ4T1FvQUFBQUFGSWxDd2xtNXVibjNTWXhHZ0QzUzB0TDA3YmZmU2xKdVlHRGdjcnZ6QUFBQUFFQlJLQ1RJMDliUVU2S1FBSHZRMWdBQUFBREFYMUJJa0ZTOWV2Vk9rc0pwYTRCZGFHc0FBQUFBNEM4b0pFaHl1OTE5SkVZandCNjBOUUFBQUFEd0oxVytrRUJiQSt4R1d3TUFBQUFBZjFMbEN3bTBOY0J1dERVQUFBQUE4Q2RWdnBCQVd3UHNSRnNEQUFBQUFIOVRwUXNKMGRIUkllWFoxcENabVZuc2NyZmJyVk9uVHZrOFIxbjQvZmZmdFdEQkFuMzMzWGZuTFRQR2FQSGl4ZnJsbDE5c1NPWmYxcTlmVDFzREFBQUFBTDlTcFFzSjRlSGhIU1dGLytsUGZ5cVh0b2I0K0hqTm5qMjcwR1V1bDB2eDhmSHEwcVZMaVFVSDZVelJZZUxFaVVWdXJ5aTdkdTNTSTQ4OFVtQWZMcGRMYVdscEpmN2s5OVpiYituOTk5L1g1WmRmZnQ0KzFxOWZyeGt6WnFoT25Ub2w1bm4xMVZmMTl0dHZGN3Jzczg4KzA3MzMzcXY5Ky9lWDZqbjZrelZyMWtpU2pER0xiWTRDQUFBQUFGNEpzanVBbmR4dWR4L0xzdFNwVXllZjd5czNOMWU3ZCsvV29FR0RDbDAyZnZ4NDdkaXhRMWRlZWFYKzhZOS9hTXFVS1FvSUtMck9FeEFRb0ppWUdJMGZQMTQxYTlaVXYzNzl2TXJSc0dGRC9mampqeG8zYnB5bVQ1K3VnSUFBYmQ2OFdZOCsrbWlKajAxTVRKUWtiZG15UmF0V3JWSmdZS0M2ZCs5ZVlKMkhIMzVZSDM3NG9aeE9wenAzN256ZU5wWXVYYW9HRFJwSWtnNGNPS0FsUzVib2lTZWUwTDU5K3dxczE2aFJJNzN6empzS0RnNlcyKzB1c0x4T25UcXFWYXVXVjgrM0lzdmYxbEN0V3JVUDdjNERBQUFBQUNoR2RIUjBpTVBoU0hNNEhHYmZ2bjNHbDA2ZVBHbVNrNU5OM3I0eU1qSk1Sa2FHWjlubzBhUE5uLy84WjdOdDJ6WnovUGh4MDdselp6TjI3Rmh6K3ZUcEVyZTlhTkVpYzhzdHQ1aWZmdnJKNnp4YnQyNDFMVnUyTkZPbVRESEdHSk9UazJOU1UxTkwvREhHbVAzNzk1djI3ZHViMWF0WG02TkhqNW9PSFRxWUNPdjR6QUFBSUFCSlJFRlVqei8rMkxQdDExNTd6ZlRxMWN0a1oyZWJLVk9tbU1jZmY5eGtaV1VWbW1QTW1ESEc0WEFVK2pOOSt2UWlseTFjdU5EcjUxcVJMVisrUE84NWZXYjN2d2NBQUFBQVFBbGlZMk83T2h3TzA3ZHZYNStmTU41eHh4MkZuaEJ2Mzc3ZGRPdld6WFR2M3QzczJiUEhzLzdldlh0TnAwNmRUSzlldmN5MmJkdEszUDZJRVNQTVF3ODlWS3BNczJiTk1rdVhMaTNWWTdLeXNrelhybDNOMUtsVFBmZDk4c2tuNXY3Nzd6ZTV1Ym5HR0dOZWV1a2xzM1hyVm1PTU1VNm4wd3djT05Dc1hidjJ2RzB0WGJyVTNIenp6V2JidG0xbTVjcVY1cW1ubmpJNU9UbkdHR04yNzk1dGJydnROak54NGtSampESFBQdnVzK2VDREQwcVYxUitNSERuU09Cd09FeE1UTThUdWZ3OEFBQUFBNEMzTDdnQjJpWTJObld1TWVYRGt5SkVhT25Tb3ovYzNhdFFvWFhQTk5SbzllclN5czdNMWVmSmtyVml4UWgwN2R2VDB5ZWNYRlJXbEJnMGFLQ0VoUVQxNzl0UXp6enhUNUxiLyt0ZS9hdlBtelpveVpZcnV1T01PWHo0TjdkaXhROWRmZjczYXRXdm51Yy90ZGhmWmhwRzNiTkdpUlo2V2hrMmJObW5zMkxFYVBYcTBCZ3dZb0QvKytFUERoZzFUdTNidDlOQkREMm5nd0lHcVZhdVczbnZ2UFFVSEIydm56cDBhTVdLRTVzeVpvNmlvcUFMYlAzWHFsTjU5OTEydFdiTkdSNDRjVVZoWW1GcTNicTM0K0hqVnExZlBzMTVzYkt6dXZQTk9EUjgrWEZPbVRORjMzMzJub0tBZzNYSEhIUm83ZG15NXQwcWtwYVdwVTZkT2NydmR1VUZCUWZXWmFCRUFBQUNBdjZpU2N5UkVSMGVIR0dONlNDcVgrUkhTMHRLMGRldFdEUnc0VUxHeHNVcE1URlRUcGszMTZxdXZLaTR1cnRBaVFXQmdvRUpDUXZUVlYxL3Awa3N2TFhMYm1abVpTa3hNVkVSRWhONTU1eDNGeGNYSnNncXZENTA2ZFVwSGpoengzSTZNak5US2xTdjEzSFBQZWYxYzh1WkpPSG55LzdOMzUrRlJWWG4rK04rbnFyS1RTb0lpK3hiV0VDVFVMZEl0T0k3RmxoQWdTRzZNdGd5aUtLRzFiYlZ0N2NXMitjMThIYVlaUisxdWwvbmFFd0x0MHRNNkQrU2lyQ0VJUkhzYTU5dWhLZ0VTRmdsYkFJVVJFNUtRcFNwVmRYNS9KRlZXSUJzaHFjcnlmajFQbnNmNjNGdjNmcEtVb2M2blB1ZWNhOGpKeWNHWU1XUGFQTi9oY0dEbXpKbWVuUWtBQUVPR0RNR1BmL3hqTEYrK0hDZE9uTUJUVHoyRnQ5OStHN0d4c2JoMjdSb1NFeFB4NUpOUElqZzRHRURqdWc1Ly8vZC9mME1Sd2VGdzRJa25uc0RSbzBlUmxKVGtYWmh4eDQ0ZEtDZ293SWNmZmdpajBlZzkvOHFWSzNqaWlTY3djK1pNckZxMUNrVkZSZmprazA5UVZsYUc5ZXZYdC9wejZ3N2NyWUdJaUlpSWlIcXJmbGxJaUlxS21pZWw5TnR1RGJ0Mzc4YVlNV013Y2VKRWIyekZpaFV3bTgwM25HdTFXdUZ5dWFEWDYzSHAwaVc4OU5KTCtPeXp6MXE5ZGw1ZUhweE9KMTU1NVJVODhjUVQrT3l6ejJDeFdGbzh0N0N3RUU4Ly9YU3plODJlUFJ0MzNua25nTWFDeCtyVnEvSEFBdy9nL3Z2dmIvZjdldXFwcDJBd3RQMFNrbExlRUl1TmpVVnNiQ3lrbFBpM2YvczNXQ3dXVEo0OEdRQXdjT0RBR3dvclZWVlZ5TTNOeGIvOHk3ODBpLy81ejM5R2NYRXgxcXhaZzZWTGwzcmo5OXh6RDU1Ly9ubHMzTGl4MlNLU05wc05yNzc2S3ViTW1RTUFlT1NSUjdCdTNUcHMzcndaWDN6eEJXYk5tdFh1OTl4VnVGc0RFUkVSRVJIMVZ2MnlrQURnQVFDWU4yK2VYMjZtYVJwU1UxTmJQTFp2M3o0TUdEQUExNjVkdzV3NWMxQmRYUTJMeFFLcjFRcTMyNDFyMTY2MWVlMmNuQng4Ly92Zmg5bHN4cjMzM292czdHemNlKys5TFg2NlBtdldMRml0VnB3OWV4YnA2ZWtBZ0FFREJtREFnQUVBR3JkMERBOFB4K3JWcTJFMEduSDU4bVZFUkVSNGoxL3YzLy85M3p2Y2tkQ1NEei84RUVWRlJYajU1WmRiTEtwY3ozUE84ODgvajJYTGxpRXZMdzlEaGd6QmZmZmQxK3c4aThXQ1VhTkc0ZlBQUDI5V1NKZ3dZWUszaU9DeGJOa3liTjY4R1FVRkJYNHJKSEMzQmlJaUlpSWk2czM2WFNIQjM5TWFBS0MwdEJTLy8vM3Y4ZnZmL3g1QTQ0RDRONy81RFlER2JSejFlbjJiV3oyMjVzQ0JBemg2OUtqM3VxdFdyY0x5NWN1Umw1ZUg1T1RrbTdwV1JVVUZQdnJvSTZ4YXRjbzdIZURuUC84NTdyampEcno2NnFzdFB1ZUpKNTdvVkVjQzBMald3cHR2dmdrQU1CZ015TW5KQVFEVTE5Y2pORFMwMmJrWEwxN0VNODg4NHozSE05WGo3Tm16dU91dXUxb3Ntc1RHeHVMQWdRUE5ZaTExbjR3WU1RSUE4TzIzL3B0ZDRET3Q0Vk5PYXlBaUlpSWlvdDZtM3hVU2pFYmpmQUIrbTlZQWZOZkdYbEZSZ1FjZmZCQjVlWG5leGYyV0xGa0NJVVNyQSs3V09KMU8vTzUzdjhPVUtWTnd6ejMzQUFBbVQ1Nk11WFBuNG8wMzNzQTk5OXlEOFBEd0RsL3ZQLzdqUHhBVEU0T0hIbnJJRzN2cHBaZXdZc1VLZlBUUlIvakJEMzV3dzNQKzhJYy9kS29qNGZ6NTgvanBUMzhLazhtRXYvM3Rid0FhMTJ2WXMyY1BYbjMxVlh6d3dRY1lQSGp3RGRlNi9sNVN5amJYTmJpK09OTlNzYWErdmg0QXZPc3grTU9lUFhzQUFGTEtUWDY3S1JFUkVSRVJVUmZwZDRVRUlVU0dsTkp2MHhvQTRMYmJibXYxOGRhdFd4RVpHZW1kMHRCUjY5ZXZ4NWt6WjVDZG5kMHMvdXl6eitMKysrL0g3MzczTzd6MDBrc2R1bFp4Y1RGeWNuTHcyOS8rRmtGQlFhaXBxVUYxZFRVQTRONTc3OFViYjd5QnhNVEVHeFk3ZlBUUlJ6dlZTZkh4eHg4alBEd2MvL1JQLzRTRkN4ZDY0OS8vL3ZjQkFDKysrQ0t5czdQYnZmYnc0Y054OHVUSkZvK2RQbjM2aGtKUmVYbjVEZWNkUFhvVUFEQjI3TmliK2g0NjYrclZxNTdpQ2FjMUVCRVJFUkZScjlTdkNnbUJtTmJRa3FLaW9wdnVRUEQxMTcvK0ZSczNic1NERHo2STZkT25OenMyYk5nd1BQSEVFM2pqalRjd2ZmcDBMRnEwcU0xck9Sd09QUGZjYzNDNzNWaXpaZzFxYW1xOE95d0VCd2NqTWpJU3djSEJXTE5tRGQ1Ly8zM3ZWSWJYWDM4ZDMvdmU5M0RwMGlVOC8venoyTEpseXczWFZsVVZiN3p4Qms2ZE90VnM1NGtISG5nQVM1Y3V2V0hMUmFQUmlGLzk2bGQ0L3ZubjhaLy8rWjk0K09HSDI4eDk3dHk1eU03T3h0YXRXN0ZreVJKdlBEOC9IMlZsWlhqbW1XZWFuVyt6MlhEczJESEV4Y1VCYU55YWNzT0dEZERwZE4yK2JhWnZicHpXUUVSRVJFUkV2Vm0vS2lSNHBqV01Iei9lYjlNYWdNYTFCcjcrK210ODlkVlhBSUJmL2VwWCtOR1BmZ1FBV0xSbzBVMU5iYkRaYlBqNXozK09LVk9tTkZ0STBOZnk1Y3R4NE1BQnZQenl5eGd3WUFEdXZmZmVac2RQbno0Tm9IRUx4d0VEQnVEWlo1OEZBQXdhTkFneE1UR0lqbzVHVkZRVVFrSkNBQUFuVDU3RUgvN3dCMVJXVmlJcEthbkZlN2EyV0tMdmJnb0E4TW9ycjNpN1FXcHJhMjg0MzJLeFlPWEtsYmo3N3J0Yit4RjRQZkxJSTlpN2R5LysrWi8vR1gvNzI5OHdjZUpFbEpXVllmdjI3WWlQajI4MlRRTm9YQS9oUnovNkVWSlRVeEVURTRQOSsvZWpwS1FFcTFhdHdyQmh3OXE5WDFmZ3RBWWlJaUlpSXFKZXhHdzJ2NmNvaWx5L2ZyMzBwL1Buejh1clY2L0tTNWN1U1VWUnZIRkZVV1JWVlpXVVVzcXFxaXJ2TWJ2ZExxV1U4dUxGaTgzTzM3VnJsN3pycnJ0a2VucTZyS2lvYVBPZUZSVVZjdW5TcFhMR2pCbHkvZnIxMHVGd1NKZkxKZGV2WHkvLzd1LytUcjd3d2dzeU5UVlZhcG9tdi9ycUsrbDBPdHU4bnN2bGtqVTFOYkttcGtiYTdYWnB0OXZsTjk5OEkrKzc3ejY1ZHUxYWI4ejNTMUVVK2VXWFh6YUx1Vnd1N3pWcmFtcWtvaWp5MHFWTGJkNzd6Smt6elg0T3Zpb3JLK1cvL3V1L3l1VGtaUG05NzMxUExscTBTUDcrOTcrWE5UVTF6YzVURkVYKzhwZS9sUHYzNzVmcDZlbnkrOS8vdmt4TFM1TWZmZlJSbS9mdVNoVVZGWExHakJsU1VSVG45NzczdmR2YWY4VVNFUkVSRVJIMVBQMm1JNkZwV3NOU3dQL1RHanc3QXppZHpodU9TU25oZHJ0UlZWVUZ2VjRQcDlPSjB0SlNSRVJFd0dxMWVoZE1mUC85OS9IR0cyOGdQajRlYjc3NUpxS2pvOXU4WjNSME5QN3doei9ncWFlZXdqdnZ2QU1wSmViT25ZdjMzbnNQYjc3NUprd21FN1p0MjRiMzMzOGZhOWV1QlFEbzlYb1lEQWJ2bDE2dmg4UGhnTjF1UjBOREE0S0RnN0ZyMXk2VWw1Zmo4ODgveDUvKzlDZEVSRVRncWFlZWFuV3h3cUNnb0U0dFpGaGFXZ3E3M1k3UTBGRDg5YTkvdldFYWhJZlJhTVF2ZnZFTC9PSVh2K2pRZFMwV3kwMnRSZEdWT0syQmlJaUlpSWo2Z241VFNHaWExbUQwOTdTRzlsUlVWR0RPbkRrUVFtRGh3b1hRNlhUNDRROS9pTnJhV2dRSEIrUHh4eDhIQUtTbXBxS2lvZ0pQUHZsa2h3Zm1nd2NQeG52dnZZZVBQdm9Janp6eUNBd0dBLzdydi83TDI4YWZtcHFLMU5SVVZGVlY0Y3FWSzNBNm5YQzczWEM1WE42cEZrSUlDQ0dnMCtrUUZoYUdpSWdJUFBiWVkzQTRIRWhMUzhQeTVjc1JGaGJXNVQrWHZYdjNJaXNyQ3dBUUVoTGluUXJTbTNGYUF4RVJFUkVSVVM4U3FHa052cHhPcHl3cEtmRStMaTB0bFM2WFM3cmQ3bVl0LzFKS2I3d25xcTJ0N1pMcnVOMXVlZkhpeFJ1K2QxOXRIYnNabnFrTmdjSnBEVVJFUkVSRTFGZjBpNDZFUUU1cjhLWFg2ekZseWhUdlk5L3RGSVVRemM3dHpMYUsvdEpWSFFoQ2lIWVhPZXpKUDRlYndXa05SRVJFUkVUVVYvU0xRa0pQbmRaQS9tTzFXZ042ZjA1cklDSWlJaUtpdnFKdmZOemJ2Z2VBd0hZalVQOVZXVm1Kdi8zdGJ3RGdEQW9LK2pqUStSQVJFUkVSRWQyS1BsOUlHRDkrZkFpQSt3Qmczcng1QWM2RytxUDkrL2Q3cGpYczViUUdJaUlpSWlMcTdmcDhJY0YzV3NPWU1XTUNuUTcxUTV6V1FFUkVSRVJFZlVtZkx5U0EweG9vZ0RpdGdZaUlpSWlJK3BvK1hVamd0QVlLTkU1cklDSWlJaUtpdnFaUEZ4S01SbU1TT0syQkFvalRHb2lJaUlpSXFLL3A2OXMvWmdEQTRNR0RjZVRJa1VEblF2MU1aV1VsL3VkLy9nZmd0QVlpSWlJaUl1cERSS0FUNkU2S29sUUFpQTUwSHRUdjdiYlpiQXNDblFRUkVSRVJFVkZYNk9zZENWa0E1Z0ZvQ0hRaTFHKzVkRHJkdndZNkNTSWlJaUlpSXFLQVVoUkZLb29pQTUwSEVSRVJFUkVSK1ZlZlhteVJpSWlJaUlpSWlMb1dDd2xFUkVSRVJFUkUxR0VzSkJBUkVSRVJFUkZSaDdHUVFFUkVSRVJFUkVRZHhrSUNFUkVSRVJFUkVYVVlDd2xFUkVSRVJFUkUxR0VzSkJBUkVSRVJFUkZSaDdHUVFFUkVSRVJFUkVRZHhrSUNFUkVSRVJFUkVYVVlDd2xFUkVSRVJFUkUxR0VzSkJBUkVSRVJFUkZSaDdHUVFFUkVSRVJFUkVRZHhrSUNFUkVSRVJFUkVYVVlDd2xFUkVSRVJFUkUxR0VpMEFsUXp6ZHQyclE3Z29LQ2x2akdwSlRyQVVBSWtla2JiMmhvMkhyNDhPSC85V2QrUkVSRVJFUkU1RCtHUUNkQVBWOUVSRVMxM1c3L1BZQ0k2NDk1Q2dwTmFpSWlJdjdUZjVrUkVSRVJFUkdSdjNGcUE3WHJpeSsrcUFPd293T25ibTg2bDRpSWlJaUlpUG9vRmhLb28zTGFPMEVJMGU0NVJFUkVSRVJFMUx1eGtFQWRZcmZiZHdLb2IrT1UrdnI2K2wzK3lvZUlpSWlJaUlnQ2c0VUU2cENTa3BKclFvamRiWnlTVzFKU2NzMXZDUkVSRVJFUkVWRkFzSkJBSGVaMnU5dWF1c0JwRFVSRVJFUkVSUDBBQ3duVVlWTEtiUUFhV2pqVTRIYTd0L3M3SHlJaUlpSWlJdkkvRmhLb3c0cUtpcTRDMk52Q29VK2JqaEVSRVJFUkVWRWZ4MElDM1pTV2RtYVFVbkphQXhFUkVSRVJVVC9CUWdMZEZMZmIvUWtBdDAvSXBkUHBQZ2xVUGtSRVJFUkVST1JmTENUUVRTa3NMUHdHd0djK29jK3NWdXVWUU9WRFJFUkVSRVJFL3NWQ0FuV0dkeXBEUzFNZGlJaUlpSWlJcU85aUlZRnVtcFJ5aTgvRExhMmVTRVJFUkVSRVJFUUVBQ2FUNmI4VlJmbExvUE1nSWlJaUlpSWkveklFT2dIcW5acW1OTWhBNTBGRVJFUkVSRVQrSlFLZEFQVTZPa1ZSNWdQNEU0RGJBVlFCZU1CbXMrMUI4OTBjaUlpSWlJaUlxQTlpSVlFNnhHUXlEUk5DckFTd0NzQ1lGazQ1Q3lCYkNMSFJhclYrN2MvY2lJaUlpSWlJeUg5WVNLQldaV1JrNkV0TFM1T0VFS3NCcEFMUUE4RHc0Y09ocWlwbXpacUZBd2NPUU5NMFhMeDQwZk0wRjRCdFVzcXM4ZVBINTIzYXRNa1ZvUFNKaUlpSWlJaW9HN0NRUURkSVNFZ1liakFZSHBOU3JnSXdDZ0FNQmdNc0ZndFVWVVZpWWlKMHV1ODIvSEM3M1Nnb0tJQ21hZGkvZno5Y0xtL3RvRXdJa2UxME9qY2VPblRvNG8xM0lpSWlJaUlpb3Q2R2hRUUMwTmg5Y1ByMDZRVlN5dFVBRnFOcGE5Q1JJMGNpTFMwTnFhbXBHRGh3WUx2WEtTOHZ4N1p0MjZCcEdpNWN1T0FKdTRRUTI0VVFXV1BIanQzTkxnVWlJaUlpSXFMZWk0V0VmaTR4TVhHa3krVjZETURqQUVZQ2pkMEhjK2JNZ2FxcU1Kdk56Ym9QT3NydGRzTnF0VUxUTk96YnR3OU9wOU56Nkx3UUlydWhvV0hqNGNPSEw3UjFEU0lpSWlJaUl1cDVXRWpvaHl3V2k2R3FxaW9Gd0dvQUM5SFVmVEJxMUNpb3FvckZpeGNqSmlhbXkrNVhVVkdCN2R1M1E5TTBsSldWZWNKdUFEc0FaQm1OeHR6OC9IeG42MWNnSWlJaUlpS2lub0tGaEg3RWJEYVBjcnZkandzaEhnY3dIQUNDZ29Jd2QrNWNxS29LUlZFZ1JQZTlKS1NVc05sczBEUU5lL2Z1UlVOREF3QkFDSEZCU3JtaGFjZUhzbll1UTBSRVJFUkVSQUhFUWtJZlo3RllERmV2WGwwa2hGZ3RoRWhCMCs5ODlPalIzdTZENk9ob3YrZDE5ZXBWYjVmQ3VYUG5QR0UzZ0YxU3lxeW9xS2lkN0ZMb25JaUlpSVJ4NDhibG5UeDUwbHhYVjNlMWhWTjBUVisrcXRENDh5Y2lJaUlpSW1vVEN3bDlsTWxrR3EzVDZWWkpLUjhETUF3QWdvT0R2ZDBISnBPcFc3c1BPa3BLaWNMQ1FtK1hnc1BoOEJ6NlNrcTVBY0NHd3NMQ2MyMWNncTR6YU5DZ3B3WVBIdnp6TDcvOE1ubnExS25IcmovZTBOQndPU2dvYUxCdnJMaTRPTTdoY0J6M1g1WkVSRVJFUk5SYkJYNGtTVjNHYkRZSFNTa1hBOGdFc0FCTnY5K3hZOGRDVlZVc1dyUUlVVkZSQWMyeExaV1ZsZGl4WXdkeWNuSnc5dXhaVDFnQ3lCVkNaQUhZWWJWYUd3S1dZQzhSR3h1N3BhR2g0ZUxseTVmZm5qcDE2akdielJZRUFNSEJ3Wk9tVHAxYWJMUFptdjEvcnlpS1pDR0JpSWlJaUlnNnloRG9CT2pXVFpzMmJhekJZUEIwSHd3Qkdyc1A1cytmRDFWVmtaQ1EwQ082RDlvVEZSV0ZaY3VXNGFHSEhzS2hRNGVnYVJyMjdOa2pIQTVIaXBReUJjRFhpcUpzZEx2ZDJVVkZSV2NEblc4UEZXRTBHcE5MUzBzWCtzUThVMFM0N1NZUkVSRVJFZDB5RmhKNktiUFpIT1IydTVjSUlUSUJKS0dwK3lBMk5oYnA2ZWxZdUhBaGpFWmpZSlBzSkNFRXBrK2ZqdW5UcCtPRkYxN0F6cDA3a1pPVGc5T25UdzhGOEpKT3AvdVZvaWg1QUxLRUVOdllwZkNkbUppWU5KMU9GK1p3T0M3NWhLTUJ3R0F3UkRZOUh1TC96SWlJaUlpSXFLL28rUjlUVXpPSmlZbXhUcWN6RThCS0ljUmdvTEg3SUNrcENhcXFZdHEwYWIyaSsrQm1TU2x4K1BCaGFKcUd2THc4NzFvS1VzckxBRFlhRElic2dvS0MwNEhOTXZBbVRacDBJQ0lpWW1aeGNYRWNBTFMwUm9LVTB1NzdXQWdSd3FrTlJFUkVSRVRVVVgxdnhOa0h4Y2ZIQjRlR2h0N25kcnN6aFJEelBmRng0OFloUFQwZEtTa3B2YmI3b0RPcXFxcXdhOWN1NU9UazROU3BVOTY0bEhJUGdDeUh3N0cxcEtURTBmb1YrcWJJeU1oWjQ4YU4rMVNuMDRYNUZoSjgxa1M0WThTSUViKzZjT0hDVDN5Zk4zYnMyRCtkT1hQbVp3Qys5bmZPUkVSRVJFVFUrN0NRMElNcGlqSWVqUXNucmdRd0NBQkNRa0tRbkp3TVZWVXhkZXJVUHRsOTBGRlNTaFFYRjBQVE5PemV2UnQydS9lRDl2OFZRdnhSU3BsdHM5bEtBNW1qUDAyY09IRmZUVTFONGVEQmczL2FTaUVCUU9QaWl0Yy8xMjYzbnlvcEtSbnZyMXlKaUlpSWlLajM2citqMEI0cVBqNCtPQ1FrWkNtQTFRRG1ldUlUSmt4QWVubzZGaXhZZ01qSXlOWXYwRTlWVjFjak56Y1hPVGs1T0hueXBPK2h2UUN5N0hiN3gzMjlTMkg4K1BHN1NrdExseXVLY3FXMXFRMFhMMTU4OGZiYmIzLzgxS2xUOCt2cjZ5OEFDRE9aVE9YVjFkVjdybHVna1lpSWlJaUlxRVZjYkxHSFNFaEltS2pYNjFjQmVCUk4zUWVob2FGWXNHQUJWRlhGbENsVCtuWDNRWHNpSXlPUmtaR0IrKysvSHlVbEpkNHVoZnI2K3JrQTVvYUVoSHlqS01xN2JyZDdmVkZSMGNsMkw5Z0xsWmFXWmdDNGRuM2NaclBGK0R5c0N3OFBONFdGaGMycXI2Ly9zOUZvdkVjSVlTZ3ZMOS9rdjB5SmlJaUlpS2czNDhnMGdNYVBIeDhTR1JtWkpvUllEV0MySno1cDBpU29xb3FVbEJSRVJFUUVNTVBlN2RxMWE4ak56WVdtYVRoeDRvVHZvZjFTeXF6cTZ1b3RwYVdsOXRhZTMxc3BpaUxibXRvd2NPREFsUU1IRG55Z3RMUTBaZHk0Y1orRWg0ZlBPSExrU0N5QVB2ZXpJQ0lpSWlLaXJzZENRZ0RNbURGamtzdmx5aFJDUEFyZ05nQUlDd3Z6ZGgvRXhjV3grNkFMU1NseDlPaFJiNWRDWFYyZDU5QzNVc3AzOVhyOStvTUhENTVvNnhxOXlmV0ZCTjlqZHJ2OVJFbEpTV0pDUXNMRnk1Y3Z2enBzMkxEL2MrclVxUWNxS3lzM0J5WmJJaUlpSWlMcWJUaGE5Uk9MeFJKYVhWMnRTaWxYQTdqWEU0K0xpNE9xcWxpd1lBSEN3OE1EbUdIbm1NMW1KQ1VsWWQyNmRkMzIvRXVYTG1IOSt2WDR5MS8rZ3NyS1Nvd2VQUnFabVptWVAzOStxODlwVFUxTmpiZEw0Zmp4WnJzZGZpYUV5SXFNak5UeTgvUHJiLzQ3NlRsYTZFanduZHJnQWxBOWRPalF0VU9IRG4zcHlwVXJiNVdWbFQwVG1FeUppSWlJaUtnMzRob0ozVXhSbERnQW1aV1ZsWThJSVFZQ1FIaDRPRkpTVXBDV2xvYTR1TGdBWjlqemZmTEpKN0JhclZpNmRDbjBlajF5Y25MdzRvc3ZJaVltQmpObXpMaXBhMFZFUkNBOVBSM3A2ZWs0ZHV3WU5FMURibTR1YW10cjc1VlMzbHRaV1ZtdUtNcDdBTmJiYkxaajdWNndkN2pxK3lBc0xHekV3SUVENzVkUzJpTWpJeGVHaDRlL1YxdGJhdzFVY2tSRVJFUkUxTHV3a05BTlpzNmNHV2EzMjlQUnVQUENQUUFnaE1DVUtWT1FucDZPcEtTa1h0bDlFQ2gzM1hVWFZxNWNpZURnWUFDQXhXTEJzbVhMc0dmUG5wc3VKUGlLaTR2RFN5KzloT2VlZXc2N2QrK0dwbWs0ZXZUb1FBRFBBWGhPVVpTL0FNZ0tDUW5KK2VLTEwrcmF1Vnl2RUIwZHJZNGNPZkwvT2h5TzQyZk9uSmt6Yk5pd2paTW1UZnAvNWVYbDczMzk5ZGUvZFRnY0pZSE9rWWlJaUlpSWVqWVdFcnBRUWtKQ3ZGNnZ6N1RiN1NzQXhBQ04zUWNMRnk2RXFxcVlOR2xTZ0RQc25SSVNFcG85SGpWcUZBREE2WFIyeWZYRHc4T1JscGFHdExRMEhEOStIRnUyYk1IT25UdFJXMXQ3RDRCNzdIYjdtNHFpdkMrbHpDb3NMRHphSlRjTmdJRURCejQrWnN5WTlkOTg4ODA3NTgrZi95a0FlMmxwYWNvZGQ5eng1TkNoUTllNjNXNzcrZlBuZnhUb1BJbUlpSWlJcUdmakdnbTNhT2JNbVdIMTlmVVpBRllMSWU3MnhPUGo0NUdlbm83NTgrZDNhL2RCWFYwZE5tellnTHk4UEZ5K2ZCbEdveEYzMzMwM25ucnFLUXdhTk1oN25tY3RnaC8rOElkNDdiWFhjT2pRSVJnTUJzeWVQUnZQUGZjY0lpTWp1eVcvRjE5OEVYbDVlYkJhdTY1emZzdVdMVmk3ZGkzV3JWdUhwS1NrTHJ1dXI5cmFXdVRsNVVIVE5KU1VmUGNodlpUeXJ3Q3lRa05ETi9YVUxvWGJiNzk5MVpVclZ6WUJrREV4TVVzcUtpcisxSFFvS0R3OGZHcHRiVzFoQzArTFF1T3VEYjE2ZlFnaUlpSWlJdXArTENSMDBvd1pNNlpLS1ZkTEtSOEdFQTAwenI5ZnRHZ1IwdExTTUhIaXhHN1B3ZUZ3SURNekUwZVBIa1ZTVWhJbVRweUlzckl5N05peEE3ZmRkaHMrL1BCREdJMUdBSTJGQkVWUmNQNzhlY3ljT1JOanhveEJVVkVSUHYvOGM1aE1KcXhmdjk2N1U4UlhYMzNWNW4ySERSdlc0Unk3dXBCdzVNZ1JQUEhFRXpDWlRIanJyYmY4c3J2RmlSTW52RjBLTlRVMW52QlZJY1FIUW9pc2d3Y1BGbmQ3RWtSRVJFUkVSRDBFQ3drM1NWR1VOQUNhYit6T08rOUVlbm82NXMyYmg3Q3dNTC9sOHU2NzcrS3R0OTdDbWpWcnNIVHBVbTg4UHo4Znp6Ly9QQjUrK0dIODVDYy9BZEJZU0FDQVYxOTlGWFBtelBHZXUyN2RPbXpldkJsdnZmVVdaczJhMWV6YzF0eE1VYUFyQ3dubno1L0hpaFVyTUhUb1VHUm5aL3Q5blltNnVqcnMyYk1IbXFiaHlKRWoxeDlXYlRiYkZyOG1SRVJFUkVSRUZBQmNJK0htZmVEN1lPM2F0VWhKU1FsSUlubDVlUmd5WkFqdXUrKytabkdMeFlKUm8wYmg4ODgvOXhZU0FHRENoQW5OaWdnQXNHelpNbXpldkJrRkJRWGVRc0xycjc5K1MzbjVkalRVMWRYZEVMdVpqZ1pmcjd6eUNob2FHdkRiMy80MklJdFZob1dGWWNtU0pWaXlaQWwyN3R5Sk5XdlcrQjcrUUZHVUNKL0gwdWZyK3NjM0haZFNTZ0FRUW5RbzdvazFIZmRYM0p1M2xGTDY1SFRMY1NubC94UVdGdjVqeTc4WklpSWlJaUx5SnhZU2J0N0RBSExRMU0zeDYxLy9HaDk5OUpGM1BRUi9kaVNjUFhzV2Q5MTFWNHZ0L2JHeHNUaHc0RUN6Mk9qUm8yODRiOFNJRVFDQWI3LzkxaHV6V0N5M2xGZHFhbXFic2M1MkoxaXRWc3ljT1JORGhnenBkRzYzb3E2dXpydHVRbkZ4czlrTUVvMnZDOTlPRllFdTdQaHBiUXBIVzFNN21tb01mbyszbFZkbjQwS0lKQUFzSkJBUkVSRVI5UUFzSk55a3B2WjEzWXdaTTZhNlhLNU1JY1NLNHVMaTZPTGlZcnoyMm10WXVIQWgwdExTL0xKRGc1U3l6WUdrVHFkcjh6RUExTmMzcnEzbjJWb1J1UFUxRW53N0dqNzQ0QU1VRlJYZGNwY0RBRVJHUmlJa0pPU1dyM096VHB3NEFVM1RzR3ZYcm1ackpFZ3AzOWZyOWV0OTFrandGQTlFUmthRytPYWJid1FBVkZkWGkvcjZlbUczMjhXSUVTT0UzVzRYQU9Cd09FUkRRNE53dVZ3aU9qcGFPSjFPQVFCT3AxTzRYQzdoY3JuRWdBRURoTXZsRWdEZ2NybUUyKzBXTHBkTGhJV0ZDYmZiTFFEQTdYWUx6NWVVVWdCQVNFaElzNWpuWEUvY0UvT2NIeFFVSktTVTNpL1ArZGZIUGVjYkRJWWJZbEpLY1ROeEFFS3YxN2NiQjVEYjliOVZJaUlpSWlMcUxCWVNPcWxwOFBqc3pKa3pmMWxmWDMrL0VHSjFUVTNOMzIzYXRBbWJObTFDZkh3OFZGVkZVbEpTdDdYaER4OCtIQ2RQbm16eDJPblRwMi9vUUNndkw3L2h2S05IRzNjekhEdDJyRGZXVWtlQnIvWTZDbnc3R25idjNuMURyTE0wVFd1eEdOSWRXdHUxQWNCL1N5bXpRa05ETjdleWE0TUVJRGR0MnRUaWRVdExTN3NoMjc1TlVaUkFwMEJFUkVSRVJENVlTTGhGVFlQSkR3QjhZREtacGdnaE1nRThVbEpTRWxOU1VvTFhYMy9kMjZVd2VmTGtMcjMzM0xsemtaMmRqYTFidDJMSmtpWGVlSDUrUHNyS3l2RE1NODgwTzk5bXMrSFlzV09JaTRzREFMamRibXpZc0FFNm5RNnpaOC8ybnRjVjNRUGRwYnM3RW80ZlArN3RQcWl0cmZXRUt3QzhKNlZjWDFoWWVMUmJFeUFpSWlJaUl1cmh1R3RETjdCWUxLRlZWVlhwQUZZRCtIdFBQQzR1RHVucDZVaE9UdTZTTG9YYTJscXNXTEVDNTg2ZFEzSnlzbmY3eCszYnQyUGl4SW5JenM3MlRsa3dtODBZTldvVXJsNjlpdFRVVk1URXhHRC8vdjBvS1NuQnFsV3I4T1NUVDk1eVBpM3B5bDBiVWxOVGtaU1VoS2VmZnJvTE12dE9iVzB0Y25Oem9Xa2FqaDA3NW52b2N3QlpScU14Sno4L3Y3NUxiMG9kcGlpS0JBQ2J6Y2EvVjBSRVJFUkVQUURmbUhjenM5azhHVUNtMisxK1ZBZ3hFQURDdzhPeFlNRUNxS3JxN1E3b3JLcXFLcnp6emp2WXYzOC9LaW9xTUdqUUlNeWZQeCtabVpuTmloVm1zeGxSalBNVEFBQWdBRWxFUVZSSlNVbElUazdHMjIrL2pRc1hMbURZc0dGNDhNRUg4ZUNERDk1U0R2NnlZc1VLSkNVbFlmbnk1VjF5dmFOSGowTFROT1RtNW5wM2x3RHdyUkRpUFFEcnJWYnI4UzY1RWQwU0ZoS0lpSWlJaUhvV3ZqSDNFNHZGRWxwWldaa0dZTFVRd3VLSlQ1NDhHYXFxWXNHQ0JZaUlpR2o5QXJmSVUwaFl0MjVkdDkyak42aXBxY0d1WGJ1Z2FScE9uRGpoalVzcDh3RmtSVVZGYldIM1FjL0NRZ0lSRVJFUlVjL0NOK1lCTUdQR2pFbHV0M3NWZ0VjQjNBNEFZV0ZoU0U1T2hxcXFtREpsU3B1N01YUkdmeTRrU0NtYmRSOTRkcW9BY0FYQXV6cWRMdnZnd1lNbjJyZ0VCUkFMQ1VSRVJFUkVQUXNYV3d5QXBrSHJ6OGFQSC85cm85RzRGTURxdXJxNk9SOS8vREUrL3ZoalRKbzB5ZHVsTUdEQWdFQ24yMnRkdTNiTjIzM3c1WmRmK2g3YUJ5Q3JxcXJxNDlMU1VudUEwaU1pSWlJaUl1cVYrQWxmRHpGOSt2UUpPcDF1RllDVkFBWUJRR2hvcUxkTElUNCsvcGE2RlBwTFI0S1VFc1hGeGRBMERYbDVlYjdkQjk4QStLUGI3YzR1S2lwcWVjOU1Dcmp4NDhlSHhNVEV4UGpHWEM3WDF3Q2cxK3VIK3NZcktpb3FXQWdpSWlJaUl2SS9GaEo2bVBqNCtPRFEwTkQ3cEpTckFjenp4Q2RNbUFCVlZaR1Nrb0xJeU1nQVp0Z3pWVmRYZTdzUFRwNXNWaWY0VkFpUlZWOWYvMGxKU1lralVQbFJ4eVFtSmc1eHVWeGZvZjIvVFc2OVhqKzhvS0Rna2oveUlpSWlJaUtpNzdDUTBJT1p6ZVp4QURLbGxDc0IzQUVBSVNFaFNFcEtncXFxdVBQT083dDhMWVhlUkVxSkkwZU9lTHNQN0hidmg5UC9LNlhjcU5QcHNxMVc2NmxBNWtnM1QxR1VmQUQzdG5QYVp6YWJ6ZEw5MlJBUkVSRVIwZlg2N3lpMEY0bVBqdzhPRGc1ZUlvVElCSkRraVk4Yk53NnFxbUxod29Vd0dvMEJ6TkMvcXFxcXNIUG5UbWlhaGxPbm10VUo4cVNVV1E2SFl4dTdEM292azhuMHRCRGl6WFpPZTlwbXM3M3RsNFNJaUlpSWlLZ1pGaEo2bWNURXhGaW4wN2tLd0dOQ2lNRUFFQndjN08xU21EWnRXcC9zVXBCUzR2RGh3OTd1QTRmRFd5ZTRCR0NqWHEvZlVGQlFjRHFBS1ZJWFNVaElHSzdYNnkrMGRZN0w1UnB4Nk5DaGkvN0tpWWlJaUlpSXZ0UDNScHo5aE5sc0RwSlNwZ0xJQkpDTXB0OWxiR3dzVkZYRm9rV0wra1NYUWxWVkZYYnMyQUZOMDNENnRMZE9JQUhzQnBBbGhOaHV0Vm9iQXBjaGRRZEZVYjRBY0Zjcmg3K3cyV3l6L0prUEVSRVJFUkY5aDRXRVBtRDY5T2xqbW5aOGVBekFVS0N4UzJIZXZIbFFWUlhUcDAvdlZWMEtVa29VRlJWQjB6UjgrdW1udnQwSFh3c2hOcmhjcmcxRlJVVm5BNWdpZFRPejJmeUNsUExWbG80SklWNndXcTJ2K3pzbklpSWlJaUpxMUh0R2w5UXVzOWtjQkdDUjIrM09GRUtrb09uM08yYk1HS2lxaXNXTEZ5TXFLaXF3U2JhaHNySVMyN2R2aDZacE9IdjJyQ2NzcFpTN3BKUlowZEhSTy9Mejg1MEJUSkg4Wk5xMGFXTU5Ca09MVTFXY1RtZnM0Y09Iei9nN0p5SWlJaUlpYXNSQ1FoOWxNcGxHQTNoY0NQRTRnR0VBRUJRVWhMbHo1MEpWVlNpSzBpTzZGS1NVc05sczBEUU5lL2Z1UlVPRGQ1YkNSU25sQmdBYkN3c0x6d1V3UlFvUVJWRnNBRXpYaFcwMm04MGNpSHlJaUlpSWlLaFI0RWVTMUswc0ZvdWhzckp5b1JCaU5ZQVVBRG9BR0QxNnRMZExJVG82MnU5NVhiMTYxZHQ5Y082Y3QwN2dCckFUUUpiUmFOekY3b1ArVFZHVWx3Q3N2Uzc4a3MxbSswMGc4aUVpSWlJaW9rWXNKUFFqWnJONWxKVHlNU0hFNDFMS0VVQmpsOEtjT1hPZ3Fpck1abk8zZGlsSUtXRzFXcUZwR3ZidDIrZnRQaEJDWEpCU1p1djErbzBGQlFYbnV5MEI2bFhNWnZOa0tlVXgzNWhPcDV0ODhPREJFNEhLaVlpSWlJaUlXRWpvbHl3V2k2R3FxbW9CZ05VQUZxR3BTMkhVcUZGSVMwdkQ0c1dMTVhEZ3dDNjdYM2w1T2JadjM0NHRXN2Fnckt6TUUzWUQyQzZFeUlxTmpjM2R0R21UcTh0dVNIMkdvaWdsQUtZQWdCQ2l4R3ExVGcxd1NrUkVSRVJFL1I0TENmM2N0R25UUmdRRkJUMG1wVndGWUNRQUdBd0d6SjQ5RzZxcVlzYU1HZERwZERkOVhiZmJqWU1IRDBMVE5PemZ2eDlPcDNlV1Fwa1FJcnVob2VHUGh3OGZ2dEIxM3duMVJTYVQ2V1VoeEJvQWtGSytYRmhZK0krQnpvbUlpSWlJcUw5aklZRUFBQmtaR2Zvelo4NGtTeWxYU3lrWEE5QUR3SWdSSTVDV2xvWWxTNVowcUV1aHZMd2NXN2R1eFpZdFczRGhncmRPNEFLd1RVcVpOWDc4K0R4MkgxQkhtVXltQkNGRVVkUERCSnZOZGppZ0NSRVJFUkVSRVFzSmRLT0VoSVRoT3AxdXBSQWlFOEFvb0xGTHdXS3hRRlZWSkNZbU51dFNjTHZkS0NnbzhIWWZ1RnplT3NFNUtXVTJHbmRlK01ydjN3ajFCVUpSbElzQXBNMW1Hd0ZBQmpvaElpSWlJcUwram9VRWFsVkdSb2IrMUtsVDg5RzRsc0lTTkhVcERCOCtIR2xwYVpnMWF4WU9IRGlBTFZ1MjRPTEZpNTZudVFCc0JaQTFidHk0UGV3K29GdWxLTW9yUWdocHRWcC9HZWhjaUlpSWlJaUloUVRxSUxQWlBGUkt1UkpBSm9BeExaeHlGc0I2SWNRZnJWYnIxLzdNamZva25hSW84NldVN3draEJrc3BhNFFRNlRhYmJROGFGK29rSWlJaUlxSUFZU0dCYnBiT2JEYlBrMUt1QnBBQ1lKY1FJc3RxdFg0S0R2RG9GcGxNcG1GQ2lKVUFWcUgxZ2xXMkVHSWpDMVpFUkVSRVJJSEJRZ0oxaXFJb0VnQnNOaHRmUTNSTE1qSXk5S1dscFVsQ2lOVUFVdUV6aFVaVlZlOFVHazNUcnA5Q3d3VThpWWlJaUlnQ2dJTkE2aFFXRXVoV0pTUWtERGNZREo2dFIyOWxVYzh5SVVTMjArbmNlT2pRb1lzMzNvbUlpSWlJaUxvU0I0SFVLU3drVUdka1pHVG9UNTgrdmFCcGFzeGlBRG9BR0RseUpOTFMwcENhbXRyaGJVYTNiZHNHVGRPYWJUTXFoTmd1aE1nYU8zYnNibllwRUJFUkVSRjFEdzRDcVZOWVNLQ2JrWmlZT05MbGNqMEc0SEVBSTRIRzdvTTVjK1pBVlZXWXplWm0zUWNkNVhhN1liVmFvV2thOXUzYkI2ZlQ2VGwwWGdpUjNkRFFzUEh3NGNNWDJyb0dFUkVSRVJIZEhBNENxVk5ZU0tEMldDd1dRMVZWVlFvYXR3OWRpS2J1ZzFHalJrRlZWU3hldkJneE1URmRkcitLaWdwczM3NGRtcWFockt6TUUzWUQyQUVneTJnMDV1Ym41enRidndJUkVSRVJFWFVFQjRIVUtTd2tVR3ZNWnZNb3Q5djl1QkRpY1FEREFTQW9LQWh6NTg2RnFxcFFGQVZDZE4vTFJrb0ptODBHVGRPd2QrOWVORFEwQUFDRUVCZWtsQnVhZG53b2ErY3lSRVJFUkVUVUNnNENxVk5ZU0NCZkZvdkZjUFhxMVVWQ2lOVkNpQlEwL1cwWlBYcTB0L3NnT2pyYTczbGR2WHJWMjZWdzd0dzVUOWdOWUplVU1pc3FLbW9udXhSdVRVUkVSTUs0Y2VQeVRwNDhhYTZycTd2YXdpbTZwaTlmVmVCMnNVUkVSRVM5RmdlQjFDa3NKQkFBbUV5bTBUcWRicFdVOGpFQXd3QWdPRGpZMjMxZ01wbTZ0ZnVnbzZTVUtDd3M5SFlwT0J3T3o2R3ZwSlFiQUd3b0xDdzgxOFlscUJXREJnMTZhdkRnd1QvLzhzc3ZrNmRPblhycyt1TU5EUTJYZzRLQ0J2dkdpb3VMNHh3T3gzSC9aVWxFUkVSRVhTbnc3L0NwVjJJaG9mOHltODFCVXNyRkFESUJMRURUMzVHeFk4ZENWVlVzV3JRSVVWRlJBYzJ4TFpXVmxkaXhZd2R5Y25Kdzl1eFpUMWdDeUJWQ1pBSFlZYlZhR3dLV1lDOFRHeHU3cGFHaDRlTGx5NWZmbmpwMTZqR2J6UllFQU1IQndaT21UcDFhZlAzZkNFVlJKQXNKUkVSRVJMMmJJZEFKRUZIdk1HM2F0TEVHZzhIVGZUQUVhT3crbUQ5L1BsUlZSVUpDUW8vb1BtaFBWRlFVbGkxYmhvY2VlZ2lIRGgyQ3BtbllzMmVQY0RnY0tWTEtGQUJmSzRxeTBlMTJaeGNWRlowTmRMNDlYSVRSYUV3dUxTMWQ2QlB6VEJYaDlwdEVSRVJFZlJRTENVVFVLclBaSE9SMnU1Y0lJVElCSktHcCt5QTJOaGJwNmVsWXVIQWhqRVpqWUpQc0pDRUVwaytmanVuVHArT0ZGMTdBenAwN2taT1RnOU9uVHc4RjhKSk9wL3VWb2loNUFMS0VFTnZZcFhDam1KaVlOSjFPRitad09DNzVoS01Cd0dBd1JEWTlIdUwveklpSWlJaW9PL1g4ancrcFIrTFVocjR0TVRFeDF1bDBaZ0pZS1lRWUREUjJIeVFsSlVGVlZVeWJOcTFYZEIvY0xDa2xEaDgrREUzVGtKZVg1MTFMUVVwNUdjQkdnOEdRWFZCUWNEcXdXZllja3laTk9oQVJFVEd6dUxnNERnQmFXaU5CU21uM2ZTeUVDT0hVQmlJaUlxTGVyZStOQk1ndldFam9lK0xqNDRORFEwUHZjN3ZkbVVLSStaNzR1SEhqa0o2ZWpwU1VsRjdiZmRBWlZWVlYyTFZyRjNKeWNuRHExQ2x2WEVxNUIwQ1d3K0hZV2xKUzRtajlDbjFiWkdUa3JISGp4bjJxMCtuQ2ZBc0pQbjhUN2hneFlzU3ZMbHk0OEJQZjU0MGRPL1pQWjg2YytSbUFyLzJkTXhFUkVSRjFEUTRDcVZOWVNPZzdGRVVaajhhRkUxY0NHQVFBSVNFaFNFNU9ocXFxbURwMWFwL3NQdWdvS1NXS2k0dWhhUnAyNzk0TnU5MzdBZnYvQ2lIK0tLWE10dGxzcFlITU1SQW1UcHk0cjZhbXBuRHc0TUUvYmFXUUFPQzd2eFcrN0hiN3FaS1NrdkgreXBXSWlJaUl1bGIvSFIzUUxXRWhvWGVMajQ4UERna0pXUXBnTllDNW52aUVDUk9RbnA2T0JRc1dJREl5c3ZVTDlGUFYxZFhJemMxRlRrNE9UcDQ4Nlh0b0w0QXN1OTMrY1gvcFVoZy9mdnl1MHRMUzVZcWlYR2x0YXNQRml4ZGZ2UDMyMng4L2RlclUvUHI2K2dzQXdrd21VM2wxZGZXZTZ4Wm9KQ0lpSXFKZWhJc3RFdlVqQ1FrSkUvVjYvU29BajZLcCt5QTBOQlFMRml5QXFxcVlNbVZLdis0K2FFOWtaQ1F5TWpKdy8vMzNvNlNreE51bFVGOWZQeGZBM0pDUWtHOFVSWG5YN1hhdkx5b3FPdG51Qlh1eDB0TFNEQURYcm8vYmJMWVluNGQxNGVIaHByQ3dzRm4xOWZWL05ocU45d2doRE9YbDVadjhseWtSRVJFUmRUVVdFb2o2dVBIang0ZEVSa2FtQ1NGV0E1anRpVSthTkFtcXFpSWxKUVVSRVJFQnpMRDNFVUpnNnRTcG1EcDFLbjc2MDU4aU56Y1htcWJoeElrVGd3RDhUS2ZUL1V4UmxQMVN5cXpxNnVvdHBhV2w5bll2MnZ2Y1VFUm9jdFgzUVdWbFplNXR0OTMyY0VWRnhaOEhEUnIwdzRhR2hxL0t5OHYvN0lmOGlJaUlpS2liOEtOSDZoUk9iZWo1WnN5WU1jbmxjbVVLSVI0RmNCc0FoSVdGZWJzUDR1TGkySDNRaGFTVU9IcjBxTGRMb2E2dXpuUG9XeW5sdTNxOWZ2M0Jnd2RQQkRMSDdxQW9pbXh0YW9QZGJqOVJVbEtTbUpDUWNQSHk1Y3V2RGhzMjdQK2NPblhxZ2NyS3lzMkJ5WmFJaUlpSXVnSkhFZFFwTENUMFRCYUxKYlM2dWxxVlVxNEdjSzhuSGhjWEIxVlZzV0RCQW9TSGh3Y3d3MXRqTnB1UmxKU0VkZXZXZGNtNWx5NWR3dnIxNi9HWHYvd0ZsWldWR0QxNk5ESXpNekYvL3Z4V245TVJOVFUxM2k2RjQ4ZWI3WEw0bVJBaUt6SXlVc3ZQejYrL3BadjBFTmNYRXE2YjJ1QUNVRDEwNk5DMVE0Y09mZW5LbFN0dmxaV1ZQUk9ZVEltSWlJaW9xM0JxQTFFZm9DaEtISURNeXNyS1I0UVFBd0VnUER3Y0tTa3BTRXRMUTF4Y1hJQXo3SmsrK2VRVFdLMVdMRjI2RkhxOUhqazVPWGp4eFJjUkV4T0RHVE5tZFBxNkVSRVJTRTlQUjNwNk9vNGRPd1pOMDVDYm00dmEydHA3cFpUM1ZsWldsaXVLOGg2QTlUYWI3Vmk3Rit4ZG1rMXRDQXNMR3pGdzRNRDdwWlQyeU1qSWhlSGg0ZS9WMXRaYUE1VWNFUkVSRWQwNkZoS0llcW1aTTJlRzJlMzJkRFR1dkhBUDBEaDNmOHFVS1VoUFQwZFNVbEt2N2o3d2g3dnV1Z3NyVjY1RWNIQXdBTUJpc1dEWnNtWFlzMmZQTFJVU2ZNWEZ4ZUdsbDE3Q2M4ODloOTI3ZDBQVE5CdzllblFnZ09jQVBLY295bDhBWklXRWhPUjg4Y1VYZGUxY3JsZUpqbzVXUjQ0YytYOGREc2Z4TTJmT3pCazJiTmpHU1pNbS9iL3k4dkwzdnY3NjY5ODZISTZTUU9kSVJFUkVSRGVQaFFTaVhpWWhJU0ZlcjlkbjJ1MzJGUUJpZ01idWc0VUxGMEpWVlV5YU5DbkFHZlllQ1FrSnpSNlBHalVLQU9CME9ydjhYdUhoNFVoTFMwTmFXaHFPSHorT0xWdTJZT2ZPbmFpdHJiMEh3RDEydS8xTlJWSGVsMUptRlJZV0h1M3lCUHhzNE1DQmo0OFpNMmI5Tjk5ODg4NzU4K2QvQ3NCZVdscWFjc2NkZHp3NWRPalF0VzYzMjM3Ky9Qa2ZCVHBQSWlJaUlycDVuTjlPbmNJMUV2eHI1c3laWWZYMTlSa0FWZ3NoN3ZiRTQrUGprWjZlanZuejUvdWwrNkN1cmc0Yk5teEFYbDRlTGwrK0RLUFJpTHZ2dmh0UFBmVVVCZzBhNUQzUHN6N0JEMy80UTd6MjJtczRkT2dRREFZRFpzK2VqZWVlZXc2UmtaSGRubXRuYk5teUJXdlhyc1c2ZGV1UWxKVFU3ZmVycmExRlhsNGVORTFEU2NsM0g4NUxLZjhLSUNzME5IUlRUKzlTdVAzMjIxZGR1WEpsRXdBWkV4T3pwS0tpNGs5Tmg0TEN3OE9uMXRiV0ZyYnd0Q2dBZGdCOVlwMElJaUlpb3Y2R2cwRHFGQllTL0dQR2pCbFRwWlNycFpRUEE0Z0dHdWZmTDFxMENHbHBhWmc0Y2FMZmNuRTRITWpNek1UUm8wZVJsSlNFaVJNbm9xeXNERHQyN01CdHQ5MkdEei84RUVhakVVQmpJVUZSRkp3L2Z4NHpaODdFbURGalVGUlVoTTgvL3h3bWt3bnIxNi8zN2hqeDFWZGZ0WG5mWWNPR2RmdjNCZ0JIamh6QkUwODhBWlBKaExmZWVzdnZPMXFjT0hIQzI2VlFVMVBqQ1Y4VlFud2doTWc2ZVBCZ3NWOFRJaUlpSWlKcUJRZUIxQ2tzSkhRdlJWSFNBR2krc1R2dnZCUHA2ZW1ZTjI4ZXdzTEMvSjdUdSsrK2k3ZmVlZ3RyMXF6QjBxVkx2Zkg4L0h3OC8venplUGpoaC9HVG4vd0VRR01oQVFCZWZmVlZ6Smt6eDN2dXVuWHJzSG56WnJ6MTFsdVlOV3RXczNOYlk3VjIvN3A4NTgrZng0b1ZLekIwNkZCa1oyY0hkRzJKdXJvNjdObXpCNXFtNGNpUkk5Y2ZWbTAyMjVaQTVFVkVSRVJFNU1GQklIVUtDd25kUzFHVWF3QWlQSS9YcmwyTGxKU1VBR1lFTEZ1MkRKV1ZsZGkrZmZzTm45YW5wYVZCQ0FGTmE2eDltTTFtVEpnd0FSOTk5Rkd6ODg2ZE93ZFZWYkZpeFFvOCsreXpBQm9MRVcyeFdDeXRIbXVwbTZFekhRdy8vdkdQVVZSVWhNMmJOMlBJa0NFMy9menVzblBuVHF4WnM4WTNWQU9mMXdVQTZmTjEvZU5PeGFTVVVnalJWcnpaOHoweEtlVU4xeFJDeUE3RzRibVdUeHkrOTJpSzM1QzdKKzZUcy9mNTEzMHYzdWUzOXoxS0tmK25zTER3SDBGRVJFUkVMZUppaTBROTA4TUFjdEJVN1B2MXIzK05qejc2eUxzZVFpQTZFczZlUFl1NzdycXJ4WmIvMk5oWUhEaHdvRmxzOU9qUk41dzNZc1FJQU1DMzMzN3JqYlZWS0doUGFtcnFEYkhPZERCWXJWYk1uRG16UnhRUjZ1cnF2T3NtRkJjM204MGcwZmk2OE8xVUVlamlnbkJyVXpwYWkzODN2dS80c2E2S3Q1VlhXOGZhaXdzaGtnQ3drRUJFUkVUVUNoWVNpSHFncHZaMTNZd1pNNmE2WEs1TUljU0s0dUxpNk9MaVlyejIybXRZdUhBaDB0TFMvTHBEZzVTeXpVR2JUcWRyOHpFQTFOYzNycTNuMlc0UnVMVTFFbDUvL2ZVMm45dFJrWkdSQ0FrSjZaSnJkZGFKRXllZ2FScDI3ZHJWYkkwRUtlWDdlcjErdmM4YUNaN2lnY2pJeUJEZmZQT05BSURxNm1wUlgxOHY3SGE3R0RGaWhBQUF1OTB1SEE2SGFHaG9FQzZYU3dCQWRIUzBjRHFkd3VsMGVtTXVsMHNNR0RCQXVGd3U0WEs1aE52dDlzYkR3c0tFMiszMnhqei9MYVVVSVNFaE44UTg1NFdFaERTTFNTa0ZBQVFGQlFrcHBmZkw4M3pmT0FCNC90dGdNTndRYXk5K2ZhenA1d1c5WG4vRHZRRUkzemlBM0s3KzNSSVJFUkgxTlN3a0VQVmdUWVBIWjJmT25QbkwrdnI2KzRVUXEydHFhdjV1MDZaTjJMUnBFK0xqNDZHcUtwS1NrcnA5WHYvdzRjTng4dVRKRm8rZFBuMzZoZzZFOHZMeUc4NDdlclJ4VjhPeFk4ZDZZeTExRmZocXE4UGdWcm9aZkdtYTFtTGhvN3UxdG1zRGdQK1dVbWFGaG9adWJtWFhCZ2xBYnRxMHFjWHJscGFXZGtPMi9ZT2lLSUZPZ1lpSWlLakhZeUdCcUJkb0dreCtBT0FEazhrMFJRaVJDZUNSa3BLU21KS1NFcnorK3V2ZUxvWEpreWQzU3c1ejU4NUZkblkydG03ZGlpVkxsbmpqK2ZuNUtDc3J3elBQUE5Qc2ZKdk5obVBIamlFdUxnNEE0SGE3c1dIREJ1aDBPc3llUGR0N1hsZDFGZHdxZjNZa0hEOSszTnQ5VUZ0YjZ3bFhBSGhQU3JtK3NMRHdxTitTSVNJaUlpSzZTVndvanpxRml5MEduc1ZpQ2EycXFrb0hzQnJBMzN2aWNYRnhTRTlQUjNKeWNwZDJLZFRXMW1MRmloVTRkKzRja3BPVHZkcy9idCsrSFJNblRrUjJkclozeW9MWmJNYW9VYU53OWVwVnBLYW1JaVltQnZ2MzcwZEpTUWxXclZxRko1OThzc3Z5NmdxcHFhbElTa3JDMDA4LzNXMzNxSzJ0Ulc1dUxqUk53N0ZqeDN3UGZRNGd5MmcwNXVUbjU5ZDNXd0xVSWZ6YlJrUkVSTlErdmxHaVR1R2I3WjdGYkRaUEJwRHBkcnNmRlVJTUJJRHc4SEFzV0xBQXFxcDZ1d0p1VlZWVkZkNTU1eDNzMzc4ZkZSVVZHRFJvRU9iUG40L016TXhtUlF1ejJZeWtwQ1FrSnlmajdiZmZ4b1VMRnpCczJEQTgrT0NEZVBEQkI3c2tsNjYwWXNVS0pDVWxZZm55NVYxKzdhTkhqMExUTk9UbTVxS3V6anRMNFZzaHhIc0ExbHV0MXVOZGZsUHFOUDV0SXlJaUltb2YzeWhScC9ETmRzOWtzVmhDS3lzcjB3Q3NGa0pZUFBISmt5ZERWVlVzV0xBQUVSRVJyVitnaTNnS0NldldyZXYyZS9WRU5UVTEyTFZyRnpSTnc0a1RKN3h4S1dVK2dLeW9xS2d0N0Q3b21maTNqWWlJaUtoOVhDT0JxQTlwR3B4K0NPRERHVE5tVEhLNzNhc0FQSHI4K1BIYmYvT2IzK0Izdi9zZGtwT1RvYW9xcGt5WjB1WXVESFJ6cEpUTnVnODhPMVFBdUFMZ1haMU9sMzN3NE1FVGJWeUNpSWlJaUtoWFlDR0JxSTlxR3JUK2JQejQ4YjgyR28xTEFheXVxNnViOC9ISEgrUGpqei9HcEVtVHZGMEtBd1lNQ0hTNnZkYTFhOWU4M1FkZmZ2bWw3NkY5QUxLcXFxbytMaTB0dFFjb1BTSWlJaUtpTHNlUEk2bFQyUDdiTzAyZlBuMkNUcWRiQldBbGdFRUFFQm9hNnUxU2lJK1A3NUl1aGI0K3RVRktpZUxpWW1pYWhyeThQTi91ZzI4QS9OSHRkbWNYRlJXMXZGY205UmpqeDQ4UGlZbUppZkdOdVZ5dXJ3RkFyOWNQOVkxWFZGUlVzQ0JFUkVSRTFJaURRT29VRmhKNnQvajQrT0RRME5EN3BKU3JBY3p6eENkTW1BQlZWWkdTa29MSXlNZ0FadGd6VlZkWGU3c1BUcDVzVmlmNFZBaVJWVjlmLzBsSlNZa2pVUG5SelVsTVRCemljcm0rUXZ2L0ZycjFldjN3Z29LQ1MvN0lpNGlJaUtpbjR5Q1FPb1dGaEw3RGJEYVBBNUFwcFZ3SjRBNEFDQWtKUVZKU0VsUlZ4WjEzM3RtdjExS1FVdUxJa1NQZTdnTzczZnVoOVA5S0tUZnFkTHBzcTlWNktwQTVVdWNwaXBJUDRONTJUdnZNWnJOWnVqOGJJaUlpb3Q2aC80NE82SmF3a05EM3hNZkhCd2NIQnk4UlFtUUNTUExFeDQwYkIxVlZzWERoUWhpTnhnQm02RjlWVlZYWXVYTW5ORTNEcVZQTjZnUjVVc29zaDhPeGpkMEh2Wi9KWkhwYUNQRm1PNmM5YmJQWjN2WkxRa1JFUkVTOUFBZUIxQ2tzSlBSdGlZbUpzVTZuY3hXQXg0UVFnd0VnT0RqWTI2VXdiZHEwUHRtbElLWEU0Y09IdmQwSERvZTNUbkFKd0VhOVhyK2hvS0RnZEFCVHBDNldrSkF3WEsvWFgyanJISmZMTmVMUW9VTVgvWlVURVJFUlVVL1g5MFlDNUJjc0pQUVBack01U0VxWkNpQVRRREthL21iRXhzWkNWVlVzV3JTb1QzUXBWRlZWWWNlT0hkQTBEYWRQZStzRUVzQnVBRmxDaU8xV3E3VWhjQmxTZDFJVTVRc0FkN1Z5K0F1YnpUYkxuL2tRRVJFUjlYUWNCRktuc0pEUS8weWZQbjFNMDQ0UGp3RVlDalIyS2N5Yk53K3FxbUw2OU9tOXFrdEJTb21pb2lKb21vWlBQLzNVdC92Z2F5SEVCcGZMdGFHb3FPaHNBRk1rUHpHYnpTOUlLVjl0NlpnUTRnV3IxZnE2djNNaUlpSWk2c2w2ejd0KzZsRllTT2kvekdaekVJQkZicmM3VXdpUmdxYS9JMlBHaklHcXFsaThlREdpb3FJQ20yUWJLaXNyc1gzN2RtaWFock5uejNyQ1VrcTVTMHFaRlIwZHZTTS9QOThad0JUSno2Wk5temJXWURDME9HWEY2WFRHSGo1OCtJeS9jeUlpSWlMcXlUZ0lwRTVoSVlFQXdHUXlqUWJ3dUJEaWNRRERBQ0FvS0FoejU4NkZxcXBRRktWSGRDbElLV0d6MmFCcEd2YnUzWXVHQnU4c2hZdFN5ZzBBTmhZV0ZwNExZSW9VWUlxaTJBQ1lyZ3ZiYkRhYk9SRDVFQkVSRWZWa2hrQW5RRVM5VjlQZysvK3pXQ3d2VjFaV0xoUkNyRzVvYUVqSnpjM1Y1ZWJtWXZUbzBkNHVoZWpvYUwvbmQvWHFWVy8zd2JsejNqcUJHOEJPQUZsR28zRVh1dytvU1E1dUxDVGtCQ0lSSWlJaW9wNHU4QjhWVXEvRWpnUnFqZGxzSGlXbGZFd0k4YmlVY2dUUTJLVXdaODRjcUtvS3M5bmNyVjBLVWtwWXJWWm9tb1o5Ky9aNXV3K0VFQmVrbE5sNnZYNWpRVUhCK1c1TGdIb2xzOWs4V1VwNXpEZW0wK2ttSHp4NDhFU2djaUlpSWlMcXFUZ0lwRTVoSVlIYVk3RllERlZWVlFzQXJBYXdDSUFPQUVhTkdvVzB0RFFzWHJ3WUF3Y083TEw3bFplWFkvdjI3ZGl5WlF2S3lzbzhZVGVBN1VLSXJOalkyTnhObXphNXV1eUcxT2NvaWxJQ1lBb0FDQ0ZLckZicjFBQ25SRVJFUk5RamNSQkluY0pDQXQyTWFkT21qUWdLQ25wTVNya0t3RWdBTUJnTW1EMTdObFJWeFl3Wk02RFQ2Vzc2dW02M0d3Y1BIb1NtYWRpL2Z6K2NUdThzaFRJaFJIWkRROE1mRHg4K2ZLSHJ2aFBxeTB3bTA4dENpRFVBSUtWOHViQ3c4QjhEblJNUkVSRlJUOFJCSUhVS0N3blVHUmtaR2Zvelo4NGtTeWxYU3lrWEE5QUR3SWdSSTVDV2xvWWxTNVowcUV1aHZMd2NXN2R1eFpZdFczRGhncmRPNEFLd1RVcVpOWDc4K0R4Mkg5RE5NcGxNQ1VLSW9xYUhDVGFiN1hCQUV5SWlJaUxxb1RnSXBFNWhJWUZ1VlVKQ3duQ2RUcmRTQ0pFSllCVFEyS1Znc1ZpZ3Fpb1NFeE9iZFNtNDNXNFVGQlI0dXc5Y0xtK2Q0SnlVTWh1Tk95OTg1ZmR2aFBvU29TaktSUURTWnJPTkFDQURuUkFSRVJGUlQ4UkJJSFVLQ3duVVZUSXlNdlNuVHAyYWo4YTFGSmFncVV0aCtQRGhTRXRMdzZ4WnMzRGd3QUZzMmJJRkZ5OWU5RHpOQldBcmdLeHg0OGJ0WWZjQmRSVkZVVjRSUWtpcjFmckxRT2RDUkVSRTFGTnhFRWlkd2tJQ2RRZXoyVHhVU3JrU1FDYUFNUzJjY2hiQWVpSEVINjFXNjlmK3pJMzZQSjJpS1BPbGxIOFdRZ3dFVUFYZ0Fadk50Z2VOaTNZU0VSRVJVUk1PQXFsVFdFaWdicVl6bTgzenBKU3JBYVFBMkNXRXlMSmFyWitDZ3pycVFpYVRhWmdRWWlXQVZXaTllSlV0aE5qSTRoVVJFUkZSSXc0Q3FWTllTQ0IvNFd1TnVscEdSb2ErdExRMFNRaXhHa0FxZktiVHFLcnFuVTZqYWRyMTAybTRtQ2NSRVJFUldFaWdUdUxnanZ5RnJ6WHFLZ2tKQ2NNTkJvTm5HOUpiV2VDelRBaVI3WFE2Tng0NmRPamlqWGNpSWlJaTZ0djR4cHc2aFlNNzhoZSsxdWhXWkdSazZFK2ZQcjJnYVpyTVlnQTZBQmc1Y2lUUzB0S1FtcHJhNFMxSHQyM2JCazNUbW0wNUtvVFlMb1RJR2p0MjdHNTJLUkFSRVZGL3dUZm0xQ2tjM0pHLzhMVkduWkdZbURqUzVYSTlCdUJ4QUNPQnh1NkRPWFBtUUZWVm1NM21adDBISGVWMnUyRzFXcUZwR3ZidDJ3ZW4wK2s1ZEY0SWtkM1EwTER4OE9IREY5cTZCaEVSRVZGdnh6Zm0xQ2tjM0pHLzhMVkdIV1d4V0F4VlZWVXBhTnhLZENHYXVnOUdqUm9GVlZXeGVQRml4TVRFZE5uOUtpb3FzSDM3ZG1pYWhyS3lNay9ZRFdBSGdDeWowWmlibjUvdmJQMEtSRVJFUkwwVDM1aFRwM0J3Ui83QzF4cTF4MncyajNLNzNZOExJUjRITUJ3QWdvS0NNSGZ1WEtpcUNrVlJJRVQzdlh5a2xMRFpiTkEwRFh2MzdrVkRRd01BUUFoeFFVcTVvV25IaDdKMkxsSTBHd0FBQUNBQVNVUkJWRU90aUlpSVNCZzNibHpleVpNbnpYVjFkVmRiT0VYWDlPV3JDdHpoaFlpSXFOdndqVGwxQ2dkMzVDOThyVkZMTEJhTDRlclZxNHVFRUt1RkVDbG8rdmRzOU9qUjN1NkQ2T2hvditkMTllcFZiNWZDdVhQblBHRTNnRjFTeXF5b3FLaWQ3Rks0T1lNR0RYcHE4T0RCUC8veXl5K1RwMDZkZXV6NjR3ME5EWmVEZ29JRys4YUtpNHZqSEE3SGNmOWxTVVJFMUw4WUFwMEFFUkZSUjVsTXB0RTZuVzVWVlZYVll6cWRiaGdBQkFjSGU3c1BUQ1pUdDNZZnRDYzZPaHJMbHkvSFAvekRQNkN3c05EVHBhQnpPQnlMaEJDTHFxcXF2aktaVEJzQWJDZ3NMRHpYN2dVSmtaR1I4eW9ySzdkNUh0dHN0aUFBQ0E0T25qUjE2dFRpSTBlT0RQRTkzMU44SkNJaW91N0RRZ0lSRWZWb1pyTTVTRXE1R0VBbWdBVlNTZ0VBWThlT2hhcXFXTFJvRWFLaW9nS2I1SFdFRUZBVUJZcWk0R2MvK3hsMjdOaUJuSndjbkQxN2RwZ1FZZzJBWHl1S2tpdUV5QUt3dzJxMU5nUTY1eDRxd21nMEpwZVdsaTcwaVhrNk9yaExCaEVSVVlDd2tFQkVSRDNTdEduVHhob01obFZTeXNjQURBRWF1dy9tejU4UFZWV1JrSkFRME82RGpvcUtpc0t5WmN2dzBFTVA0ZENoUTlBMERYdjI3QkVPaHlORlNwa0M0R3RGVVRhNjNlN3NvcUtpczRIT3R5ZUppWWxKMCtsMFlRNkg0NUpQT0JvQURBWkRaTlBqSVRjK2s0aUlpTHBUejM4SFJqMFM1NjJUdi9DMTFyK1l6ZVlndDl1OVJBaVJDU0FKVGY5T3hjYkdJajA5SFFzWExvVFJhQXhza2wyZ3Fxb0tPM2Z1UkU1T0RrNmZQdTBKU3dCNUFMS0VFTnZZcFFCTW1qVHBRRVJFeE16aTR1STRBR2hwalFRcHBkMzNzUkFpaEdza0VCRVJkUzkySkJBUlVjQWxKaWJHT3AzT1RMZmJ2VklJTVJobzdENUlTa3FDcXFxWU5tMWFyK2crNkNpajBZZ2YvT0FIZVBEQkIzSDQ4R0ZvbW9hOHZEemhjRGlTQVNTNzNlN0xKcE5wbzhGZ3lDNG9LRGpkN2dYN29Nakl5RmxoWVdIVHI0LzdGQlh2R0RGaXhLOHVYTGp3RTkvalk4ZU8vWlBENGFqMFM1SkVSRVQ5Vk45NVYwYi9QM3YzSGhiVmRlK1AvNzBHbEpzelhJeDNSY1VyRG9xekI1S1FOZzFHUmZBVzJVaU1OaVl4RWRQVG50YWFORzF0bS9iWG5IempyNmU1TlVsUCt1QWxTWE55T1VmWlJrVkZqZEVtYmRKdmRRWXZqRUlFRmJ4ckFnekVnUm1ZV2I4L2hQbUJBVVNFR1lIMzYzbDRIdmJhYSsvOW1iQWZzL2RuUG11dERvdU9qdjVMV1ZuWjd3QmNhdTh4L0phWWZJWDNXczlsTkJyN0JnY0hQK0R4ZUxLRUVETWIyOGVNR1lPTWpBeWtwYVgxaU9xRDlxcXFxc0xPblR1Ums1T0RrcElTYjd1VWNnK0FiSmZMdGRWbXM3bjhGNkZ2alI4Ly9wT3JWNi9tRHhvMDZLbW1GUW5YLzF2UTB1U0tUcWV6eEdhempmVlZyRVJFUkwwTkt4SUlkOXh4eDVNWEwxNTgxZVZ5dFR1UlFFVFVVWXFpak1XMWlST1hTU2tIQ0NFUUZCU0VXYk5tUVZWVnhNWEY5YWpxZy9ZeUdBeFl0R2dSSG56d1FSUVVGRURUTk96YXRRdE9wM01tZ0psQlFVR1h6V2J6VzFMS2RWYXJ0ZGpmOFhZMWo4ZmpQSGZ1M0F1REJnMTZxbWw3MDhUQnVYUG5WanVkenVLU2twS1p0YlcxWndHRW1FeW1jcWZUK2FYUEF5WWlJdXBGbUVqb0pXNjBIRlpMNDA0YlZWUlV2SGZxMUttSE96OHFJdW90akVaajM2Q2dvQVVBVmdDWTN0ZytidHc0WkdSa0lEVTFGWHE5dnZVVDlDSkNDRXllUEJtVEowL0dVMDg5aGJ5OFBPVGs1T0RFaVJNRHBaUy9BUEFMUlZIMkFzaDJPcDBmOWRRcWhlTGk0a3dBMzF6ZmJyVmFJNXRzMW9TR2hwcENRa0x1cWEydGZkOWdNTndyaEFnc0x5L2Y2THRJaVlpSWVoOG1FbnFKNng2OG1sRVVwYUt3c1BCT2g4TnhvcFV1UGZJaGxZaTZYbng4L1BpQWdJRGxBQjRETUFBQWdvT0RrWnFhQ2xWVk1XblNwRjVaZmRCZWVyMGVtWm1aV0xod0lXdzJtN2RLb2JhMmRqcUE2VUZCUVZjVVJYbmI0L0dzUFhUb1VHdi9obmRYMzBvaU5LaHN1bUczMi9QNjkrKy90S0tpNHYwQkF3WThXVmRYZDc2OHZQeDlIOFJIUkVUVWEvSHByWmU1VVdWQ1UyM05lczF4NitRcnZOZTZuN0ZqeHdicDlmcDBJY1FLQU5NYTJ5ZE1tQUJWVlpHV2xvYXdzREEvUnRpOWZmUE5OOGpMeTRPbWFTZ3FLbXE2YTUrVU1ydTZ1bnB6Y1hHeHM3WGp1eHRGVVdScnF6WTRuYzRpbTgyV0dCOGZmKzdTcFV0L0hEcDA2TzlMU2tvZXROdnRtL3dUTFJFUlVlL0Fpb1JlcUtpb0tQN3ExYXR0amg5VkZLWEdWL0VRVWMrUWtKQXd3ZTEyWndraEhnUFFId0JDUWtLODFRZXhzYkdzUHVnRS9mcjF3OEtGQzVHUmtZRmp4NDU1cXhScWFtcW1DU0dtR1F5R3IwMG0wOXNCQVFGckR4NDhXSFRqTTNZdjExWFl1UUZVWDc1OCtiV2hRNGMrOTlWWFg3M09KQUlSRVZIWFl5S2hGNnFycTNNQnFQVjNIRVRVL1NVbkp3ZFhWMWVyVXNvVkhvL252c1pFUVd4c0xGUlZSV3BxS2tKRFEvMGNaY2Vaeldha3BLUmd6Wm8xemRxZmZQSkpUSmt5QlQvNjBZL2ExYitwaXhjdll1M2F0Zmpzczg5Z3Q5c3hjdVJJWkdWbFllYk1tYTBlMHhJaEJJeEdJNHhHbzNjdUJVM1RVRmhZMkY4SThiVEg0M2xhVVpTL0NTR3k5WHE5dG4vLy9wN3k3MzZ6b1EwaElTSERvNktpRmtvcG5YcTlmblpvYU9nN0RvZkQ0cS9naUlpSWVnTW1Fbm9obzlGWTRPOFlpS2g3VXhRbEZrQ1czVzUvVkFnUkJRQ2hvYUZJUzB0RGVubzZZbU5qL1J4aDE1QlNRZ2lCaUlnSVJFWkdObXRycnkxYnRzQmlzV0RCZ2dVSUNBaEFUazRPVnE5ZWpjaklTQ1FrSkhRb3JyQ3dNR1JrWkNBakl3UEhqeCtIcG1uSXk4dUR3K0c0VDBwNW45MXVMMWNVNVIwQWE2MVdhNnVUNjNZM0VSRVI2b2dSSS83TDVYSVZuanAxNnY2aFE0ZHVtREJod3Y4dEx5OS81OEtGQ3krN1hDNmJ2Mk1rSWlMcWlaaEk2SVZzTmx0Y2EzTWZOTHFadVJTSXFIZElTa29LY1RxZEdiaTI4c0s5d0xWdnhTZE5tb1NNakF5a3BLUjA2K3FERy9ucXE2L3cyR09QWWNHQ0JYQzczU2d2TDhlYU5XdHc3Tmd4dlB2dXUrMCt6OTEzMzQxbHk1YWhiOSsrQUlEazVHUXNXYklFZS9iczZYQWlvYW5ZMkZqOCt0ZS94cXBWcTdCcjF5NW9tb1pqeDQ1RkFWZ0ZZSldpS0o4QnlBNEtDc3I1NG9zdnV1MHd0cWlvcUNkR2pScTE5c3FWSzIrZU9YUG1LUURPNHVMaXRJRURCLzdia0NGRG52ZDRQTTR6Wjg3ODBOOXhFaEVSOVVSTUpQUkNScVB4TUFBbUNvaW9YZUxqNDQwQkFRRlpUcWZ6RVFDUndMWHFnOW16WjBOVlZVeVlNTUhQRWZwRzM3NTlzV0xGQ3Roc052enRiMy9Ea1NOSE1IZnVYRHoyMkdQd2VEelE2WFR0T2s5OGZIeXo3ZWpvYUFCQWZYMTlwOFliR2hxSzlQUjBwS2VubzdDd0VKczNiOGFPSFR2Z2NEanVCWEN2MCtsOFRWR1V2MG9wcy9Qejg0OTE2c1U3VVZsWldaYkw1Ym9BUUo0NmRXcHBZM3Q1ZWZsZmEydHJyUTZISTc5SmQzbjU4dVgvdW56NThuc0Flc3lFazBSRVJMY2JKaEo2SVp2TkZzK0tCQ0pxUzFKU1VraHRiVzBtZ0JWQ2lPODB0aHVOUm1Sa1pHRG16SmsrcVQ2b3FhbkIrdlhyc1h2M2JseTZkQWtHZ3dIZitjNTM4S01mL1FnREJnenc5bXVjbStESko1L0VpeSsraU1PSER5TXdNQkRUcGszRHFsV3JvTmZyTzNSOWkrWC9IMnB2TUJnd2YvNThWRmRYSXk0dURoY3VYTUQ5OTkrUHVMaTRGdnUzVjE1ZUhnRGdycnZ1NmxDTTdURng0a1NzWHIwYUsxZXV4TzdkdTZGcEdtdzJXeVNBbFVLSWxTYVQ2UjhBc29PRGd6ZmVibFVLWDMzMTFickczeXNxS3Y2N3lhNjY2NUlJVGRtN05pb2lJcUxlamRObjl6S0tva2dwcFFzM3FFZ1FRZ1J4K1VlNkhmQmU4NjJFaElRNEtlVUtLZVZTQUJIQXRmSDNjK2JNUVhwNk9zYVBIKyt6V0Z3dUY3S3lzbkRzMkRHa3BLUmcvUGp4S0NzcncvYnQyOUcvZjM5ODhNRUhNQmdNQUs0bEVoUkZ3Wmt6WjVDVWxJUlJvMGJoMEtGRCtQVFRUMkV5bWJCMjdWcnZQQWJuejU5djg3cERodzV0ZFovTlpzUHk1Y3V4ZnYxNkhEbHlCTysrKzI2ek9HN1cwYU5IOFlNZi9BQW1rd212di82NlQxZTFLQ29xOGxZcFhMMTZ0Ykc1VWdqeHJoQWkrK0RCZzV4UGg0aUlpS2dYQzhDMUY0SUlSVkZrYUdob1l1TjJhejh0OUd0R1VSVEpxZ1h5QmQ1cnZxRW9TbnJqZit2R24wY2ZmVlJ1M2JwVk9od082UTl2dmZXV1ZCUkZidDY4dVZuN3ZuMzdwS0lvOHBWWFh2RzJOY2E4ZCsvZVpuMWZlT0VGcVNpSy9NYy8vdkd0dnEzOXRPWGl4WXZ5cmJmZWtsSks2WEs1NUovLy9HZFpVMVBUb2M5WFZsWW1rNU9UNWVMRmkrWFZxMWM3ZEk3TzRIQTQ1Sll0VytTamp6N2EwbitQZEgvZm0wUkVSSFQ3NFRkOHZVQklTTWpkc2JHeFg5ektPYTcvTnBqZkVwT3Y4Rjd6RFVWUnZnRVExcmo5L1BQUEl5MHR6WThSQVV1V0xJSGRia2R1YnU2M3ZxbFBUMCtIRUFLYXBnRzRWcEV3YnR3NGZQamhoODM2bFphV1FsVlZQUExJSTFpNWNpVUFZUC8rL1cxZU56azV1ZE0rUTF2Ky9kLy9IWWNPSGNLbVRac3dlUEJnbjF6elJuYnMySUZubjMyMmFkTlZOTGt2Y0syYXJmSG4rdTJiYnBkU1NnQVFRclNydmJHdFliOVAyeHZqYWhLVDkvUGNRdnRPcTlYNmFrdC9DeUlpb3RzWjUwam9CV3BxYXY1NTNVdFk1TUNCQTVmcDlmcnZsWlNVTEFaUUF3QURCdzc4V1hCdzhOakt5c290VlZWVmV3RzQvQkl3RWZuRFVnQTVhRWd3LytZM3Y4R0hIMzdvblE4aEpDVEU1d0dkUG4wYWQ5OTlkNHZsL2pFeE1majg4OCtidFkwY09mSmIvWVlQSHc0QStQcnJyNzF0dmtvVTNJakZZa0ZTVXBMZmt3ZzFOVFhlZVJNS0NwcU5acEM0ZGw5b1Rkb0VPdkZMaU5hR2NyUTF4S01oeCtEejlyYmk2bWk3bERJZUFCTUpSRVRVN1RDUjBIc0VHZ3lHR1ZGUlVVdkR3OE5WdDl0OStjcVZLMjhDNklPR1JFSk5UVTFoV0ZqWW5URXhNWnVrbFBXVmxaVmI3WGI3eHNyS3lqd3dxVURVbzFtdDFzMEFkQWtKQ1hGdXR6dExDUEZJUVVGQlJFRkJBVjU4OFVYTW5qMGI2ZW5wUGwyaFFVclo1Z3ZsOWFza3RMUnFRbTF0TFFCNGwxb0VibTJPaE02azErc1JGQlRrazJ1MXBLaW9DSnFtWWVmT25jM21TSkJTL2pVZ0lHQnRremtTR3BNSElqTXpVMXk1Y2tVQVFIVjF0YWl0clJWT3AxTU1IejVjT0oxT0FRQXVsMHZVMWRVSnQ5c3RJaUlpUkgxOXZRQ0ErdnA2NFhhN2hkdnRGdjM2OVJOdXQxc0FnTnZ0Rmg2UFI3amRiaEVTRWlJOEhvOEFBSS9ISXhwL3BKUUNBSUtDZ3BxMU5mWnRiRzlzYSt6ZnAwOGZJYVgwL2pUMnY3NjlzWDlnWUdDNzJnRkFTaWxhYWdjZ0FnSUMybXdITUVSSytYYW4vMUdKaUloOGhJbUVYbUw4K1BHZmhJV0YzV20zMjNOTFMwc2ZxcXlzekFYZ2J0cW51cm82dDdxNk9oZEFXR1JrNUlMKy9mcy9HaE1Ucy9uOCtmT3JMMTY4K0ovK2laeUlmS25oNVhGbFVsTFNMMnRyYXhjS0lWWmN2WHIxdXhzM2JzVEdqUnRoTkJxaHFpcFNVbEs2Zk5XR1ljT0c0Y1NKRXkzdU8zbnk1TGNxRU1yTHk3L1Y3OWl4YTZzYWpoNDkydHMyYjk2OE5xL2JrWlVYT2tMVHRIWXZHZGxaSEE1SDAxVWJtdTc2dTVReU96ZzRlRk1ycXpaSUFITGp4bzB0bnJlNHVMZ0xvdTI1RWhNVEI3dmQ3aHQzSkNJaXVrMHhrZEJMbEphV0xuYzZuWmZRdmlXeHJsWlVWTHhYVVZIeFhtaG82RkNIdy9IMWpROGhvcDZrNFdYeVhRRHZta3ltU1VLSUxBQ1AybXkyU0p2TmhwZGVlc2xicFRCeDRzUXVpV0g2OU9sWXQyNGR0bTdkaXZuejUzdmI5Ky9majdLeU12emtKejlwMXQ5cXRlTDQ4ZU9JalkwRkFIZzhIcXhmdng0Nm5RN1RwazN6OW52cHBaZTZKTjZPOEZWRlFtRmhvYmY2d09Gd05EWlhBSGhIU3JrMlB6Ly9tRThDSVNJaW9oNkJrNWRSaDNBQ1BQSVYzbXUzaitUazVPQ3FxcW9NQUNzQWZLK3hQVFkyRmhrWkdaZzFhMWFuVmlrNEhBNDg4c2dqS0MwdHhheFpzN3pMUCtibTVtTDgrUEZZdDI2ZGQ4aUMyV3hHZEhRMEtpc3JNVy9lUEVSR1JtTGZ2bjNlNVJyLzdkLytyZFBpNml6ejVzMURTa29LZnZ6akgzZkorUjBPQi9MeThxQnBHbzRmUDk1MDE2Y0FzZzBHUTg3Ky9mdHJ1K1RpMUthR2lvUUxVc3BMK2ZuNXQ4ZE1tMFJFUkRlQkZRbEVSTlF1RFMrZDd3RjR6MncyVHdTUTVmRjRIanQrL0hqVTg4OC9qNWRmZmhtcHFhbFFWZFZiRlhBclFrTkRzV0hEQnJ6NTVwdll0MjhmOXV6Wmd3RURCbUR4NHNYSXlzcHFOdThCQUV5Y09CR3paczNDRzIrOGdiTm56MkxvMEtINCtjOS9qa1dMRnQxeUxGMGhNaklTa1pHUm5YN2VZOGVPUWRNMDVPWGxvYWJHTzByaGF5SEVPd0RXV2l5V3drNi9LQkVSRWZVcS9JYVBPb1RmRXBPdjhGNjd2U1VuSndmYjdmWjBBQ3VFRU1tTjdSTW5Ub1NxcWtoTlRVVllXRmpySitna1pyTVpLU2twV0xObVRaZGY2M1owOWVwVjdOeTVFNXFtb2Fpb3lOc3VwZHdQSURzOFBId3pxdzl1SDZ4SUlDS2k3bzRWQ1VSRTFHRU5MNmNmQVBnZ0lTRmhnc2ZqV1E3Z3NjTEN3anRlZU9FRnZQTEtLNWcxYXhaVVZjV2tTWlBhWElXQmJvNlVzbG4xUWVNS0ZRQytBdkMyVHFkYmQvRGd3YUkyVGtGRVJFVFVJVXdrRUJGUnAyaDRhWDFtN05peHZ6RVlEQXNBcktpcHFibi9vNDgrd2tjZmZZUUpFeVo0cXhUNjlldm43M0M3clcrKytjWmJmZkRsbDE4MjNmVUpnT3lxcXFxUGlvdUxuWDRLajRpSWlIb0JKaEtJaUtoVE5iekUvZytBLzVrNmRlbzRuVTYzSE1DeW9xS2lBV3ZXckdsV3BXQTBHbG1sMEE1U1NoUVVGRURUTk96ZXZidHA5Y0VWQUc5NVBKNTFodzRkYW5tdFRQSzdwS1Nra1ByNit2REdiWjFPTjlEdGRrTUlvVXRNVEd3MnRNSGo4WHh0c1ZqcWZCOGxFUkZSKy9IcGpUcUU0OWJKVjNpdjlReEdvN0Z2Y0hEd0ExTEtGUUJtTkxhUEd6Y09xcW9pTFMwTmVyM2VqeEhlbnFxcnE3M1ZCeWRPTk1zVGZDeUV5SzZ0cmQxaXM5bGMvb3FQMmljK1B0NFlFQkJRMEk2dURpSEVBSXZGNHJoeFZ5SWlJdi9oZ3psMUNGL3V5RmQ0ci9VOFpyTjVESUFzS2VVeUFBTUJJQ2dvQ0NrcEtWQlZGWk1uVCs3VlZRcFNTaHc5ZXRSYmZlQjBla2NwWEpaU2J0RHBkT3NzRmt1SlAyT2tteVlVUlRrT1lFS2JuWVRZWkxGWU1uMFVFeEVSVVlkeGFBTVJFZmxVdzB2d0w0MUc0Mi83OXUwN1h3aVI1WFE2VTdadDI0WnQyN1poekpneFVGVVZzMmZQaHNGZzhIZTRQbE5WVllVZE8zWkEwelNVbERUTEUreVdVbWE3WEs1dHJEN290aVNBSEFDL2FxdVR4K1BKOFUwNFJFUkV0NmIzZnVWRHQ0VGZFcE92OEY3ckhSSVRFMlBxNit1WEEzaGNDREVJQVByMjdldXRVcGd5WlVxUHJGS1FVdUxJa1NQZTZnT1h5NXNudUFoZ1EwQkF3UG9EQnc2YzlHT0kxRW5NWnJNaXBiUzAwY1VaRWhJeTRCLy8rRWUxejRJaUlpTHFvSjczVkVZK3daYzc4aFhlYTcyTDJXenVJNldjQnlBTHdDdzAvSDhxSmlZR3FxcGl6cHc1UGFKS29hcXFDdHUzYjRlbWFUaDUwcHNua0FCMkFjZ1dRdVJ5d3IwZVJ5aUtjaExBcUZiMmI3VmFyUS80TUI0aUlxSU80NE01ZFFoZjdzaFhlSy8xWGxPblRoM1ZzT0xENHdDR0FOZXFGR2JNbUFGVlZURjE2dFJ1VmFVZ3BjU2hRNGVnYVJvKy92ampwdFVIRjRRUTY5MXU5L3BEaHc2ZDltT0kxTVZNSnRPTFFvaW5XOW9ucFh3MFB6Ly9yNzZPaVlpSXFDTzZ6eE1ZM1ZiNGNrZSt3bnVOekdaekh3QnpQQjVQbGhBaURRMy83eG8xYWhSVVZjWGN1WE1SSGg3ZTlrbjh5RzYzSXpjM0Y1cW00ZlRwMDQzTlVrcTVVMHFaSFJFUnNYMy8vdjMxZmd5UmZNUmtNaVVKSVQ1dllWZGRYVjNkb0tOSGoxYjRQQ2dpSXFJTzRJTTVkUWhmN3NoWGVLOVJVeWFUYVNTQUo0UVFUd0FZQ2dCOSt2VEI5T25Ub2FvcUZFVzVMYW9VcEpTd1dxM1FOQTE3OSs1RlhaMTNsTUk1S2VWNkFCdnk4L05ML1JnaStZZE9VWlF6YUxoM204aXpXcTFwL2dpSWlJaW9JN2hxQXhFUmRSc05MOSsvVFU1T2ZzNXV0ODhXUXF5b3E2dEx5OHZMMCtYbDVXSGt5SkhlS29XSWlBaWZ4MWRaV2VtdFBpZ3Q5ZVlKUEFCMkFNZzJHQXc3V1gzUXEza0FhQUQrdldtakVJS3JOUkFSVWJmaS82OXRxRnZpdDhUa0s3elg2RWJNWm5PMGxQSnhJY1FUVXNyaHdMVXFoZnZ2dngrcXFzSnNObmRwbFlLVUVoYUxCWnFtNFpOUFB2RldId2doemtvcDF3VUVCR3c0Y09EQW1TNExnTHFWaElTRVpJL0hzNjlKazFzSU1kaGlzWHpsdDZDSWlJaHVFaC9NcVVQNGNrZSt3bnVOMmlzNU9UbXdxcW9xRmNBS0FITUE2QUFnT2pvYTZlbnBtRHQzTHFLaW9qcnRldVhsNWNqTnpjWG16WnRSVmxiVzJPd0JrQ3VFeUk2SmljbmJ1SEdqdTlNdVNEMUNabVptUUVsSnlTVUEvUnVhUHJGYXJkUDlHUk1SRWRITjRvTTVkUWhmN3NoWGVLOVJSMHlaTW1WNG56NTlIcGRTTGdjd0FnQUNBd014YmRvMHFLcUtoSVFFNkhTNm16NnZ4K1BCd1lNSG9Xa2E5dTNiaC9wNjd5aUZNaUhFdXJxNnVyZU9IRGx5dHZNK0NmVkVpcUw4TjREdkE0QVE0a2NXaStXLy9Cd1NFUkhSVGVFY0NVUkUxT00wdk13L2w1bVorWDlPblRvMVMwcTVvcjYrZnU2ZVBYc0M5dXpaZytIRGh5TTlQUjN6NTg5dlY1VkNlWGs1dG03ZGlzMmJOK1BzV1crZXdBMWdtNVF5ZSt6WXNidFpmVUR0cGRQcHRuczhudTgzYkc3MmF6QkVSRVFkd0cvNHFFUDRMVEg1Q3U4MTZpeng4ZkhEZERyZE1pRkVGb0JvNEZxVlFuSnlNbFJWUldKaVlyTXFCWS9IZ3dNSERuaXJEOXh1YjU2Z1ZFcTVEdGRXWGpqdjh3OUMzZDZFQ1JQMFlXRmhGd0Njc2xxdGsvMGREeEVSMGMzaWd6bDFDRi91eUZkNHIxRm5heGlqUGhQWDVsS1lEeUFBQUlZTkc0YjA5SFRjYzg4OStQenp6N0Y1ODJhY08zZXU4VEEzZ0swQXNzZU1HYk9IMVFkMHE4eG04enRTeW55cjFmcXF2Mk1oSWlLNldYd3dwdzdoeXgzNUN1ODE2a3BtczNtSWxISVpnQ3dBbzFyb2NockFXaUhFV3hhTDVZSXZZNk1lU2Fjb3lrd3A1VHRDaUVGU3ltK0VFQXV0VnVzZVhKdW9rNGlJcUZ2Z2d6bDFDRi91eUZkNHI1R1A2TXhtOHd3cDVRb0FhUUIyQ2lHeUxSYkx4K0FMSHQwaWs4azBWQWl4RE1CeXRKNndXaWVFMk1DRUZSRVJkUWQ4TUtjTzRjc2QrUXJ2TmZJbDNtL1VXVEl6TXdPS2k0dFRoQkFyQU14RGt5RTBxcXA2aDlCb21uYjlFQnBPNEVsRVJMYzlQaWhSaC9CaG16b2lPanI2TDJWbFpiOERjS205eC9CZUkxL2kvVWEzS2o0K2ZsaGdZR0RqMHFPM01xbG5tUkJpWFgxOS9ZYkRodytmKy9hVmlJaUkvSWZMUHhLUno5eHh4eDFQWHJ4NDhWV1h5OVh1UkFJUjBlMHVNek16NE9USms2a05RMlBtU2lsMUFEQml4QWlrcDZkajNyeDVyUzR6cXRQcGNOZGRkK0d1dSs1Q2VYazV0bTNiQmszVGNQYnMyV2dwNVhNQkFRRy9NNXZOdVVLSTdOR2pSKzlpbFFJUkVkME8rSTBMZFFpL3RhUFdOTjRiSFZGUlVmSGVxVk9uSG03cGZMelh5QmQ0djlITlNFeE1IT0YydXg4SDhBU0FFY0MxNm9QNzc3OGZxcXJDYkRZM3F6NW9MNC9IQTR2RkFrM1Q4TWtubjZDK3ZyNXgxeGtoeExxNnVyb05SNDRjT2R0cEg0U0lpT2dtOFVHSk9vUVAyOVNHaU5aMktJcFNVVmhZZUtmRDRUalJTaGNYQU1kMXgvQmVJNS9oL1VZM2tweWNIRmhWVlpXR2E4dUh6Z2FnQTREbzZHaW9xb3E1YytjaU1qS3kwNjVYVVZHQjNOeGNhSnFHc3JLeXhtWVBnTzBBc2cwR1E5NysvZnZyV3o4REVSRlI1K09ERW5VSUg3YnBSbTZtTXFHZ29DRFc1WElWdG5VZTNtdmtDN3pmcURWbXN6bmE0L0U4SVlSNEFzQXdBT2pUcHcrbVQ1OE9WVldoS0FxRTZMcmJSa29KcTlVS1RkT3dkKzllMU5YVkFRQ0VFR2VsbE9zYlZud291OEZwcUpzTEN3dUxIek5tek80VEowNllhMnBxS2x2b29tdjRhYW9LWEgyR2lEb1o1MGdnb2k1VFZGUVVmL1hxMVMvYjZxTW9TbzJ2NGlFaXVobkp5Y21CbFpXVmM0UVFLNlNVYWFJaFV6Qnk1RWh2OVVGRVJLdEZXSjFLQ0FHejJReXoyWXhubm5uR1c2VlFXbG82SE1EdnBKVFBLb3F5VTBxWkhSNGV2b05WQ2oxVGFHam9kejBlVDYzYjdlNm5LTXFaNi9mWDFkVmQ2dE9uejZDbWJXMGw2NG1JT29xSkJDTHFNblYxZFM0QXRmNk9nNGpvWnBoTXBwRTZuVzU1VlZYVjR6cWRiaWdBOU8zYjExdDlZREtadXJUNjRFWWlJaUx3OE1NUDQvdmYvejd5OC9NYnF4UjBMcGRyamhCaVRsVlYxWG1UeWJRZXdQcjgvUHhTdndWS25VNnYxOCt3MiszYkdyZXRWbXNmQU9qYnQrK0V1TGk0Z3FOSGp3NXUydjlXNWkwaUltb0xFd2xFMUdXTVJtT0J2Mk1nSW1vUHM5bmNSMG81RjBBV2dGUXBwUUNBMGFOSFExVlZ6Smt6QitIaDRmNE44anBDQ0NpS0FrVlI4TXd6ejJENzl1M0l5Y25CNmRPbmh3b2huZ1h3RzBWUjhvUVEyUUMyV3l5V09uL0hUTGNrekdBd3pDb3VMcDdkcEsyeDhvU3JlUkNSVHpHUlFFUmR4bWF6eGQyb25KTGZsaENSUDAyWk1tVjBZR0RnY2lubDR3QUdBOWVxRDJiT25BbFZWUkVmSCsvWDZvUDJDZzhQeDVJbFM3QjQ4V0ljUG53WW1xWmh6NTQ5d3VWeXBVa3Awd0JjVUJSbGc4ZmpXWGZvMEtIVC9vNlhibDVrWkdTNlRxY0xjYmxjRjVzMFJ3QkFZR0Nndm1GNzhMZVBKQ0xxZkV3a0VGR1hNUnFOaHdFd1VVQkV0eFd6MmR6SDQvSE1GMEprQVVoQncrVFRNVEV4eU1qSXdPelpzMkV3R1B3YlpBY0pJVEIxNmxSTW5Ub1ZQL3ZaejdCanh3N2s1T1RnNU1tVFF3RDhXcWZUL1VwUmxOMEFzb1VRMjFpbDBIME1IRGp3aDllM0tZcFMwWFRiWkRLZDlsbEFSTlNyTVpGQVJGM0daclBGc3lLQmlHNFhpWW1KTWZYMTlWa2VqMmVaRUdJUWNLMzZJQ1VsQmFxcVlzcVVLZDJpK3FDOURBWURIbnJvSVN4YXRBaEhqaHlCcG1uWXZYdTNjTGxjc3dETThuZzhsMHdtMDRiQXdNQjFCdzRjT09udmVLbDFlcjMrbnBDUWtLblh0emRaWVdiZzhPSERmM1gyN05tZk50MC9ldlRvLzNhNVhIYWZCRWxFdlFvVENVVFVaVmlSUUVUK1pqUWErd1lIQnovZzhYaXkzRzczek1aRXdaZ3hZNUNSa1lHMHRMUnVXMzNRWGtJSXhNZkhJejQrSGs4Ly9UUjI3dHlKbkp3Y2xKU1VEQUt3MnUxMnJ6YVpUSHNBWkx0Y3JxMDJtODNsNzVpcHVTRkRoangvNWNxVk53Y05HdlJVSzEwdW56MTc5cWN0SmVkRFEwUHZ0dGxzWTdzNFJDTHFaWmhJSUtMT0ZBQ2djWndtaW9xS3Z1dHdPRTYwZFlDaUtCV0JnWUY2bDh2VnVJWmFTK3RpRXhIZEZFVlJ4dUxheEluTHBKUURoQkFJQ2dyQ3JGbXpvS29xNHVMaWVsVDFRWHNaREFZc1dyUUlEejc0SUFvS0NxQnBHbmJ0MmdXbjB6a1R3TXlnb0tETFpyUDVMU25sT3F2Vld1enZlT2thajhmalBIZnUzQXZYSnhLYUpnN09uVHUzMnVsMEZwZVVsTXlzcmEwOUN5REVaREtWTzUzT05wZGhKaUxxQ0NZU2lLalRoSVNFSk1iR3huN1J1RDF4NHNSL3RlZTRwdjJhbEdrU0VkMFVvOUhZTnlnb2FBR0FGUUNtTjdhUEd6Y09HUmtaU0UxTmhWNnZiLzBFdllnUUFwTW5UOGJreVpQeDFGTlBJUzh2RHprNU9UaHg0c1JBS2VVdkFQeENVWlM5QUxLZFR1ZEhyRkx3citMaTRrd0EzMXpmYnJWYUk1dHMxb1NHaHBwQ1FrTHVxYTJ0ZmQ5Z01Od3JoQWdzTHkvZjZMdElpYWkzWUNLQmlEcE5UVTNOUDY5TEJFUU9IRGh3bVY2di8xNUpTY2xpQURVQU1IRGd3SjhGQndlUHJheXMzRkpWVmJVWEFCOVFpYWpENHVQanh3Y0VCQ3dIOEJpQUFRQVFIQnlNMU5SVXFLcUtTWk1tV2FsSDBBQUFJQUJKUkVGVTljcnFnL2JTNi9YSXpNekV3b1VMWWJQWnZGVUt0YlcxMHdGTUR3b0t1cUlveXRzZWoyZnRvVU9IMnF3eW95N3pyU1JDZzJaVmZIYTdQYTkvLy81TEt5b3EzaDh3WU1DVGRYVjE1OHZMeTkvM1FYeEUxTXN3a1VCRW5TM1FZRERNaUlxS1dob2VIcTY2M2U3TFY2NWNlUk5BSHpRa0VtcHFhZ3JEd3NMdWpJbUoyU1Nscksrc3JOeHF0OXMzVmxaVzVvRkpCU0pxaDdGanh3YnA5ZnAwSWNRS0FOTWEyeWRNbUFCVlZaR1dsb2F3c0RBL1J0ajlDQ0VRRnhlSHVMZzRiNVdDcG1rb0tpb2FBT0FablU3M2pLSW8rNlNVMmRYVjFadUxpNHVkL282NXQyczZ0TUhwZEJiWmJMYkVFU05HL0dudzRNSFBob2VIenlzcEtYa1FBUDlPUk5UcG1FZ2dvazQxZnZ6NFQ4TEN3dTYwMisyNXBhV2xEMVZXVnVZQ2NEZnRVMTFkblZ0ZFhaMExJQ3d5TW5KQi8vNzlINDJKaWRsOC92ejUxUmN2WHZ4UC8wUk9STjFCUWtMQ0JMZmJuU1dFZUF4QWZ3QUlDUW54VmgvRXhzYXkrcUFUOU92WER3c1hMa1JHUmdhT0hUdm1yVktvcWFtWkpvU1laakFZdmphWlRHOEhCQVNzUFhqd1lKRy80KzJ0cmh2YTRBWlFmZm55NWRlR0RoMzYzRmRmZmZXNjNXN2Y1Sy9ZaUtobll5S0JpRHBWYVducGNxZlRlUWxBZTVhYnVscFJVZkZlUlVYRmU2R2hvVU1kRHNmWFhSMGZFWFUveWNuSndkWFYxYXFVY29YSDQ3bXZNVkVRR3hzTFZWV1JtcHFLME5CUVAwZlpjV2F6R1NrcEtWaXpaazJMK3ovOTlGT3NXclVLZi8zclgvSElJNCswMlJjQUxsNjhpTFZyMStLenp6NkQzVzdIeUpFamtaV1ZoWmt6Wjk1MGJFSUlHSTFHR0kzR1psVUtoWVdGL1lVUVQzczhucWNWUmZtYkVDSmJyOWRyKy9mdnI3M3BpOUN0YURhMElTUWtaSGhVVk5SQ0thVlRyOWZQRGcwTmZjZmhjRmo4RlJ3UjlWeE1KQkJScCtybzdOQU9oK044WjhkQ1JOMmJvaWl4QUxMc2R2dWpRb2dvQUFnTkRVVmFXaHJTMDlNUkd4dnI1d2g5WTh1V0xSZ3paZ3lNUm1PNysxc3NGaXhZc0FBQkFRSEl5Y25CNnRXckVSa1ppWVNFaEE3SEVSWVdob3lNREdSa1pPRDQ4ZVBRTkExNWVYbHdPQnozU1NudnM5dnQ1WXFpdkFOZ3JkVnFQZDdoQzFHSFJFUkVxQ05HalBndmw4dFZlT3JVcWZ1SERoMjZZY0tFQ2YrM3ZMejhuUXNYTHJ6c2NybHMvbzZSaUhvT0poS0lpSWpvdHBHVWxCVGlkRG96Y0czbGhYdUJhOStLVDVvMENSa1pHVWhKU2VuVzFRYzNxN3k4SEo5OTlobFdybHpaN21QdXZ2dHVMRnUyREgzNzlnVUFKQ2NuWThtU0pkaXpaODh0SlJLYWlvMk54YTkvL1d1c1dyVUt1M2J0Z3FacE9IYnNXQlNBVlFCV0tZcnlHWURzb0tDZ25DKysrS0ttVXk1S3JZcUtpbnBpMUtoUmE2OWN1ZkxtbVRObm5nTGdMQzR1VGhzNGNPQy9EUmt5NUhtUHgrTThjK2JNRC8wZEp4SDFIRXdrRUJFUmtkL0Z4OGNiQXdJQ3NweE81eU1BSW9GcjFRZXpaOCtHcXFxWU1HR0NueVAwajIzYnRrRUlnZG16WjdmN21QajQrR2JiMGRIUkFJRDYrdnBPalEyNDlqZEtUMDlIZW5vNkNnc0xzWG56WnV6WXNRTU9oK05lQVBjNm5jN1hGRVg1cTVReU96OC8vMWluQjlETGxKV1ZaYmxjcmdzQTVLbFRwNVkydHBlWGwvKzF0cmJXNm5BNDhwdDBsNWN2WC82dnk1Y3Z2d2RPdUVoRW5ZeUpCQ0lpSXZLTHBLU2trTnJhMmt3QUs0UVEzMmxzTnhxTnlNakl3TXlaTTMxU2ZWQlRVNFAxNjlkajkrN2R1SFRwRWd3R0E3N3puZS9nUnovNkVRWU1HT0R0MXppWHdaTlBQb2tYWDN3Umh3OGZSbUJnSUtaTm00WlZxMVpCcjlkMzZQb1dTK3REMkxkdTNZcjc3cnNQa1pHUk4remJtcnk4UEFEQVhYZmQxYUg0Mm12aXhJbFl2WG8xVnE1Y2lkMjdkMFBUTk5oc3RrZ0FLNFVRSzAwbTB6OEFaQWNIQjI5a2xVTEhmUFhWVitzYWY2K29xUGp2SnJ2cXJrc2lOTldlT1l1SWlHNEtweldtRG1sY2JzaHF0Zkllb2k3RmU0MThpZmViYnlRa0pNUkpLVmRJS1pjQ2lBQ3VqYitmTTJjTzB0UFRNWDc4ZUovRjRuSzVrSldWaFdQSGppRWxKUVhqeDQ5SFdWa1p0bS9manY3OSsrT0REejZBd1dBQWNDMlJvQ2dLenB3NWc2U2tKSXdhTlFxSERoM0NwNTkrQ3BQSmhMVnIxM3BYakRoL3Z1MXBYNFlPSFhyRDJBNGZQb3pISDM4Y3I3MzJHcjd6bmUvY3NIOUxqaDQ5aWgvODRBY3dtVXg0L2ZYWGZiNmlSVkZSa2JkSzRlclZxNDNObFVLSWQ0VVEyUWNQSGl6d2FVQkVSTlFwK0tCRUhjS0hiZklWM212a1M3emZ1cGFpS09rQXRLWnRreWRQUmtaR0JtYk1tSUdRa0JDZngvVDIyMi9qOWRkZng3UFBQb3NGQ3haNDIvZnYzNCtubjM0YVM1Y3V4VTkvK2xNQTF4SUpBUERIUC80Ujk5OS92N2Z2bWpWcnNHblRKcnorK3V1NDU1NTdtdlZ0VFhzcUMzNy8rOS9qbi8vOEo3WnYzdzZkVG5mVG4rM01tVE40NUpGSE1HVElFS3hidDg2dmMwdlUxTlJnejU0OTBEUU5SNDhldlg2M2FyVmFOL3NqTGlJaTZoZ09iU0FpSWlKZmViZnB4dlBQUDQrMHREUi94UUlBMkwxN053WVBIb3dISG5pZ1dYdHljaktpbzZQeDZhZWZlaE1KQURCdTNMaG1TUVFBV0xKa0NUWnQyb1FEQnc1NEV3a3Z2ZlRTTGNYbGNEaXdaODhlTEY2OHVFTkpCQUQ0d3gvK2dMcTZPcno4OHN0K242QXlKQ1FFOCtmUHgvejU4N0ZqeHc0OCsreXpUWGUvcXloS1dCdUh5M2I4M3Q1K3Q4M3hVc3BteHdzaGZIcjhkZjJ2UDErN1BuUFRjL1RHNDlISzM2T2Rmd3QvSE4vcStWbzVYZ0w0SDZ2VitoYUlyc05FQWhFUkVmbktVZ0E1YUtpSS9NMXZmb01QUC96UU94K0NQeW9TVHA4K2pidnZ2cnZGa3YrWW1CaDgvdm5uemRwR2poejVyWDdEaHc4SEFIejk5ZGZldHVUazVGdUthL2Z1M2FpdHJmMVdndU5tV0N3V0pDVWxZZkRnd2JjVVMyZW9xYW54enB0UVVOQnNOSVBFdGZ0Q2EvbElBTTByYUh0TXRkQ3REak81MWVPdnkwUDQ1UnpkL2ZpbS9QMzM3TUxqaHdGZ0lvRytoWWtFSWlJaThvbUc4blZkUWtKQ25OdnR6aEpDUEZKUVVCQlJVRkNBRjE5OEViTm56MFo2ZXJwUFYyaVFVcmI1QUg1OU5VQkwxUUcxdGJVQTRGMXVFYmoxT1JLMmJOa0NSVkc4U1lxTzBPdjFDQW9LNnZEeG5hR29xQWlhcG1IbnpwM041a2lRVXY0MUlDQmdiWk01RWxwTEZuaC96OHpNOVA1KzVjcVZabiswNnVwcTczWnRiYTMzZDZmVDZmMTkrUERoTGJZRGdNdmw4bTdYMWRWNWYzZTczZDdmSXlJaXZML1gxOWMzTzc3cGR0TmptdjdlcjErL0Z0dXYzL1o0UEMzMkN3a0phYkhQOWR1dC9TNmw5UDRlRkJUVXJ1T2JIblA5Tlp1ZW96M0hORzBIZ0Q1OStyUzRyN1hmcjcvK3pSNS8vZlVEQXdPNzFmRzRMb2tXRUJCdzA5ZHNlbzRiSFMrRWlKTlN2aWg4UGJFS2RSdE1KQkFSRVpGUE5idzhya3hLU3ZwbGJXM3RRaUhFaXF0WHIzNTM0OGFOMkxoeEk0eEdJMVJWUlVwS1NwZVg1QThiTmd3blRweG9jZC9Ka3llL1ZZRlFYbDcrclg3SGpsMWIxWEQwNk5IZXRubno1clY1M2JibVNEaDE2aFNPSERtQzU1NTdyczF6M0lpbWFSMGVGbkVySEE1SDAxVWJtdTc2dTVReU96ZzRlTk1OVm0xb3NmUjY0OGFOdHhSWGNYSHhMUjFQMUpza0pDU2NrMUsrNk84NDZQYkZSQUlSRVJINVJjUEw1THNBM2pXWlRKT0VFRmtBSHJYWmJKRTJtdzB2dmZTU3QwcGg0c1NKWFJMRDlPblRzVzdkT216ZHVoWHo1OC8zdHUvZnZ4OWxaV1g0eVU5KzBxeS8xV3JGOGVQSEVSc2JDd0R3ZUR4WXYzNDlkRG9kcGsyYjV1MTNLM01rZlBUUlJ3Z0xDOE9NR1RNNmZJNUd2cXhJS0N3czlGWWZPQnlPeHVZS0FPOUlLZGZtNStjZjgxa3dSRVRVcFpoSUlDSWlJcjlyZU1sY2xaeWN2THFxcWlvRHdBcUh3L0c5VFpzMllkT21UWWlOalVWR1JnWm16WnJWcVZVS2p6NzZLUGJ1M1l2LytJLy93TC8rOVMvdjhvKzV1Ymt3R28xWXZIaHhzLzdEaHcvSEQzLzRROHliTncrUmtaSFl0MjhmYkRZYmxpOWYzbXk0UWtmblNLaXZyOGVPSFR1UW1wcDZ5MG1BeFlzWEl5VWxCVC8rOFk5djZUeHRjVGdjeU12TGc2WnBPSDc4ZU5OZG53TElOaGdNT2Z2Mzc2L3RzZ0NJaU1ndm1FZ2dJaUtpMjBiRFMrZDdBTjR6bTgwVEFXUjVQSjdIamg4L0h2WDg4OC9qNVpkZlJtcHFLbFJWOVZZRjNJclEwRkJzMkxBQmI3NzVKdmJ0MjRjOWUvWmd3SUFCV0x4NE1iS3lzcHJOZXdBQUV5ZE94S3hacy9ER0cyL2c3Tm16R0RwMEtINys4NTlqMGFKRnR4d0xBSHoyMldjb0x5Ky9wVWtXRzBWR1JpSXlNcklUb3ZxMlk4ZU9RZE0wNU9YbG9hYkdPMHJoYXlIRU93RFdXaXlXd2k2NU1CRVIzUlk0ZVFaMUNOZGFKMS9odlVhK3hQdnQ5cFNjbkJ4c3Q5dlRBYXdRUWlRM3RrK2NPQkdxcWlJMU5SVmhZVzJ0SHRnNXpHWXpVbEpTc0diTm1pNjd4c3FWSzNIaHdnWDg3Ly8rYjVkZG82T3VYcjJLblR0M1F0TTBGQlVWZWR1bGxQc0JaSWVIaDI5bTlRRlJ6NUNRa0JEbjhYaU9DaUZzRm9zbHp0L3gwTzJIRlFsRVJFUjBXMnQ0T2YwQXdBY0pDUWtUUEI3UGNnQ1BGUllXM3ZIQ0N5L2dsVmRld2F4WnM2Q3FLaVpObW5UTHk2RDV5NVVyVi9ENTU1L2pwei85cWI5RDhaSlNOcXMrYUZ5aEFzQlhBTjdXNlhUckRoNDhXTlRHS1lpSXFBZGlJb0dJaUlpNmpZYVgxbWZHamgzN0c0UEJzQURBaXBxYW12cy8rdWdqZlBUUlI1Z3dZWUszU3FGZnYzNytEdmVtREJnd0FBY09IUEIzR0FDQWI3NzV4bHQ5OE9XWFh6YmQ5UW1BN0txcXFvK0tpNHVkZmdxUGlJajhqSWtFSWlJaTZuWWFYbUwvQjhEL1RKMDZkWnhPcDFzT1lGbFJVZEdBTld2V05LdFNNQnFOM2JaS3daZWtsQ2dvS0lDbWFkaTllM2ZUNm9NckFON3llRHpyRGgwNjFQSmFtVVJFMUtzd2tVQkVSRVRkV3NQTDdTK01SdU96d2NIQkQwZ3BWOVRXMXM3WXNtVUx0bXpaZ25IanhrRlZWYVNscFVHdjEzZjRPaGFMcGZPQ3ZvMVVWMWQ3cXc5T25HaVdKL2hZQ0pGZFcxdTd4V2F6dWZ3Vkh4RVIzWDZZU0NBaUlxSWVvZUZsZHlPQWpXYXplUXlBTENubHNoTW5UZ3o4d3gvK2dGZGZmUlVwS1NsUVZSV1RKMC91MVZVS1Vrb2NQWHJVVzMzZ2RIcEhLVnlXVW03UTZYVHJMQlpMaVQ5akpDS2kyeGNUQ1VSRVJOVGpOTHdFLzlKb05QNjJiOSsrODRVUVdVNm5NMlhidG0zWXRtMGJ4b3daQTFWVk1YdjJiQmdNQm4rSDZ6TlZWVlhZc1dNSE5FMURTVW16UE1GdUtXVzJ5K1hheHVvRElpSzZFU1lTaUlpSXFNZHFlQ25lQkdCVFltSmlUSDE5L1hJQWo1ZVVsQXo2NHgvL2lELzk2VS9lS29VcFU2YjB5Q29GS1NXT0hEbmlyVDV3dWJ4NWdvc0FOZ1FFQkt3L2NPREFTVCtHU0VSRTNRd1RDVVJFUk5Rck5Md3MvOHBzTnY5T1Nqa1BRSmJMNVpxVm01c3Jjbk56RVJNVEExVlZNV2ZPbkI1UnBWQlZWWVh0MjdkRDB6U2NQT25ORTBnQXV3QmtDeUZ5TFJaTG5mOGlKQ0tpN29xSkJDSWlJdXBWR2w2ZU5RRGExS2xUUnpXcytQRDR5Wk1uaDd6NDRvdDQ3YlhYTUdQR0RLaXFpcWxUcDNhcktnVXBKUTRkT2dSTjAvRHh4eDgzclQ2NElJUlk3M2E3MXg4NmRPaTBIME1rSXFJZWdJa0VJaUxxMGFLam8vOVNWbGIyT3dDWC9CMEwzWDRhWHFwL1l6YWJmdzlnanNmanlYSzVYR2s3ZHV3UU8zYnN3S2hSbzZDcUt1Yk9uWXZ3OEhBL1I5czZ1OTJPM054Y2FKcUcwNmRQTnpaTEtlVk9LV1YyUkVURTl2Mzc5OWY3TVVRaUl1cEJtRWdnSXFJZTdZNDc3bmp5NHNXTHI3cGNMaVlTcUZVTlZRb2ZBZmpJWkRLTkJQQ0VFT0tKMDZkUEQzMzU1WmZ4K3V1dlkvcjA2VkJWRllxaTNCWlZDbEpLV0sxV2FKcUd2WHYzb3E3T08wcmhuSlJ5UFlBTitmbjVwWDRNa1lpSWVpZ21Fb2lJcU50VEZFVzJ0VDh1THU1NGEvc3FLaXJlTzNYcTFNT2RIeFYxVncwdjM3OU5UazUrem02M3p4WkNyS2lycTB2THk4dlQ1ZVhsWWVUSWtkNHFoWWlJQ0ovSFYxbFo2YTArS0MzMTVnazhBSFlBeURZWUREdFpmVUJFUkYySmlRUWlJdXIyckZaclpHdjdGRVdwS0N3c3ZOUGhjSnhvcFF1WHVxTVdOYnlNYndXdzFXdzJSMHNwSHhkQ1BGRmFXanI4bFZkZXdSdHZ2SUg3Nzc4ZnFxckNiRFozYVpXQ2xCSVdpd1dhcHVHVFR6N3hWaDhJSWM1S0tkY0ZCQVJzT0hEZ3dKa3VDNENJaUtnSkpoS0lpS2ducUFSYXIweVlPSEhpdjY1dkt5Z29pSFc1WElWZEhSajFEQmFMcFF6QS81T2NuUHg4VlZWVktvQVZkWFYxYzNidDJxWGJ0V3NYb3FPamtaNmVqcmx6NXlJcUtxclRybHRlWG83YzNGeHMzcndaWldWbGpjMGVBTGxDaU95WW1KaThqUnMzdWp2dGdrUkVSTzNBUkFJUkVmVW9SVVZGOFZldlh2MnlyVDZLb3RUNEtoN3FXUnFxRkhJQjVFNlpNbVY0bno1OUhwZFNMaThyS3h2eHB6LzlDWC8rODU4eGJkbzBxS3FLaElRRTZIUzZtNzZHeCtQQndZTUhvV2thOXUzYmgvcDY3eWlGTWlIRXVycTZ1cmVPSERseUZnQXNGa3VuZlRZaUlxTDJZaUtCaUloNmxMcTZPaGVBV24vSFFUMWZ3OHY4YzVtWm1mL24xS2xUczZTVUsrcnI2K2Z1MmJNbllNK2VQUmcrZkRqUzA5TXhmLzc4ZGxVcGxKZVhZK3ZXcmRpOGVUUE9uajNiMk93R3NFMUttVDEyN05qZHJENGdJcUxiQVJNSlJFVFVveGlOeGdKL3gwQzlTOFBML1E0QU8rTGo0NGZwZExwbFFvaXNzMmZQUnIvKyt1dDQ4ODAza1p5Y0RGVlZrWmlZMkt4S3dlUHg0TUNCQTk3cUE3ZmJteWNvbFZLdXc3V1ZGODREUUg1K3ZxOC9HaEVSVVl1WVNDQWlvaDdGWnJQRjNXanVneHV0OGtEVVVZY1BIejRINFBuTXpNdzFKU1VsTXdHc3FLK3ZuLy94eHg4SGZQenh4eGcyYkJqUzA5Tnh6ejMzNFBQUFA4Zm16WnR4N3R5NXhzUGR1RGE1WS9hWU1XUDJzUHFBaUlodVYwd2tFQkZSajJJMEdnOERZS0tBL0tvaENaQUhJTTlzTmcrUlVpNERrSFh1M0xsUmI3enhCdDU0NDQybTNVOERXQ3VFZU10aXNWd0FBS3ZWNnZPWWlZaUkyb3VKQkNJaTZsRnNObHM4S3hMb2R0S1FISGdCd1A5ck5wdG5TQ2xYQUVnRHNGTUlrVzJ4V0Q3R3RaVVlpSWlJdWdVbUVvaUlxRWRoUlFMZHhqd1dpMlczb2lpN0FNQnF0UzcwZDBCRVJFUWR3VVFDRVJGMWR3RUE5STBiUlVWRjMzVTRIQ2ZhT2tCUmxJckF3RUM5eStXS2FHaXE3TW9BcWVlS2pvNytTMWxaMmU4QVhQSjNMRVJFUkw3Q1JBSVJFWFZySVNFaGliR3hzVjgwYmsrY09QRmY3VG11YVQrcjFTcTZJamJxK2U2NDQ0NG5MMTY4K0tyTDVXSWlnWWlJZWcwbUVvaUlxRnVycWFuNTUzV0pnTWlCQXdjdTArdjEzeXNwS1ZrTW9BWUFCZzRjK0xQZzRPQ3hsWldWVzZxcXF2WUNjUGtsWU9wMmJqU25SbHhjM1BIVzlsVlVWTHgzNnRTcGh6cy9LaUlpSXY5aElvR0lpSHFDUUlQQk1DTXFLbXBwZUhpNDZuYTdMMSs1Y3VWTkFIM1FrRWlvcWFrcERBc0x1ek1tSm1hVGxMSytzckp5cTkxdTMxaFpXWmtISmhXb0RWYXJOYksxZllxaVZCUVdGdDdaeG5BYTNsdEVSTlRqTUpGQVJFVGQzdmp4NHo4SkN3dTcwMjYzNTVhV2xqNVVXVm1aQzhEZHRFOTFkWFZ1ZFhWMUxvQ3d5TWpJQmYzNzkzODBKaVptOC9uejUxZGZ2SGp4UC8wVE9YVVRsVURybFFrdERhY3BLQ2lJdmRIcUlVUkVSTjBWRXdsRVJOVHRsWmFXTG5jNm5aY0EyTnZSL1dwRlJjVjdGUlVWNzRXR2hnNTFPQnhmZDNWODFITVVGUlhGWDcxNjljdTIraWlLVXVPcmVJaUlpUHlCaVFRaUl1cjJuRTVubXk5MnJYRTRIT2M3T3hicTJlcnE2bHdBYXYwZEJ4RVJrVDh4a1VCRVJFVFVUa2Fqc2NEZk1SQVJFZmtiRXdsRVJFUkU3V1N6MmVKdU5QZkJqVlo1SUNJaTZ1NllTQ0FpSWlKcUo2UFJlQmdBRXdWRVJOU3JNWkZBUkVSRTFFNDJteTJlRlFsRVJOVGJNWkZBUkVSRTFFNnNTQ0FpSW1JaWdZaUlpS2d0QVFEMGpSdEZSVVhmZFRnY0o5bzZRRkdVaXNEQVFMM0w1WXBvYUtyc3lnQ0ppSWg4allrRUlpSWlvbGFFaElRa3hzYkdmdEc0UFhIaXhIKzE1N2ltL1FJQ0FvWTAzZWQydXdFQWlZbUpnNXUyVjFSVVZCUVhGenR2S1dBaUlpSWZZQ0tCaUlpSXFCVTFOVFgvdEZxdG9rbFQ1TUNCQTVmcDlmcnZsWlNVTEFaUUF3QURCdzc4V1hCdzhOakt5c290VlZWVmV3RzRnR3ZKQXJmYmZSNkF1UDdjYnJmN1FwTk5UMlJrNURBQUY3dnUweEFSRVhVT0poS0lpSWlJMmhab01CaG1SRVZGTFEwUEQxZmRidmZsSzFldXZBbWdEeG9TQ1RVMU5ZVmhZV0YzeHNURWJKSlMxbGRXVm02MTIrMGJEeHc0a0tjb3lxY0E3cnZCTlQ0N2NPQUFrd2hFUk5RdE1KRkFSRVJFMUlieDQ4ZC9FaFlXZHFmZGJzOHRMUzE5cUxLeU1oZUF1Mm1mNnVycTNPcnE2bHdBWVpHUmtRdjY5Ky8vYUV4TXpPYno1OCt2bGxMbUNDRnVsRWpZMUdVZmdJaUlxSk14a1VCRVJFVFVodExTMHVWT3AvTVNBSHM3dWwrdHFLaDRyNktpNHIzUTBOQ2hEb2ZqNjBHREJ0MFJFQkR3V2xzSHVkM3V6WjBUTFJFUlVkZlQrVHNBSWlJaW90dVowK244RXUxTElqVGpjRGpPQTNBZVBuejRISUIvdHRIMWk0WStSRVJFM1FJVENVUkVSRVJkVEFpUjA1RjlSRVJFdHlNbUVvaUlpSWk2V0YxZFhhdkpncnE2T3MyWHNSQVJFZDBxSmhLSWlJaUl1dGlSSTBkT0FjaHZZWmUxWVI4UkVWRzN3VVFDRVJFUmtXKzBWSlhBWVExRVJOVHRNSkZBUkVSRTVBTXR6WVdnMCttWVNDQWlvbTZIaVFRaUlpSWlIN0JZTElVQWpqVnVDeUZzQnc4ZUxQSmpTRVJFUkIzQ1JBSVJFUkdSajBncHZSVUlIbytIMVFoRVJOUXRNWkZBUkVSRTVEdmU1QUdYZlNRaW91NktpUVFpSWlJaUg4blB6ejhDb0FSQXNkVnFQZXJ2ZUlpSWlEb2kwTjhCRUJFUkVmVWlFa0NPRUVJMi9FNUVSTlR0TUpGQVJFUkU1RU02blM2bnZyNmVTUVFpSXVxMk9MU0JpSWlJeURkMGlxTE1jcnZkVzNVNjNiOFVSYkVyaWpJTGZCNGpJcUp1aGhVSlJFUkVSRjNJWkRJTkZVSXNBN0Fjd0NnaFJPTXVBNEE4UlZGT0ExZ25oTmhnc1ZndStDbE1JaUtpZG1NaWdZaUlpS2lUWldabUJoUVhGNmNJSVZZQW1BY2dBQUNHRFJzR1ZWVnh6ejMzNFBQUFA0ZW1hVGgzN3R3b0FNOUxLWCt2S01vMktXWDIyTEZqZDIvY3VOSHR6ODlBUkVUVUdpWVNpSWlJaURwSmZIejhzTURBd01kTFNrcVdDeUdpQVNBd01CREp5Y2xRVlJXSmlZblE2YTZOWkJnL2Zqd2VlZVFSSERod0FKcW1ZZCsrZlFGdXQzdUJFR0pCU1VsSm1kbHNYbGRmWDcvaDhPSEQ1L3o2b1lpSWlLN0RSQUlSRVJIUkxjak16QXc0ZWZKa3FwUnlCWUM1VWtvZEFJd1lNUUxwNmVtWU4yOGVvcUtpV2p4V3A5UGhycnZ1d2wxMzNZWHk4bkpzMjdZTm1xYmg3Tm16MFZMSzV3SUNBbjVuTnB0emhSRFpvMGVQM3NVcUJTSWl1aDB3a1VCRVJFVFVBWW1KaVNQY2J2ZmpKU1VsVHdBWUFWeXJQcmovL3Z1aHFpck1ack8zK3FBOW9xS2k4T2lqajJMcDBxV3dXQ3pRTkEyZmZQSkpRSDE5L1FOU3lnZEtTa3JPbU0zbWRYVjFkUnVPSERseXRxcytGeEVSMFkwd2tVQkVSRVRVVHNuSnlZRlZWVlZwQUZhNDNlN1phRmh4SVRvNkdxcXFZdTdjdVlpTWpMeWxhK2gwT2lRbUppSXhNUkVWRlJYSXpjMkZwbWtvS3lzYklhWDhmV0JnNE84VVJka09JTnRnTU9UdDM3Ky8vdFkvR1JFUlVmc3hrVUJFUkVSMEEyYXpPZHJqOFR4UlZWWDFCSUJoQU5DblR4OU1uejRkcXFwQ1VSUTBXWTJoMDBSR1JtTHAwcVY0K09HSFliVmFvV2thOXU3ZHE2dXJxNXNIWUY1MWRmVlpSVkhXTjZ6NFVOYnBBUkFSRWJXQWlRUWlJaUtpRmlRbkp3ZFdWbGJPRVVLc2tGS21pWVpNd2NpUkk3M1ZCeEVSRVQ2SlJRZ0JzOWtNczltTVo1NTV4bHVsVUZwYU9oekE3NlNVenlxS3NsTkttUjBlSHI2RFZRcEVSTlNWbUVnZ0lpSWlhc0prTW8zVTZYVExxNnFxSHRmcGRFTUJvRy9mdnQ3cUE1UEoxQ1hWQiswVkVSR0JoeDkrR04vLy92ZVJuNS92clZKd3VWeHpoQkJ6cXFxcXpwdE1wdlVBMXVmbjU1ZjZMVkFmQ2dzTGl4OHpac3p1RXlkT21HdHFhaXBiNktKcitHbXFDb0NuNjZNakl1cDVtRWdnSWlLaVhzOXNOdmVSVXM0RmtBVWdWVW9wQUdEMDZORlFWUlZ6NXN4QmVIaTRmNE84amhBQ2lxSkFVUlE4ODh3ejJMNTlPM0p5Y25ENjlPbWhRb2huQWZ4R1VaUThJVVEyZ08wV2k2WE8zekYzbGREUTBPOTZQSjVhdDl2ZFQxR1VNOWZ2cjZ1cnU5U25UNTlCVGRzS0NncGlYUzVYb2UraUpDTHFPWmhJSUNJaW9sNXJ5cFFwb3dNREE1ZExLUjhITUJpNFZuMHdjK1pNcUtxSytQaDR2MVlmdEZkNGVEaVdMRm1DeFlzWDQvRGh3OUEwRFh2MjdCRXVseXROU3BrRzRJS2lLQnM4SHMrNlE0Y09uZlozdkoxTnI5ZlBzTnZ0MnhxM3JWWnJId0RvMjdmdmhMaTR1SUtqUjQ4T2J0cGZVUlRwNnhpSmlIb1NKaEtJaUlpb1Z6R2J6WDA4SHM5OElVUVdnQlFBQWdCaVltS1FrWkdCMmJObncyQXcrRGZJRGhKQ1lPclVxWmc2ZFNwKzlyT2ZZY2VPSGNqSnljSEpreWVIQVBpMVRxZjdsYUlvdXdGa0N5RzI5WkFxaFRDRHdUQ3J1TGg0ZHBPMnhqa2kzUDRJaUlpb3AyTWlnWWlJaUhxRnhNVEVtUHI2K2l5UHg3Tk1DREVJdUZaOWtKS1NBbFZWTVdYS2xHNVJmZEJlQm9NQkR6MzBFQll0V29RalI0NUEwelRzM3IxYnVGeXVXUUJtZVR5ZVN5YVRhVU5nWU9DNkF3Y09uUFIzdkIwVkdSbVpydFBwUWx3dTE4VW16UkVBRUJnWXFHL1lIdnp0STRtSXFLT1lTQ0FpSXFJZXkyZzA5ZzBPRG43QTQvRmt1ZDN1bVkySmdqRmp4aUFqSXdOcGFXbmR0dnFndllRUWlJK1BSM3g4UEo1KyttbnMzTGtUT1RrNUtDa3BHUVJndGR2dFhtMHltZllBeUhhNVhGdHROcHZMM3pIZmpJRURCLzd3K2paRlVTcWFicHRNcHRNK0M0aUlxQmRnSW9HSWlJaDZIRVZSeHVMYXhJbkxwSlFEaEJBSUNnckNyRm16b0tvcTR1TGllbFQxUVhzWkRBWXNXclFJRHo3NElBb0tDcUJwR25idDJnV24wemtUd015Z29LRExaclA1TFNubE9xdlZXdXp2ZUc5RXI5ZmZFeElTTXZYNmRxdlYydmpISFRoOCtQQmZuVDE3OXFkTjk0OGVQZnEvWFM2WDNTZEJFaEgxUUV3a0VCRVJVWTlnTkJyN0JnVUZMUUN3QXNEMHh2Wng0OFloSXlNRHFhbXAwT3YxclorZ0Z4RkNZUExreVpnOGVUS2VldW9wNU9YbElTY25CeWRPbkJnb3Bmd0ZnRjhvaXJJWFFMYlQ2ZnpvZHExU0dESmt5UE5Ycmx4NWM5Q2dRVSsxMHVYeTJiTm5mOXJTNUlxaG9hRjMyMnkyc1YwY0loRlJqOFJFQWhFUkVYVnI4Zkh4NHdNQ0FwWURlQXpBQUFBSURnNUdhbW9xVkZYRnBFbVRlbVgxUVh2cDlYcGtabVppNGNLRnNObHMzaXFGMnRyYTZRQ21Cd1VGWFZFVTVXMlB4N1AyMEtGREovd2RiMU1lajhkNTd0eTVGNjVQSkRSTkhKdzdkMjYxMCtrc0xpa3BtVmxiVzNzV1FJakpaQ3AzT3AxZitqeGdJcUllZ29rRUlpSWk2bmJHamgwYnBOZnIwNFVRS3dCTWEyeWZNR0VDVkZWRldsb2F3c0xDL0JoaDl5T0VRRnhjSE9MaTRyeFZDcHFtb2Fpb2FBQ0FaM1E2M1RPS291eVRVbVpYVjFkdkxpNHVkdm83NXVMaTRrd0EzMXpmYnJWYUk1dHMxb1NHaHBwQ1FrTHVxYTJ0ZmQ5Z01Od3JoQWdzTHkvZjZMdElpWWg2RmlZU2lJaUlxTnRJU0VpWTRIYTdzNFFRandIb0R3QWhJU0hlNm9QWTJGaFdIM1NDZnYzNlllSENoY2pJeU1DeFk4ZThWUW8xTlRYVGhCRFREQWJEMXlhVDZlMkFnSUMxQnc4ZUxQSmpxTjlLSWpTb2JMcGh0OXZ6K3ZmdnY3U2lvdUw5QVFNR1BGbktMZHdoQUFBZ0FFbEVRVlJYVjNlK3ZMejhmUi9FUjBUVUl6R1JRRVJFUkxlMTVPVGs0T3JxYWxWS3VjTGo4ZHpYbUNpSWpZMkZxcXBJVFUxRmFHaW9YMkpidlhvMWR1L2VEWXZGMHVubjluZzhlUC85OTdGcDB5WmN1blFKUTRZTXdaSWxTN0J3NGNJMmo3dDQ4U0xXcmwyTHp6NzdESGE3SFNOSGprUldWaFptenB4NTB6RUlJV0EwR21FMEdwdFZLUlFXRnZZWFFqenQ4WGllVmhUbGIwS0liTDFlciszZnY3KzJvNSszTXpVZDJ1QjBPb3RzTmx2aWlCRWovalI0OE9Cbnc4UEQ1NVdVbER3SXdPOFZGVVJFM1JVVENVUkVSSFJiVWhRbEZrQ1czVzUvVkFnUkJRQ2hvYUZJUzB0RGVubzZZbU5qL1J4aDEzcjU1WmZ4d1FjZllNYU1HWGpnZ1Fld2QrOWVyRm16Qm02M0c0c1dMV3IxdUMxYnRzQmlzV0RCZ2dVSUNBaEFUazRPVnE5ZWpjaklTQ1FrSkhRNG5yQ3dNR1JrWkNBakl3UEhqeCtIcG1uSXk4dUR3K0c0VDBwNW45MXVMMWNVNVIwQWE2MVc2L0VPWDZnVFhEZTB3UTJnK3ZMbHk2OE5IVHIwdWErKyt1cDF1OTIreVYreEVSSDFCRXdrRUJFUjBXMGpLU2tweE9sMFp1RGF5Z3YzQXRlK0ZaODBhUkl5TWpLUWtwTGl0K29EWHlvcEtjR0hIMzZJek14TS9QS1h2d1FBZlAvNzM4ZEREejJFdi96bEwxaXdZQUdDZ29KYVBQYnV1Ky9Hc21YTDBMZHZYd0JBY25JeWxpeFpnajE3OXR4U0lxR3AyTmhZL1ByWHY4YXFWYXV3YTljdWFKcUdZOGVPUlFGWUJXQ1ZvaWlmQWNnT0NncksrZUtMTDJvNjVhSTNwOW5RaHBDUWtPRlJVVkVMcFpST3ZWNC9PelEwOUIySHc5SDVaU1JFUkwyRXp0OEJFQkVSRWNYSHh4c1ZSWG5WNlhTZUEvQXVnSHREUTBPeGNPRkN2UC8rKzNqMzNYZXhZTUdDWHBGRUFJRHQyN2REU29sbHk1WjUyL3IyN1lzSEgzd1FWVlZWYlE2bGlJK1A5eVlSQUNBNk9ob0FVRjlmMytseGhvYUdJajA5SGUrKyt5N2VlKzg5TEZ5NHNQRnZkQytBZDUxTzV6bEZVVjQxbVV5VE92M2k3UlFSRWFHT0hUdjJZSDE5L2NXaW9xSVlwOU5aUEdIQ2hQODdjdVRJOVgzNzlqWDZLeTRpb3U2TWlRUWlJaUx5aTZTa3BCQ1R5ZlNJeVdUNmUwQkFRQUdBbFFBaWpVWWpmdnZiMzJMWHJsMVl2WG8xSmt5WTBDWFhQM1BtRE14bU01NTk5dGx2N2R1K2ZUdk1aalArL3ZlL2Q4bTFiK1RRb1VNWU5td1lCZzBhMUt4OTZ0U3BBSUNpb3ZiUGI1aVhsd2NBdU91dXV6b3Z3QlpNbkRnUnExZXZ4cTVkdS9Ec3M4L0NhRFFDUUNTQWxVSUltOGxrK3J2SlpIb2tLU2twcEVzRGFTSXFLdXFKbUppWVRaV1ZsVGxGUlVXekhBN0grZUxpNHJSejU4NzlKQ0lpSW4zUW9FRS84bFVzUkVROUNZYzJFQkVSa1U4bEpDVEVTU2xYT0ozT3BVS0lDT0RhK1BzNWMrWWdQVDBkNDhlUDkwa2NJMGFNZ01sa3d0Lys5amU0WEs1bTMrTHYyclVMQXdZTXdEMzMzTk9oYzU4L2Y3N04vVU9IRG0xei81a3paekJ1M0xoV2o3dDQ4V0s3NGpoNjlDaGVmUEZGSkNVbC9YL3MzWGxjVlBYNkIvRFBHVllWRUxSY1VWQXNNMDFsQnV0bkt4cVpLeWxxWGkwM05MUk11eTFYTXpYcnBwSmJtVXRxcVdHMnF1Q0NLNkxpa2xRNkxDb21xYm1ubGdtQ2dBek1mSDkvd015ZGtRRUdtSTJaei92MTZuV1pjODdNZkFlZnk1enZjNTduZTZxMTJHSjExSzFiRi8zNzkwZi8vdjJSbVptSlRaczJZY2VPSGNqTHkzc0N3Qk9GaFlXZktSU0tkWklrZlhIczJMR1RwVStUQUVpREJ3K1dBT0R2di8rV2NuTnpKUUM0ZS9ldVZGaFlLUG43KzBzQVVGaFlLS2xVS2drQWlvcUtKTFZhTGJtNnVrNVVLQlM1cGZ2SEtSU0srbXExV3RKb05QSHU3dTdkL2YzOWp6ZHQydFJMclZaN0E0QkdvOW1nVXFrU0dqVnFwR3JXckZsampVWWphVFFhcVhTZjdtY2hoT1RoNFdHd1R3aWgrMWwvbnhEQzRHYzNOemZkc1VJSWcrZVZ0MDhJSWJtNnVocHNyMmhmNmU4Zzg4U0pFMWtXK0tja0lpb1hFd2xFUkVSa0ZYSzVmQUNBT0kxR285djJ5Q09QWU9EQWdRZ0xDME9kT2xhN1VLMFRIaDZPRHovOEVFZU9IRUZvYUNnQUlEczdHei8vL0RPR0R4OE9tYXg2eFp2OSt2V3JjSDlsZDNtNGMrY092THk4eW16WHRuYms1K2RYT29iTGx5OWowcVJKQ0FnSXdMeDU4Mnh5Vzh5MmJkdmkzWGZmeFJ0dnZJRTllL1lnTGk0T0owNmM4QlZDVEJSQ1RKVEw1UUFRQVNBT0tGa2I0bDRlSGg3dzhQQkFUazVPbVgydXJxNXdkWFZGY1hFeGlvdUxsMmkzQ3lGV3ltUXl5R1F5cUZTcU1zK1RKQWtlSGg0UVFxQ29xS2pNUGhjWEY5MWp0VnB0c0UvN2U1VEpaQWI3dE51MDlPTmMrMXdBY0hGeEtYZWZKRWxWMmdjQWJtNXV1UUI4eXV3Z0lySWdKaEtJaUlqSVd0YnBQNWcxYXhaNjllcGxxN0VBQU1MQ3dqQnYzanpzMmJOSGwwaElURXlFV3ExR2VIaDR0VjkzNGNLRk5ScFhjWEd4MFltL2RxSnFTb0pqN3R5NUtDb3F3aWVmZkdMenRTWHExS21EOFBCd2hJZUhZOGVPSGZlMmsrakhoU2o5cjd5ZmE3UlBDQ0VrU2FyS1BnQVFraVFKSVlSVjkybkhWTjVuRTBLMGxDU3BNUUJ2RUJGWkdSTUpSRVJFWkMzREFjU2lwSXdkMDZkUHh3OC8vSUNCQXdmaXVlZWVzMGxGUXQyNmRSRVdGb2E5ZS9laXNMQVFIaDRlMkxsekp6cDE2b1NBZ0lCcXY2NDJLVkZkbnA2ZUtDZ29lN09Edkx3OEFEQmFyWEF2cFZLSnJsMjdva21USmpVYWl6a1VGQlFnSVNFQmNYRnhPSG55cFA0dUFXQjRTa3JLSmhzTnJkYnEyTEdqdjZ1cjYyVUFWMjA5RmlKeVBrd2tFQkVSa1ZXVVRoWmxJU0VoSGRScTlTdVNKSTA0ZWZLazc4bVRKN0Znd1FMMDd0MGJBd1lNc05qaWl1VUpEdzlIZkh3OERoOCtqQTRkT2lBOVBkM29Bb3hWVWRNMUVwbzJiV3AwSFlScjE2NEJBUHo5L1NzZGc3ZTNkN20zaUxTV3pNeE14TVhGWWVmT25ib2tDSUJzSWNUWExpNHVYK3F0a1VCRVJMVUlFd2xFUkVSa1ZhV1R4emU2ZHUzNjd0Mjdkd2RKa2hTVmw1ZjM1SVlORzdCaHd3YTBiOThlRVJFUjZOR2poMVZLOG9PRGcrSHY3NDg5ZS9iZ3lwVXI4UFQwTkhsaHd1am9hRVJIUjVmWlh0TTFFdHExYTRjZE8zYmc5dTNicUYrL3ZtNTdlbm82Z1AvZHZhRWljWEZ4MVY3am9TYnk4L04xMVFjWkdSbjZ1dzRMSWI3dzlQVGNtSnljWExiY2dvaUlhZzBtRW9pSWlNZ21TaWVUNndDc0N3NE9mbGlTcEZjQWpNekl5UERMeU1qQXdvVUxkVlVLRHozMGtNWEdJVWtTd3NQREVSTVRnOHVYTHlNc0xNemtCSVoyMGNON2o2L3BHZ2s5ZXZUQXRtM2I4TTAzMzJEQ2hKSTdGS3BVS3Z6NDQ0OElDZ295K2ZkaHpZcUUwNmRQNjZvUDlCYUR6QUt3VmdqeFpXcHE2aW1yRFlhSWlDeUtpUVFpSWlLeXVkSko1cHVob2FGVGMzSnlCZ0tJeXMvUGYzcmp4bzNZdUhFajJyVnJoNEVEQitMNTU1KzNTSlZDMzc1OXNXTEZDcHcrZlJydnZQT095Yzk3NmFXWElFa1M0dUxpRExiWGRJMkVKNTU0QW84Ly9qaldyRm1ENjlldm8zWHIxdGk3ZHk4dVg3Nk01Y3VYbTNRSGhxRkRoNkpIang2WU9IRmlqY1pTa2Z6OGZPemF0UXR4Y1hINDdiZmY5SGNkQlBDRmo0OVBiRkpTMGwyTERZQ0lpR3lDaVFRaUlpS3lHNldUem04QmZLdFFLQjRDOElwR294bjEyMisvTlpnMWF4WSsrZVFUOU96WkV4RVJFV2pYcnAzWjNyZHg0OFlJREF4RVVWRVJnb09EVFg3ZWZmZmRaL1NXZk9Zd2I5NDhMRjI2Rkx0Mzc4YmV2WHZScmwwN0xGKytIS1czVEt5VW41OGYvUHo4TERLMlU2ZE9JUzR1RHJ0MjdkSmZGUElmU1pMV0F2aFNxVlNldHNnYkV4R1JYYkQrRFlYSkljamxjZ0VBS1NrcGpDR3lLTVlhV1JQanpUNkZob1o2M3I1OWV3Q0FLRW1TUXJYYkgzcm9JVVJFUktCbno1Nm9WNjllamQ3andvVUxHRGh3SUNaTW1JREl5TWdhanRneDVlWGxZZWZPbllpTGkwTm1acVp1dXhBaUNjQVg5ZXZYMzhUcUErdlJ2MnREU2twSzVhdHZFbFZCU0VoSUI0MUdjMEtTcEF5bFV0bkIxdU1oKzhPS0JDSWlJckpycFpQVDd3RjhIeElTMGxhajBZd0ZNT3IwNmRQM3paa3pCNTkrK2ltZWYvNTVSRVJFNE9HSEh6YXA3UDllNjlhdGc3dTdPMTU0NFFWekQ3OVdFMElZVkIvY3ZhdkxFOXdFRUNPVHlWWWRPM1lzczRLWElDSWlCOFJFQWhFUkVkVWFwWlBXLzdScDAyYTZqNDlQZndCUkJRVUYzVGR2M296Tm16ZWpiZHUydWlvRkx5K3ZTbDl2eVpJbHVIbnpKclp0MjRheFk4ZWlZY09HRnY4TXRjR2RPM2QwMVFlLy8vNjcvcTU5QUw3SXljblpmUGJzMlVJYkRZK0lpR3lNaVFRaUlpS3FkVW9uc1Q4QytMRno1ODRQeUdTeXNRQkdaMlptM2g4ZEhXMVFwZEMrZmZ0eXF4VFdyMThQbVV5R1VhTkdZZHk0Y2RiOENIWkhDSUdUSjA4aUxpNE9DUWtKK3RVSGZ3UDRTcVBSckVwTFN6dGp3eUVTRVpHZFlDS0JpSWlJYXJYU3llMlU5dTNiei9EMDlIeEJDQkYxOSs3ZHNDMWJ0bURMbGkxNDRJRUhFQkVSZ1Y2OWVzSGIyOXZndVljT0hiTE5vTzFJYm02dXJ2cmd6Qm1EUEVHaUpFbGYzTDE3ZDB0R1JvYktWdU1qSWlMN3cwUUNFUkVST1lUU3llNEdBQnNVQ2tVUWdGZUVFS1BQbkRuVGFPN2N1VmkwYUJGNjlPaUJpSWdJUFBMSUk5VmFTOEZSQ0NGdzRzUUpYZlZCWWFHdVMrRXZJY1FhbVV5MlNxbFVuclBsR0ltSXlINHhrVUJFUkVRT3AzUVMvRzc3OXUzZmQzZDNENWNrNlpYQ3dzSWU4Zkh4aUkrUFIxQlFFQ0lpSXRDN2QyLzQrUGpZZXJoV2s1T1RneDA3ZGlBdUxnN256aG5rQ1JLRUVGK29WS3A0Vmg4UUVWRmxtRWdnSWlJaWgxVTZLZDRJWUdPWExsMWFGeGNYandVUWVlN2N1Y2J6NTgvSFo1OTlwcXRTNk5peG8wTldLUWdoY1B6NGNWMzFnVXFseXhOY0I3REd4Y1ZsOWRHalIvK3c0UkNKaUtpV1lTS0JpSWlJbkVMcFpQazloVUl4VXdqUkQ4QXJLcFhxK1czYnRrbmJ0bTFENjlhdEVSRVJnVDU5K2poRWxVSk9UZzYyYjkrT3VMZzQvUEdITGs4Z0FPd0c4SVVrU2R1VVNtV1I3VVpJUkVTMUZSTUpSRVJFNUZSS0o4OXhBT0k2ZCs0Y1dIckhoOGcvL3ZpajZZSUZDN0I0OFdLRWhZVWhJaUlDblR0M3JsVlZDa0lJcEtXbElTNHVEb21KaWZyVkI5Y2tTVnF0VnF0WHA2V2xYYkRoRUltSXlBRXdrVUJFUkVST3EzUlNQVjJoVUh3SW9JOUdvM2xGcFZMMTJyRmpoN1JqeHc0RUJnWWlJaUlDZmZ2MlJmMzY5VzA4MnZMZHZuMGIyN1p0UTF4Y0hDNWN1S0RkTElRUU80VVFYL2o2K201UFNrb3F0dUVRaVlqSWdUQ1JRRVJFUkU2dnRFcGhNNEROd2NIQkFRREdTSkkwNXNLRkM4MCsrZVFUTEZteUJNOCsreXdpSWlJZ2w4dnRva3BCQ0lHVWxCVEV4Y1ZoNzk2OUtDclNkU2xjRlVLc0JyQW1OVFgxb2cySFNFUkVEb3FKQkNJaUlpSTlwWlB2OTBORFEvOTcrL2J0M3BJa1JSVVZGZlhhdFd1WGJOZXVYUWdJQ05CVktmajYrbHA5Zk5uWjJicnFnNHNYZFhrQ0RZQWRBTDd3OGZIWnllb0RJaUt5SkNZU2lJaUlpSXdvbll4dkJiQlZvVkMwRkVKRVNwSTA1dUxGaS82ZmZ2b3BsaTVkaXU3ZHV5TWlJZ0lLaGNLaVZRcENDQ2lWU3NURnhXSGZ2bjI2NmdOSmtxNElJVmE1dUxpc09YcjA2R1dMRFlDSWlFZ1BFd2xFUkVSRWxWQXFsWmNBZkJBYUdqb3JKeWVuSjRDb29xS2lQcnQzNzVidDNyMGJMVnUyeElBQkE5QzNiMTgwYU5EQWJPOTc2OVl0Yk51MkRaczJiY0tsUzVlMG16VUF0a21TOUVYcjFxMTNiZGl3UVcyMk55UWlJaklCRXdsRVJFUkVKaXF0VXRnR1lGdkhqaDM5M2R6Y0lvVVFZeTlkdXRUaXM4OCt3N0pseTlDdFd6ZEVSRVFnSkNRRU1wbXN5dStoMFdodzdOZ3h4TVhGWWYvKy9TZ3UxblVwWEpJa2FWVlJVZEZYeDQ4ZnZ3SUFTcVhTYkorTmlJaklWRXdrRUJFUkVWVkQ2V1QrdjRNSEQ1NTkvdno1NTRVUVVjWEZ4WDMzN05uanNtZlBIdmo3KzJQQWdBRUlEdzgzcVVyaDFxMWIyTHAxS3padDJvUXJWNjVvTjZzQnhBc2h2bWpUcGswQ3F3K0lpTWdlTUpGQVJFUkVWQU9say9zZEFIWjA2dFNwdVV3bUd5MUowaXRYcmx4cHVXVEpFaXhmdmh5aG9hR0lpSWhBbHk1ZERLb1VOQm9Oamg0OXFxcytVS3QxZVlLTFFvaFZLTG56d3A4QWtKcWFhdTJQUmtSRVpCUVRDVVJFUkVSbWtwNmVmaFhBck1HREIwZWZPM2Z1T1FCUnhjWEY0WW1KaVM2SmlZbG8zcnc1Qmd3WWdNY2ZmeHhIamh6QnBrMmJjUFhxVmUzVDFTaFozUEdMb0tDZ1BhdytJQ0lpZThWRUFoRVJFWkdabFNZQmRnSFlwVkFvbWdvaFJnTjQ1ZXJWcTRGTGx5N0YwcVZMOVErL0FPQkxTWksrVWlxVjF3QWdKU1hGNm1NbUlpSXlGUk1KUkVSRVJCWlVtaHlZQStCamhVSVJKb1NJQXRBTHdFNUprcjVRS3BXSktMa1RBeEVSVWExUTlhV0VpWWlJaUFnQTBMSmx5eFVBR3B0NHVFYXBWQ1lBR0FpZ2JrcEt5cURTeDB3aUVCRlJyY0pFQWhFUkVWRTEzWGZmZmVQYzNkMzliRDBPSWlJaWEySnJBeEVSRVZFRjVISzVxR2gvaHc0ZGZpdHZYMVpXMXJmbno1OS8yZnlqSWlJaXNoMG1Fb2lJaUlncWtKS1NVbTdGZ1Z3dXp6cDkrdlNqK2ZuNVo4bzVSR1doWVJFUkVka01Fd2xFUkVSRUZjc0d5cTlNZU9paGgzNjlkOXZKa3lmYnFWU3EwNVllR0JFUmtTMHdrVUJFUkVSa29zek16RTU1ZVhtL1YzU01YQzR2c05aNGlJaUliSUdKQkNJaUlpSVRGUlVWcVFEY3RmVTRpSWlJYkltSkJDSWlJaUlUdFcvZi9xU3R4MEJFUkdSclRDUVFFUkVSbVNnakk2TkRaV3NmVkhhWEJ5SWlvdHFPaVFRaUlpSWlFN1Z2M3o0ZEFCTUZSRVRrMUpoSUlDSWlJakpSUmtaR0oxWWtFQkdSczJNaWdZaUlpTWhFckVnZ0lpSmlJb0dJaUlpb0lpNEF2TFVQTWpNem44elB6ejlUMFJQa2NubVdxNnVydDBxbDhpM2RsRzNKQVJJUkVWa2JFd2xVcVRadDJuajQrZm41Nlc5VHE5VUFnQzVkdWpUUjM1NlZsWlYxOXV6WlFpc09qeHdJWTQyc2lmRkdwcWhUcDA2WGR1M2FKV3NmUC9UUVE3K2E4ano5NDFKU1VpUkxqSTJJaU1oV21FaWdTdm41K2ZtcDFlby9BWlE1RVZLcjFkZjBIbXI4L1B5YUE3aHV0Y0dSUTJHc2tUVXgzc2dVQlFVRlA5K1RDUEJyMUtqUmFHOXY3NmZQblRzM0ZFQUJBRFJxMU9nZFQwL1BOdG5aMlZ0eWNuTDJBbEFCUU1lT0hmM2xjdmtLWTY5OTcvYmk0dUpaeDQ4ZnYyS2hqMEpFUkdRMk1sc1BnT3pmMGFOSHJ3TTRhTUtoaDBxUEphb1d4aHBaRStPTnFzRFZ4OGVuWjJCZzRMZWRPblg2czFHalJtL2N1WFBuWndCdTJnTUtDZ3BPdTdpNE5HamR1dlhHVHAwNi9SMFFFTERPMTljM3ZHM2J0djhJSWZvREdLZjNuNVp1bXhDaWY5dTJiYStCaUlpb0ZtQkZBcGxFQ0JFclNkSXpsUnkyMFNxRElZZkdXQ05yWXJ5UktSNTg4TUY5OWVyVmUvVDI3ZHZiTGw2OCtLL3M3T3h0QU5UNngrVG01bTdMemMzZEJxQ2VuNTlmLzRZTkc0NXMzYnIxcGtPSERrMXQzcno1SmlIRStFcmVKbTdEaGczcVNvNGhJaUt5QzB3a2tFazBHazJjaTR2TDRvcU9VYXZWbTZ3MUhuSmNqRFd5SnNZYm1lTGl4WXRqQ3dzTGJ3QzRiY0xoZVZsWldkOW1aV1Y5VzdkdTNXYjUrZm4vTkczYTlDbEpraXBMSk1TYVlhaEVSRVJXd2RZR01rbDZldnBWQUQ5WGNFaHk2VEZFTmNKWUkydGl2SkVwQ2dzTGY0ZHBTUVFEK2ZuNWZ3SW9sTWxrQjRRUXR5bzQ5Si82OWVzZnFQWUFpWWlJckl5SkJES1pKRW5sWGkycGFCOVJWVEhXeUpvWWIyUnBTcVd5U0pLa0xSVWNzaVVwS2FuWWFnTWlJaUtxSVNZU3lHUkZSVVhsbmxBWEZSWEZXWE1zNU5nWWEyUk5qRGV5aG9xU1VqS1pqQWtySWlLcVZaaElJSk1kUDM3OFBJQlVJN3RTU3ZjUm1RVmpqYXlKOFViV2NQdjI3VVFBT1VaMjVXUm5aKysxOW5pSWlJaHFnb2tFcWlwalYwMTRKWVVzZ2JGRzFzUjRJNHM2ZS9ac29SQmltNUZkOFdmUG5pMjArb0NJaUlocWdJa0VxaEpqcFprc3lTUkxZS3lSTlRIZXlCckthVzlnbkJFUlVhM0RSQUpWaVZLcFBBM2dsUGF4SkVrWng0NGR5N1Roa01oQk1kYkltaGh2WkEyU0pPMENrSyszS1YrU3BOMjJHZzhSRVZGMU1aRkFWU2FFMEYwOTBXZzB2SkpDRnNOWUkydGl2SkdsS1pYS2ZBQTd0WThsU2RwUnVvMklpS2hXWVNLQnFrTjNnczFibzVHRk1kYkltaGh2WkhGTVdCRVJrU05nSW9HcUxEVTE5VGlBY3dET3BxU2tuTEQxZU1oeE1kYkltaGh2WkEzdTd1N2J0VC9YclZ0M2UwWEhFaEVSMlN0WFd3K0FhaVVCSUZhU0pGSDZNNUdsTU5iSW1oaHZaSEcvL1BKTGpsd3Uzd1pBL1BUVFQ3bTJIZzhSRVZGMU1KRkExU0tUeVdLTGk0dDVvazBXeDFnamEySzhrWlZvRTFaRVJFUzFFaE1KTmhRY0hQeUxKRW1QMm5vYzFhSFJhQ0NUeVNDWHkyMDlsR29UUWlTbHBxWjJzL1U0TEswMnh4bFErMlBOV2VKTVgyMk91ZG9lYjREenhGeHRqak1BRUVKQUxwZkgySG9jMWVVc2NVWkVSTVp4alFRYnFzMG5RSTVBa3FSUVc0L0JHaGhudHVVc2NhYVBNV2RiemhKempEUGJjcFk0SXlJaTQxaVJZQWVVU3FXdGgrQjBGQXFGcllkZ2RZd3o2M1BHT05QSG1MTStaNHc1eHBuMU9XT2NFUkdSSVZZa0VCRVJFUkVSRVpISm1FZ2dJaUlpSWlJaUlwTXhrVUJFUkVSRVJFUkVKbU1pZ1lpSWlJaUlpSWhNeGtRQ0VSRVJFUkVSRVptTWlRUWlJaUlpSWlJaU1oa1RDVVJFUkVSRVJFUmtNaVlTaUlpSWlJaUlpTWhrVENRUUVSRVJFUkVSa2NtWVNDQWlJaUlpSWlJaWt6R1JRRVJFUkVSRVJFUW1ZeUtCaUlqSVRNYU5HNGRseTViWmVoamtKQTRlUEFpRlFvR01qQXhiRDRXSWlKd01Fd2xFUkVRMUpJUUFBUGo2K3NMUHo4OWdHNUdsYk5teUJVRkJRV2pmdnIydGgwSkVSRTZHaVFRaUlxSWF1SG56SnZyMTY0ZFZxMVpCclZiajFxMWJpSTZPeG9nUkkydzlOSEpndDI3ZHdxRkRoL0RDQ3kvWWVpaEVST1NFbUVnZ0lpS3FBWGQzZDBSRlJlSHZ2Ly9HZ1FNSHNIWHJWdFNyVncralJvMkNScU94OWZESVFjWEh4ME9TSlBUdTNkdldReUVpSWlmRVJFSXRwVmFyOGMwMzMyRElrQ0hvMnJVcnVuWHJobi8vKzk4V2ZjOWR1M1pCb1ZCZ3hZb1ZCdHZmZmZkZGRPM2FGVmV2WGpYNXRhWk9uUXFGUW1IU3NaY3ZYNFpDb2NDTUdUUEs3TnUrZlRzVUNnVU9IejVzOG50VDFkWDJlQ3NQWTh0KzFhYVk4L0h4UVhoNE9GcTJiSWtPSFRwQUpwT2hlL2Z1ZVBiWlp5R1RsZjJhWmR6Wmo5b1VaL2ZhdW5Vcm5ubm1HVjByalQ3R0dCRVJXWnFyclFkQVZTZUV3T1RKazVHVWxJU1FrQkQwN05rVCtmbjUyTE5uVDZYUC9mUFBQeXZjMzZ4WnMzTDM5ZXpaRXhzM2JzUjMzMzJIWWNPR3djZkhCNmRPblVKaVlpTEdqeCtQNXMyYlYvbXptS0pGaXhZSURnN0dnUU1Ib0ZLcDRPN3VydHUzZS9kdTNILy8vWGo4OGNjdDh0N2syUEhHMkxKUHRUSG1Nakl5c0hUcFVxeGV2UnJIangvSGxDbFQ4UDMzMzhQSHg2Zk1zWXc3KzFBYjQwd3JQVDBkRnk1Y3dGdHZ2V1YwUDJPTWlJZ3NqWW1FV21qTGxpMUlTa3JDNk5HajhmcnJyK3UyUjBWRlZmcmNmdjM2VmJoZnFWUld1SC95NU1sNDZhV1hzSGJ0V2t5Y09CRkxsaXhCeTVZdE1YTGtTTk1HWDAzaDRlSDQ4TU1QY2VUSUVZU0doZ0lBc3JPejhmUFBQMlA0OE9GR3IvcVJlVGg2dkRHMjdFOXRqTG43N3JzUDQ4YU53OE1QUDR3SEhuZ0F0MjdkTXBpODNZdHhaM3UxTWM2ME5tL2VqRWFOR3FGcjE2N2xIc01ZSXlJaVMySWlvUmJhdW5VckdqUm9nUEhqeHh0c2QzTnpxL1M1Q3hjdXJORjdQL2pnZzRpSWlNQVBQL3lBb0tBZy9QcnJyL2o4ODg5TmVtLzlLemdGQlFWbHRsVjBCU2NzTEF6ejVzM0RuajE3ZENkRWlZbUpVS3ZWQ0E4UHIrYW5JVlBVeG5nemRyV3d2UGhpYk5tZjJoaHpqUnMzeHFoUm8zVGpmTzIxMXlvOG5uRm5lN1V4emdEb3FpYUdEaDFhWVRLQU1VWkVSSmJFUkVJdGRPYk1HY2psY3JpNlZ2MmZUM3N5VVJNVEpreEFRa0lDWnM2Y2laNDllK0t4eHg0ejZYbkdydURvYjZ2b0NrN2R1blVSRmhhR3ZYdjNvckN3RUI0ZUh0aTVjeWM2ZGVxRWdJQ0FxbjhJTWxsdGpEZGpzVlplZkRHMjdFOXRqTG1xWXR6WlhtMk5zNFNFQk55OWU3ZlN1elV3eG9pSXlKS1lTS2lGVkNwVnRVNThnSnIxZFdxNXVibWhidDI2eU1uSmdZZUhoOG52clg4Rlo5MjZkVWhMUzZ2U1ZaM3c4SERFeDhmajhPSEQ2TkNoQTlMVDA0MHVKRVhtVlJ2anJhcFhDeGxiOXFVMnhseDFNTzVzcTdiRzJaWXRXeUNYeStIdjcxL3BzWXd4SWlLeUZDWVNhcUZtelpyaHpKa3pFRUpBa3FRcVBiZW1mWjBBOFBubm55TW5Kd2NqUjQ3RTExOS9qUmRlZUFHZE9uV3E5SG42VjNCMjc5NWRabHRsZ29PRDRlL3ZqejE3OXVES2xTdnc5UFRFYzg4OVovTHpxWHBxWTd4VjlXb2hZOHUrMU1hWXF3N0duVzNWeGpnN2YvNDhqaDgvanYvKzk3OG1qWk14UmtSRWxzSkVRaTMwN0xQUDRxdXZ2a0pzYkN3R0RScWsyMTVRVUlBNmRlcFUrTnlhOW5XZU9uVUtQL3p3QThhTkc0Y1JJMFlnSVNFQkgzLzhNYjc5OWx1TEw5d2tTUkxDdzhNUkV4T0R5NWN2SXl3c0RIWHIxclhvZTVKenhCdGp5NzQ0UTh3QmpEdGJxNDF4dG5uelp0U3JWdzloWVdFbXZROWpqSWlJeUFISjVYSWhsOHRGVmVYbDVZbUJBd2NLaFVJaDNucnJMUkVURXlNV0xWb2tldlhxVmVYWHFvcmk0bUl4ZE9oUTBhdFhMM0gzN2wwaGhCQTdkdXdRY3JsY2ZQUE5OMVY2clhmZmZiZGFuLzM2OWVzaUpDUkV5T1Z5a1pLU1V1WG5hMmwvOTdhT0FXdW9icHhwT1VLOG1jSmNzYVhQbWVKTUgyUE9kT2FPTzJlS09XZUxzNktpSWhFV0ZpWm16NTVkcGZmajN6YkgxYkZqUi8vU2Y0c3J0aDRMT1o2UWtKQU9jcmxjS0JTS2s3WWVDOWtuM3Z1bkZxcGJ0eTdXckZtRHdZTUg2KzVkdm12WExyTXMvbFNSZGV2V0lUTXpFNisvL3JxdW43Tm56NTU0NktHSHNHTEZDdno5OTk4bXYxWjBkTFJKcFovM2F0eTRNUUlEQTNYM3lDYkxjNFI0TXdWankzNDRTOHdCakR0YnFtMXhkdWpRSWR5NmRhdlNSUmJ2eFJnaklpSnlNRFc5bXVLTXpwOC9MK1J5dVZpOWVuV05Yc2VacnFZd3preGpydGpTNTB4eHBvOHhaenB6eDUwenhaeXp4ZG1rU1pQRTRNR0RxL3c4L20xelhLeElJRXRpUlFKVmhoVUpWS3VzVzdjTzd1N3VWYjRpUTFRWnhoYlpBdU9PVFBIMzMzL2p5SkVqMVlvVHhoZ1JFVmtDRjF1a1dtSEpraVc0ZWZNbXRtM2JockZqeDZKaHc0YTJIaEk1Q01ZVzJRTGpqcXJpL3Z2dng5R2pSNnYwSE1ZWUVSRlpFaE1KVkN1c1g3OGVNcGtNbzBhTndyaHg0Mnc5SEhJZ2pDMnlCY1lkV1JwampJaUlMSW1KQktvVkRoMDZaT3Noa0lOaWJKRXRNTzdJMGhoalJFUmtTVndqZ1lpSWlJaUlpSWhNeGtRQ0VSRVJFUkVSRVptTWlRUWlJaUlpSWlJaU1oa1RDVVJFUkVSRVJFUmtNaVlTaUlpSWlJaUlpTWhrVENRUUVSRVJFUkVSa2NtWVNDQWlJaUlpSWlJaWt6R1JRRVJFUkVSRVJFUW1jN1gxQUFoUUtCUzJIZ0k1QWNZWldSdGpqcXlCY1VaRVJHUjlyRWl3SVNGRWtxM0g0TXljNWZmdkxKL1RYam5qNzk4WlA3TTljWmJmdjdOOFRudkYzejhSa1hOalJZSU5wYWFtZHJQMUdLcExMcGNMQUVoSlNaRnNQUmFxV0cyT000Q3hWaHZWNXBoanZOVWVqRE1pSWlMYllVVUNFUkVSRVJFUkVabU1pUVFpSWlJaUlpSWlNaGtUQ1VSRVJFUkVSRVJrTWlZU2lJaUlpSWlJaU1oa1RDUVFFUkVSRVJFUmtjbVlTQ0FpSWlJaUlpSWlrekdSUUVSRVJFUkVSRVFtWXlLQmlJaUlpSWlJaUxLZW5xSUFBQ0FBU1VSQlZFekdSQUlSRVJFUkVSRVJtWXlKQkNJaUlpSWlJaUl5bWF1dEIwQkVSRVJFUkJVTENRbDVWS1BSZkE3QUhZQ3E5SDhCb0pGY0xqK0drdk42RFFDVkpFbmRsVXBsdm8yR1NrUk9nSWtFSWlJaUlpSTc1K1hsZFR3bkorZGhBSFh1MmVVR1FLSDNlQitUQ0ZSVm5UdDM5cFhKWlBmcGJXb0pBRUlJZDdsYzNrYi8yS0Nnb1BNYk5teFFXM1dBWkhlWVNDQWlJaUt5a0s1ZHU5WXBLQ2hvYkd4ZjU4NmRBL1VmMTZsVDUwWnljbktCVlFaR3RVNVNVdEpkdVZ5K0ZjQ1FpbzZUSkNuV1NrTWlCK0xxNnRwWm85SHMxejdXYURUYUh4OEFjRWI3UUpLa0t4czJiR2hwNWVHUkhXSWlnU3JWcVZPbjVpNHVMdjh4dGs4dWx5L1NmNnhXcStlbnA2ZGZ0YzdJeU5HMGFkUEd3OC9QejA5L20xcGRrdkR1MHFWTEUvM3RXVmxaV1dmUG5pMjA0dkRJd1hUdDJyVkJZV0hoNDhiMnllWHl2dnFQUFR3OGppUW5KOSt5enNqSWtXZzBHaCtaVEhZT1J0YWxrc2xrNS9VUHpjdkxhd3FBaVFRcWx4QmlneVJKRlNVU0JJQk4xaG9QT1E0dkw2L0RPVGs1eGFoa2ZxalJhT0pRRW1mazVKaElvRXI1K2ZuZHlNbkpHUWJnZmlPNzM5RDcrUzgvUDc5M3JEUXNja0IrZm41K2FyWDZUd0RTdmZ2VWF2VTF2WWNhUHorLzVnQ3VXMjF3NUhCa01sa1JnQTBBUEkzc2p0ZjcrYTVNSm10a25WR1JvL25sbDE5dUJBY0hINVFrS2JTU1F3OGNQMzc4TDJ1TWlXb3Z0VnE5eTlYVnRRQmwyeHNBQUVLSUl5a3BLZGVNN1NPcVNGSlNVckZjTHY4S3dDdVZITXFLRndMQXV6YVFDWktTa29waFduWjdVK214Uk5WeTlPalI2d0FPbW5Eb29kSmppYXJ0cDU5K3lnV3d5NFJEZDVVZVMxUXRKcGFhOCtTY0tuWDgrUEU4QUR2TDI4KzJCcXFoeXVMbnJ6WnQydnhrbFpHUTNXTWlnVXhpeWhlVFRDYmpseGZWbUJEQ2xEamFhUEdCa0xQZ0JJOHNUcTFXVjVxTUYwS3dISjFNSW9Rbzl6dFFDQkZuemJHUVk1RWthUitBckFvTzJjUkZGa21MaVFReTFYNVUvSWNsU3dpUlpLV3hrQU1yN2IycmtDa241VVNtMEdnMDJ3QVVWWEJJVWVreFJOVld1blpRY2dXSEhFbE5UZjNUV3VPaDJzM2QzWDA3U203L2VLOWpxYW1wRjYwOUhuSWNTcVd5U0FpeHRiejl2R2hJK3BoSUlKTlU5b2NGd0JhbFVsblJ5VGlSU1VwUHVIK3U0SkJrTHVoSjVwS1dscFlOSUxHQ1F4SkxqeUdxa1lvcSsweXN4Q0lDQVB6eXl5ODVBQkx1M2M2MkJqS0hDdUtJRnczSkFCTUpaTEpLdnFENDVVVm1VMUdzOFVTSnpLMmlTUnduZUdRdVJVVkY1Vlpic1J5ZHFrcVNwREx0RFdxMW1uK3ZxTVo4Zkh6MkFEQzJMaEF2R3BJQkpoTElaS1YvV080WTJaV2JrNU96eDlyakljZFZWRlJVN3NsUVJTZmpSTlVoazhtMkFERFc4Nmt1M1VkVVk4ZVBIejhQSU1YSUxtVmFXdG9GS3crSGFqbVZTclVWaG4rM1RxU2xwWjJ4MVhqSWNTUWxKZDJWSk1sWVN4OFRWV1NBaVFReVdWSlMwbDBBWmY2d1NKSzA3ZXpaczRVMkdCSTVxTklUN2xRanUxSks5eEdaalZLcHZBbmdnSkZkQjByM0VabExtUk54VmxsUmRadzRjU0pMQ0tHL2VqN2ppTXhHbzlIY0cwKzhhRWhsTUpGQVZXS3N6TmZJSHhzaWN6QVdWNHcxc2doamt6bE84TWpjakMxVVZseGN6RGlqYWhGQ3hHdC81aUo0WkU0eW1Xd25nTHZheDd4b1NNWXdrVUJWb2xhcmR3SW8wTnRVb0ZhclRia1BPMUdWR0p2RThVU0pMR2dUQUtIM1dKUnVJektiWThlT1pVcVNsS0czNldSNmV2cnZOaHNRMVdxU0pLMHQvZkhxc1dQSE1pbzhtS2dLbEVwbHZpUkpoN1NQZWRHUWpHRWlnYXJrK1BIamVRRDBFd2M3UzdjUm1aVlNxVHdONEpUMnNTUkpHY2VPSGN1MDRaRElnU21WeW10Q2lDUGF4MEtJSTBxbDhwb3R4MFNPNlo0VGNwNmNVN1dscHFiK0xZUklFa0o4RGNORUtGR05TWktrYS9ualJVTXlob2tFcWc3ZGlROUxmOG1TOUZ0cG1BMG5TOVAvZThhL2JXUXBqRE15SjBtU05zcGtzakozY0NDcXFUcDE2cXdCVUFUZ0FDOGFrakd1dGg0QTFUNlNKRzBUUXBmNDNtN0xzWkREaXdVd0ErQUpOMW1lRUNKT2txUlB0RC9iZWp6a21GSlNVazdJNWZJL0FRaWxVbm5TMXVOeFZISzVmQ09BZ2JZZWh6VUlJU0NYeTIwOURIdjNlVXBLeWdSYkQ2STJPWFRvMERXNVhMNUxDUEc5cmNkQzlrbXk5UUNvZGdvT0R0NHVTWkpJU1VucGErdXhrRU9UNUhMNVZRQWlKU1hGSHl6ZEpBdVR5K1ZIVVJKdmo5cDZMT1M0Z29PRG93R0kxTlRVOTJ3OUZrZlVzV05IZjFkWDE4dTJIZ2ZabDVTVWxCclBlNEtEZzkrU0pHbWhPY1pERHVWUEZ4ZVgvenQ2OUtoVC9kMWhSUUpWVnl3NHFTUExFd0RXU1pJa3dIZ2pLNUFrS1ZhajBURFdISVJjTHU4STRDY0FYclllaXpGeXVYeXFyY2RnTGtLSXBOVFUxRzYySGdjQXVMcTZEZ0tBc0xBd3pKMDcxOWJESVJ0NjlkVlg4ZXV2djBJSU1jWU1MeWZKWkxMWDlhcHlpYlNhYVRRYVh3Qk1KSkI5a2N2bGt3SFk1VGVoWEM1Zlkrc3htSU1RNHJuVTFOUkVXNC9EVnV6OVpMdTBiSE9LcmNkaEJ0bXVycTV0ZnYzMTEzOXNQUkJiczllWUUwSkFraVRJNWZLUGJUMFdjN0duQ1o0TmpJS2R4Wmlqa2lRcDFOWmowRE1ZQUo1NzdqbGJqNE5zS0NzckM4ZU9IUU9BWWs5UHo4MDFmYjNnNEdDRkVLTFYvZmZmangwN2RrQW00MUp6emk0cEtRbHZ2LzAyQUtRcWxjb1R0aDZQdFRHUllQOGtBSy9iZWhDT1RwS2tKd0U0YlNJQlBObTJGbCsxV3UwTHdPa1RDV0RNV1kyZFRmQ3NTU1pKMG1BaEJOYXVYWXNPSFRyWWVqd09hZUhDaGZqdXUrOEE0Rk5iandVb2FXc0E4TGlIaHdlZWVPS0pTby9Qejg5SDNicDF5OTJ2MFdoUVdGaUlPblhxbUhHVXRWZGVYaDdjM2QzaDV1Wm02NkZVYXYvKy9kQm9OQUN3TnprNStWWk5YMCtTcE1FQThPeXp6NXFVUkdCc0dmcnJyNytRbUppSTl1M2JvMU9uVGdiN2hCRFlzR0VESG52c01RUUVCTmhvaEZXM1o4OGVBSUFrU1J0c1BCU2lzdVJ5K2YvSjVYTFJxMWN2b2RGb0JKbFBWbGFXQ0FrSkVYSzV2UGpSUng5dGFPdC9heHVTS1JTS3kzSzVYSnc0Y2NMVy95d09hZi8rL1VJdWx3dTVYSjVpNjM5c084R1lzNElGQ3habzQrNFRXLytEMjBKd2NIQlh1Vnd1ZXZmdXplOVBDMUdyMWFKbno1NUNMcGVMNE9EZ3JyYitOd2NBdVZ6K2I3bGNMaVpQbm16U1p4ZzFhcFQ0OHNzdmplNHJLaW9TNDhlUEY2R2hvU0l2TDY5S3Y1dlUxRlFobDh2RjhlUEhxL1M4aWx5N2RrMkVoSVNJM054Y2taeWNMSHIyN0tuYmQvNzhlWVAvYnQ2OGFmRGN3c0pDc1d6Wk1uSHg0a1dqcjExUVVDQ1NrNU4xaitWeXVUaC8vcndRUW9pZmZ2cEozTDU5V3dnaHhKdzVjOFRvMGFQTjlwa3NhZno0OGRyWWpEUkRhRWtLaGVJUHVWd3VVbE5UVFhwL1I0bXRqSXdNTVhIaVJJTnhGaFVWaWF5c3JFci8wL2YrKysrTDNyMTdpMy8rK2FmTSsrL2J0MDg4ODh3eklqYzN0OUt4enBzM1QzeisrZWRHOSszYXRVdEVSRVNVRytmbVZGaFlLSjU4OGtudDkyd2JNOFJZcmNPS0JEdW52WnJ5M0hQUFFaSzROcVk1NldlcW5iblVQRGc0K0RFaGhIK1RKazNRdm4xN1d3L0hJVEZqYllneFoza2FqUWFKaVNWRlZrSUlwNHc3N2RYRHNMQXdmbjlheUlrVEovRFhYMzlCa3FRcktTa3B2OWg2UEtWMC8rNlZVYXZWeU16TXhNaVJJNDN1bXpsekprNmVQSWxXclZwaCt2VHBXTEJnZ2RFcjBYUG56c1h6enorUHpwMDdWL3FlYVdscDJMMTdONlpNcVhxM1htSmlJaDU0NEFGNGVYa2hNVEVSd2NIQnVuMERCeHJlb0tKLy8vNllNV09HN3ZIcTFhdXhaczBhL1BISEgxaXdZRUdaMTg3SXlNQ2tTWk13Yjk0OGhJYUc2cmFmT25VS2t5ZFB4dWVmZjQ2T0hUdml0OTkrdy8vOTMvK1ZPMGFGUWxIbHo2VVZGQlNFOWV2WFYvdjUraXpaMXRDeFk4ZEtqM2VrMkdyYXRDbCsvLzEzVEo0OEdZc1hMNFpNSmtOeWNqTCsvZTkvVi9xNlNxVVNBUERMTDc5ZysvYnRjSEZ4UVhoNHVNRXhVVkZSMkx4NU0vTHk4dEN6Wjg4eXI3Rng0MFkwYWRJRUFIRGx5aFZzMkxBQlU2Wk13WVVMRnd5T2E5YXNHVmF1WEFsM2QzZG9OQnFEL1EwYk5vUzN0N2Vwdnc2VEhEbHlCUG41K1FDUW1wS1NjdGFzTDE1TE1KRmczeVFoaE1sZmlGUTFuTnlWNE1tMlphbFVLaHc4ZUJDQTgwN283c1dZc3p3N25lQlprMHcvRVUrV2NVK3lTbVBiMFJpMk5UejU1Sk1WSHB1WGw0Y3paODZnc0xBUXJWcTFRbTV1TGdEQTI5c2JlWGw1bURwMUt0TFQwN0YwNlZLMGJOa1N3NFlOd3p2dnZJUG82R2g0ZUhnWXZOYjY5ZXNSRkJSazBtVHY3Tm16V0w5K2ZiVW1lM3YzN2tWd2NEQTBHZzJTa3BJd2Z2eDRnLzJ4c2JFSURBeEUzNzU5RVJnWXFOdWVscGFHZGV2VzRiUFBQc01ISDN5QUw3LzhFcSs4OG9yQmN4VUtCVWFQSG8zdnZ2dk9JSkV3YTlZc0RCOCtIQjA3ZGtST1RnNSsrKzAzVEo0OHVkd3h4c2FXZjZmbStQaDR4TVRFNExYWFhzT3p6ejViWnI4NTJ5VnMyZGJnYUxIbDUrZUgyYk5uWS96NDhmajAwMC94OXR0dm8ydlhydGk3ZDY5SnIzMzU4bVc4OTk1N21EVnJGcnAwNllJaFE0Ymd6VGZmUko4K2ZRQUFuM3hTVWpSMzVNZ1JMRjY4R0RkdTNNQ3NXYlBnN3U1ZTVyVVdMRmdBdFZxTk9YUG1sTmszYXRRb1hMeDRFVURaeE5ya3laTXhaTWdRMDM0Wkp1SThnb2tFdXlhWHl4OEQwS0p4NDhiczdUU3o3T3hzSEQxNkZBRFVMaTR1bTJ3OUhodml5YmFGTVdOZEJtUE9DdXh0Z21kdHJIcXhQSTFHbzV0STJFdVNWSHUzaHFlZWVxclN2dk4rL2ZyaDl1M2JBSUNJaUFqZDlwaVlHRXliTmcyU0pDRW1KZ2F0V3JVQ0FDeGZ2aHhSVVZFWU9uUW9aczZjV2FiSDI5TCsrdXN2bkRoeEFpKy8vREtVU2lXeXNySU1yaHByblQ5L0h0ZXVYY016enp3RG9PUUs3bi8rOHgrTUhUc1dUenp4Qk9iTm00Y0pFeWJnN3QyN21EQmhnbTVTL004Ly95QWlJZ0lSRVJINDU1K1NJczNzN0d6TW5Ea1REUm8wUUhGeE1RNGVQQWlOUm1QMEtudE1UQXdlZWVRUmd3U0d2dXpzYkd6YXRBbisvdjRZTVdLRXhkZFkwRTd5aEJEbUtIR1FBTHdJbUxhQXB5UEdsa0tod0xoeDQrRG41d2NBY0hWMWhhK3ZiNld2clZLcDhPcXJyeUk4UEZ4WGJmRDIyMjlqM2JwMTZOV3JGMlF5R2U3ZXZZdHAwNmJCemMwTnI3NzZLc2FQSDQrREJ3K1d1WWdhR3h1TEkwZU9ZTTJhTmJoOCtUS1NrNVB4NFljZnd0WFZGYi8vL2p0R2poeUpRWU1HWWVyVXFaZzVjeWJhdFd1SGYvM3JYMmI2TFpYOVhMeEl4RVNDWFdOYmcrV3dyYUVFVDdZdFR6dWhjK2FNdFQ3R25PWFo0d1RQMmxqMVlua25UcHpBalJzMzdLM3F4ZVFxem4zNzl1RzExMTVEdTNidE1ISGlSS2hVS3N5ZE94ZVJrWkVJQ3d0RFFrSUNCZzBhWlBDY29LQWdOR25TQkpHUmtXVmFCeXl0VWFORzJsSjlBUDhyR2I5WGNuSXlBZ01EMGJKbFMxeTZkQW5qeDQrSFhDN0g2TkdqQVFEQndjRzZxOHJwNmVtWU1XTUdBZ0lDMEtOSGp6S3ZOV2JNLys2WXVIcjFhc1RHeGlJaUlrTDNXcWRPbmNLVUtWTVFFeE9EdG0zYlZqaitPWFBtNFBidDIzai8vZmN0bmtTd1JGc0RnRUJUMnhvY05iYkdqaDFiNWRkMmQzZkh4eDkvakE0ZE91aVNXMERKOTFTM2J2KzdtZER1M2JzTjluMzAwVWZvMEtHRHJxWGh5SkVqbURkdkhpWk5tb1JPblRxaFdiTm1XTFZxRlpZc1dZTEl5RWk4ODg0N2FOMjZ0ZllPQ25qeHhSY3hmdng0ZE9uU0JVRkJRVlVlZDJWNGthZ0VFd24yUzhhMkJzc3hjNmE2MXVMSnRtV3BWQ29jT0hBQWdQTk82TzdGbUxNOE81M2dXUk9yWHF6QTNxcGVxdExXQUpSY0lUOTI3QmlHRHg4T2hVSUJwVktKZ0lBQXpKOC9INkdob1VZbmNpNHVMdkR3OE1EaHc0ZlJvRUVEQzN5S21qdHk1QWk2ZGV1R0kwZU9ZTnEwYVdqU3BBbkdqQm1qSy9rR2dNYU5HK09ERHo3QWdnVUxNR2pRSUl3Yk4wNDNlY3pNek1SLy92TWZYTDE2RlJNblRzU0FBUU5RdjM1OXBLYW00dmp4NDNqd3dRZlJyRmt6QUNXSkJKbE1obmJ0MnNIVnRmd3B4WVlORzdCMzcxNTA2dFFKanozMm1HVi9BYkQ5M1JvY0tiWUtDZ3B3NDhZTjNlUEF3RURFeDhmamd3OCtNUGsxdExGMTU4NGRYZnROUlZRcUZicDI3YXI5TndRQU5HblNCSysvL2pwZWZ2bGxaR1ptWXNLRUNWaTZkQ2xhdDI2Tk8zZnVvRXVYTG5qMTFWZDE3UkJObXpiRjAwOC9iWkVrQXNDMkJpMG1FdXlVWEM1L0ZHeHJzQWo5dGdZM043Y2FaNnByTVo1c1d4Z3oxbVV3NXF6QTNpWjQxc2FxRjh1eng2cVhxclExQUNWWFFBTURBL0hnZ3cvcXRvMFlNY0xvWW9GS3BSSnF0Um91TGk2NGZ2MDZwazJicGtzU2EwVkhSeU02T3JyTWMwZU5HbFhWajFKdEdvMEc2ZW5wR0RCZ0FJNGVQWW9ubjN3U08zYnN3TkNoUTQwZXYzejVjaHc2ZEFodDJyU0JScVBCaGcwYnNIVHBVcnp4eGh1SWpvNkdVcW5FanovK2lPam9hQ3hmdmh6MTZ0WERsU3RYZE0rL2V2VXFtalp0V21FU1FhbFVZdUhDaFFnSUNFQjZlanEyYnQyS1hyMTY0ZWVmZnpaYUJXRU90bXhyQUJ3cnRsSlRVekZ4NGtUZFk2VlNpVzdkdXVHUlJ4NEJVSEpPSFJVVmhSZGZmTEZNbFlVeEV5Wk1xREJlZ0pKYlFkNnJkZXZXYU4yNk5ZUVF1Z1ZCSDNyb0lRQkFnd1lOeWlSbmNuSnlzR3ZYTHN5ZVBidlNNVlVWMnhyK2g0a0VPOFcyQnN0aFcwTUpubXhiSHRzYURESG1MTThlSjNqV3hxb1h5N1BUcXBjcVZYSEd4Y1doWDc5K1J2ZnQyN2NQWGw1ZXVIUG5EcnAzNzQ3YzNGeUVob1pDcVZSQ285SGd6cDA3QnNjYlcyRHc5T25UbURadEdxS2pvdzBtbEFrSkNWaTVjcVhKSDZvcVpESVpoZzBiaG1YTGx1Rzc3NzZEcDZjblB2cm9JOTEraFVKUjVvcndvNDgraXJ5OFBBd2ZQaHczYnR6QXZIbnowTFZyVjBSSFIrUHR0OTlHUmtZR3BrMmJocmZlZWd1NXVibFlzbVNKN3JtLy8vNDcyclFwLzY1M21abVplUHZ0dCtIbDVZVWxTNWJvVnV2ZnRtMGJGaTVjaUUyYk51SGRkOTlGUUVDQTJYNEh0bTVyQUJ3cnRoNS8vSEVvbFVwY3VIQkJ0NENobDVjWHZMeThBQURMbGkxRDNicDFFUlVWQlI4Zkg5eTRjUVAxNnRYVDdiL1hzbVhMVEs1SU1PYjc3NzlIV2xvYS92dmYvNXAwaHhEdE1XKy8vVGFHRFJ0VzZmR200RVdpLzJFaXdUNnhyY0dDMk5aUWdpZmJsc1cyaHJJWWM1Wm5weE04YTJMVml4WFlXOVZMbHk1ZFdxalZhcFBiR29DU0ZlNFhMVnFFUllzV0FTaVpjR2hYZ3BmSlpIQnhjVEdwakIyQTBZbFJkblkyZ0pJU2EvMzlVVkZSaUlxS011bDFxMlBNbURHSWk0dkR6cDA3RVJJU0FyVmFiYkQvNnRXclpaNFRHQmlJWjU1NUJvTUdEWUtYbDVmdU5uLysvdjRJREF6RXM4OCtDMDlQVDF5OWVoWFoyZGs0ZCs0Y2dvS0NrSnFhaXNHREJ4c2RSMFpHQmlaT25BaEprckIwNlZJMGI5NWN0Mi9Zc0dGbzBhSUY1c3laZzMvOTYxOFlQWG8wSWlNaks3MVNiWXA5Ky9acEx4WWxtcW10NFVYQTlMWUd3SEZqNjE1WldWbjQ0WWNmTUhic1dQajQrQUFvdVR0Q28wYU5NSC8rZktQUEdUOStmTFVxRWdEZzVNbVRXTHg0TVlDU3hSNjFTWmE3ZCsvQzA5UFQ0TmlyVjY5aTBxUkp1bVBNMlM2aWQ1SElxZWNSQUJNSmRvbHREWmJEdGdZZG5teGJHRFBXWlREbXJNRGVKbmpXeHFvWHk3UEhxaGUxV2owUU1MMnRBU2k1ZWd1VVRJYUdEQm1DaElRRTNYM213OFBESVVsU3VSTWFmYW1wcWRpNWN5ZmVlKzg5azhjN1o4NGM5T25UeHlLcjg3dTd1K1B4eHg5SGNuSXlsaXhab3J0N2dOYWtTWlBLUEVlcFZHTFFvRUVRUW1ETGxpM1l2Mzgvb3FLaURKN3I2ZW1KNXMyYnc5L2ZIL3YzNzRkYXJjYU5HemVNWGprK2NPQUFwaytmRGs5UFR5eGJ0c3pncXJuV1UwODloUTBiTm1EKy9QbFl1WElsRWhNVDhmNzc3OWY0dlBlZXY0RTFKYUcwMHFVcTMxdU9HbHYzV3JseUpmejgvQXhhWjZaTm00WVJJMGJnaHg5K01IckhoQlVyVmxTckl1SHk1Y3Q0NjYyM0VCd2NqRjkvL1JWQVNaSmx6NTQ5bUQ5L1B0YXRXNGZHalJ1WGVhM0szcXVxOUM4U0FiQ0x2MysyeEVTQ2ZYb1JNUDlWdS96OGZOU3RXN2ZjL1JxTkJvV0ZoU1ovQ2RkR1NVbEp1a3cxMnhwNHNtMUpiR3N3eEppelBIdWM0Rm1iOXVxaEphcGUrQjFhNHVUSms5ckYxeTZucHFiYVM5VkxsYXM0R3pac1dPN2pyVnUzd3R2YlcxZDJYcEZ6NTg0aE5qYTJTcE85Mk5oWVBQend3eGFiN05Xdlh4L1hyMS9Idm4zN1VGQlFvSXRKL2RZR0lZVEIvMGY2OU9rRGxVcWxlenhreUJDRDE5UXVtTmVqUnc5czJyUUoxNjlmaDcrL3Y2NVBIUUNLaTR1eFlzVUt4TVRFb0UyYk5saTBhSkZ1MVgxanZMeTg4T0dISHlJME5CUWZmZlFSM256elRWM1ZhSFhZUTFzRDROaXhwWFh5NUVuRXhzYmlrMDgrZ1p1YkcvTHk4cENibXdzQWVPYVpaL0RaWjU4WnZXUENxRkdqVEs3RzBMZDU4MmJVclZzWEgzendBWHIzN3EzYnJsMjhjK3JVcVZpMWFsVzFYcnNxOUM4U0taWEtjeFo5czFyQXNyOXRxZzRaZ0VGQTFiS2ZwcGd3WVFKV3JWcGxkRjl4Y1RFbVRKaUEzcjE3YS84UFlySzB0RFFvRkFxY09ISENITU8wS0cyVzJGbFBzclVzZWJJTm9OSVkwbWcwS0Nnb01QdjcyZ3UyTlpSbDZRbGVSUnc5M3JUc2RJSm5UVEpKa2l6eS9RbndPMVJMYjZLM0VYWlE5ZEtsUzVjV3FNTGRHc3FUbHBhRzFOUlU4dzNNQnVMajQ3Rm16UnJzM0xrVHJWcTFRbFpXRnZyMjdXdHd4d2FnWkZJV0dSbXBtL2dCSmJlTkhEVnFGQUlDQW5Ea3lCRW9sVW9vbFVyMDZkUEhvQmM5SWlJQ2YvLzlOelp0MmxTbXJlSFVxVk5ZdTNZdFhuamhCWHoxMVZjVkpoSDBkZXZXRFQvKytDTVdMRmhRZzA5dkgyME54amhDYk9sVHFWUjQ4ODAzb2RGb01HUEdERHo2NktONCt1bW4wYWRQSDR3Y09SS3BxYWx3ZDNmSGpCa3pVRnhjckh2ZXdvVUxzV1BIRHF4YXRRcjE2OWZIdm4zN3l2em42K3VMdFd2WFl1SENoUWJ0Q0MrKytDS1dMRm1pcSt6UTh2SHh3WHZ2dllmMDlIUjgrKzIzRnYvc2JHc3d4SW9FTzJPcHRnYTFXbzNNekV5TUhEblM2TDZaTTJmaTVNbVRhTldxRmFaUG40NEZDeFlZL2FNNWQrNWNQUC84OCtqY3VYT2w3NW1XbG9iZHUzZGp5cFFwWnZrTU5jVzJCaDJaSkVtRExGbGlQbUhDQkR6eHhCTkc3emxjWEZ5TWlSTW40dlRwMDlpK2ZYdUZWL2p1bFphV2hqRmp4aUFtSmthM1lyQTlZbHRER1JhTk9XZVBOeTE3bStCWm15V3JYdmdkV3NJZXExNnEwOVlBbFBSeVg3dDJEWC8rK1NjQTRMMzMzc05ycjcwR29PVHF2S25sNS9iazVzMmIyTDkvUCtSeU9jYU5HNGN2di93U0FRRUJaUll6N05LbEM3NzQ0Z3VNR3pjT0sxYXNnSStQRDI3ZnZvMXQyN2FoZnYzNitPbW5ueEFhR29vZE8zWmd6NTQ5aUltSjBUMzN2dnZ1UTdObXpYRDU4bVYwNmRMRjRIVTdkdXlJalJzM1Ztdnh4UHZ2dngvMzMzOS90VDYzbGoyME5RQ09HVnQvL1BFSGdKSmJPSHA1ZWVHTk45NEFVUEx2NXVmbkIxOWZYOVN2WHg4ZUhoNEFnRE5uem1ERmloVzRmZnQydVhmbktHK3h4UDc5K3hzOG5qdDNycTdheUZpaU5qUTBGS05IajhZVFR6eFJ2UTluSXJZMWxNV0tCUHRqOXF0MmVYbDVPSEhpQkFvTEM5R3FWU3ZrNXVicXN0QjVlWGw0ODgwM2NmandZU3hkdWhTZmZmWVpmdnZ0Tjd6enpqc29MQ3dzODFycjE2L0gyYk9tell2T25qMkw5ZXZ0SjJISHRvWVNsaTR4MTU1d0cxdkpXZitFdTBXTEZwZytmYnJCZllMMXpaMDdGMmxwYVNhOVoxcGFHdWJPblZ1amNac1QyeG9NV1dPQzU4enhCdGpuQk0vYUxGWDF3dS9RLzdIVHFwZHFMVTQ5YWRJa0xGMjZGTjk5OXgwQVlNZU9IZWpidHk4QVlQdjI3VGh3NEFDMmI5OE9BUEQyOWtaeWNySTV4MndSbzBlUFJseGNIT2JPbll0cjE2NWg0OGFOK1BlLy8xM211T2JObTJQbHlwVzRlZk1tWG4zMVZlVG01cUorL2ZxSWo0L0hpeSsraUU4KytRUXZ2UEFDUHZ6d1EweWRPaFZ0MjdZRlVMSUkzcXhaczNEanhnMDBiZG9VNzc3N0x2NzY2eStEMXpibkhSaXF3dHh0RFowN2R3NUJOZG9hQU1lS0xZMUdnMVdyVm1IbXpKbm8zcjA3aGcwYmhrMmJOa0doVUtCWHIxNTQ3TEhIOE9DREQ2SlJvMGE2SkFJQVBQREFBNWcvZno3cTFLbURRNGNPSVRrNUdjbkp5ZGk5ZXpkYXRHaUJpSWdJM1RiOS93RGdoeDkrTU5qV3ZYdjNTc2Y1K3V1dm8zWHIxaGI3UFFBR0Y0bFMyTlpRZ2hVSjlzVWliUTM5K3ZYVExaZ1RFUkdoMng0VEU0TnAwNlpCa2lURXhNU2dWYXRXQUVydUt4d1ZGWVdoUTRkaTVzeVpWbG13eFJyWTFsRENraVhtZVhsNU9IUG1qTUVKTjFEeVJabVhsNGVwVTZjaVBUMGRTNWN1UmN1V0xURnMyREM4ODg0N2lJNk9OdmdDQWtwT3VJT0Nna3k2Y3FjOTRiYUhLM2RzYXlqTGtoTThaNDgzTFR1ZDRGbVRydXJGM0hjNzRuZm8vMmlUcExDVHFwZnEzSzFCeTkvZkh3QU1TcSsxaEJEUWFEVEl5Y21CaTRzTGlvdUxjZmJzV2RTclZ3OUtwZEpvWlZONVYxZEhqUnBWcFhHWnk4S0ZDL0hDQ3krZ1ljT0crUDMzMzNWWHgrdlZxd2NBYU5HaUJaWXZYNDYzM25vTGx5NWRRdnYyN2VIdTdvN1dyVnVqV2JObStPT1BQK0RyNjR2Rml4Zmo5dTNiR0Rac0dHYlBubzJkTzNjaU9qb2FiZHEwd1pneFl6QnExQ2hFUjBmYlBNN04zZFlnazhrR0E5VnJhM0NrMkxwdzRRTFdybDJMeFlzWEl6ZzRHUEh4OGZqNjY2OHhhOVlzQUlDTGl3dGNYVjExLzdtNHVFQ2xVcUd3c0JCRlJVVndkM2ZIenAwN2NldldMUnc4ZUJEZmZQTU42dFdyaHdrVEpzRGQzZDNvZTdxNXVaVzdyeUpuejU1RllXRWhQRDA5OGROUFA1VnBnNmdwWGlRcWk0a0VPeEljSFB3WUxORFdzRy9mUHJ6MjJtdG8xNjRkSms2Y0NKVktoYmx6NXlJeU1oSmhZV0ZJU0VqQW9FR0RESjRURkJTRUprMmFJREl5RXYzNzk4ZU1HVFBNTmg2MVdvM3Z2LzhlOGZIeHVIVHBFanc5UGRHcFV5ZmRiWElzUWErdG9aaHREWlk1MlFaNHdnMlU5Sm15cmNFQUozaFdZRzhUUEd2VHIzb3g5OTJPK0IxYVFxUFJtTHQwdk1hMGJRMVBQdm1rV1JlNXpNcktRdmZ1M1NGSkVucjM3ZzJaVElaeDQ4WWhQejhmN3U3dUdETm1qTzdZNTU5L0hpRWhJVlY2L1lFREI1cHRyT1ZadUhBaFhGMWRrWmlZaUZtelpzSFYxUlY5Ky9ZMWFCOElDZ3JDcGsyYmtKZVhoMFdMRnVIQWdRUDQrKysvTVhEZ1FDeFlzQUJ1Ym03NC92dnZJWVRBcTYrK2lsT25UbUgrL1BsNDVwbG5BQUJmZnZrbDNuampEWXdkT3hacjFxeXhhUXVZdmJRMVZLYTJ4VmJyMXEzeDQ0OC9vbG16WmdCS3ZuZjc5ZXVIbkp3YzNMeDVFOFhGeGRCb05GQ3IxYnAyRFVtU0lFa1NaRElaNnRTcGczcjE2aUV5TWhJcWxRb0RCZ3pBeXkrL2JKRkZhZmZ1M1lzdnZ2Z0NBT0RoNGFGckp6RUh0alVZeDBTQ0hiSFVQZGF6czdOeDdOZ3hEQjgrSEFxRkFrcWxFZ0VCQVpnL2Z6NUNRME9ObnVDNHVMakF3OE1EaHc4Zk51dTlWNFVRbUR4NU1wS1NraEFTRW9LZVBYc2lQeisvUnF2MG1rS3ZyV0V2Mnhvc2M3SU44SVFiK0YrZk9qUFdKVGpCYzg0Sm5yVlpzdEtLMzZFbDdMVHFwY2FUUFY5Zlg2eGJ0MDczZVAzNjlXalJvZ1dPSGowS0lZVHVhdlNoUTRlZzBXaDBreVF0YjIvdktsLzUxTjRCd1p4V3IxNk5wazJiNmg3Nyt2b0NLT2szdjdmblhKOTJzbmZ0MmpXTUhEa1NQWHIwTUxncUhoa1pDYlZhalFzWExtREtsQ2tHcS9DM2F0VUszM3p6RGJadTNXcFNnS0NqYUFBQUlBQkpSRUZVRW1IUm9rVmxWdkUzQjN0cWE5RG5LTEdsVFNMbzgvSHhnWStQajhtdjhlMjMzNXFVUEtocy9IWHExRUY4Zkx6UjlUVEdqUnVIY2VQR1FhUFJtUDN1RFd4ck1JNkpCUHRoc2JzMTdONjlHNEdCZ1FiMzhSMHhZb1RSVWltbFVnbTFXZzBYRnhkY3YzNGQwNlpOMDgvQUFRQ2lvNk1SSFIxZDVybW1sRmh0MmJJRlNVbEpHRDE2TkY1Ly9YWGQ5cWlvcUNwOG9xcGpXME1KUzkrdHdkbFB1Tm5XVUJZbmVFNDd3Yk1taTFaYThUdTBoTDFWdmRTa3JVR2ZpNHNMSG43NFlkMWovWW51dlgrekxIMXJ1Wm93cFMyclBLNnVyaFd1KytMaTRvTDMzMy9mNkQ0Zkh4KzgvUExMSnIzUFUwODlWYTN4VmNhZTJocjBPVXBzbVlPNUtoQWtTVEthMk5CbmlkOGwyeHFNWXlMQlRsaXFyUUVBNHVMaTBLOWZQNlA3OXUzYkJ5OHZMOXk1Y3dmZHUzZlgzZGRXcVZSQ285SGd6cDA3QnNmSHhzYVdlWTNUcDA5ajJyUnBpSTZPTmpqUlNraEl3TXFWS3cyTzNicDFLeG8wYUlEeDQ4Y2JiSGR6YzZ2dXg2c1UyeHAwTEhxeURmQ0VtMjBOWlhDQzU0UVRQR3ZUVnIxWTR2c1Q0SGNvWUZqMUFzQXVWb0MwVkZzRDFUNldhbXV3MUxrUzFTNXNheWdmRXdsMndsSnREVURKNGlPTEZpM1NsZGNxRkFyTW1UTUhRRW5XenNYRnhlVHNYV0JnWUpsdDJkblpBSUNtVFpzYTdJK0tpaXB6RW4zbXpCbkk1WEs0dWxvdjlOaldVTUxTSjlzQVQ3ajEyaHJzNGtUYjFqakJjODRKbnJWcHExNmVlKzQ1aTFSYU9mdDNLR0JZOVpLU2ttSXZWUys2YWlkeVhyZHUzYkpJVzhOOTk5M25VT3ZvVVBXeHJhRjhUQ1RZQjVra1NZTXRkZFZPVzlhZmxaV0ZJVU9HSUNFaFFkZHpGUjRlYnZMOWJGTlRVN0Z6NTA2ODk5NTdKci8zbkRsejBLZFBIOTBmWTVWS1pmVVRJTzNrVGdqaGxDZlpXcFkrMlFhYys0U2JHZXV5T01HelBEdWQ0Rm1UeFN1dG5QMDdGQ2hUOVZMNWg3V3cwcmFHcmpWdGF6QlZZbUlpR2pkdVhHWWRnSU1IRDBJdWw4UEx5NnZDNXh2cmZ6OTM3aHpTMHRLc3N2Q2lJOXUvZjc5RjJockN3c0pxWENLZm41OXY5QzRNV2hxTkJvV0ZoVmF2cUNrcUtrSmhZV0dsY1VzbDJOWlFQc2R1eUtrbExIM1ZybUhEaG1qWXNDSDgvUHgwajdXM1ZkbTZkU3YyN2R1SHJWdTNWdm82NTg2ZE0zclZyaUt4c2JFNGYvNjg3bkd6WnMxdzVzd1prMDY2ekNFN094dS8vdm9yWUtaTWRTMG1reVJwRUdEWnF6Y0pDUWxJU0VqQWp6LytxSHZjclZzM0FDVW4zTjI3ZDBkNGVIaWxyNU9hbXFxYkVKcHF6cHc1U0U5UDF6MjI5Z20zZmxzRE05WUFyQkJ6emh4dld2WTJ3Yk8yenAwNy81K2xLNjJjK1RzVXNNK3FGLzIyaG9vbWF1WncrdlJwVEowNkZVZU9IQ216YjhxVUtiaDY5YXJ1Y1U1T0RyNysrbXZ0eEZabjZ0U3BtRFp0R2xRcWxXNWJjbkl5UHY3NFk1UEdvRktwa0p1YlcrWC96TzNjdVhOUUtCUTRldlFva3BLU29GQW9jUDM2ZGJPL1QxVllvSzNCYkpVdUV5Wk13S3BWcTR6dUt5NHV4b1FKRTlDN2QyL3R1VU9GTkJvTjVzeVpVKzdyVmNXZVBYc1FHaHFLUzVjdW1YVDhqUnMzRE9KSm85SGd4bzBibGY1bmJyYUlQMTRrcWhnckV1eUFmbHVETlJaYlNVdExzK3BKaUw1bm4zMFdYMzMxRldKall3MVdVeThvS0xCSVJsYS9yY0VjbWVyYXlob24yMERKQ1haNWo3ZHUzUXB2YjI5ZGlYbEZ0Q2ZjVmJseUZ4c2JpNGNmZmxoMzVVNy9oTnRTRlJqNjlETFdkbkdpYld2V211Q1Y5OWpSNHcyd3p3bWV0V212SGxxeTB1cGV6dlFkQ3RodDFZdFYyaHJ1M3IyTGFkT200YW1ubmtKVVZCUXVYcnlJeFlzWFk4NmNPZkR3OE5BZGw1MmRqZlhyMStPYmI3NkJtNXNiUWtKQ0RCYlpHejU4T0NaT25JaFhYMzBWaXhZdGdyZTNONHFLaW5RSnFjb3NXN1lNMzN6elRaWEhiOG9LL3J0MjdjSzBhZFB3NmFlZjR1bW5uNjd3Mk5UVVZQajUrVUdoVU9Denp6NUQrL2J0MGFSSmt5cVB5MXdzMU5ZUVlJNjJCclZhamN6TVRJd2NPZExvdnBrelorTGt5Wk5vMWFvVnBrK2ZqZ1VMRmxRNEI1REpaQWdPRHNiTW1UUGg1ZVdGZi8zclh5YU53MWhDYWVQR2pYajQ0WWZoNStkWGFjTEoyOXNia3lkUGhxZW5KNVl0V3daWFYxZms1T1NnZCsvZWxiNjNJOFFmMnhvcXhrU0M3Vm0wclFFQUprK2VqR3ZYcnVIUFAvOEVBTHozM251NmU2djI2ZFBINUxKTWM0aU1qRVJTVWhJKy92aGpKQ2NubzJQSGpzak96c2J1M2J1eFk4Y09zNzhmMnhwSzJPSmtHM0NlRTI2VlNvV2twQ1R0UTJhc3dRbWVsaE5POEt6SjRtME5nSE4vaHdMMlYvVmlyYllHalVhRER6NzRBUFhxMWNQczJiTWhTUklhTldxRXk1Y3Y0K3V2djhZcnI3d0NvR1NTZi9Ub1VkMGFLUkVSRWZEMDlEUjRyUTRkT21EbHlwVVlQMzQ4NHVQak1XellNT1RrNUpoY1dqNTI3RmlNSFR1MnpQWkxseTVoeElnUit0OC9Cbkp6Y3l1OWZhQzJrc3FVOVZ4U1VsSVFHaG9LbVV5R2xKUVVtNjlQWWE5dERYbDVlVGh6NWd3S0N3dlJxbFVyM1dUZDI5c2JlWGw1bURwMUt0TFQwN0YwNlZLMGJOa1N3NFlOd3p2dnZJUG82R2lEQk5XOWV2WHFoZHpjWEN4Y3VCQWhJU0ZvMDZaTmhlTlFxOVVWSnRJclM3SURKY21BMmJOblk4eVlNVmk0Y0NHbVRKbWkyN2QzNzE3ZGJVYjFYYmh3d2VTV0hYdVBQN1kxVkl5SkJCdXp4Z0o0a3laTmdyZTNOKzdldll2ZXZYdnJUalptenB5SjdkdTNHMXkxOC9iMlJuSnlza1hHQVFCMTY5YkZtalZyc0h6NWN1emZ2eDhIRHg3RWZmZmRweXRITmllMk5laFk1V1FiY040VGJyWTFsTUVKbmhOTzhLek5XcFZXenZvZEN0aG4xWXUxMmhxbVQ1K09wS1FrVEpvMENkdTJiVU5PVGc1eWNuTFFvRUVEckYyN1ZqZFJ1blBuRGo3NjZDTjA3OTRkTXBrTVAvendBLzc2Nnk5TW1qVEo0UFVlZlBCQnhNYkc2bHBrYnQyNnBmdTVNcFZOK0NyYVg5bFZZZTFFenBUV3JOVFVWTXljT1JQNStmbkl6TXcwdVRYRFV1eTFyYUZmdjM2NGZmczJBQ0FpSWtLM1BTWW1CdE9tVFlNa1NZaUppVUdyVnEwQUFNdVhMMGRVVkJTR0RoMkttVE5uVmxnTjhlS0xMMkwvL3YySWpvN0c2dFdyS3h5SGk0dUxibzBYb0tTZDRwVlhYa0ZBUUFBKytPQURreitQdjc4L2xpeFpnb3NYTDVyOEhGUFpjL3l4cmFGeVRDVFltUDQ5MWkzVjF1RHY3dytnNUEvSXZZUVEwR2cweU1uSmdZdUxDNHFMaTNIMjdGblVxMWNQU3FYUzZKZTBzVnVyQWFiZElnMG91ZWZ3bENsVERMS2FscURYMW1DV1RIVnRaYTJUYmNCNVQ3aloxbUNJRXp6bm5PQlptLzdWUTB0V3ZUanJkeWdBWkdSazJHUFZpMVhhR3J5OXZWR3ZYajNFeGNYQno4OFB2cjYrOFBYMVJZY09IZURwNlltMWE5Y0NLRmtub1czYnRycm5YYjU4V2JldVJWcGFHc2FNR1ZQaCs1UVhEek5uempSWTR5VTJOcmJNb3JEYUs3L0drZ1dtWGhXdXlrUnU1ODZkdXA5TEw5VFlqRDIzTmV6YnR3K3Z2ZllhMnJWcmg0a1RKMEtsVW1IdTNMbUlqSXhFV0ZnWUVoSVNEQ3JYQUNBb0tBaE5talJCWkdRayt2ZnZqeGt6WnBUNytpNHVMa2hMUzhQKy9mc3IvWTdSYi9uNzZxdXZjUFBtVFN4YnRxeE1hMkJsSG56d1FZTzdGd0VsbFhnMVpjL3h4N2FHeWpHUllGdFd1MUpjbnF5c0xIVHYzaDJTSktGMzc5NlF5V1FZTjI0Yzh2UHo0ZTd1YnZBRitQenp6eU1rSktSS3IyL0wxWWoxMmhxY09vdG9yWk50d0RsUHVKbXhMb3NUUEtlZDRGbVQ3dnZ6dWVlZXM5a2dIUGs3RlBqZjl5anNwT3BGMjliZzd1NXU4YnMxVEowNkZWT25Ualc2NzlhdFc3aDI3UnEyYjkrT1U2ZE82YTRzMzdsekIwcWxFbks1SEFEUXJsMDdvd3RzcXRWcXZQVFNTeGd3WUFDR0RCbFNadi9Rb1VPTmxucEhSa2JpdDk5K0F3QjA3OTVkMTE0QkFCOSsrQ0YyN2RxbGU5LzMzMy9mcE0vcDR1SUN3TFNKbkQyeFFGdUQyUzdzWldkbjQ5aXhZeGcrZkRnVUNnV1VTaVVDQWdJd2YvNThoSWFHR2swU3VMaTR3TVBEQTRjUEgwYURCZzNLZmUzOC9Id29sVXI0K2ZsaDVjcVZDQTBOTmVsN05qMDlIU3RXckVCeGNUSDY5KzlmNmZIYTVOVEZpeGQxbFgzTm16YzNpTXNmZi96UmFPdk1sU3RYeXR6WnFEejJISDk2RlM5T21hdzNoZjM5cXprUmE3UTE2UFAxOWNXNmRldDBqOWV2WDQ4V0xWcmc2TkdqRUVMby9uQWVPblRJNksyS3ZMMjlLKzIxdTVjcEM2MVlBdHNhZE96aVpCdHczQlB1NU9SazVPWGxBV3hyMExLTG1IUFVlTk95dHdtZXRWbXowa3JMbWI1REFmdXNldEcyTlR6MTFGTVd2MXNEVUg1eUVTajV0M25wcFpjd2UvWnN6Sm8xUzdlOVVhTkd1cjhQSGg0ZVJtOHRlL3IwYVJRVkZlR3h4eDR6dXIrb3FNaGd3cGFjbkF3M056ZGRFa0hyNTU5L0JnREV4OGNiYlAvdHQ5OFFFQkJnVWhWV1ZYclU3WWtGMmhwMENmQ2EycjE3TndJREEvKy92WHVQanFxNit6LytPWmxKZ2dTU29BZ29LcFRZUlpZOHNNZ0VSQzRDNHRLQ0d2aFpEWWhZNHdXQmlJVjIyV0xWOG92RUltaUxFSGdRK0VGTElBK1VndGdIMjRxR1J3blY0QVdTdUJCVVNwU0x5c1VLbUVnZzVETDc5MGZNUExrendaazVrNW4zYXkzWHlzdzVjODUza2kzbjdPL1ozNzNyUGNHLy8vNzdtMnhQQlFVRnFxNnVsc1BoMFBIangvWDAwMC9YZlRqUlNHNXVycXFxcXZUODg4OXIyclJwMnJGanh3VkxYNzc2Nml2Tm1qVkxWVlZWV3J4NHNicDM3OTdpdm5YTGN1NjU1eDdQYWlPMW8yTGNicmRtejU2dFN5Kzl0TWwyYzlWVlYybjI3TmxlelJFVXJPMnY3a01pcDlQSlE2Sm1rRWl3VVNES0d1cHlPQnoxWmhGT1NFaW9HMHU5ZlFNUmp6OVIxbEREanB0dEtieHV1Q2xycUk4T252OEZZd2N2MEFJNTBxcFdPRjFEcGFBZDlSS1Fzb2E2MXE1ZHEydXV1Y2J6dW5hQ1EwbDY4TUVITlhIaVJFODlmR1JrcE9MajR5LzQ5My9ublhjVUVSRWhsOHZsNmZUWEprWXFLaXBraktuWHNhcGQzYUUyTVZCUlVhR2xTNWRxMWFwVmV2TEpKN1Y0OFdLTkh6OWU3N3p6anVjSmI5M1B0YVExUTh1RFJUQ1hOVWpTSzYrOG9wU1VsQ2EzdmZYV1crclFvWVBPbkRtalVhTkdlY3J2Q2dvSzVIYTdkZWJNbVJhUHZYbnpaZzBhTkVqSnlja2FNV0tFVnExYXBSRWpSalQ3NytDSkV5YzBmZnAwVC92cTNyMTdrOG1yNXRTMnVicEpFRzhmRW16ZnZsMVpXVmt0N2hPczdhOXVXY091WGJzK3R6dWVZQlZjZjdYd1ludFpReWlqcktHR0hUZmJVdmpjY0ZQVzBCZ2RQUDhMMGc1ZUlFWEloMDhQMGJRR3M1WGJQdW9sa0dVTmRjWEV4TlJMTk1iRXhIaCtUazlQMXpQUFBLT3VYYnQ2M2p0Ky9MZ3V1ZVFTeGNYRk5Ydk0zTnhjSlNVbEtUWTJWak5tekZENzl1MlZsWldseU1oSVZWWldTbW8rQ1pDZm42OEZDeFlvUGo1ZW1abVo2dENoZzFhdlhxMVpzMmJwalRmZTBJd1pNelJzMkRDdi82MEwxbzVjUzRLNXJFR1Npb3VMdFdqUklpMWF0RWhTVFNmOHVlZWVxejJYSEE3SFJaMW41ODZkK3Zqamp6M0huVHg1c3U2Nzd6N2w1dWJxSnovNVNhUDlqeHc1b3ZUMGREa2NEcTFjdVZLMzNYYWJUMGJUMVozQXNmWThreWRQMWh0dnZGSHZtdHVXRTFtVU5YZ251UDVxWWNTdUo4WGhvS1NraExLR0d0eHMrOWw3NzcxWFc5YkFSRHcxYUhNQkVHd2R2RURyMzcvL0RaSzZjLzMwSDdmYkhYUUorZXJxNnJzbC82L1cwRkJMSGE4UFB2aEE1ODZkazl2dDFxNWR1N1JwMHlidDJMRkRreVpOMGk5KzhZdG1QL1BaWjU5cHpwdzVrcVM1YytmcVp6LzdtWDczdTk5cHpwdzV0VTlCNnkwRFdGVlZwYnk4UE9YazVPanc0Y09hTm0yYXhvOGZyL1hyMTJ2MTZ0VmF0MjZkY25KeWxKT1RvNmVmZmxyeDhmRktTVW5SRFRmY29ENTkrdFFicGRCUXNIYmtXbEtudE1zWG5UeWZsalZJLzl2UlBuMzZ0Q1pNbUtEYzNGeFBNbXJzMkxFWHRhSlFWVldWRmk1Y3FPdXV1MDQzM25pakpDa3hNVkUzMzN5enNyS3ltaXozaVk2TzFoVlhYS0g1OCtlcmMrZk9rbXBXaUtpZFg2Z3BYMzc1cGRMVDAxdU1wZUZFalY5KythV2lvNk05NTJpTllHeC9sRFY0TDNqK2FtSEdWMnZWb2pGZlo2cmJLbTYyL2EvMlpvYjFoV3ZRNXZ3dkdEdDRnY2IxMC8rQ2ROUkxxdVQ5c0dwZmFiaGFRc1BWRUpZdlg2N0N3a0pKTlcweU96dGJmZnIwYWZKWXhoaTk5TkpMdXZ6eXkzWHJyYmRLcWhscVBtL2VQRDMyMkdNYU5XcVVldlRvSVVscTE2NmRKR25GaWhYYXRHbVRLaW9xbEpxYXFpVkxsaWcyTmxhU05HblNKSDM0NFljcUxpNVd0MjdkOU1BREQraW5QLzJwL3Z6blArdVZWMTdSaWhVck5IYnNXR1ZrWkRUNy9YcjE2cVgxNjlmWEcxVVJ6RTZkT2xWYldsWVZIUjI5NVljZWI4Q0FBUVBkYnJmUHlocWt4aDN0dXE5ZmZmWFZlaXNLZVd2bHlwVTZlUENnVnExYVZlLzltVE5uNnU2Nzc5YkNoUXYxOU5OUDE5dld0V3ZYUnZ0MzZkSkZWMTU1WmJQbnFaMFBvVGwzM0hHSGpoMDcxdVMyNXVhQWFFa3d0cjg2UzNvWFVOYlFNaElKOXFDc3dZL0MvU2E3RmpmYi9rVlpRMk8wT2Y4TDBnNWVJREhxSlFDQ2JkU0xYV1VOMG9VblZvMkxpOU1mL3ZBSDllM2JWNVpsS1RjM1YrKysrNjRtVDU3Y2FOL05temZybzQ4KzB1elpzK3NOK3g0MGFKQ3lzckkwZVBCZ2Zmenh4NUxrZWJyY3UzZHZQZlRRUXhvM2JweEdqaHlwN096c1JzZmR2bjE3dmRjRkJRVjY1SkZIdEd2WEx2MzR4ejl1TWY3bzZPaDZ5MWNHTzE4L0xISzczWDYvYm4zNDRZZXRIb0ZRVjM1K3Z2NzBwejlwd29RSjZ0Ky9mNzF0VjE1NXBhWk5tNmFzckN6MTc5OWZ0OTkrZTR2SCtxR2xEY3VXTFZObFphWG5kK1YydXpWanhneVZsSlRvNXB0djlucVZvMXJCMlA3b1IzaVBSSUlOS0d2d0g4b2FQTGpaOWpQS0docWh6UVZBc0hYd0FvMVJMLzRYaktOZTdDcHJrQzQ4SW1IaXhJbjF0aDgrZkZqYnQyOXZsRWo0NUpOUDlPS0xMMnJBZ0FFYU4yNWNvL01NR1RKRWtqeVQ3ZFYrejdwUHJiZHYzNjZLaWdwUG5YMWR1Ym01V3JKa2lhY2pHUkVSb1VHREJsM3crMjNidGsyWm1abkt5TWhvRS85MkIzdFpneVRObWpWTHg0NGQwOUdqUnlWSlR6MzFsQjU5OUZGSjB1MjMzOTZxMG9iQ3drTE5talZMMTExM1hiUGxNdmZkZDU5Mjd0enBtVE5qeElnUnpSNXY2ZEtsRjF5MVlmcjA2VTF1TzNIaWhOYXNXYU9NakF6UENJSkZpeGFwb3FKQ0N4Y3UxTXlaTTNYUFBmY29NVEhScSs4bUJWLzdvNnloZFVnazJJQ25kdjVEV1VNTmJyYjlqN0tHK21oei9oZU1IYnhBNC9ycGYwRTY2c1dXc2dadmZIL1A0WEhxMUtsR3c3UVBIRGlneHg1N1RIRnhjWHIyMldkYm5JajJrMDgra2RQcDFLV1hYdHBvVzRjT0hiUnMyVEp0M0xoUnc0Y1AxMDAzM2FTRWhBUXRYTGhRQnc0YzBJSUZDMXBjc3JJcEpTVWxPbnYyckVwTFMxdjFPVHUwaGJJR1Nab3hZNFk2ZHV5bzh2SnkzWGJiYlhydHRkY2tTUmtaR2ZySFAvNVJyN1NoWThlT3pTN1QrZnJycjJ2T25EbnEzcjI3WnpMT3BrUkVSR2orL1BsNjhNRUg5YXRmL1VwVHAwNVZXbHBhay90MzY5Wk5WMTk5ZGJPeG56OS92dEY3MzM3N3JhU2FNb3ArL2ZvcEppWkdwYVdsK3YzdmY2ODMzM3hUUzVZc1VYSnlzaVpObXFSSEgzMVU4K2JOOHlxSkpRVmYrNk9zb1hWSUpBUWVUKzM4eU1lWjZqYUxtMjMvb3F5aE1kcWMvd1ZwQnkrUXVINEdRTENOZXJHenJLR3VFeWRPS0NZbVJoOSsrS0Zuam9JT0hUcm9uLy84cDZmRFZsNWVydmZlZTA4MzMzeXo1M052dmZXV01qSXlGQlVWcGNXTEY2dExseTZlYmRYVjFWcTZkS202ZE9taWR1M2E2ZXV2djlhYU5XczBaTWlRWmllZm16cDFxZ1lNR0tEYzNGeGxabWFxcEtSRTBkSFJ5c3pNVkZKU1VxdS8xOTEzMzYzUm8wZXJRNGNPcmY1c29MV1Zzb2JheVF5cnFxb2FiVFBHeU8xMnE3UzBWQTZIUTFWVlZTb3VMbFpNVEl3S0NnbzhJMUhXcmwycnJLd3M5ZW5UUjRzWEwxWjhmSHlMNTR5UGo5Znk1Y3MxZmZwMExWdTJUTVlZUGZMSUkxN0ZXL3Yvdk5QcFZHNXVicU56NWVmbnkrRndLRDA5WFRmZGRKUFdybDJyalJzM0tpNHVUaXRYcnZUTUNaS2VucTdLeWtwTm56NWR3NGNQMTlpeFl6VjA2TkJtRXlCUzhMVy9jRS9XdHhhSmhBRGpxWjMvMUMxcjhFV211ZzNqWnR2UEtHdG9oRFlYQU1IV3dRczBycC8rWjR3SnVodHBPOHNhNm5ydXVlZDA4T0JCdFcvZlhvOC8vcmdrYWNxVUtWcXhZb1dXTEZraXFlYkpjTy9ldlpXYW1pcEp5c3ZMMDY5Ly9XdGRmZlhWeXNySzhreWtXTXZoY0NnM045Y3plWjNENGREMTExL2ZhTks4dWlJaUlqUnc0RUFOSERoUVR6enhoSGJ1M0tuWFhudE5zMmZQMW9FREJ5NDQ0MzVUZ3FVVGR5RnRvYXpoUWs2ZlBxMVJvMGJKc2l6ZGR0dHRpb2lJME5TcFUzWDI3RmxGUlVYcDRZY2ZsaVNscEtUbzlPblRTazlQOTJvWlJhbG1jc1UxYTlab3c0WU5Ta3RMOHpxbXJWdTMxdDQvS3pZMlZyLzg1Uy9yYlI4elpveDY5dXlwWHIxNktTMHRUV1ZsWlpvOGViTEdqeDlmTHpiTHNqUno1a3dOSFRwVXk1Y3YxK0xGaXowclRMUWtXTm9mWlEydFJ5SWh3SGhxNXorVU5kVGdadHYvR25Ub3doNXR6ditDc1lNWGFGdy8vVy92M3IzQk9PckZ0aVJsM1JubnM3S3lHbTJmTkdtU0prMmExT3puUjR3WW9WbXpaaWtsSmFYWkpNamYvLzUzR1dOVVZWVWxoOFBScXJidGREbzFmUGh3RFI4K1hHZk9uRkYxZGJYWG4yMXIya3BaUTEzeDhmSEt5Y254dk42NGNhT3V2dnBxN2RxMVM4WVl6OS82N2JmZmx0dnRsbVZabnJLWFRwMDZhZWJNbWEwK1oweE1qQ2NaMGREbXpadWJuQjlod1lJRkxSNHpJaUxDTStvZ096dGI3ZHExYTdHZERoZ3dRS3RXclZKRlJVV0xTNDhHRzhvYVdvOUVRb0RWcnRhd2J0MDZyVnUzenU1d1FoVmxEZUptMjE4cUtpcVVsNWRYK3pJc08zUU4wZWI4TDBnN2VBSEY5VE53Z21YVVM5MnlCbStlYkFZYnk3STBZY0lFci9acmFmaTNONExscWE2L3RKV3locm9jRG9ldXUrNDZ6K3VFaEFUUHp3M255UWpFdGJQdXBLQVhxeldqZ3J3ZFNSRXN3ajFaZnpGSUpBU1kyKzB1dGl6cktydmpDR0ZmVlZaV2h2TnFEZHhzQnc1bERkK2p6UVZPc0hUdzdNRDFNMkRPU01xMk93Z3BlTW9hWUQ4L3pJRjF0eVJ0MkxCQlc3YUVjelVzcEpwUmYrWGw1WklvYTJnTkVna0JWbFJVZEpQZE1maUN5K1V5a2xSWVdOajgxTU93QlRmYkFlRTJ4cnhrZHhEQmdqWVhNRUhUd2JORHFGdy9KY25sY2kyWE5OVVlrMTVVVkxUYzduaUNXS3BVTTlmQWIzLzdXN3RqZ1UxT25UcWxYYnQyU2I2ZEErdmZrbnBLMHJsejUzeDBTSVNBLzZHc3dYc2tFb0FRRTBvMzJ4SkpxN1lnbE5vYzdRMElLdjhoMVN5eHVIWHJWcnRqZ2MyTU1ibSttZ09yc0xCd1VKOCtmV0o4Y2F4UTVYQTRibkk2bmE5YWxwVlhYbDZlWW5jOGdiQnYzNzZ6ZHNmUWxwQklBQUFBUU5DSmlJZ1k2SGE3QjlvZFI3QXl4dnpJc3F4TXk3SU9HbVArcjkzeCtKbHhPcDF2K3ZKNCsvYnRPK1BENDRXY3BLU2tjNUpraktubWQ0V21rRWdBQUFCQTBObTllL2QrU2Z2dGppTllKU1VsRFpDVWFZdzVWVmhZK0Y5Mnh3TWd2REM5TmdBQUFBQUE4QnFKQkFBQUFBQUE0RFVTQ1FBQUFBQUF3R3NrRWdBQUFBQUFnTmRJSkFBQUFBQUFBSytSU0FBQUFBQUFBRjRqa1FBQUFBQUFBTHhHSWdFQUFBQUFBSGlOUkFJQUFBQUFBUEFhaVFRQUFBQUFBT0ExRWdrQUFBQUFBTUJyVHJzREFBQnZ1Rnl1Ryt5T0FlR2pmLy8rQXkzTE1uYkhnWkExd080QUFBRDRJVWdrNEFkeHVWeDVkc2VBc1BHdTNRRWdmRVJFUkh4Z2R3d0lDMk9UazVPNzJ4MEUycXhFWTR3a3haQnNoNjhaWTJoVGFCR0pCRnlzazVJdWt6VEM3a0FBQUdpTExNc2FZNHdaWTNjY2FQTVNSYklkUG1aWmx0MGhJTWlSU01CRnNTd3IwYktzLzdBN0RnRHdKYmZidmYzN0g4OSsveDhBQkRNajZSdEpwWFlIZ3BCVUxlbi8yUjBFZ2hPcEpnQkFXT3JidDIrbmR1M2E5WE02L3plbmZ2NzgrVHhKc2l4clRWUlUxT3JhOTB0TFMvZnYyN2Z2ZU9DakJBQUFDRDZNU0FBQWhLV29xS2lmVlZkWFoxVlhWemZhWm94Sk8zLytmRnFkZmQrVk5DU1E4UUVBQUFRcmxuOEVBSVNyWmQ3dTZIQTRmdWZQUUFBQUFOb1NFZ2tBZ0xCVVVGQlFLYW5jaTEyTk1XYWJ2K01CQUFCb0swZ2tBQURDV2M2RmRqREdIUGcrNlFBQUFBQ1JTQUFBaExIUzB0S2ZYMmdmeTdLZURFUXNBQUFBYlFXSkJBQkEyQ291TGo0dnFhS0ZYVXhzYk94cmdZb0hBQUNnTFNDUkFBQUlhMjYzKzcrYjIyWloxaGQ1ZVhuZXpLTUFBQUFRTmtna0FBRENtdHZ0ZnFpNWJkWFYxWlExQUFBQU5FQWlBUUFRMXZiczJWTW1xYXFwYlc2M2UwdUF3d0VBQUFoNkpCSUFBSkFhTGU5b2pEbitmWklCQUFBQWRaQklBQUNFdmNyS3lra04zN01zNnhrYlFnRUFBQWg2SkJJQUFHSHZvNDgrT2kycHV1NTdsbVZ0c0NrY0FBQ0FvRVlpQVFDQUd1L1crZGxkVUZCUVlsc2tBQUFBUVl4RUFnQUFraW9xS3U2dTgvSlh0Z1VDQUFBUTVFZ2tBQUFnYWUvZXZTZU1NVzVKY2pxZGErMk9Cd0FBSUZnNTdRNEFBSUJnWVZsV29hU3VIM3p3d1VtN1l3RUFBQWhXbHQwQkFBREN4OGlSSTUybHBhVVRMTXRLbFpSc2pMbGNVclRkY2JVQjV5M0wrcmVrQWtrYk8zYnN1REV2TDYvSzdxQUFBRUI0SXBFQUFBZ0V5K1Z5VFpIMEcwazliWTRsRkJ5U05LK3dzSENsSkdOekxBQUFJTXlRU0FBQStOVzExMTRiSFJzYnUwclNmWkxVdTNkdnBhYW02dHBycjlVMTExeWp1TGc0bXlNTWZpVWxKVHB5NUlpS2k0dTFhZE1tN2QrL3YzWlRUbWxwNlNQRnhjWG43WXdQQUFDRUZ4SUpBQUMvU1U1T2JtK01lVjNTalpkZGRwa3lNakkwWk1nUVdSYVhuNHRsak5IT25UczFaODRjblR4NVVwTGV0aXhyZEVGQndWbTdZd01BQU9HQlZSc0FBSDdqZHJ1ekpOMllrSkNndFd2WGF1alFvU1FSZmlETHNqUjA2RkN0V2JOR0NRa0prblNqTVdhUjNYRUJBSUR3d2QwY0FNQXZrcE9UN3pYR3JPdmN1Yk0yYk5pZ1RwMDYyUjFTeURsOStyUW1USmlna3lkUHloaHpiMUZSMFovdGpna0FBSVErUmlRQUFIeHU2TkNoSFkweC8ybFpsakl6TTBraStFbW5UcDMwN0xQUFNwSXN5MW82ZE9qUWpqYUhCQUFBd2dDSkJBQ0F6NVdYbDArWDFDa2xKVVdEQmcyeU81eVFObWpRSUtXa3BFaFNwN05ueno1cWR6d0FBQ0Qwa1VnQUFQaFV2Mzc5WW93eGoxdVdwUWNlZU1EdWNNTENBdzg4SU11eVpGblc0LzM2OVl1eE94NEFBQkRhU0NRQUFIeks2WFQrSDBtZFI0NGNxUjQ5ZXRnZFRsam8yYk9uUm80Y0tVbVhSMFpHanJNNUhBQUFFT0pJSkFBQWZPMU9TUm85ZXJTdFFXemJ0azBsSlNWTmJpc3RMVlZPVGs2cmoxbFJVYUg5Ky9mLzBORDhvczd2KzA0NzR3QUFBS0dQUkFJQXdHY0dEeDU4aWFReFRxZFRnd2NQdGkyT0V5ZE82S21ubnRLT0hUdWEzSDdxMUNrdFd0VDZGUk9QSGoycWUrKzk5NGVHNXhlREJ3K1d3K0dRTVdiTTkzOEhBQUFBdjNEYUhRQUFJSFJVVkZUY0lLbDlVbEtTWW1Mc0s5Vi81WlZYMUxselo0MFpNNmJWbnoxMDZGQ3oyNzc2NnFzTDduUE5OZGNvSWlMd2VmcVltQmdsSlNWcDkrN2RNWldWbFlNazVRVThDQUFBRUJaSUpBQUFmS21mSkNVbUp0b1d3TGx6NTdSeDQwWk5uVHBWa1pHUmtocDMvSnRMQ01UR3h1cXV1KzY2NERsYTJ1Zk5OOTlVZkh4ODY0TDJrY1RFUk8zZXZWdkdtSDRpa1FBQUFQeUVSQUlBd0dlKzc4Q3FWNjlldHNYdzhzc3ZLekl5VW5lZjZkTnZBQUFJRDBsRVFWVGVlYWRLUzB0bFdWYXpIZitHNzQ4ZlAxNEZCUVhOSHZ2UW9VTzY2NjY3V3R6SFRuVis3LzNzakFNQUFJUTJFZ2tBQUYvcUkway8rdEdQYkRuNWQ5OTlwOVdyVjJ2S2xDbUtqbzdXaXkrK3FNTENRdTNldlZ1V1pYbjJ1MUJDb0txcVNsOS8vWFdqOTJ2Zk8zcjBhS050WGJwMGtkTnA3MlcxTnBGZ2pPbGpheUFBQUNDa2tVZ0FBUGhTWjBtNjlOSkxiVG41MHFWTDVYUTZOV1RJRUJVV0Z1cXZmLzJyNXM2ZFd5K0o0STB2di95eXhmS0ZsSlNVUnU5dDNyeFpQWHYyYkczSVB0V3BVNmZhSHp2YkdRY0FBQWh0SkJJQUFMNFVKOG0yaVJaUG56NnRreWRQS2pVMVZWVlZWUm84ZUxCdXVlVVc1ZVRrTkxsS1EzSnljcjNYRFVjb05IemQzRWlHaHNleFM1M2ZlNXlkY1FBQWdOQkdJZ0VBNEV1eGt0UytmWHRiVGo1djNqek5temRQYjczMWxqSXlNdlNiMy94R2tqUnUzRGpkZU9PTnRzUVVTQ1FTQUFCQUlKQklBQUNFaklpSUNIMzc3YmQ2L3ZubjlmT2YvMXhYWFhXVnBKclZHR0pqWTF0OXZJWnpJYlEwUndJQUFFQzRJSkVBQVBDbFVrbWR6NTQ5cTZpb3FJQ2YzQmlqWjU1NVJqMTc5bFJxYXFxKytPSUxIVGx5UklNSEQ5YVJJMGRhL0d6Mzd0MDl5MFhXYW1vdWhKYmV0MXRaV1ZudGp5VjJ4Z0VBQUVJYmlRUUFnQytWU09wY1ZsYW0rUGo0Z0o5OHk1WXRldnZ0dDlXNWMyY05HelpNbFpXVkdqQmdnUHIxNjlmaTVJbFMvY2tTNCtQak5XWEtGRTJkT3RXemZldldyWHJoaFJkVVdscXFoSVFFTFZteVJGMjdkcFVrclZpeHdwYnYyeENKQkFBQUFBQkFtK0p5dWQ1enVWeG16NTQ5eGc2ZmZQS0pXYlpzbVhuOTlkZk5wNTkrYXM2ZE8yZU1NYWEwdE5TNFhDN3p6VGZmTlBrNWw4dGxEaDQ4Mk9TMjh2Snk4OElMTDVnNzdyakRiTisrM2JoY0xyTjE2MVp6KysyM203MTc5L3JycTF5VVBYdjJHSmZMWlZ3dTE3dDJ0d1VBQUJDNkdKRUFBUENsZlpJR0hUeDRVSDM3OWczNHlSTVRFNVdZbU9oNVhWWldwdDI3ZDZ0WHIxNFhkYnlDZ2dMTm5UdFhsMTkrdWJLenMvWGRkOTlKa2thUEhpMUptalp0bXRMUzBuVC8vZmZiVXNyUjBPZWZmeTVKc2l4cm44MmhBQUNBRUVZaUFRRGdNNVpsN1RIR2VEcTBnYlpyMXk3dDI3ZFAvL3JYdi9UcHA1L3FpeSsrVVBmdTNiVnk1Y3BXSGVmZ3dZTmF1blNwOHZQejlmREREK3VoaHg1U1JFU0VKNUVnMVNRVHJyenlTajMxMUZQYXNtV0xwazZkcWx0dnZkWFdoRUtkMy9zZTI0SUFBQUFoajBRQ0FNQ1g5a2pTcDU5K2FzdkpYMzc1WlIwL2Zsd3VsMHRqeG94UjM3NTlGUjhmNzBrQTNIcnJyUzErdnFLaVFrOCsrYVIyN05paDY2Ky9YaHMyYkZDUEhqMmEzYjlmdjM3YXVIR2psaXhab3N6TVRDMWZ2bHpyMTYrL3FCVWlmS0gyOTI1WkZva0VBQURnTnlRU0FBQStFeFVWOWQ3NTgrZkxpb3FLWXNyS3loUVRFeFBROHovLy9QTXRidi9qSC8vWTVLU0l0Uk14UmtWRjZaWmJidEdFQ1JOMC9mWFhlM1hPOXUzYjY0a25udERFaVJQMXpUZmYySlpFS0NzclUxRlJrU1NWZGVqUTRUMWJnZ0FBQUFBQW9MVmNMdGZMTHBmTGJOdTJ6ZTY1QnozS3k4dk4vUG56VFZsWldaUGI1OCtmYjA2ZVBPblZjWXFLaW53ZG5rOXMyN2JOdUZ3dWs1eWN2TW51TmdBQUFFS2J3KzRBQUFDaDVZb3Jyb2lVOU5QcTZ1b0xsaElFaXRQcDFMQmh3eFFaR2RuazltSERodW1TU3k3eDZqamR1blh6ZFhnKzhkSkxMK25Rb1VPeUxHdnVzV1BIUHJJN0hnQUFFTG9pN0E0QUFCQmFxcXFxL2x2U04zbDVlVHA4K0xEZDRZU0ZRNGNPS1M4dlQ1TCtYVmxadWNYbWNBQUFRSWdqa1FBQThLazllL2FVV1phMXdCaWo3T3hzdThNSkM5bloyVExHeUJpellNK2VQV1YyeHdNQUFFSWJpUVFBZ00rMWE5ZHVxYVRUcjc3NnF0NS8vMzI3d3dscDc3Ly92djcydDc5SjB1bjI3ZHUvWkhjOEFBQWc5RmwyQndBQUNFMUpTVWtUTGN0YWY5bGxsK2t2Zi9tTE9uWHFaSGRJSWVmVXFWTzY1NTU3ZFBMa1NSbGpKaFlWRlcyd095WUFBQkQ2bUd3UkFPQVh4NDhmMzl1dFc3ZXJ6cDA3NThyUHo5ZXdZY1BVc1dOSHU4TUtHY2VPSGRQMDZkTjE5T2hSU1ZwWlZGUTB6KzZZQUFCQWVLQzBBUURnTnhFUkVUTWx2ZjNaWjU4cExTMU4rZm41TXNiWUhWYWJab3hSZm42KzB0TFM5UG5ubjB2UzI1WmwvY0x1dUFBQVFQaWd0QUVBNEZmWFhudHRkR3hzN0NwSjkwbFM3OTY5bFpxYXFvU0VCUFhvMFVOeGNYRTJSeGo4U2twS2RQandZWDMyMldmYXRHbVQ5dS9mWDdzcHA3UzA5SkhpNHVMemRzWUhBQURDQzRrRUFFQWdXQzZYNnhGSlQwcnFhWE1zb2VDUXBIbUZoWVVySlRIRUF3QUFCQlNKQkFCQXdJd2NPZEw1M1hmZmpUZkdwRXBLbG5TNXBIWTJoOVVXbEV2NnQ2UUN5N0kyZGV6WWNXTmVYbDZWM1VFQk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RBWHY4Zm5YKzIzYkUwTjBFQUFBQUFTVVZPUks1Q1lJST0iLAogICAiVHlwZSIgOiAiZmxvdyIsCiAgICJWZXJzaW9uIiA6ICIiCn0K"/>
    </extobj>
    <extobj name="ECB019B1-382A-4266-B25C-5B523AA43C14-42">
      <extobjdata type="ECB019B1-382A-4266-B25C-5B523AA43C14" data="ewogICAiRmlsZUlkIiA6ICI4NDM5NTE1Mzc4NyIsCiAgICJHcm91cElkIiA6ICI0OTg2Mjc1MzQiLAogICAiSW1hZ2UiIDogImlWQk9SdzBLR2dvQUFBQU5TVWhFVWdBQUExWUFBQUs3Q0FZQUFBRHg4UjZEQUFBQUNYQklXWE1BQUFzVEFBQUxFd0VBbXB3WUFBQWdBRWxFUVZSNG5PemRlWHhVOWIzLzhmZDNFa0pZRWhZWExJdElpRVVJSnVZTVZIR3BRUUZKY0dNd0Zia29na0JyVzl0N3IvWGVhdHVmV3kyMlY2clNhaFVSdDE1UmtVRkJDSUpvdUxSRmhDUWs3TmVBN0VMWnNwQ1FiZWI3K3dObWJzSWF5RExKNVBWOFBIeVErWjR6NTN4eUV2RzgvWHpuZXlR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VMR2hMcUFjSktTa2hKWlZGUjB0ekVtWFpMYldudVJwTmFocnFzWktEZkc3SmVVSmVtRG1KaVlEekl6TTZ0Q1hSUUFBQUJRV3dTcittRWN4NWtzNlplU0xndHhMZUZnbTZRcDJkblpyMG15SWE0RkFBQUFPQ3VDVlIzRng4ZTNqbzJOblNGcHJDVDE2ZE5INmVucGlvK1AxNldYWHFvT0hUcUV1TUttcjdDd1VEdDI3RkIrZnI1bXo1NnR6WnMzQnphOVUxUlVOQ2svUDc4OGxQVUJBQUFBWjBPd3FnTzMyOTNXV3J0STBnMFhYSENCSG4vOGNWMTc3YlV5aHN0NnZxeTErc2MvL3FFbm4zeFNCdzhlbEtUbHhwamhXVmxacGFHdURRQUFBRGdkVjZnTGFNNzhmditMa203bzNidTMzbjc3YlYxMzNYV0Vxam95eHVpNjY2N1RXMis5cGQ2OWUwdlNEZGJhRjBKZEZ3QUFBSEFtcElEejVIYTd4MWhyLy92Q0N5L1VlKys5cDA2ZE9vVzZwTEJ6K1BCaDNYMzMzVHA0OEtDc3RXTnljbkptaGJvbUFBQUE0RlRvV0oySDY2NjdMc1phKzJkampKNTY2aWxDVlFQcDFLbVRubjc2YVVtU01lYWw2NjY3TGliRUpRRUFBQUNuUkxBNkQyVmxaVCtSMU9tMjIyN1QxVmRmSGVweXd0clZWMSt0MjI2N1RaSTZsWmFXL2pqVTlRQUFBQUNuUXJBNlI0bUppZTJzdFE4YlkzVC8vZmVIdXB3VzRmNzc3NWN4UnNhWWh4TVRFOXVGdWg0QUFBRGdSQVNyY3hRWkdYbW5wQXRUVWxMVXMyZlBVSmZUSWx4MjJXVktTVW1ScEl0YXRXcDFSNGpMQVFBQUFFNUNzRHAzSXlWcCtQRGhvYTZqUmFsMnZVZUdzZzRBQUFEZ1ZBaFc1MkRRb0VGdEpLVkdSa1pxMEtCQm9TNm5SUmswYUpBaUlpSmtyVTA5L25NQUFBQUFtZ3lDMVRtb3FLaTRSbExiNU9Sa3RXdkhSMzBhVTd0MjdaU2NuQ3hKN1Nvcksxa3hCQUFBQUUwS3dlcmNKRXJTRlZkY0VlbzY2c1RuOCtueHh4K1gzKyt2TVY1YVdxb25ubmhDNWVYbElhcnN6QUxYM1ZxYkdPSlNBQUFBZ0JvaVExMUFjeEs0b1krTGl3dDFLWktrano3NktQaWNwOXJJeXNxU0pPM2R1MWNyVjY2VXkxVXpWLy8xcjM5VmVYbTVXcmR1WGE5MTFwZHExNTFnQlFBQUFEUlhqdU44NlRpT3pjdkxzMDJCMysrM1ZWVlZ0cXFxeWpxT1k0dUxpNE92VHpVV3NHTEZDdnZnZ3cvV09OYnUzYnZ0NE1HRDdlN2R1NjNQNTdQang0KzMrL2Z2Yit4djZZenk4dktzNHpqV2Nad1ZvZjVkQUFBQUFLcWpZM1Z1THBTa3pwMDdoN29PU1pJeFJoRVJFY0hYTHBlcnh1dFRqWTBmUDE0Yk5teVFNVWJYWDMrOWpoNDlxbFdyVnVtcHA1N1MyTEZqMWJWclYwblNIWGZjb2VlZWUwN1BQdnRzNDN3enRkQ3BVNmZBbHhlR3NnNEFBQURnUkFTcmM5TkJVck5ldU9LTk45N1E0NDgvcnF1dnZscERodzdWc0dIRDlJYy8vRUdyVnEyU3orZlRGMTk4b2VMaVlwV1VsS2lvcUVpNXVibEtTa29LZGRtU2FsejNEcUdzQXdBQUFEZ1J3ZXJjeEVwUzI3WnRRMTFIbld6ZXZGa1RKa3pRdm4zNzFMVnJWdzBaTWtTWFgzNjV1bmZ2cmdzdnZGQ2RPM2RXaHc0ZE5HL2VQTDMrK3V1YU5tMWFxRXVXUkxBQ0FBQkEwMFd3YXNiY2JuZU4xemZjY01OSisxUWZteng1c3U2OTkxNGRQSGhRbDE1NnFaWXVYYXJ2ZnZlN0dqQmdnQVlNR0hEU2UxTlRVM1h6elRmWGYrRUFBQUJBbUNGWW5ac2lTUmVXbHBZcUtpb3ExTFVFVi9tcnFLalFvRUdEOU5WWFg5WDRQSlhiN2RieTVjdHJkTmh5YzNNVkV4T2pJMGVPYU1XS0ZjRnc1bmE3ZGZIRkY5YzRma0ZCZ1Zhc2FEcnJSSlNVbEFTK0xBeGxIUUFBQU1DSkNGYm5wbERTaFNVbEplcllzV09vYXduYXYzKy9ZbU5qVDFxNDRsU1NrcEtVbHBhbWNlUEc2Y2lSSS9yWGYvMVhTVkpVVkpReU1qSnE3RHRvMEtBR3FmZDhFYXdBQUFEUVZQR0E0SE56UUpJT0hUb1U2anBxK1BMTEw1V1FrRkRyL1NkT25LaExMcmxFRlJVVit1YWJieHF3c3ZwMStQRGh3SmNIUWxrSEFBQUFjQ0tDMWJsWkw2bEpoWkd0VzdmcUwzLzVpKzY1NTU1YXYrZWpqejVTUVVHQmZ2U2pIK25CQngvVTFxMWJHN0RDK2hPbzB4aXpQc1NsQUFBQUFEVXdGZkFjR0dQeXJMVk5Kb2g4L1BISCt1TWYvNmpKa3lmcnV1dXVxOVY3WnMyYXBROCsrRUN2dnZxcUxyNzRZaVVtSmlvdUxrNlZsWlc2NDQ0N0dyaml1cWwyM2ZOQ1dRY0FBQUJ3SW9MVnVjbVRwRTJiTm9XNkRrbFNseTVkOU1JTEx5ZzVPZm1VMnlkUG5xeFdyVnJWR0x2c3NzczBZOFlNWFhEQkJaS2tmdjM2U1RxMmV1RHp6ejlmWTk5Lys3ZC9hNENxejEvZ3VodGpDRllBQUFCb1VreW9DMmhPQmcwYTFLYTh2SHgvWkdSa3U4OC8vN3haUHlpNHVTa3BLZEhnd1lQbDgvbEtZbU5qTDh6TXpDd0xkVTBBQUFCQUFKK3hPZ2NyVnF3NEttbFJWVlZWazFxR3ZDVllzV0tGZkQ2ZmpERVpoQ29BQUFBME5RU3JjemRYa2hZdFdoVHFPbHFVYXRkN2JpanJBQUFBQUU2RllIV09xcXFxUHBKMElETXpVOXUzYnc5MU9TM0N0bTNibEptWktVbjdLeXNyUHc1eE9RQUFBTUJKQ0ZibktDOHZyOFFZTTlWYXF6ZmZmRFBVNWJRSWI3NzVwcXkxc3RaT3pjdkxLem43T3dBQUFJREdSYkE2RDlIUjBTOUpPanh2M2p5dFhMa3kxT1dFdFpVclYycisvUG1TZExodDI3WXZoN29lQUFBQTRGUllGZkE4SlNjbjMyT01lZmVDQ3k3USsrKy9yMDZkT29XNnBMQno2TkFoalI0OVdnY1BIcFMxOXA2Y25KejNRbDBUQUFBQWNDb1JvUzZndWRxN2QrKzZTeTY1cFB2Um8wZWR2Ly85NzdyKyt1c1ZFeE1UNnJMQ3hyZmZmcXVmL09RbjJyTm5qeVM5bHBPVE15WFVOUUVBQUFDbncxVEFPbkM1WEQrWHRIekxsaTBhTjI2Yy92NzN2OHRhRytxeW1qVnJyZjcrOTc5cjNMaHgycnAxcXlRdE44YjhhNmpyQWdBQUFNNkVxWUIxRkI4ZjN6bzJObmFHcExHUzFLZFBINlducDZ0Mzc5N3EyYk9uT25Ub0VPSUttNzdDd2tKdDM3NWRXN1pzMGV6WnM3VjU4K2JBcG5lS2lvb201ZWZubDRleVBnQUFBT0JzQ0ZiMXd6aU9NMG5TbzVJdUMzRXQ0V0NicENuWjJkbXZTYUlGQ0FBQWdDYVBZRldQVWxKU0lvdUxpMzlnclUyWDVKWjBrYVRvRUpmVkhKUkoyaThweXhnek95WW01b1BNek15cVVCY0ZBQUFBQUNkeEhNYzZqa01IQ0FBQUFLaG5MRjRCQUFBQUFIVkVzQUlBQUFDQU9pSllBUUFBQUVBZEVhd0FBQUFBb0k0SVZnQUFBQUJRUndRckFBQUFBS2dqZ2hVQUFBQUExQkhCQ2dBQUFBRHFpR0FGQUFBQUFIVkVzQUlBQUFDQU9pSllBUUFBQUVBZEVhd0FBQUFBb0k0SVZnQUFBQUJRUndRckFBQUFBS2dqZ2hVQUFBQUExQkhCQ2dBQUFBRHFpR0FGQUFBQUFIVkVzQUlBQUFDQU9pSllBUUFBQUVBZEVhd0FBQUFBb0k0SVZnQUFBQUJRUndRckFBQUFBS2dqZ2hVQUFBQUExQkhCQ2dBQUFBRHFpR0FGQUFBQUFIVmtRbDBBR2taaVltTDN5TWpJWDU4dy9NUGpmNzVhZmJDcXF1cTNlWGw1dXhxbk1nQUFBQ0Q4RUt6Q1ZIcDZla1IrZnY1dVkweVhNKzFucmQwWEh4L2ZiZmJzMmI3R3FnMEFBQUFJTnhHaExnQU5ZOE9HRGJaYnQyNjlKUTA0eTY3dkxGMjY5SlBHcUFrQUFBQUlWM3pHS296NS9mNDV0ZGl0TnZzQUFBQUFPQU9DVlJoenVWekxyTFdIenJETHdRNGRPaXhydElJQUFBQ0FNRVd3Q21OWldWbVZ4cGlQejdETHg1bVptVldOVmhBQUFBQVFwZ2hXWWM0WWM5cXBmaTZYaTJtQUFBQUFRRDBnV0lXNXdzTEN6eVFWbldKVFVVRkJ3ZExHcmdjQUFBQUlSd1NyTUplZm4xOXVyVDNWcW4vejgvUHp5eHU5SUFBQUFDQU1FYXhhZ05OTUIyUWFJQUFBQUZCUENGWXRnREZta2FUU2FrT2x4cGhQUTFVUEFBQUFFRzRJVmkxQVZsWldxYVNNd0d0anpNTGpZd0FBQUFEcUFjR3FoYkRXQnFmKzFmTEJ3UUFBQUFCcWlXRFZRa1JGUlMwSWZOMjJiZHNGWjlvWEFBQUFBSEFhanVQTWR4eG5YcWpyQUFBQUFNSk5aS2dMUUtPYVk0eXhvUzRDQUFBQUNEY20xQVUwTnNkeC9rUFM3ME5kQjVvSGEyMW1UazdPNEZEWEFRQUFnS2F0cFgzR3lrajZhYWlMUVBOaGpFa0pkUTBBQUFCbytsclVWRURIY2E2VzFLTkxseTVhc0dDQmpHbHhEVHZVMHRTcFUvWHV1KzlLMHZPaHJnVUFBQUJOWDR2cVdCbGowaVZwNk5DaGhDcWNsdC92MTJlZmZTWkpzdGJPRG5FNUFBQUFhQVphVXJBeTF0cDBTUm95WkVpb2EwRVR0bmJ0V3Yzem4vK1VNV1pYVGs3T3lsRFhBd0FBZ0thdnhRU3I2dE1BKy9mdkgrcHkwSVNkMEszeWg3WWFBQUFBTkFjdEpsZ3hEUkMxd1RSQUFBQUFuSStXRXF4Y1RBTkViUVNtQVVyYXlUUkFBQUFBMUZhTENGYU80M3hQVEFORUxRUzZWWkkrRk5NQUFRQUFVRXN0SWxneERSQzF3VFJBQUFBQW5LK1dFS3lZQm9oYVlSb2dBQUFBemxmWUJ5dW1BYUsybUFZSUFBQ0E4eFgyd1VyU0Q2UmozU3FtQWVKMC9INi9saTVkR25qNVFTaHJBUUFBUVBNVDdzSEtKZWt1NmRqbnE0RFRXYnQycmZidDJ5ZEpPN096czVrR0NBQUFnSE1TMXNHS2FZRG54dWZ6NmVEQmc1S2t5c3JLRUZmVHVFNllCbWhEV0FvQUFBQ2FvYkFPVm1xRzB3Qm56SmloanovK3VNYVl0VmEvK01VdnRITGw2UnNwWldWbGV2dnR0MVZhV25yZTU5NjVjNmZ1dSs4K1ZWUlU2TjU3NzlWSEgzMVVZM3R1YnE3V3JWdDMwdnVtVDU5KzN1ZHNDcGdHQ0FBQWdMb0s1MkRWTEtjQjV1WGw2YkxMTHFzeDl2enp6K3VDQ3k3UWh4OStxUDM3OTUveWZhMWF0ZExPblR2MUgvL3hIL0w3ejIvZGhlam9hUG45ZmtWRlJlbmxsMS9XcWxXcmRPVElFVW5Id3Njenp6eWp5TWhJU2RJOTk5d1QvT2UxMTE2cjhmcTk5OTQ3ci9PSEN0TUFBUUFBVUZlUm9TNmdvU1FuSjErdFpqUU44TDMzM3BQWDY5WE9uVHUxYTljdVJVWkdhdGFzV2ZyREgvNmdxcW9xL2VwWHY5SzMzMzZyUng5OVZJODk5cGppNHVKcXZEOGlJa0tQUHZxb2Z2U2pIMm4yN05tNisrNjdUM3N1djkrdndZTUhuelJ1clZWcGFhbHV2UEhHNE5pSUVTUDAvdnZ2YS9YcTFVcEtTbEtmUG4zMDVaZGZhdGFzV2NGOWJyenh4aHF2bTV2QU5FQmp6R3d4RFJBQUFBRG5JV3lEVmVDaHdNMWxHdURvMGFOMTVaVlhhdnIwNlhyeHhSZTFhOWN1alI4L1htVmxaY0h0a25UbzBDSDkrdGUvMWwxMzNTV1B4MVBqR0M2WFMybHBhWHJoaFJlVW1wcXEyTmpZVTU3TFdxc2pSNDRvS3l1cnh2alJvMGQxODgwM2E5bXlaVFhHQ3dzTE5XdldMTDM2NnF2NjlOTlBOVy9lUEZWVlZlbWxsMTZTSkpXV2x1cWVlKzRKN3YvMjIyK3JWYXRXZGJzZ2phVDZORUFlQ2d3QUFJRHpGYTdCcWxsT0ExeTJiSmtHRHg0c2o4ZWo1NTkvWHNPSEQ5ZVlNV05PMm0vNzl1Mm5YVnhpeFlvVmF0V3FsZjc2MTcvcXh6Lys4VG1kUHpvNldwV1ZsZkw3L1hLNVhNck16RlRmdm4yVmtaR2hmZnYyYWVMRWlTb29LTkRNbVRQVnRXdFhYWC85OVpLYWQ4ZUthWUFBQUFDb0QyRVpySnJiTk1DQUw3NzRRak5tek5EYmI3K3RuajE3YXVyVXFaby9mNzRrcVVlUEhvcUxpOU9QZnZRalRaMDZWZE9tVFR2cC9VVkZSZnJiMy82bVAvM3BUM3I0NFlkMTMzMzNxWDM3OXFjOVgvVXBmNUswWk1rU2RlalFRWWNQSDFiNzl1MzE1Sk5QNnBWWFhsRjZlcnJ1dlBOT3ZmTEtLK3JYcjUvMjdObWpoeDkrT1BpK3JsMjcxdWhZU1dvMlFZdHBnQUFBQUtnUFlibDRSWE9iQmlnZG0rSzNZOGNPalI4L1hudjI3SkhINDlIZXZYczFhOVlzelpvMVM5dTJiZFBubjM4dTZWakg2bFErK09BRHVkMXVPWTZqYTYrOVZ1Kzg4ODRwOS9QNWZHcmR1cldXTFZ1bVpjdVc2WXN2dmxCcGFhbWlvcUxVcFVzWDdkMjdWL1BuejFmZnZuM1ZwMDhmdFd2WFRpdFdyRkJ4Y2JGdXYvMTJPWTZqV2JObXllZnpuZlJQVEV4TXN3bFZUQU1FQUFCQWZRbkhZT1dxSHF5YWk4NmRPMnZseXBYeWVyM3EycldydkY2dnlzcktORzdjT0kwYk4rNnM3ejkwNkpEZWVlY2RQZkRBQTVLa0gvN3doNW8xYTVaMjc5NTkwcjRsSlNXS2lZa0p2aTRySzFPYk5tMGtTVDE3OXRUYXRXdjE2cXV2NmljLytZa2thZVBHalhyaWlTZTBhOWN1M1g3NzdYcjIyV2NsU1FjT0hOQUhIM3lnNjYrL1hoOTg4SUUrK09BRGZmUE5OM1crRm8xbDNicDFnV21BTzVnR0NBQUFnTG9JdTZtQXljbkpWMXRydXplM2FZQW5LaWtwVVhSMHRONTY2eTFKMGc5KzhJUFQ3bXV0MWROUFA2M3JyNzllU1VsSmtxUkxMNzFVSTBlT0RFN25jN24rTDBQdjM3OWZGMTEwVWZCMVVWRlJNR2dsSmlicVQzLzZrMUpUVTVXUWtLREt5a3AxNjlaTnp6enpqSHIzN3EwZVBYb0VsMXdQdkRjek0xTS8rOW5QNnZYN2J3eExsaXlSSkJsamVDZ3dBQUFBNmlUc09sYlZ1MVhWdzBSVDk5VlhYK21Ydi95bEprNmNxTjI3ZCt2KysrOVhRVUdCSmt5WW9Ba1RKcHp4dlgvKzg1LzE5ZGRmNnovLzh6OXJqRC80NElNNmNPQ0FubnZ1dVJyalc3WnNVVnhjbkNvcUtpUWRlM2JXZDc3ekhVbkhGckNvcUtqUVF3ODlKRW1hTW1XS05tellvQ0ZEaHFobno1N2F0V3VYbGk5Zkhqelc4dVhMZGZqd1lTMWF0S2pPMTZBeE1RMFFBQUFBT0QyWDIrM2U2VGlPemMzTnRjMUpXVm1aUFh6NHNQWDVmSGJreUpIV1dtdlQwOU9EMjZ0L2ZmdnR0MXRycmEycXFySi8rTU1mYkVwS2lzM1B6ei9sY2ZQejgrMzN2Lzk5KzV2Zi9NWWVPWExFV212dEUwODhZVC84OEVQN3lDT1AyR3V1dWNhbXBLVFk1Y3VYMjIzYnR0a2hRNGJZY2VQRzJYbno1bGxyclgzd3dRZnR2SG56N0xoeDQreVFJVVBzK1BIajdjc3Z2Mnl0dGZhRER6NndJMGFNc0Y5OTlaVjk1SkZIN0lRSkUrektsU3ZyLytJMGdOemNYT3M0am5VY1o3dWs1dkZCUEFBQUFLQXhKQ2NuRDNJY3g2YW1wbHFmenhmcWUvZnpWajFZVlZWVjJTTkhqdGg3NzczWGJ0dTJ6ZTdZc2NNT0d6Yk1XbXZ0SC8vNFI1dVdsbmJhVUJXd2J0MDZPM1RvVUR0dDJqUmJXRmhvVTFKUzdNR0RCNjIxMWxaV1ZscHJyZDJ6WjQ4ZE1XS0VuVDkvdnQyNmRhc2RNV0tFemMzTnRjT0dEYk1IRGh5d216WnRDbDdUQlFzVzJIdnV1Y2VPR1RQR2J0eTRNWGllek14TW01cWFhbDk3N2JWNnZ5YjE3Ym5ubnJPTzQxaTMyejAxMUwrM0FBQUFRSlBpT003emp1UFlxVk9uaHZxK3ZVNEN3ZVNkZDk2eG16WnRzck5temJKZmYvMjEvZDN2Zm1mSGpoMXIvL0tYdjFocnJTMHNMTFFGQlFXMU91Ymh3NGR0WldXbHpjbkpzYzg4ODh4SjI5ZXNXV1BmZWVlZDRPdk16RXc3ZlBodys5UlRUNTIwNzlkZmYyM1hyRmx6eXZNVUZoWTIrVzZoeitlenFhbXBnV0IxZGFoL2J3RUFBTkQ4aGRNVUtKZmI3ZDV1cmUzK3hodHZLREV4TWRUMU5GaytuMDhSRVJHaExpTms4dkx5Tkg3OGVPbllhb0NYaVlVckFBQUFVRWZOWjNXSHN3aVgxUUFiUTBzT1ZSS3JBUUlBQUtEK2hVMndNc2I4UUdwK3F3R2ljVlZmRFZEU0I2R3NCUUFBQU9FalhCS0l5eGh6bDlTOEhncU14bGY5b2NCWldWbGZoYm9lQUFBQWhJZXdDRlpYWFhYVk5Vd0RSRzE4OXRsbmtvTFBybUlhSUFBQUFPcEZXQVFybDh2VkxCOEtqTWJsOS91RHdjcmxjdkZRWUFBQUFOU2JjRWdoVEFORXJUQU5FQUFBQUEybDJRY3JwZ0dpdHBnR0NBQUFnSWJTN0lNVjB3QlJHMHdEQkFBQVFFTnE3a25FSlNrWXJJRFRZUm9nQUFBQUdsS3pEbFpYWFhYVk5aSzZNUTBRWjhNMFFBQUFBRFNrWmgyc21BYUkybUFhSUFBQUFCcWFDWFVCZGVGMnUzZGFhN3VIdWc0MEd6dXlzN012RXgwckFBQUExTE5tM2VieCsvMzVvYTRCemNwTElsUUJBQUFBcUF2SGNhempPQVFMQUFBQW9KNDE2NDRWQUFBQUFEUUZCQ3NBQUFBQXFDT0NGUUFBQUFEVUVjRUtBQUFBQU9xSVlBVUFBQUFBZFVTd0FnQUFBSUE2SWxnQkFBQUFRQjBSckFBQUFBQ2dqZ2hXQUFBQUFGQkhCQ3NBQUFBQXFDT0NGUUFBQUFEVUVjRUtBQUFBQU9xSVlBVUFBQUFBZFVTd0FnQUFBSUE2SWxnQkFBQUFRQjBSckFBQUFBQ2dqZ2hXQUFBQUFGQkhCQ3NBQUFBQXFDT0NGUUFBQUFEVUVjRUtBQUFBQU9xSVlBVUFBQUFBZFVTd0FnQUFBSUE2SWxnQkFBQUFRQjBSckFBQUFBQ2dqZ2hXQUFBQUFGQkhCQ3NBQUFBQXFDT0NGUUFBQUFEVUVjRUtBQUFBQU9xSVlBVUFBQUFBZFdSQ1hRQWFSbUppWXZmSXlNaGZuekQ4dytOL3ZscDlzS3FxNnJkNWVYbTdHcWN5QUFBQUlQd1FyTUpVZW5wNlJINSsvbTVqVEpjejdXZXQzUmNmSDk5dDl1elp2c2FxRFFBQUFBZzNFYUV1QUExanc0WU50bHUzYnIwbERUakxydThzWGJyMGs4YW9DUUFBQUFoWGZNWXFqUG45L2ptMTJLMDIrd0FBQUFBNEE0SlZHSE81WE11c3RZZk9zTXZCRGgwNkxHdTBnZ0FBQUlBd1JiQUtZMWxaV1pYR21JL1BzTXZIbVptWlZZMVdFQUFBQUJDbUNGWmh6aGh6MnFsK0xwZUxhWUFBQUFCQVBTQlloYm5Dd3NMUEpCV2RZbE5SUVVIQjBzYXVCd0FBQUFoSEJLc3dsNStmWDI2dFBkV3FmL1B6OC9QTEc3MGdBQUFBSUF3UnJGcUEwMHdIWkJvZ0FBQUFVRThJVmkyQU1XYVJwTkpxUTZYR21FOURWUThBQUFBUWJnaFdMVUJXVmxhcHBJekFhMlBNd3VOakFBQUFBT29Cd2FxRnNOWUdwLzdWOHNIQkFBQUFBR3FKWU5WQ1JFVkZMUWg4M2JadDJ3Vm4yaGNBQUFBQWNCcU80OHgzSEdkZXFPc0FBQUFBd2sxa3FBdEFvNXBqakxHaExnSUFBQUFJTnliVUJhQlJ1QnpIR1NycEhVa1g2ZGdEZzMrUW5aMjlSSkkvcEpVQkFBQUFZWUJnRmNhU2s1TzdHbVBHUzVvbzZiSlQ3TEpOMGd4anpNeXNyS3h2RzdNMkFBQUFJSndRck1KTWVucDZSSDUrL2pCanpHUkp0MG1La0tSdTNicko0L0hvMm11djFULys4UTk1dlY3dDNyMDc4RGFmcFBuVzJ1bng4ZkdMWjgrZTdRdFIrUUFBQUVDelJMQUtFMGxKU2QwaUl5TW5XR3NuU3JwVWtpSWpJNVdTa2lLUHg2T0JBd2ZLNWZxL1JTRDlmcjlXclZvbHI5ZXJMNzc0UWo1Zk1FdnRNTWJNcUtxcW1wbWJtN3Y3NURNQkFBQUFPQkhCcWhsTFQwK1AyTHAxNjNCcjdXUkp0K3I0OHZrOWV2VFF5SkVqZGR0dHQ2bHo1ODVuUGM2aFE0YzBmLzU4ZWIxZTdkcTFLekRzTThaOFlveVozcXRYcjAvcFlnRUFBQUNuUjdCcWhnWU9ITmpENS9OTmtQU0FwQjdTc2U3VVRUZmRKSS9ISTdmYlhhTTdWVnQrdjE5WldWbnllcjM2L1BQUFZWVlZGZGkwMHhnem83S3ljbVplWHQ2dU14MERBQUFBYUlrSVZzMUVTa3BLWkZGUlVhcWt5WkxTZEx3N2RlbWxsOHJqOGVqV1cyOVZwMDZkNnUxOGh3OGYxaWVmZkNLdjE2c2RPM1lFaHYyU0ZraWFIaHNidXlnek03UHE5RWNBQUFBQVdnNkNWUlBuZHJzdjlmdjlEeGhqSHBEVVRaSmF0V3FsbTIrK1dSNlBSNDdqeUppRyt6RmFhNVdkblMydjE2dWxTNWVxc3JKU2ttU00yV1d0ZmYzNGlvSTd6bklZQUFBQUlLd1JySnFnbEpTVXlJS0NnaEhHbU1uR21GUWQvem4xN05rejJKM3EyTEZqbzlkVlVGQVE3R0p0Mzc0OU1PeVhsR0d0bmQ2aFE0ZUZkTEVBQUFEUUVoR3NtcERrNU9TZUxwZHJvclYyZ3FTdWtoUVZGUlhzVGlVbkp6ZG9kNnEyckxYS3lja0pkckVxS2lvQ20vWllhMStYOUhwT1RzNzJNeHdDQUFBQUNDdWh2MHR2NGR4dWR5dHI3YTJTSmtrYXJ1TS9rMTY5ZXNuajhXakVpQkhxMEtGRFNHczhrOExDUWkxWXNFQno1c3pSdG0zYkFzTlcwaUpqekhSSkM3S3lzaXBEVm1BejA2NWR1eUZSVVZGZERoOCsvTjhuYklwUXpYOWY2UXdDQUFBMElRU3JFRWxNVE93VkdSazVVZElFU1pkSXg3cFRRNGNPbGNmalVWSlNVcFBvVHRXV3RWYTV1Ym55ZXIxYXNtUko5UzdXdDVKbSt2MytHV3ZXck5rV3VncWJoeDQ5ZXJ4Y1dscTZzbnYzN2k5V1ZsYnVrcVJXclZyMUxpa3ArU0l5TXJLckpMVnAwNlpmVGs1T1ZHZ3JCUUFBUUhYTjU4NDlETGpkN2xaK3YvOTJZOHdrU2NOMC9Qckh4Y1ZwMUtoUlNrdExVMnhzYkdpTHJBZEZSVVZhdUhDaDVzeVpvNjFidHdhR3JhVEZrcVliWStiVHhUb2wwNzkvLzIvV3JWdDNkVkpTMHViYzNOeU9rblRsbFZmdVdydDJiZmZBVGllK0JnQUFRT2hGaHJxQWxtRGd3SUZ4VlZWVmsveCsvM2hqVEJmcFdIZHEyTEJoOG5nOFNreE1iRmJkcWJPSmpZM1Y2TkdqZGZmZGR5c3ZMMDllcjFlTEZ5ODJGUlVWdDBpNnhlLzM3MHRPVHA0WkdSazVZOVdxVlZ2UGVzQVdvbjM3OWpjWVl5SWw3UXQxTFFBQUFEZzM0WE0zMzhRa0pDUkVSVWRIMytIMyt5Y1pZNFlHeG52MzdxMVJvMFlwTlRVMUxMcFR0VlZVVktTTWpBek5tVE5IVzdac0NZNWJhNWRJbWw1UlVURnYvZnIxRmFjL1F2aUxpNHY3c0YyN2R0ZXNYYnUyZTFKU1VrRjVlZmsyU1dyZHVuV2Zzckt5SEdOTVc0bXBnQUFBQUUwUndhcWVPWTRUcjJNTFVZeVhkSkVrdFc3ZFdyZmNjb3M4SG8vNjkrOGZWdDJwYzJXdDFicDE2K1QxZXZYcHA1K3F2THc4c09tZnhwZzNyTFV6c3JPejgwTlpZeWkwYTljdU1TNHVMa09TRFFTcndGVEEyTmpZVzRxS2lqNE43TnU1YytmMFE0Y096UTVac1FBQUFEaEp5NzNEcjBjSkNRbFJyVnUzdmxQU1pFazNCOFl2di94eWpSbzFTc09IRDFkTVRFem9DbXlpaW91THRXalJJczJaTTBkZmYvMTE5VTFMSlUwdkx5Ly9xS1Ywc1RwMzdqekJHRlBWdFd2WDN3V0NWV0R4aXFLaW9xVVhYbmpoaExLeXNpMlMxS1pObXl2MjdObno2TDU5KzU0UGJkVUFBQUFJSUZqVlFWSlMwbmNqSWlJbVNycGZ4N3RUMGRIUkdqNTh1RHdlai9yMTY5ZWl1MU8xWmEzVit2WHJnMTJzc3JLeXdLYjlrdDcwKy8ydnJWbXo1dXN6SENJY1JFc3FDeXhNVWIxakpVbng4ZkZMOC9QemgwdHlYWFhWVlljMmI5NTg4OUdqUjc4TVhia0FBQUNvanJ2K2N4UWZIOTg2SmlabXBERm1zcVRCZ2ZFK2Zmckk0L0VvTlRWVjdkcTFDMkdGemR1UkkwZTBhTkVpZWIxZWJkNjh1ZnFtTDZ5MTA0dUxpK2ZtNStlWG4rNzl6ZDNwZ2xXM2J0MStWMVJVOUkvSXlNajJsMXh5eVg5dTNMZ3hPWlIxQWdBQW9DYUNWUzBOR0RDZ2o4L25tMlNNdVYvU0JaTFVwazJiWUhlcWI5KytkS2Zxa2JWV0d6WnNDSGF4amg0OUd0aDAwRnI3WmtSRXhHdXJWNi9lZktaak5FZlZnMVZnS21CRlJjWHVuVHQzL3JSWHIxN3ZSa1JFeE96WXNXTmljWEh4MzBKZEt3QUFBUDRQU2VBTVVsSlNvb3VMaXozVzJzbVNiZ3lNOSszYlZ4NlBSOE9IRDFmYnRtMURXR0hMVUZKU0V1eGliZHEwcWZxbVpjYVk2VEV4TWQ3TXpNeXkwNzIvT1RsZHgwcFNURUpDUXJiUDV5dll0R25UWUVsSFFpZ21yazhBQUNBQVNVUkJWRlVqQUFBQVRrYXdPZ1hIY2ZwS21tU3RIV2VNNlN4SmJkdTJWV3BxcWthT0hLbStmZnMyeUhsOVBwOEtDZ3Awd1FVWHFMS3lVcTFhdFdxUTh6Um5HemR1bE5mcjFhSkZpMVJhV2lwSnN0WWVNc2E4SmVtMTdPenNqYUd0c0c1T0VheE1URXpNaUI0OWV2elhnUU1IWG91SWlHaDd3UVVYVE5xL2YvOEwrL2J0bXlHcE9OUTFBd0FBQUVHREJnMXE0empPV01keC9zZHhIQnY0Wit6WXNYYnUzTG0ycEtURU5yUnZ2dm5HcHFXbDJmTHljbnYzM1hmYnVYUG4xdGkrWnMwYXUzYnQycFBlOStxcnJ6WjRiVTFOU1VtSjlYcTlkdXpZc2JiNnordjR6Mi9zb0VHRDJvVDZkK3A4WEg3NTVaOGQvL09MNDBNeHZYcjFlcTlObXpiWEJQYUppb3JxMTcxNzk5OUxJbmtEQUFBMEVTMitZNVdVbEpRUUVSRXhTZEo5a2pwSng3cFRhV2xwOG5nODZ0T25UNlBWc25mdlhvMGZQMTRaR1JrNmRPaVFwazZkcWtjZmZWVHQyN2VYMysvWDZOR2o5ZFJUVCttS0s2N1FQZmZjRTN4ZmZuNis0dVBqZzYvdnVPTU9qUjQ5dXRiblBYandvS1pNbWFJdnYveFNVVkZSdXV1dXUvVGdndzhHUHpQbTkvdjE0b3N2YXQ2OGViTFd5dVB4NktHSEhqcmxaOHJlZSs4OXZmdnV1OXE3ZDY5Njl1eXBSeDU1Uk4vNzN2ZnFjRlhPYnRPbVRabzdkNjRXTGx3WTdHSkpPaXpwYld2dDlKeWNuQTBOV2dBQUFBQmF2QllackFZTkd0U21yS3dzWGRKa1k4eDFnZkdFaEFTTkdqVktRNGNPYmREUFR2bjlmZzBlUFBpa2NXdXRTa3RMVDFwVjhQMzMzOWZxMWF1Vm01dXJ4eDU3VEN0WHJ0UTExd1FiR0xyeHhodTFiTm15azQ1MzVNZ1JsWlNVcUV1WExtZXM1Nzc3N3ROM3Z2TWQvZXBYdjFKaFlhRisvdk9mYTh5WU1icnJycnNrU1crKythYm16NSt2bDE1NlNhV2xwWm84ZWJKKyt0T2Y2czQ3N3p6cFdDKy8vTEp1dXVrbWRlblNSZSsvLzc1bXpacWx4WXNYcTNYcjFyVzZOblZSV2xxcXhZc1h5K3YxYXYzNjljRnhhKzNmSlUyUGpvNmV2V0xGaXFPblB3SUFBQUNBc3hvd1lFQi90OXM5elhHY3c0R3BZemZjY0lOOTl0bG43ZWJObXh0dEdsdFZWWlYxSE9lazhkTFNVanRvMEtDVHhnc0tDdXlZTVdOc2NYR3h6Y2pJc0E4KytLQmR2bnk1SFQxNnRCMDllclFkTUdCQThPdlJvMGZiaW9vS2E2MjErL2J0czBPSERyWFRwazJ6eGNYRnA2eGwrL2J0MW5FYysrMjMzd2JIRmkxYVpQL2xYLzRsK0RvdExjM09uejgvK1ByUGYvNnpuVGh4NGxtL3o2TkhqMXJIY2V5ZVBYdk91bTk5MjdScGs1MHlaWXE5NFlZYnFrOFRQT3gydTZjTkdEQ2dmNmgvRndFQUFCQmVJa05kUUdOd0hHZWtKSy9mN3crT1hYbmxsUm8xYXBTR0RCbWlObTJheHNkeG9xT2pWVmxaS2IvZkw1ZkxwY3pNVFBYdDIxY1pHUm5hdDIrZkprNmNxSUtDQXMyY09WTmR1M2JWOWRkZkwrbFl4MnJXckZrbkhlL2lpeS9XaHg5K3FKa3paeW85UFYxang0NVZlbnE2b3FLaWd2dVVseDk3SkZUMWFYMmRPblhTbGkxYkpCMmJKcmgzNzE1ZGVlV1Z3ZTM5K3ZYVDdObXp6L3I5ckZ5NVVwZGNjc2xaTzJZTm9VK2ZQdnJsTDMrcG4vLzg1MXF5WkltOFhxL1dybDNiMFZyN2tMWDJJY2R4Sk1tVG5aMDl0OUdMQXdBQVFOaHBFVk1CSGNjNUlpazR2KzYzdi8ydFVsTlRRMWFQeitmVDk3NzNQYlZ2Mzc3RytKSWxTNVNXbHFiMzMzOWY3ZHUzMS9EaHcvWEtLNitvZS9mdXFxeXMxQ3V2dktKKy9mcXBhOWV1bWpwMTZoblBjV0xRMnJkdm4xNTk5VlZsWldYcG9ZY2UwcEFoUTRLMTNISEhIWEs3M2ZyRkwzNmhzckl5L2IvLzkvLzAxVmRmNmF1dnZsSitmcjdHakJtanpNeE14Y1RFU0pKeWNuSTBjZUpFclZxMVNpNlg2NVRuejhySzBxT1BQcW9wVTZiSTdYYWY3NldxVndzWEx0UnZmdk9iNmtNbCtyL2ZDNzhrVzVzL3JiWFdHT09YWksyMWZtT01EV3d6eGxocnJWK1NOY2I0cmJXblBNWnA5anVYODUxdXYxcWR6Ky8zbi9LWXhoaDdwbTFuT2taZy9QZ3gvTmJhN0RWcjFueGNMejg4QUFDQUpxNUZkS3drM1N0cGpvNEh5Vi8vK3RkNjc3MzNncCtuYXV5T2xjL25VK3ZXcllPZmkvTDcvYnI2NnFzVkZSV2xMbDI2YU8vZXZkcTRjYVA2OXUwYlhEd2pJeU5EeGNYRnV2MzIyK1gzK3pWcjFpejk0QWMvT09uWUhUdDIxUFRwMDA5NTN2YnQyOHRhcThMQ3d1QllSRVNFWG5qaEJUM3p6RE1hTW1TSXVuWHJwclMwTksxWnMwWVJFUkh5K1h5U1ZDTkF1Vnl1TXo0TWVmLysvWHI0NFlmMTNIUFBoVHhVSFQxNk5QaTVxM1hyMWxYZlpIWHM5OEo3L0hYZ0c0dzQyekdyZis4blhvZGorZWprcjA5VTIvM09kcjdUN1hlMjg1M3VtR2ZiZGk3SE1NWlVpWlVMQVFCQUM5RWlndFh4NlY2dUFRTUc5UGY1ZkpPTU1mZXRXN2V1NDdwMTYvVGNjODhwTFMxTkkwZU9iTFFWQUV0S1NvTGRIMGtxS3lzTGhydWVQWHRxN2RxMWV2MzExL1hDQ3k5SU92YnNwaWVlZUVKWFhIR0Zici85ZGwxenpUVjY3TEhIZE9EQUFYMysrZWVhTm0yYWZ2YXpuMG1TaGc0ZFd1TmNXN1pzMGR0dnY2M1ZxMWRyekpneG1qMTc5a2tMU2NUSHgrdU5OOTRJdnA0N2Q2NTY5dXdwU1lxTmpaVWtGUllXQmhmVktDZ29VTWVPSFUvYnJWcXpabzNpNHVJMFlNQ0E4NzVHZGJWNTgyWjV2VjVsWkdTb3BLUWtNRnhnclgwN0lpTGl0ZFdyVndkU2xrdVNTVTlQTjF1M2JuV1ZsWldaaXk2NnlGVmVYbTVLU2twY1BwL1B0Ry9mM2xWVlZXVXFLaXBjN2R1M054VVZGUzYvMzIraW9xSmNmci9mVkZWVnVmeCt2N0hXbWxhdFdybjhmci94K1h5dTFxMWJHNS9QNS9MNy9TWXlNdEpsclRWK3YvK2sxNUdSa2Nidjk3dXN0Y1phYXlJaUlrNjVyZnE0Sk9OeXVRTHZjVVZFUkFUSHJiVTF0a2t5eHBqQU5wZkw1VExXV3RlWjlqdnhQU2Z1R3pqR0dmWjdVaTNrN3hjQUFBQ3BoZDM0SEwrWi92bWdRWU4rV1ZaV2RwY3habkpKU2NuMXMyZlAxdXpaczVXUWtDQ1B4Nk5odzRZMTZLcUErL2Z2MTBVWFhSUjhYVlJVRkF4YWlZbUordE9mL3FUVTFGUWxKQ1Nvc3JKUzNicDEwelBQUEtQZXZYdXJSNDhlaW95TXJQSGV6TXpNWUxDcWJ0ZXVYWHJvb1lkMDMzMzM2VmUvK2xXTnoxYWR5WklsUy9UOTczOWZrdFMxYTFmRnhNUm93NFlONnRxMXF5UnB3NFlONnQvLzlPcy9YSDMxMWZydWQ3OWJxM1BWcDlPdENpanBiOWJhNmRIUjBSK2VZbFZBSzhrZS84eVlyN0ZxRFhlTzR6d1o2aG9BQUFBYVU0c0tWZ0hIYjY3ZmtmUk9jbkp5UDJQTUpFbmoxcTlmMzJuOSt2V2FPblZxc0l0MXhSVlgxUHY1dDJ6Wm9yaTRPRlZVVkNncUtrcDVlWG42em5lK0krbllBaFlWRlJWNjZLR0hKRWxUcGt6UnNHSEROR1RJRVBuOWZ1M1lzVU03ZCs3VURUZmNJRWxhdm55NURoOCtyRVdMRm1uNDhPRTF6blB4eFJmcm80OCtPbXVneXMzTlZWeGNuS3kxZXVlZGQ3UjE2MVpObVRKRjByRnBmN2ZkZHB0bXpweXBxNjY2U2tWRlJmSjZ2WHJxcWFmTytQMnRXN2RPOTk1NzczbGZvM094YWRPbVlIZnFoT2RZdldXdGZZM25XQUVBQUtDaHRZakZLMm9qSlNVbHVxaW9hSlNreVpLK0h4anYyN2V2Um8wYXBWdHV1YVhldWxoUFB2bWsrdmZ2cjVVclYycjU4dVdLam83VzAwOC9yUjQ5ZW1qaXhJbnExcTJiUm8wYXBkdHV1MDAvL3ZHUGxacWFxamx6NW1qMzd0M3EwYU9IQmc0Y3FBY2ZmRkN6WjgvV1cyKzlwY2NmZjF5elo4L1d3WU1IOWNNZi9qRDRRTjZQUHZwSXYvLzk3MDladzVJbFM0S0xaMHliTmkyNHlwL2I3ZGJERHorc0hqMTZCUGN0THkvWE04ODhvNlZMbHlvbUprWVRKMDRNUHVQcVZGNS8vWFZsWkdUb3d3OC9ySmZyZFNxbHBhVmF0R2lSdkY2dk5tN2NXSDNULzBpYUhoc2JPeWN6TTdPc3dRckFHVG1PWXlVcE96dWJ2Mk1BQUFCYUtyZmJmWVhiN1o2YW5KeDhNUEFNcE91dnY5Nys5cmUvdFJzMmJEai9oeXRaYXdzTEMyMUtTb285ZVBDZ3RkYmF5c3BLYTYyMWUvYnNzU05HakxEejU4KzNXN2R1dFNOR2pMQzV1YmwyMkxCaDlzQ0JBM2JUcGszVzUvTlphNjFkc0dDQnZlZWVlK3lZTVdQc3hvMGJnOGZPek15MHFhbXA5clhYWHF0VGpVM1ordlhyN2ROUFAyMnZ1KzY2NnMrbk91QjJ1NmU2M2U3NmJ5L2l2QVIrTnFHdUF3QUFvTEh3ZjVQUElDVWxKYnF3c0hDa3BNbkdtSlRBK0JWWFhDR1B4NlBodzRjSEYzU29yVFZyMW1qaHdvVjY3TEhIYW96bjV1WnE3ZHExR2p0MnJDUnAyYkpsZXZiWlozWHR0ZGVldUVTNDh2UHpWVkpTb3FTa3BKT09YMVJVcEczYnRpa3hNZkdjNm1yS1NrcEtsSkdSSWEvWHE4MmJOd2ZIcmJXWmtxWjM2TkJoTHQycHBvV09GUUFBYUdtNDZhbWxBUU1HOVBINy9STWwzUy9wUWtscTA2YU5icm5sRm5rOEh2WHIxKytNeTExWDUvUDVGQkZ4MWxXOVd6UnJyVFpzMkNDdjE2dEZpeGFwckN5WW13NUlldFBsY3MxWXZYcjE1ak1jQWlGRXNBSUFBQzBOTnozbktENCt2blZzYk95ZE92WlpySnNDNDMzNjlBbDJzVTU4OEM5cTc4aVJJOEh1MVAvKzcvOVczL1M1cE9sRlJVVWY1ZWZubDRlb1BOUVN3UW9BQUxRMDNQVFV3VlZYWFhXNXkrV2FLR204cEl1a1k2djZCYnBZQ1FrSnRlNWl0V1RXV3ExYnQwNWVyMWVMRnkrdTNwM2FMK2tOdjk4L1k4MmFOVitIc0VTY1FYeDhmT3RPblRwMXFqN204L20rbGFTSWlJanZWQjgvZlBqd1lZSXhBQUFJUjl6MTE0T0VoSVNvNk9qb082eTFreVVOQ1l4ZmZ2bmw4bmc4U2sxTnJmRkFZQnhUWEZ3YzdFNTkvWFdOM1BTWk1XWjZXVm5aeCt2WHI2OElWWDJvbllFREIxN2k4L24yNk94L24vZ2pJaUs2clZxMWFtOWoxQVVBQU5DWUNGYjF6TzEyOTVZMHlWbzdYdExGa3RTNmRXc05HelpNSG85SFYxNTVaWXZ1WWxscnRYYnQybUIzcXJ3ODJMejRwN1YycHN2bG1wR1ZsYlVsbERYaTNEbU9reW5weHJQc3RpdzdPenVsNGFzQkFBQm9mQzMzRHIrQkpTUWtSRVZGUmQxKy9PSER3d0xqdlh2M2xzZmpVVnBhbW1KalkwTllZZU1xS2lyU3dvVUw1ZlY2dFdWTGpkeTAyRm83dmFLaVlqN2RxZVlyT1RuNUlXUE10TFBzOWxCMmR2YWZHNlVnQUFDQVJrYXdhZ1FEQnc2TXE2cXFtaWhwZ2pHbWl5UkZSVVVGdTFpSmlZbGgyY1d5MWlvdkx5L1luYXFvQ09hbXZaSm1Sa1JFdkw1cTFhcXRJU3dSOVNRcEthbGJSRVRFcmpQdDQvUDV1dWZtNXU1dXJKb0FBQUFhVS9qZHpUZGhicmU3bGJYMk5rbVRKTjJpNDljL0xpNU9IbzlISTBhTUNJc3VWbEZSa1JZc1dDQ3YxNnV0VzRPNXlVcjZWTkowWTh3bldWbFpsYUdyRUEzQmNad1ZrcTQ1emVZVjJkbloxelptUFFBQUFJMkpZQlVpVjExMTFXWEhWeFNjSU9rNzByRXUxcEFoUStUeGVIVFZWVmMxcXk2V3RWWnIxcXlSMSt2Vlo1OTlWcjA3OWEweDVuV2Z6L2Y2bWpWcnRvV3dSRFF3dDl2OUMydnRmNTFxbXpIbUYxbFpXVk1idXlZQUFJREcwbnp1M01PVTIrMXVKV21FMysrZlpJeEoxZkdmeVdXWFhTYVB4Nk5iYjcxVkhUcDBDRzJSWjFCWVdLaFBQdmxFWHE5WDI3WnRDd3hiYTIyR3RYWjZ4NDRkRjJSbVpsYUZzRVEwa3NURXhGNlJrWkdubk5wWlZWVVZsNWVYOTAxajF3UUFBTkJZQ0ZaTlNISnljazlKRHhoakhwRFVWWkphdFdxbG0yKytXUjZQUjQ3ak5Ja3VsclZXMmRuWjhucTlXcnAwcVNvcmc3UDZkbHRyWDVjME15Y25aM3NJUzBTSU9JNlRMU241aE9IczdPeHNkeWpxQVFBQWFDeWh2MHZIU1ZKU1VpSUxDd3ZUakRHVEphVktja2xTejU0OWcxMnNqaDA3Tm5wZEJRVUZ3ZTdVOXUzQjNPU1h0RkRTOU5qWTJBeTZVeTJiNHppL2t2VGJFNFovbFoyZC9idFExQU1BQU5CWUNGWk5uTnZ0dnRSYU84RVk4NEMxdHJ0MHJJdDEwMDAzeWVQeHlPMTJOMmdYeTFxcnJLd3NlYjFlZmY3NTU4SHVsREZtbDdWMlJrUkV4TXhWcTFidGJMQUMwS3k0M2U0cnJMVWJxNCs1WEs0clZxOWV2VGxVTlFFQUFEUUdnbFV6a1pLU0VsbFVWRFJjMG1SSkkzUzhpM1hwcFpkcTVNaVJ1dlhXVzlXNWMrZDZPOStoUTRmMHlTZWZhTzdjdWRxeFkwZGcyQy9wRTJQTTlMaTR1RVd6WjgvMjFkc0pFVFljeDFrdnFaOGtHV1BXWjJWbDlROXhTUUFBQUEyT1lOVU1KU1ltZG0vVnF0VUVhKzFFU1Qwa0tUSXlVb01IRDViSDQ5R0FBUVBrY3JuTytiaCt2MStyVjYrVzErdlZGMTk4b2FxcTRLeStIY2FZR1pXVmxXL2s1ZVdkOFZsRlFISnk4bFBHbU45SWtyWDJxWnljbk1kRFhSTUFBRUJESTFnMVkrbnA2UkhmZlBQTkxkYmF5ZGJhV3lWRlNGTDM3dDAxY3VSSTNYNzc3YlhxWWgwNmRFano1czNUM0xsenRXdFhNRGY1Sk0yMzFrNlBqNDlmVEhjS3RaV2NuSnhrakZsei9HVlNkbloyWGtnTEFnQUFhQVFFcXpDUmxKVFV6ZVZ5alRmR1RKSjBxWFNzaTVXU2tpS1B4Nk9CQXdmVzZHTDUvWDZ0V3JVcTJKM3krWUs1YWJ1MWRvYU9yZXkzcDlHL0VZUUQ0empPMTVKc2RuYjJkM1hzNGRBQUFBQmhqV0FWWnRMVDB5TzJiTmt5Vk1jK2kzVzdqbmV4dW5YcnBwRWpSK3JhYTYvVlAvN3hEODJkTzFlN2QrOE92TTBuYVo2azZiMTc5MTVDZHdwMTVUak83NDB4TmlzcjY1ZWhyZ1VBQUtBeEVLekNtTnZ0L282MWRyeWtTWkl1TzhVdTJ5Uzlab3g1SXlzcjY5dkdyQTFoeWVVNHpsQnI3VnZHbUM3VzJoSmp6S2pzN093bE9yYndDUUFBUU5naVdMVU1McmZiUGNSYUczZ3VWb1l4Wm5wV1Z0Wm40b1lYZFpTY25OelZHRE5lMGtTZFBzRFBNTWJNSk1BREFJQndSYkJxUVJ6SHNaS1VuWjNOengxMWtwNmVIcEdmbnovcytFT3NiMU8xS2FjZWp5YzQ1ZFRyOVo0NDVaUUZVUUFBUUZqaUJyc0ZJVmlocnBLU2tycEZSa1lHbHZxdnl5SXBPNHd4TTZxcXFtYm01dWJ1UHZsTUFBQUF6UXMzMkMwSXdRcm5JejA5UFdMcjFxM0RqMDhsdlZYSEgwN2RvMGNQalJ3NVVyZmRkbHV0bC9XZlAzKyt2RjV2aldYOWpUR2ZHR09tOStyVjYxTzZXQUFBb0xuaUJyc0ZJVmpoWEF3Y09MQ0h6K2ViSU9rQlZYc1E5VTAzM1NTUHh5TzMyMzNlRDZMT3lzcVMxK3ZWNTU5L1h2MUIxRHVQUDRoNkpnK2lCZ0FBelEwMzJDMEl3UXBuazVLU0VsbFVWSlNxWTh2MXArbDRkK3JTU3krVngrUFJyYmZlcWs2ZE90WGIrUTRmUHF4UFB2bEVYcTlYTzNic0NBejdKUzJRTkQwMk5uWlJabVptMWVtUEFBQUEwRFJ3ZzkyQ0VLeHdPbTYzKzFLLzMvK0FNZVlCU2Qwa3FWV3JWcnI1NXB2bDhYamtPSTZNYWJoZkcydXRzck96NWZWNnRYVHBVbFZXVmtxU2pERzdyTFd2SDE5UmNNZFpEZ01BQUJBeTNHQzNJQVFyVkplU2toSlpVRkF3d2hnejJSaVRxdU4vSC9UczJUUFluZXJZc1dPajExVlFVQkRzWW0zZnZqMHc3SmVVWWEyZDNxRkRoNFYwc1FBQVFGUEREWFlMUXJDQ0pDVW5KL2QwdVZ3VHJiVVRKSFdWcEtpb3FHQjNLams1dVVHN1U3VmxyVlZPVGs2d2kxVlJVUkhZdE1kYSs3cWsxM055Y3JhZjRSQUFBQUNOSnZSM1QyZzBCS3VXeSsxMnQ3TFczaXBwa3FUaE92N3ZmcTlldmVUeGVEUml4QWgxNk5BaHBEV2VTV0Zob1JZc1dLQTVjK1pvMjdadGdXRXJhWkV4WnJxa0JWbFpXWlVoSzdDWmF0ZXUzWkNvcUtndWh3OGYvdThUTmtXbzVuOGY2QkFDQUhBVzNHQzNJQVNybGljeE1iRlhaR1RrUkVrVEpGMGlIZXRPRFIwNlZCNlBSMGxKU1UyaU8xVmIxbHJsNXViSzYvVnF5WklsMWJ0WTMwcWE2ZmY3WjZ4WnMyWmI2Q3BzWG5yMDZQRnlhV25weXU3ZHU3OVlXVm01UzVKYXRXclZ1NlNrNUl2SXlNaXVrdFNtVFp0K09UazVVYUd0RkFDQXBxLzUzRkdoemdoV0xZUGI3VzdsOS90dk44Wk1ralJNeC84OWo0dUwwNmhSbzVTV2xxYlkyTmpRRmxrUGlvcUt0SERoUXMyWk0wZGJ0MjROREZ0Sml5Vk5OOGJNcDR0MVJxWi8vLzdmckZ1Mzd1cWtwS1ROdWJtNUhTWHB5aXV2M0xWMjdkcnVnWjFPZkEwQUFFNHRNdFFGQUtnZkF3Y09qS3VxcXByazkvdkhHMk82U01lNlU4T0dEWlBINDFGaVltS3o2azZkVFd4c3JFYVBIcTI3Nzc1YmVYbDU4bnE5V3J4NHNhbW9xTGhGMGkxK3YzOWZjbkx5ek1qSXlCbXJWcTNhZXRZRHRqRHQyN2Uvd1JnVEtXbGZxR3NCQUNBY2hNOWRGczZLamxYNFNVaElpSXFPanI3RDcvZFBNc1lNRFl6Mzd0MWJvMGFOVW1wcWFsaDBwMnFycUtoSUdSa1ptak5uanJaczJSSWN0OVl1a1RTOW9xSmkzdnIxNnl0T2Y0U1dJeTR1N3NOMjdkcGRzM2J0MnU1SlNVa0Y1ZVhsMnlTcGRldldmY3JLeW5LTU1XMGxwZ0lDQUZCYjNHQzNJQVNyOE9FNFRyeU9MVVF4WHRKRmt0UzZkV3ZkY3NzdDhuZzg2dCsvZjFoMXA4NlZ0VmJyMXEyVDErdlZwNTkrcXZMeThzQ21meHBqM3JEV3pzak96czRQWlkyaDFLNWR1OFM0dUxnTVNUWVFyQUpUQVdOalkyOHBLaXI2TkxCdjU4NmQwdzhkT2pRN1pNVUNBTkJNdE53N3J4YUlZTlc4SlNRa1JMVnUzZnBPU1pNbDNSd1l2L3p5eXpWcTFDZ05IejVjTVRFeG9TdXdpU291THRhaVJZczBaODRjZmYzMTE5VTNMWlUwdmJ5OC9LT1cxc1hxM0xuekJHTk1WZGV1WFg4WENGYUJ4U3VLaW9xV1huamhoUlBLeXNxMlNGS2JObTJ1MkxObno2UDc5dTE3UHJSVkF3RFF0SEdEM1lJUXJKcW5wS1NrNzBaRVJFeVVkTCtPZDZlaW82TTFmUGh3ZVR3ZTlldlhyMFYzcDJyTFdxdjE2OWNIdTFobFpXV0JUZnNsdmVuMysxOWJzMmJOMTJjNFJEaUpsbFFXV0ppaWVzZEtrdUxqNDVmbTUrY1BsK1M2NnFxckRtM2V2UG5tbzBlUGZobTZjZ0VBYVBwWXZBSm9ndUxqNDF2SHhNU01OTVpNbGpRNE1ONm5UeDk1UEI2bHBxYXFYYnQySWF5dytUSEdxSC8vL3VyZnY3LysvZC8vWFlzV0xaTFg2OVhtelpzdmt2U0l5K1Y2eEhHY0w2eTEwNHVMaStmbTUrZVhuL1dnelZmWm1UWWVQWHAwWlV4TXpDMlJrWkh0eTh2TC81ZFFCUURBMmZHL3VWc1FPbFpOMzRBQkEvcjRmTDVKeHBqN0pWMGdTVzNhdEFsMnAvcjI3VXQzcWg1WmE3Vmh3NFpnRit2bzBhT0JUUWV0dFc5R1JFUzh0bnIxNnMyaHJMRWhWZTlZQmFZQ1ZsUlU3TjY1YytkUGUvWHE5VzVFUkVUTWpoMDdKaFlYRi84dDFMVUNBTkRVMGJFQ1Fpd2xKU1c2dUxqWVk2MmQ3UGY3Ynd3RXA3NTkrOHJqOFdqNDhPRnEyN1p0aUtzTVQ4WVlKU1FrS0NFaG9VWVhhOU9tVFJjWVl4NzIrLzBQTzQ2enpCZ3pQU1lteHB1Wm1YbkdUazl6dG1IRGh2N1ZYc1pFUkVSMDlQbDhCY1hGeFd0Q1ZoUUFBTTBJd1FvSUVjZHgra3FhVkZoWU9NNFkwMW1TMnJadHE5VFVWSTBjT1ZKOSsvWnRrUFA2ZkQ0VkZCVG9nZ3N1VUdWbHBWcTFhdFVnNTJsdTJyVnJwMUdqUm1uVXFGSGF1SEdqdkY2dkZpMWFwTkxTMGh1dHRUY1dGaFllY2h6bkxVbXZaV2RuYnd4MXZRM0V4TVRFak9qUm84ZC83ZCsvL3k4UkVSRnQrL2Z2djM3Ly92MHY3TnUzYjRhazRsQVhDQUFBRUhLTzQ5akFkRUNFeHFCQmc5bzRqalBXY1p6L0NmdzhITWV4WThlT3RYUG56clVsSlNXMm9YM3p6VGMyTFMzTmxwZVgyN3Z2dnR2T25UdTN4dlkxYTliWXRXdlhudlMrVjE5OXRjRnJhMnBLU2txczErdTFZOGVPdGRWL1hzZC9mbU1IRFJyVUp0Uy9VM1Z4K2VXWGYzYjh6eStPRDhYMDZ0WHJ2VFp0Mmx3VDJDY3FLcXBmOSs3ZGZ5K0pCQTRBd0Jud1lZMFdoTTlZaFU1U1VsSkNSRVRFSkVuM1Nlb2tIZXRPcGFXbHllUHhxRStmUG8xV3k5NjllelYrL0hobFpHVG8wS0ZEbWpwMXFoNTk5RkcxYjk5ZWZyOWZvMGVQMWxOUFBhVXJycmhDOTl4elQvQjkrZm41aW8rUEQ3Nis0NDQ3TkhyMDZGcWZkL1BtelhyeHhSZVZsNWNuYTYzY2JyY2VlZVFSOWVqUlE1TGs5L3YxNG9zdmF0NjhlYkxXeXVQeDZLR0hIanJsWjhyZWUrODl2ZnZ1dTlxN2Q2OTY5dXlwUng1NVJOLzczdmZxY0ZYT2J0T21UWm83ZDY0V0xseW8wdExTd1BCaFNXOWJhNmZuNU9Sc2FOQUNBQUJBazhZTmRndENzR3BjZ3dZTmFsTldWcFl1YWJJeDVyckFlRUpDZ2thTkdxV2hRNGMyNkdlbi9INi9CZzhlZk5LNHRWYWxwYVVuclNyNC92dnZhL1hxMWNyTnpkVmpqejJtbFN0WDZwcHJnbzBMM1hqampWcTJiTmxKeHp0eTVJaEtTa3JVcFV1WDA5WlNXbHFxRVNOR2FOU29VUm8zYnB5cXFxcjB4ei8rVVJzMmJOQ2NPWE1rU1crKythYm16NSt2bDE1NlNhV2xwWm84ZWJKKyt0T2Y2czQ3N3p6cGVDKy8vTEp1dXVrbWRlblNSZSsvLzc1bXpacWx4WXNYcTNYcjFyVytQdWVydExSVWl4Y3ZsdGZyMWZyMTY0UGoxdHEvUzVvZUhSMDllOFdLRlVkUGZ3UUFBQUEwYTB3RmJCd0RCZ3pvNzNhN3B6bU9jemh3elcrNDRRYjc3TFBQMnMyYk56ZmFOTGFxcWlyck9NNUo0NldscFhiUW9FRW5qUmNVRk5neFk4Ylk0dUppbTVHUllSOTg4RUc3ZlBseU8zcjBhRHQ2OUdnN1lNQ0E0TmVqUjQrMkZSVVYxbHByOSszYlo0Y09IV3FuVFp0bWk0dUxUMW5MNXMyYnJlTTQ5dkRodzhHeEw3LzgwbDU5OWRYVzcvZGJhNjFOUzB1ejgrZlBEMjcvODUvL2JDZE9uSGpXNy9QbzBhUFdjUnk3WjgrZXMrNWIzelp0Mm1TblRKbGliN2poaHVyVEJBKzczZTVwQXdZTTZILzIzeFlBQUFBME93U3JodVU0enNnVFBvZGp4NDBiWitmTm0yZExTMHNiL2FiL2RNSEs3L2ZiQVFNR1dKL1BaNjIxOW9zdnZyQjc5KzYxYjd6eGhyMzU1cHZ0M1hmZmJXKzU1UmE3ZS9mdUd1LzcvdmUvZjlwekZSWVcydWVmZjk0T0h6N2Mvdld2ZjdYbDVlVTF0bGRVVk5nNzdyakRQdlhVVTdhOHZOd2VPblRJVHB3NDBUNzU1SlBXV21zUEhEaGdIY2V4MjdadEM3N244ODgvdHpmZWVPTlp2OC9NekV5YmxwWVcvSDVDb2JTMDFINzg4Y2QyM0xoeEozNFd5enFPTXpMVXY1dkEvMmZ2M3VPaUxQUC84Yit1ZXdZWUZKQTB4VkMwVU9Nd0Nzd01wRzc2bFJLUmc0ZTRpZGJjVHBiU285MnN6eWUzUjJXMlc1cWZ0azEzTzN4c0N3K2RmcHYxUlcvTkE2Q20wYmFmOXR2S0RLQ0FrRUtlendjWUJPYkEzTmZ2RDVqN0E4cEpoUmxnM3M5L2NxN3JudnQrejh3VmM3M25mZC9YVFFnaHBPZlJLV0VlaEU0RjdGbDZ2ZjRxQU9YOHVqZmZmQlBKeWNsdWk4ZmhjT0NlZSs2Qm41OWZxL1k5ZS9ZZ0pTVUZYMy85TmZ6OC9KQ1VsSVNQUHZvSUkwZU9oTjF1eDBjZmZZVEl5RWdFQndkajllclZIUjVqNDhhTnJSNmZPM2NPSDMvOE1ZeEdJeFl2WG95RWhJUldmYSs4OGdwT25EaUIrdnA2ekowN0Z5Kzg4QUxVYWpVcUtpb3dmLzU4NU9mbnc5L2ZId0JRV0ZpSWhRc1hZdi8rL1JBRW9jM2pHNDFHdlBMS0szanJyYmRnTUJodTVtM3Fkams1T1hqdHRkZGFOdFhoZjhlRkRJQzM4ZC9yMmpqbk1tT3M1V1BPR0pNQmNNYVl6RGxYK2hoam5IUGVabC9MWTF6YjErSVlISURjOGhnZEhmL2F2bzZPMy9JWWpERlpsdVcyOXROUm44d1k0OWYyT1ovVDNDZHp6azFGUlVYZmROc0hTUWdoaE53Z1dtNmRrTzd6S0lETmFQN0JZdG15WmZqcXE2K1U2Nmw4ZlYyN2dKekQ0WUNQajQ5eVhaUXN5NWc0Y1NLOHZiMFJGQlNFczJmUDR0Q2hRNGlJaUZBV3o4ak56VVZ0YlMzbXpKa0RXWmF4Y2VOR1BQVFFROWZ0T3pBd0VGbFpXVzBlMTgvUEQ1eHoxTlRVdEdyLzhjY2ZjZmp3WWZ6bU43L0JMNy84Z2gwN2RpQStQaDczM0hNUEhBNEhBTFJLb0FSQjZQQm15QmN1WE1DU0pVdXdhdFVxdHlkVkRRME55blZYSlNVbExiczRtc2FGMVB6WStRSlZuZTN6NjNQUDB3QUFJQUJKUkVGVTJ0ZmU4bkZUM29JMkgxL2IxOTUyblIzalJ2bzZPdjYxY2JlM24xdnRZNHcxZ2xZdUpJUVE0a2FVV0JIU1RVd20weFlBUW14czdIaUh3N0dJTWZaWVNVbEpZRWxKQ1ZhdFdvV1VsQlNrcGFXNWJBWEF1cm82cGZvREFCYUxSVW51Um84ZWpZTUhEMkw5K3ZWNDk5MTNBUUNIRGgzQzY2Ky9qdkR3Y015Wk13ZVRKazNDMHFWTGNmSGlSZXpidHcvdnYvOCtubnZ1T1FEQWpCa3pXaDJyc3JJU24zLytPUW9LQ2pCLy9ueGtaMmUzV2tpaXRyWVc3N3p6RHBZdlg2NVVzZjc2MTc5aTVjcVYrT2FiYnhBUUVBQUFxS21wVVJiVnFLNnVSbUJnWUx2VnFxS2lJb1NHaGlJMk5yWTczcTZiVWxGUkFVbVNrSnViaTdxNk9tZHpOZWY4YzVWS3RiYWdvTUNaWlFrQVdFWkdCcXVxcWhJc0Znc2JPblNvWUxWYVdWMWRuZUJ3T0ZoZ1lDQ3pXQ3lDdytGZ3ZyNitnc1BoWUhhN1hYQTRITXpIeDBlUVpabkpzc3djRG9mZzQrUERHaHNiQmM0NTgvTHlFbVJaWnB4ejVuQTRCQzh2THliTHNzQTVaeXFWU3VDY0s0L1ZhdlVOOXdGZ2dpQUluSFBXOHQrY2M0RnozcXFQY3k0SWduQmRIK2ZjdVorMm51ZDhyR3pIR0JPYys3djJHTzMwdlFINlBpT0VFT0ptOUVWRVNEZHJua3cvUDNueTVKY3RGc3VEakxITXVycTZLZG5aMmNqT3pvWldxNFVvaWtoTVRPelJWUUV2WExpQW9VT0hLby9OWnJPU2FFVkZSZUdERHo1QWNuSXl0Rm90N0hZN1Jvd1lnWlVyVjJMTW1ERUlDUW1CV3ExdTlkejgvSHdsc1dycDVNbVRXTHg0TVI1NzdERzgrdXFyOFBiMnZtNmIwNmRQdzJxMXRxb3NUWmt5QlgvLys5OGh5ektDZzRQaDcrK1Bzckl5QkFjSEF3REt5c293Zm56NzZ6OU1uRGdSZDk5OTk0Mi9NYmVvdlZVQkFmeVRjNTZsMFdnMnRiRXFJQWZBczdPekFjRGhxbGc5aFY2dmY4UGRNUkJDQ0NHVVdCSFNRNW9uMTE4QStFS24wMFV5eGhZQmVMeTB0UFMyMHRKU3JGNjlXcWxpaFllSGQvdnhLeXNyRVJvYUNwdk5CbTl2Ynh3NGNBQjMzSEVIQUVDajBjQm1zMkh4NHNVQWdMZmVlZ3VKaVlsSVNFaUFMTXM0ZnZ3NFRwdzRnYWxUcHdJQWZ2amhCMXk1Y2dWNWVYbElTa3BxZFp4aHc0Wmg2OWF0YlNaVVRxTkdqVUpBUUFEV3JWdUhwNTkrR2xhckZYLy8rOStoMSt1Vml0VHMyYk94WWNNR3hNVEV3R3cyUTVJa0xGKyt2TVBYVjFKU2drY2ZmZlNXM3FldUtpOHZWNnBUMTl6SDZqUE8rVnE2anhVaGhCRGkyV2dSQXc5Q2kxZTRYM3g4dk1ac05xY0R5QVR3ZjV6dEVSRVJTRTlQeDh5Wk03dXRpdlhHRzI5Zy9QangrT21ubi9ERER6OUFvOUZneFlvVkNBa0p3Y0tGQ3pGaXhBaWtwNmRqOXV6WitPMXZmNHZrNUdSczNyd1pwMDZkUWtoSUNPTGk0dkRNTTg4Z096c2JuMzMyR2Y3NHh6OGlPenNibHk1ZHd0TlBQNjNja0hmcjFxMTQrKzIzMjR4aHo1NDl5dUlaQnc4ZXhEdnZ2SU9LaWdvTUdEQUFreVpOd3U5Ly8zc01HVElFQUdDMVdyRnk1VXJzM2JzWC92NytXTGh3SVI1ODhNRjJYOS82OWV1Um01dUxUWnMyZGN2NzFaYjYrbnJrNWVWQmtpUWNPblNvWmRjL0FHUUZCQVJzenMvUHQvUllBS1JMNkc4YklZUVFRbHlLbGx2dlhRd0dRN2pCWUZpdDAra3VPVCtiS1ZPbThEZmZmSk9YbFpYZDZJcmZyZFRVMVBENCtIaCs2ZElsempubmRydWRjODc1NmRPbmVXcHFLdCsrZlR1dnFxcmlxYW1wdkxpNG1DY21KdktMRnkveTh2SnlaZG55blR0MzhvY2ZmcGpQbnorZkh6cDBTTmwzZm40K1QwNU81bXZYcnIybEdIdXowdEpTdm1MRkNuN3Z2ZmUyWERiOW9zRmdXRzB3R0xxL3ZFaHVDZjF0STRRUTBodlFyM3NlaEg3VjdaM2k0K00xTlRVMWFRQXlHV1B4enZidzhIQ0lvb2lrcENSbFFZZXVLaW9xUWs1T0RwWXVYZHFxdmJpNEdBY1BIc1Fqanp3Q0FQaisrKy94cHovOUNiLzYxYSt1WFNJY1I0NGNRVjFkSGFLam82L2J2OWxzeHRHalJ4RVZGWFZEY2ZWbWRYVjF5TTNOaFNSSnFLaW9VTm81NS9rQXNnWU5HclNGcWxPOUUvMXRJNFFRMGh2UWw1QUhvY2xIN3hjYkd4c215L0pDQUU4QXVCMEFmSDE5TVhQbVRJaWlpTWpJeUE2WElHL0o0WEJBcGVwMFZXK1B4amxIV1ZrWkpFbENYbDRlTEJZbGI3b0k0Rk5CRU5ZVkZCUlVkTEFMMGd2UTN6WkNDQ0c5QVgwSmVSQ2FmUFFkWThlTzlRa0lDSGdBVGRkaTNlOXNEd3NMVTZwWTE5NzRsM1RkMWF0WGxlclV6ei8vM0xKckg0QXNzOW04OWNpUkkxWTNoVWR1RVAxdEk0UVEwaHZRbDVBSG9jbEgzeFFURXpOT0VJU0ZBQllBR0FvMHJlcm5yR0pwdGRvdVY3RThHZWNjSlNVbGtDUUp1M2Z2YmxtZHVnRGdFMW1XMXhVVkZSMTJZNGlrQzhhT0hldHoyMjIzM2RheXplRnduQUVBbFVwMVI4djJLMWV1WEtFRW1SQkNpS3ZRYk15RFVHTFZ0Mm0xV20rTlJqT1hjNTRKSU1IWlBtN2NPSWlpaU9UazVGWTNCQ1pOYW10cmxlclU0Y090OHFadkdXTlpGb3ZsbTlMU1VwdTc0aU0zSmk0dWJyakQ0VGlOenIrL1pKVktOV0wvL3YxblhSRVhJWVFRUWhOc0QwS0pWZjloTUJqR0FGakVPVjhBWUJnQStQajRJREV4RWFJb1lzS0VDUjVkeGVLYzQrREJnMHAxeW1wVmloYm5PZWNiQkVGWVp6UWFLOTBaSTdsNWVyMCtIOEMwVGpiNzNtUXl4ZmQ4TklRUVFrZ1R6NTE1ZVNCS3JQb2ZyVmJyN2UzdFBhZjU1c09KenZZeFk4WkFGRVdrcEtRZ0lDREFqUkc2bHRsc1JrNU9EaVJKUW1WbHE3eHBOK2M4eTJhemJhZnFWTituMCtrV004YmU3MlN6eFNhVDZiOWRFaEFoaEJBQ1NxdzhDaVZXL1Z0Y1hGeG9ZMlBqUWdCUE1zYUNBTURiMjF1cFlrVkZSZlhMS2hibkhBY09IRkNxVXphYmtqZWRCYkJCcFZLdDM3OS9mNVViUXlUZExEbzZlb1JLcFRyWjBUWU9oMk5rY1hIeEtWZkZSQWdoaFBTL1dSWnBGeVZXbnNGZ01IaHh6bWNEV0FSZ0pwci9QdzhORFlVb2lraE5UZTBYVlN5ejJZeWRPM2RDa2lSVVZTbDVFd2V3QzBBV1kyeUgwV2kwdXk5QzBwUDBldjIvQUV4cXAvdGZKcFBwVjY2TWh4QkNDS0VKdGdlaHhNcnp4TVRFM05tOG91Q1RBTzRBbXFwWUNRa0pFRVVSTVRFeGZhcUt4VGxIVVZFUkpFbkN0OTkrMjdJNmRZWXh0dDdoY0t3dktpbzY2c1lRaVlzWURJYmZjODdmYWF1UE1mWjdvOUc0MnRVeEVVSUk4V3g5WjBaRmJoa2xWcDdMWURCNEFVaVZaWGtSWXl3WnpmL3YzM25ublJCRkViTm16Y0tnUVlQY0cyUUhhbXBxc0dQSERraVNoS05IanpxYk9lYzhsM09lRlJnWXVETS9QNy9SalNFU0Y0dUtpcnBMclZhM2VZcG5ZMk5qNklFREIzNXhkVXlFRUVJOEcwMndQUWdsVmdRQWREcmRhQUJQTWNhZUFoQU1BRjVlWHBnK2ZUcEVVWVJlcis4VlZTek9PVXdtRXlSSnd0NjllMkczSzJmMW5lS2Nyd2V3b2JDdzhKZ2JReVJ1cHRmclRRQjAxelNiVENhVHdSM3hFRUlJOFd4cWR3ZEFDSEd0NW1Ua0QvSHg4Y3RyYW1wU0dHT1pkcnM5T1M4dlQ4akx5OFBvMGFPVktsWmdZS0RMNDZ1dXJsYXFVOGVPS1htVERDQUhRRlpBUUVBdVZhZElzODI0UHJIYTdJNUFDQ0dFRVBmL0xFMWNoaXBXcEQwR2cyRVU1L3hKeHRoVG5QT1JRRk1WNi83Nzc0Y29pakFZREQxYXhlS2N3MmcwUXBJazdOdTNUNmxPTWNaT2NzN1hxVlNxRGZ2Mzd6L1JZd0dRUHNsZ01JUnp6ZysxYkJNRUlieWdvS0RDWFRFUlFnanhYRFRCOWlDVVdKSE94TWZIcTgxbWN4S0FUQUNwQUFRQUdEVnFGTkxTMGpCcjFpd01Iank0MjQ1MytmSmw3Tml4QTF1MmJNSHg0OGVkelRLQUhZeXhyTkRRMEx6czdHeEh0eDJROUR0NnZiNFVRQ1FBTU1aS2pVYmplRGVIUkFnaHhFUFJCTnVEVUdKRmJrUlVWTlJJTHkrdkp6bm5Dd0dFQUlCYXJjWjk5OTBIVVJRUkd4c0xRUkJ1ZUwreUxLT2dvQUNTSk9HNzc3NURZNk55VnQ5eHh0ZzZ1OTMreVlFREJ6cThSeEVoVGpxZGJqbGo3RFVBNEp3dkx5d3MvS083WXlLRUVPS1phSUx0UVNpeElqY2pJeU5EOWNzdnY4emtuR2R5em1jQlVBSEF5SkVqa1phV2hqbHo1blNwaW5YNThtVnMyN1lOVzdac3djbVRTdDdrQUxDZGM1NDFkdXpZM1ZTZElqZEtwOU5GTThhS21oOUdtMHltQTI0TmlCQkNpTWVpQ2JZSG9jU0szS3JvNk9nUmdpQXNZSXd0QWpBS2FLcGl4Y2ZIUXhSRnhNWEZ0YXBpeWJLTS9mdjNLOVVwaDBQSm00NXh6dGVoYVdXLzB5NS9JYVEvWVhxOS9qQUFiaktaN2tiVFRhSUpJWVFRbDZNSnRnZWh4SXAwbDR5TURGVmxaZVVNTkYyTE5RZk5WYXdSSTBZZ0xTME52L3JWci9Eamp6OWl5NVl0T0hYcWxQTnBEZ0RiQUdTTkdUTm1EMVduU0hmUjYvVnZNOGE0MFdoODJkMnhFRUlJOFZ3MHdmWWdsRmlSbm1Bd0dPN2duQzhBc0FqQW5XMXNjaFRBV3NiWUowYWo4WXdyWXlQOW5xRFg2MmR3enI5a2pBMEdZQWJ3a01sazJvT21SVkFJSVlRUWw2RUp0Z2VoeElyME1NRmdNQ1J3empNQkpBUElaWXhsR1kzR2IwR1RYTktOZERwZE1HTnNBWUNGYUQrWlg4Y1kyMERKUENHRUVGZWhDYllIb2NTS3VBcU5OZExkTWpJeVZFZU9IRWxrakdVQ21JMFdwNStLb3FpY2ZpcEowcldubjlMaUtJUVFRbHlDSmowZWhDYTd4RlZvckpIdUVoMGRQVUt0Vmp1WC9iK1ZCVk9PTThiV05UWTJiaWd1TGo1MS9aRUlJWVNRVzBPVEhnOUNrMTNpS2pUV3lLM0l5TWhRVlZWVkpUV2ZWam9MelRlcURna0pRVnBhR21iUG50M2xKZjYzYjk4T1NaSmFMZkhQR052QkdNdTY2NjY3ZGxFVml4QkNTSGVoU1k4SG9ja3VjUlVhYStSbXhNWEZoVGdjamljQlBJVVdONlcrLy83N0lZb2lEQWJEVGQrVTJtZzBRcElrN051M3IrVk5xVTgwMzVSNkE5MlVtaEJDeUsyaVNZOEhvY2t1Y1JVYWE2U3I0dVBqMVdhek9SbE5TL2Vub0xrNk5XclVLSWlpaUZtelp1RzIyMjdydHVOZHVYSUZPM2JzZ0NSSk9INzh1TE5aQnJBVFFGWkFRRUJlZm41K1kvdDdJSVFRUXRwR2t4NFBRcE5kNGlvMDFraG5EQWJES0ZtV24yS01QUVZnQkFCNGVYbGgrdlRwRUVVUmVyMGVqUFhjOE9HY3cyUXlRWklrN04yN0YzYTdIUURBR0R2Sk9WL2Z2S0xnOFU1MlF3Z2hoQ2hvMHVOQmFMSkxYSVhHR21sTGZIeTh1cnE2T3BVeGxza1lTMGJ6ZDlEbzBhT1Y2bFJnWUtETDQ2cXVybGFxV01lT0hYTTJ5d0J5T2VkWmd3WU55cUVxRmlHRWtNN1FwTWVEMEdTWHVBcU5OZEtTVHFjYkxRakNRczc1a3dDQ0FjRGIyMXVwVHVsMHVoNnRUblVWNXh5RmhZVktGY3Rtc3ptN1RuUE8xd05ZWDFoWWVLeURYWkJyREJ3NE1NSGIyenZveXBVcmY3K21TNFhXY3hCS1hBa2hmWjc3djhtSXk5QmtsN2dLalRWaU1CaThPT2V6QUN3Q2tJVG03NXU3N3JvTG9pZ2lOVFVWZ3dZTmNtdU1IYW1wcWNIT25UdXhlZk5tSEQxNjFObk1BZVF4eHJJQTdEUWFqWGEzQmRoSGhJU0VmRmhmWC8vVHlKRWozN1BiN1NjQndNdkxhMHhkWGQxM2FyVTZHQUI4ZlgwakN3c0x2ZDBiS1NHRTNEcWE5SGdRbXV3U1Y2R3g1cm1pb3FMdVVxdlZDd0U4Q1dBNDBGU2RtakZqQmtSUlJIUjBkSytvVG5VVjV4ekZ4Y1dRSkFsNzl1eHBXY1U2QTJDRExNdnJpb3FLanJvdndsNk5qUjgvL3BlU2twS0owZEhSRmNYRnhZRUFNR0hDaEpNSER4NGM2ZHpvMnNlRUVOSlhxZDBkQUNHRWtMN05ZREI0eWJJOGh6RzJDRUFpbW4rMEN3ME5SWHA2T2xKU1VoQVFFT0RlSUc4U1l3d3hNVEdJaVluQjczLy9lK1RrNUdEejVzMm9xcXE2QThDcmdpQXMxZXYxdXdGa01jYTJVeFhyZi9uNStVMWxqS2tCbkhOM0xJUVE0Z3FVV0JGQ0NMa3BjWEZ4b1kyTmpZdGtXVjdBR0FzQ21xcFRpWW1KRUVVUlVWRlJmYW82MVptQWdBRE1temNQdi83MXIzSGd3QUZJa29UZHUzY3ptODAyRThCTVdaYlA2WFM2RFdxMWV0MysvZnVyM0IydnV3MGJOdXk1bG8vRHc4T0xBRUFRaENGaFlXRS9Nc1lHQUlCYXJSN21qdmdJSWFTN1VXSkZDQ0dreTdSYXJiZEdvNWtyeS9JaWg4TXh3NWs0alJrekJ1bnA2VWhPVHU2ejFhbXVZb3doT2pvYTBkSFJXTEprQ1hKemM3RjU4MlpVVmxZR0FYakY0WEM4b3RQcDlnRElzdGxzMjBwTFMyMmQ3Yk8vR1Rod1lOVEFnUU1ubyttNk5BQkFlWGw1REFBRUJBVE1OSnZOdTV6dGd3Y1B6bkJEaUlRUTB1MzZ6MCtKcEZOMDNRdHhGUnByL1k5ZXJ4K0xwb1VvRmdBWUNnQStQajZZT1hNbVJGSEUrUEhqKzFWMTZrWnh6bEZTVWdKSmtyQnIxeTVZclZabjEzbkcyQ2VjODNVbWsrbUlPMk4wcGNHREJ6L0pHR3NNRGc3K3I0TUhENDZNam82dWRpNWVZVGFiOTk1KysrMVBXaXlXU2dEdzlmVU5QMzM2OUN2bnpwMzdxM3VqSm9TUVcwTVZLMElJSVczU2FyWGVQajQrRHdESUJERGQyVDV1M0Rpa3A2Y2pLU2tKL3Y3KzdndXdGMkdNWWNLRUNaZ3dZUUplZU9FRjVPWGxZZlBtelRoOCtQQXd6dmxMQUY3UzYvVjdBV1JacmRhdC9iMktkZm55NVM4QldJS0RnLy9MMlZaV1ZqYmUrVytOUmpQK3lKRWpTUUNFbUppWXkyYXorVi91aUpNUVFyb1RKVlo5VkZoWVdINUZSVVc4dStNZ2hQUS8wZEhSZDZ0VXFvVUFua0J6ZFVxajBTQXBLUW1pS0NJeU10S2pxMU9kOGZmM1IwWkdCaDU4OEVHVWxwWXFWU3lMeFRJZHdIUWZINThMZXIzK1UxbVcxeFlWRlIxMmQ3dzl4TkpSWjBORHcwLysvdjR6MVdxMW45VnEvYm1ob2VIL3VTb3dRZ2pwS2ZUTjJBZEVSa2FXWE51bTBXaTBGb3VsOU5wMldaYXQ1ZVhsaHJiMlE2ZG5FVmVoc2RiM2pCMDcxc2ZmM3orTk1aWUo0RDVuZTFoWUdFUlJSSEp5TWdZT0hPakdDUHUycTFldklpOHZENUlrb2FLaW9tWFhkNXp6ck5yYTJpMUhqaHl4dHZmOHZzcTVsSHJMVXdGdE50dXBFeWRPUEh2WFhYZDlxVktwL0k4ZlA3Nnd0cmIybis2T2xSQkNiaFZWclBxQWxxZFBPT24xZXQ1V095R0UzSWpZMk5nd2g4T3hpREgyQklBaEFPRHI2NnRVcHlJaUlxZzYxUTM4L1B6dzRJTVBJajA5SFdWbFpVb1ZxNkdoNFQ3RzJIMEJBUUdYZERyZHB5cVZhbTFCUVVGRjUzdnNlNjc1enZKWHFWU0JEb2VqdXJhMnRzaHRRUkZDU0RlaWI4cytRcWZUV1JvYUdzcmI2eDh3WUVDVXlXUVNPdG9IVlJHSXE5Qlk2OTNpNCtNMXRiVzFJdWM4RThBMFozdEVSQVJFVVVSU1VoSUdEQmpneGdnOVExMWRuVkxGS2k5djllZjllOFpZbHIrL3Y1U2ZuOS9oS1hXOVhjdUtWZk1OZ3BtL3YzOXFTRWpJT3hjdlhseXJVcWtHREJreVpOR0ZDeGZlUFhmdTNEb0F0ZTZPbVJCQ2JoWlZyUHFXUm5jSFFBanB1L1I2ZlFTQVJUVTFOWTh6eGdZRHdJQUJBNUNjbkl5MHREUkVSRVQweUhFZERnZXFxNnN4Wk1nUTJPMTJlSGw1OWNoeCtwcUJBd2NpUFQwZDZlbnBPSFRvRUNSSlFsNWVIdXJyNjZkeHpxZlYxTlJjMXV2MW53RllhektaRHJrNzNwdGhzVmpLQWFDK3ZyNnd1Y252OXR0dmYrU1hYMzVaNEx5dTZ0S2xTOUt3WWNNZVJ5ZlhaUkZDU0c5SHZ5YjNFVHFkemxKWVdLaTUyWDZBcWdqRWRXaXM5UjZUSjAvMnRWcXQ2V2hhMlcrcXN6MHlNaExwNmVsSVRFenM4ZXJVMGFOSDhidmYvUTVidG16Qlk0ODlobm56NXVHQkJ4NVErb3VMaTZGU3FUQitmT3V6bTdPeXNwQ1ptZG1qc2ZVMjlmWDEyTFZyRnlSSlFsbFpXY3V1SHdCaytmajRiUDdYdi83VjRLYndDQ0dFZElBcVZuMUllSGg0UVh0OWpERnZWOFpDQ09uZG9xT2p0U3FWYXBIVmFuME13RzFBVTNVcUpTVUZvaWdpTEN6TVpiRm9OQnJJc2d4dmIyOTgrT0dIV0wxNk5SSVNFdURuNXdkWmxyRnk1VW9zWDc0Y0FQRHd3dzhyenp0eTVBaSsrKzQ3NWZIY3VYTXhiOTY4TGgvWFlMaCtIWitBZ0FCbG43SXM0NzMzM3NPMmJkdkFPWWNvaWxpOGVIR2IxNVI5OWRWWCtQTExMM0gyN0ZtTUhqMGFMNzc0SXU2NTU1NHV4OUpWQXdZTVFGcGFHdExTMGxCZVhvNHRXN1lnSnljSDlmWDFVd0ZNdFZxdDcrdjErczg1NTFtRmhZVmxuZTZRRUVLSXk5Q3Z5WDBFVmF4SVgwSmp6VDBtVDU3c2E3RllNZ0JrTXNidWRiWnJ0VnFrcDZkanhvd1pQVnFka21VWjk5MTMzM1h0bkhQVTE5ZGZ0NnJnMTE5L2pZS0NBaFFYRjJQcDBxWDQ2YWVmTUduU0pLVi8yclJwK1A3Nzc2L2IzOVdyVjFGWFY0ZWdvS0FiaXU5UGYvb1RBT0RsbDE4R0FIejY2YWZZdm4wNzFxeFpnL3I2ZW1SbVp1TFpaNTl0VlUxeit2REREM0gvL2ZjaktDZ0lYMy85TlRadTNJamR1M2ZEeDhmbmhtSzRHZlgxOWRpOWV6Y2tTVUpwNmY4dUJzczUveDhBV1JxTkpwdXFXSVFRNG41VXNlcERxR0pGQ0dsTGJHenNlTTU1cHRWcWZaUXhGZ2cwWGIrVG1wcUt0TFEwM0gzMzNTNkpnM09PcTFldndtZzB0bXB2YUdqQTlPblRyMHVTYW1wcXNISGpSbno4OGNmWXRXc1h0bTNiaHNiR1JxeFpzd1pBVTBMUnNvTDErZWVmdzh2TEMvWDE5WGowMFVjeGUvWnNMRml3QUg1K2ZwM0daclBac0d2WEx2ejNmLyszMHBhZG5ZMW5ubmtHdzRjUEJ3Q2twYVZoNTg2ZGJTWld2LzN0YjVWL1AvSEVFMWk3ZGkwdVg3Nk1PKzY0b3d2dnpLMFpNR0FBSG5qZ0FUend3QU9vcUtoUXFsaDFkWFgzQXJqWGFyVytaekFZdm1DTVpSVVVGRngzZXc1Q0NDR3VRWWxWTHpkNDhPQ0hoZzhmL2dmR21MY2dDQjFXcEp6M3U2SmwyQW54REhxOVBnMkFKTXV5MGpaaHdnU2twNmNqSVNFQnZyNis3Z3V1QlkxR0E3dmREbG1XSVFnQzh2UHpFUkVSZ2R6Y1hKdzdkdzRMRnk1RWRYVTFObXpZZ09EZ1lFeVpNZ1ZBVThWcTQ4YU4xKzF2MkxCaDJMUnBFelpzMklDTWpBdzg4c2dqeU1qSWdMZDMrNzh2NWVmblkralFvZEJxdFFDQVM1Y3U0ZXpaczVnd1lZS3lUV1JrSkxLenN6dDlQVC85OUJPR0R4OSt3eFd6N2hBV0ZvYVhYMzRaenovL1BQYnMyUU5Ka25EdzRNRkF6dmxpenZsaXZWNFBBS0xKWk5yaTh1QUlJY1REMFdrNmZRZno5L2RQRFFvS2V1N01tVE12MXRYVkZRTVlQRzdjdU0yMXRiWGYxZGJXYnF1cnErdndYaUIwZWhaeEZScHJycUhYNjY4Q1VNNnZlL1BOTjVHY25PeTJlQndPQis2NTU1N3JLa2g3OXV4QlNrb0t2djc2YS9qNStTRXBLUWtmZmZRUlJvNGNDYnZkam84KytnaVJrWkVJRGc3RzZ0V3JPenpHdFluV3VYUG44UEhISDhOb05HTHg0c1ZJU0VobzgzbS8rOTN2TUduU0pEejY2S01BZ0lxS0NzeWZQeC81K2ZudzkvY0hBQlFXRm1MaHdvWFl2MzgvQktIdHUxY1lqVWE4OHNvcmVPdXR0OXE4aHNzZGNuSnk4TnBycjdWc3FzUC9qZ3NaQU8vS2Z6bm5uREVtQStDY2M1a3h4cDE5akRIT09aY0JjTWFZekRsdmN4K2RiTmVWNDNVWVYyZkhrMlc1elgyMnMxMlg5dUZzWjR4eHVlbFhqSDhVRmhidTdZN1BqaERTdjFERnFnOElDZ3A2NWZiYmIzL1NhclZXblQ5Ly9xOTFkWFVIbXJzdUh6dDI3SmtoUTRha2p4bzE2ak9WU3VWLzhlTEZUODZlUGJ2Q3JRRVRRbHpsVVFDYjBmd2oyYkpseS9EVlYxOHAxMU81dW1MbGNEamc0K09qblBJbnl6SW1UcHdJYjI5dkJBVUY0ZXpac3poMDZCQWlJaUtVeFROeWMzTlJXMXVMT1hQbVFKWmxiTnk0RVE4OTlOQjErdzRNREVSV1ZsYWJ4L1h6OHdQbkhEVTFOVzMybnp0M0RrYWpVVmtnd3hrcmdGWUpsQ0FJSGQ0TStjS0ZDMWl5WkFsV3JWcmw5cVNxb2FGQnVlNnFwS1RWMlg4Y1RlTkNhbjdzZklHcXp2Ylo4clZmK3o0MDVVZlgvL3RhWGQydXMrTzF0MTFueDJ0dm54MXRkeVA3WUl5Qk1YWVNRRWk3UVJGQ1BCWWxWbjFBWTJQanljckt5Z1NMeFhMczJqNmJ6VlorNXN5WmxXZk9uRm5wN2UydDFXZzBJOTBSSXlIRTlacFA5eEppWTJQSE94eU9SWXl4eDBwS1NnSkxTa3F3YXRVcXBLU2tJQzB0eldVckFOYlYxU25WSHdDd1dDeEtjamQ2OUdnY1BIZ1E2OWV2eDd2dnZnc0FPSFRvRUY1Ly9YV0VoNGRqenB3NW1EUnBFcFl1WFlxTEZ5OWkzNzU5ZVAvOTkvSGNjODhCQUdiTW1OSHFXSldWbGZqODg4OVJVRkNBK2ZQbkl6czd1OTJGSkhiczJJR0pFeWRpeUpBaFNsdEFRQUNBcHV1OG5JdHFWRmRYSXpBd3NOMXFWVkZSRVVKRFF4RWJHM3N6YjArM3FLaW9nQ1JKeU0zTlJWMWRuYk81bW5QK3VVcWxXdHZpR2lzQkFNdkl5R0JWVlZXQ3hXSmhRNGNPRmF4V0s2dXJxeE1jRGdmejgvTVRHaHNibWMxbUUvejgvSmpOWmhOa1dXYmUzdDZDTE11c3NiRlJrR1daY2M2Wmw1ZVhJTXN5Y3pnY2dvK1BEM000SElJc3kweXRWZ3VjY3liTDhuV1AxV28xazJWWjRKd3psVW9sY001WlIzMnlMQXNBbUNBSXptMEZsVXFsdE11eUxLaFVLc1k1RnpqbkRBQmpqQWtBR09kY0VBUkI2V3U1ai9hMmEzN2NhdHVXZlMyZjAzeThZTWJZTTdJczA0M1lDQ0Z0b3NTcUQ3aDA2ZElYWGRuT1pyT1YybXkyMHM2M0pJVDBKODJUNmVjblQ1Nzhzc1ZpZVpBeGxsbFhWemNsT3pzYjJkblowR3ExRUVXeHgrOVpkZUhDQlF3ZE9sUjViRGFibFVRcktpb0tIM3p3QVpLVGs2SFZhbUczMnpGaXhBaXNYTGtTWThhTVFVaElDTlJxZGF2bjV1Zm5LNGxWU3lkUG5zVGl4WXZ4MkdPUDRkVlhYKzN3MmlvQTJMNTlPNTU5OXRsV2JjSEJ3ZkQzOTBkWldSbUNnNE1CQUdWbFpkZmRTNnVsaVJNbnVtd2hrSmJhV3hVUXdEODU1MWthaldaVEc2c0NjZ0M4K1pveGg2dGk3Yy9pNHVLR094eU9aOXdkQnlHazk2TEVpaEJDK29ubXlmVVhBTDdRNlhTUmpMRkZBQjR2TFMyOXJiUzBGS3RYcjFhcVdPSGg0ZDErL01yS1NvU0doc0ptczhIYjJ4c0hEaHhRVnMzVGFEU3cyV3hZdkhneEFPQ3R0OTVDWW1JaUVoSVNJTXN5amg4L2poTW5UbURxMUtaN0dQL3d3dys0Y3VVSzh2THlrSlNVMU9vNHc0WU53OWF0V3p0TnFBREFaREtocHFZRzA2Wk5hOVV1Q0FKbXo1Nk5EUnMySUNZbUJtYXpHWklrdFRwZHNLM1hWMUpTb2x5bjFkUEt5OHVWNmxSOWZiMnorUXFBenpqbmEraytWb1FRMHJ0UVlrVUlJZjFRODZUN1ArUGo0MTh4bTgzcEFETHI2K3YvejZaTm03QnAweVpFUkVRZ1BUMGRNMmZPN0xZcTFyLy8vVzlFUjBkajJiSmwrT0dISDZEUmFMQml4UW9jTzNZTWE5YXNnVmFyeFQvKzhRL01uajBiWjgrZXhZVUxGL0RFRTAvZzFLbFRDQWtKUVZ4Y0hLWk9uWXBubm5rR2YvdmIzL0RuUC84WnpxcmJ5cFVybGVQazVPVGc3YmZmYmpPR1BYdjJ0Rm84WTl1MmJVaEtTb0tYMS9WbmJ6Mzc3TE5ZdVhJbDVzNmRDMzkvZnp6OTlOT1lQSGx5dTYvUFpESWhOemUzUnhPcit2cDY1T1hsUVpJa0hEcDBxR1hYUHdCa0JRUUViTTdQejdmMFdBQ0VFRUlJNlp4ZXIrZk8xZG9JNlVrMDFub25nOEVRYmpBWVZ1dDB1a3ZPejJqS2xDbjh6VGZmNUdWbFpmeFcxTlRVOFBqNGVIN3AwaVhPT2VkMnU1MXp6dm5wMDZkNWFtb3EzNzU5TzYrcXF1S3BxYW04dUxpWUp5WW04b3NYTC9MeThuTHVjRGc0NTV6djNMbVRQL3p3dzN6Ky9QbjgwS0ZEeXI3ejgvTjVjbkl5WDd0MjdTM0YySnVWbHBieUZTdFc4SHZ2dlpjN1B4dTlYbi9SWURDc05oZ00zVjllSkRjc0xpNXV1RjZ2NXpxZDdxeTdZeUdFOUU1VXNTS0VFQTloTkJyTEFTeUpqNDkvdGFhbUpnMU5WYXg0U1pJZ1NSTEN3OE1oaWlLU2twS1VCUjI2cXFxcUNqTm16TURnd1lNQlFMbGU2dno1ODVnM2J4NW16Wm9GQUhqeHhSZngwa3N2WWNxVUtSZ3laRWlyQlNYdXZ2dHV2UFRTUzRpT2ptNjE3Mm5UcGtHbjArSG8wYU0zL2RwN283cTZPdVRtNWtLU0pGUlVWQ2p0blBOOEFGbURCZzNhUXRVcFFnanBPK2dlTXg2RTdpMlpNU1E4QUFBZ0FFbEVRVlJFWElYR1d0OFJHeHNiSnN2eVFnQlBBTGdkQUh4OWZURno1a3lJb29qSXlNZ09sN3R1eWVGd1FLWHFkRlZ2ajhZNVIxbFpHU1JKUWw1ZUhpd1dKVys2Q09CVFFSRFdGUlFVVkhTd0MrSW16WXRYbk9HY255c3NMQnp1N25nSUliMFBWYXdJSWNTRE5VL2lYeHc3ZHV5eWdJQ0FCd0JrTmpRMDNMOTE2MVpzM2JvVllXRmhTaFhyMmh2L1hvdVNxdlpkdlhwVnFVNzkvUFBQTGJ2MkFjZ3ltODFianh3NVluVlRlSVFRUXJvQi9acnNRYWlLUUZ5RnhscmZGaE1UTTA0UWhJVUFGZ0FZQ2pTdDZ1ZXNZbW0xMmk1WHNUd1o1eHdsSlNXUUpBbTdkKzl1V1oyNkFPQVRXWmJYRlJVVkhYWmppS1FEa3lkUDltMXNiQnprZkN3SXdqQzczVjRNNElKS3BZcHF1YTBzeTVlTVJxUGQ1VUVTUW5vVittYjBJRFRaSmE1Q1k2MS8wR3ExM2hxTlppN25QQk5BZ3JOOTNMaHhFRVVSeWNuSnJXNElUSnJVMXRZcTFhbkRoMXZsVGQ4eXhySXNGc3MzcGFXbE5uZkZSN29tT2pwYXExS3BTanJmRXZXTXNhRkdvN0crODAwSklmMFpUWG84Q0UxMmlhdlFXT3QvREFiREdBQ0xPT2NMQUF3REFCOGZIeVFtSmtJVVJVeVlNTUdqcTFpY2N4dzhlRkNwVGxtdHlsbDk1em5uR3dSQldHYzBHaXZkR1NPNVlVeXYxeDhDRU5iaFJveHRNaHFOR1M2S2lSRFNpOUUxVm9RUVFqclZuQlM4ck5WcS8rRHQ3VDJITWJiSWFyVW1idCsrSGR1M2I4ZVlNV01naWlKU1VsSVFFQkRnN25CZHhtdzJJeWNuQjVJa29iS3lWZDYwbTNPZVpiUFp0bE4xcXMvaUFEWURXTnJSUnJJc2IzWk5PSVNRM3M1emYxNzBRRlJGSUs1Q1k4MHp4TVhGaFRZMk5pNEU4Q1JqTEFnQXZMMjlsU3BXVkZSVXY2eGljYzV4NE1BQnBUcGxzeWw1MDFrQUcxUXExZnI5Ky9kWHVURkUwazBNQm9PZWMyN3NZQk9ycjYvdjBQLzVuLytwZFZsUWhKQmVxLzk5NDVGMjBXU1h1QXFOTmM5aU1CaThPT2V6QVN3Q01CUE4zeTJob2FFUVJSR3BxYW45b29wbE5wdXhjK2RPU0pLRXFpb2xiK0lBZGdISVlvenRvQVVNK2gybTErdXJBTnpaVHY4Mms4azAxNFh4RUVKNk1acjBlQkNhN0JKWG9iSG11V0ppWXU1c1hsSHdTUUIzQUUxVnJJU0VCSWlpaUppWW1ENVZ4ZUtjbzZpb0NKSWs0ZHR2djIxWm5UckRHRnZ2Y0RqV0Z4VVZIWFZqaUtTSDZYUzZWWXl4SlczMWNjNGZMeXdzL056Vk1SRkNlcWUrOCsxR2JobE5kb21yMEZnakJvUEJDMENxTE11TEdHUEphUDYrdWZQT095R0tJbWJObW9WQmd3WjF2Qk0zcXFtcHdZNGRPeUJKRW80ZVBlcHM1cHp6WE01NVZtQmc0TTc4L1B4R040WklYRVNuMDAxbWpQM1lScGZkYnJjSEhUeDQ4SXJMZ3lLRTlFbzA2ZkVnTk5rbHJrSmpqYlNrMCtsR0EzaUtNZllVZ0dBQThQTHl3dlRwMHlHS0l2UjZmYStvWW5IT1lUS1pJRWtTOXU3ZEM3dGRPYXZ2Rk9kOFBZQU5oWVdGeDl3WUluRVBRYS9YbjBEejJHMGh6MlF5SmJzaklFSkk3MFNyQWhKQ0NPbFJ6Y25JSCtMajQ1ZlgxTlNrTU1ZeTdYWjdjbDVlbnBDWGw0ZlJvMGNyVmF6QXdFQ1h4MWRkWGExVXA0NGRVL0ltR1VBT2dLeUFnSUJjcWs1NU5CbUFCT0RabG8yTU1Wb05rQkRTaXZ0L0lpUXVRMVVFNGlvMDFraG5EQWJES003NWs0eXhwempuSTRHbUt0Yjk5OThQVVJSaE1CaDZ0SXJGT1lmUmFJUWtTZGkzYjU5U25XS01uZVNjcjFPcFZCdjI3OTkvb3NjQ0lIMUtiR3hzdkN6TDM3Vm9jakRHaGh1TnhvdHVDNG9RMHV2UXBNZUQwR1NYdUFxTk5kSlY4Zkh4YXJQWm5BUWdFMEFxQUFFQVJvMGFoYlMwTk15YU5RdURCdy91dHVOZHZud1pPM2Jzd0pZdFczRDgrSEZuc3d4Z0IyTXNLelEwTkM4N085dlJiUWNrL1VKR1JvYXFzckx5SElBaHpVMzdUQ2JUZEhmR1JBanBmV2pTNDBGb3NrdGNoY1lhdVJsUlVWRWp2Ynk4bnVTY0x3UVFBZ0JxdFJyMzNYY2ZSRkZFYkd3c0JFRzQ0ZjNLc295Q2dnSklrb1R2dnZzT2pZM0tXWDNIR1dQcjdIYjdKd2NPSERqWmZhK0U5RWQ2dmY3L0EvQWJBR0NNL2M1b05IN281cEFJSWIwTVhXTkZDQ0drVjJoT2JwWm5aR1NzL09XWFgyWnl6ak1iR3h0bjdkbXpSN1Zueng2TUhEa1NhV2xwbUROblRwZXFXSmN2WDhhMmJkdXdaY3NXbkR5cDVFME9BTnM1NTFsang0N2RUZFVwMGxVT2gyT3pTcVg2VGZQRExXNE5oaERTSzlHdnlSNkVxZ2pFVldpc2tlNFNIUjA5UWhDRUJZeXhSUUJHQVUxVnJQajRlSWlpaUxpNHVGWlZMRm1Xc1gvL2ZxVTY1WEFvZWRNeHp2azZOSzNzZDlybEw0VDBlVnF0MXR2SHgrY2NnQktUeVRUVjNmRVFRbm9mbXZSNEVKcnNFbGVoc1VhNlcvTTFMalBRZEMzV0hBQXFBQmd4WWdUUzB0THdxMS85Q2ovKytDTzJiTm1DVTZkT09aL21BTEFOUU5hWU1XUDJVSFdLM0NxRHdmQVo1N3pRWkRLOTYrNVlDQ0c5RDAxNlBBaE5kb21yMEZnalBjbGdNTnpCT1Y4QVlCR0FPOXZZNUNpQXRZeXhUNHhHNHhsWHhrYjZKVUd2MTgvZ25IL0dHQXZpbkY5bGpEMW9NcG4yb0duaEUwSUlBVUNKbFVlaHlTNXhGUnByeEVVRWc4R1F3RG5QQkpBTUlKY3hsbVUwR3I4RlRYakpMZExwZE1HTXNRVUFGcUw5Qkg0ZFkyd0RKZkNFRUlBU0s0OUNrMTNpS2pUV2lDdlJlQ1BkSlNNalEzWGt5SkZFeGxnbWdObG9jY3FwS0lyS0thZVNKRjE3eWlrdGlFSUlvY1RLazlEa2c3Z0tqVFhpU2pUZXlLMktqbzRlb1Zhcm5VdjkzOG9pS2NjWlkrc2FHeHMzRkJjWG43citTSVNRL295V1d5ZUVFRUtJeDhuSXlGQlZWVlVsTlo5S09vdHpMZ0JBU0VnSTB0TFNNSHYyN0hhWDlSY0VBUk1uVHNURWlSTngrZkpsYk4rK0haSWs0ZVRKazZNNDU4dFZLdFVmRFFiRERzWlkxbDEzM2JXTHFsaUVlQWI2ZGMrRDBLKzY1R2FFaFlYbFYxUlV4Ti9JYzJpc0VWZWk4VVp1UkZ4Y1hJakQ0WGdTd0ZOb2NTUHErKysvSDZJb3dtQXczUFNOcUkxR0l5Ukp3cjU5KzFyZWlQcEU4NDJvTjlDTnFBbnAzNmhpUlFoUlJFWkdsbHpicHRGb3RHMjF5N0pzTFM4dk43Z21Na0lJdVhueDhmRnFzOW1jRENEVDRYQ2tBQkFBWU5Tb1VSQkZFYk5temNKdHQ5MTJTOGNRQkFGeGNYR0lpNHZEbFN0WHNHUEhEa2lTaE9QSGo0ZHd6dDlRcTlWLzFPdjFPd0ZrQlFRRTVPWG41emQydWxOQ1NKOUN2KzU1RVBwVmw5d012VjdQYjNUTTBGZ2pya1RqamJUSFlEQ01rbVg1S2NiWVV3QkdBSUNYbHhlbVQ1OE9VUlNoMSt2QldNOE5HODQ1VENZVEpFbkMzcjE3WWJmYkFRQ01zWk9jOC9YTkt3b2U3N0VBQ0NFdVJWOUNIb1FtSDZRcmREcWRwYUdob2J5OS9nRURCa1NaVEtZT3o1T2hzVVpjaWNZYmFTaytQbDVkWFYyZHloakxaSXdsbzNtdU0zcjBhS1U2RlJnWTZQSzRxcXVybFNyV3NXUEhuTTB5Z0Z6T2VkYWdRWU55cUlyVmZRWU9ISmpnN2UwZGRPWEtsYjlmMDZWQzYva3Z2ZWVrMjlDcGdJU1F0dEFYRFNHa1Q5SHBkS01GUVZob05wdWZGQVFoR0FDOHZiMlY2cFJPcCt2UjZsUm5BZ01EOGNnamorQTN2L2tOQ2dzTG5WVXN3V2F6cFRMR1VzMW04Mm1kVHJjZXdQckN3c0pqbmU2UWRHanc0TUZpZlgzOVQ5SFIwZFYydS8wa0FIaDVlWTJwcTZ2N1RxMVdCd09BcjY5dlpHRmhvYmQ3SXlYOUNTVldoSkRybEplWHg3YlhwOVBwTEs2TWhSQkMybU13R0x3NDU3TUFMQUtReERsbkFIRFhYWGRCRkVXa3BxWmkwS0JCN2czeUdvd3g2UFY2NlBWNnZQamlpOWk1Y3ljMmI5Nk1vMGVQQmpQR1hnT3dUSy9YNXpIR3NnRHNOQnFOZG5mSDNBZXhRWU1HcFp3NGNlS05rU05Ib3F5c2JEd0FUSmd3NGVTUkkwZFNuQnRObURDQkZoTWgzWW9TSzBMSWRjTER3d3ZhNjJPTTBhOTdoQkMzaW9xS3VrdXRWaS9rbkQ4SllEalFWSjJhTVdNR1JGRkVkSFMwVzZ0VFhUVm8wQ0RNbno4ZkR6LzhNSXFMaXlGSkV2YnMyY05zTmxzeTV6d1p3Qm05WHI5Qmx1VjFSVVZGUjkwZGIxL2g1K2MzbFRHbUJuRE8zYkVRejBLSkZTSGtPbFN4SW9UME5nYUR3VXVXNVRtTXNVVUFFdEY4blV4b2FDalMwOU9Sa3BLQ2dJQUE5d1o1a3hoamlJbUpRVXhNREg3Lys5OGpKeWNIbXpkdlJsVlYxUjBBWGhVRVlhbGVyOThOSUlzeHRwMnFXQjBiTm16WWN5MGZoNGVIRndHQUlBaER3c0xDZm1TTURRQUF0Vm85ekIzeGtmNkxFaXRDeUhXb1lrVUk2UzNpNHVKQ0d4c2JGOG15dklBeEZnUTBWYWNTRXhNaGlpS2lvcUw2UkhXcXF3SUNBakJ2M2p6OCt0ZS94b0VEQnlCSkVuYnYzczFzTnR0TUFETmxXVDZuMCtrMnFOWHFkZnYzNzY5eWQ3eTl6Y0NCQTZNR0RodzRHUUIzdHBXWGw4Y0FRRUJBd0V5ejJiekwyVDU0OE9BTU40UkkrakZLckFnaEFJREJnd2MvTkh6NDhEOHd4cndGUWRCMHRLM3p2bGJPODlZSklhUTdhYlZhYjQxR00xZVc1VVVPaDJPR00zRWFNMllNMHRQVGtaeWMzR2VyVTEzRkdFTjBkRFNpbzZPeFpNa1M1T2JtWXZQbXphaXNyQXdDOElyRDRYaEZwOVB0QVpCbHM5bTJsWmFXMnR3ZGMyL2c0K01UZS9yMDZWZUNnNFAveTlubS9NNHltODE3UTBORE4xa3Nsa29BOFBYMURmZnk4aHA1N3R5NXY3b3JYdEsvVUdKRkNBRUFYTDU4K2Y5ZXZuejUvd0pnL3Y3K3FVRkJRYytkT1hQbXhicTZ1bUlBZzhlTkc3ZTV0cmIydTlyYTJtMTFkWFZGN282WEVOTC82UFg2c1doYWlHSUI1M3dvWXd3K1BqNllPWE1tUkZIRStQSGorMVYxcXFzQ0FnTHc2MS8vR2c4OTlCQktTa29nU1JKMjdkb0ZxOVU2QThBTUh4K2Y4d2FENFJQTytUcVR5WFRFM2ZHNjArWExsNzhFWUdtWldMWDhFVkNqMFl3L2N1UklFZ0FoSmlibXN0bHMvcGM3NGlUOUV5VldoQkJGVUZEUUs3ZmZmdnVUVnF1MTZ2ejU4Myt0cTZzNzBOeDErZGl4WTg4TUdUSWtmZFNvVVorcFZDci9peGN2Zm5MMjdOa1ZiZzJZRU5MbmFiVmFieDhmbndjQVpBS1k3bXdmTjI0YzB0UFRrWlNVQkg5L2YvY0YySXN3eGpCaHdnUk1tREFCTDd6d0F2THk4ckI1ODJZY1BueDRHT2Y4SlFBdjZmWDZ2UUN5ckZiclZnK3RZblY0SFhCRFE4TlAvdjcrTTlWcXRaL1ZhdjI1b2FIaC83a3FNTkwvVVdKRkNGRTBOamFlckt5c1RMQllMTmZkUThWbXM1V2ZPWE5tNVpreloxWjZlM3RyTlJyTlNIZkVTQWpwSDZLam8rOVdxVlFMQVR3QllDZ0FhRFFhSkNVbFFSUkZSRVpHZW1SMXFxdjgvZjJSa1pHQkJ4OThFS1dscFVvVnkyS3hUQWN3M2NmSDU0SmVyLzlVbHVXMVJVVkZoOTBkcnpzNVR3VzAyV3luVHB3NDhleGRkOTMxcFVxbDhqOSsvUGhDZDhkRytoZEtyQWdoaWt1WExuM1JsZTFzTmx1cHpXWXI3ZWw0Q0NIOXk5aXhZMzM4L2YzVEdHT1pBTzV6dG9lRmhVRVVSU1FuSjJQZ3dJRnVqTER2WVl4aC9QanhHRDkrdkZMRmtpUUpGUlVWUXdHOEtBakNpM3E5L2p2T2VWWnRiZTJXSTBlT1dOMGRzNnRkY3oyd3YwcWxDblE0SE5XMXRiVjBXanZwVnBSWUVVSUlJYVJIeGNiR2hqa2Nqa1dNc1NjQURBRUFYMTlmcFRvVkVSRkIxYWx1NE9mbmh3Y2ZmQkRwNmVrb0t5dFRxbGdORFEzM01jYnVDd2dJdUtUVDZUNVZxVlJyQ3dvS0t0d2RyNHN4ZjMvLzFKQ1FrSGN1WExqd041VktOV0Q4K1BHbEZ5NWNlUGZjdVhQckFOUzZPMERTOTFGaVJRZ2hoSkJ1Rng4ZnI2bXRyUlU1NTVteUxFOXpKazRSRVJFUVJSRkpTVWtZTUdDQW02UHNueGhqMEdxMTBHcTFyYXBZNWVYbFF4aGpTMlJaWHFMWDY3OW5qR1g1Ky90TCtmbjUvZTcraEJhTHBSd0E2dXZyQzV1Yi9HNi8vZlpIZnZubGx3WE82Nm91WGJva0RSczI3SEYwY2wwV0lWMUZQdzk1RUwxZXp3SEFaRExSNTA1NkZJMDE0a28wM25vWHZWNGZBV0FSNS94eHh0aGdBQmd3WUFDU2s1T1JscGFHaUlpSUhqbXV3K0ZBZFhVMWhnd1pBcnZkRGk4dnJ4NDVUbDkyNk5BaFNKS0V2THc4MU5mWEF3QTQ1NWNaWTU4QldHc3ltUTY1TjBKQytqYjZFdklnTlBrZ3JrSmpqYmdTalRmM216eDVzcS9WYWsxSDA4cCtVNTN0a1pHUlNFOVBSMkppWW85WHA0NGVQWXJmL2U1MzJMSmxDeDU3N0RITW16Y1BEenp3Z05KZlhGd01sVXFGOGVOYjMzNHZLeXNMbVptWlBScGJiMU5mWDQ5ZHUzWkJraVNVbFpXMTdQb0JRSmFQajgvbWYvM3JYdzF1Q28rUVBvdE9CU1NFRUVMSVRZbU9qdGFxVktwRlZxdjFNUUMzQVUzVnFaU1VGSWlpaUxDd01KZkZvdEZvSU1zeXZMMjk4ZUdISDJMMTZ0VklTRWlBbjU4ZlpGbkd5cFVyc1h6NWNnREF3dzgvckR6dnlKRWorTzY3NzVUSGMrZk94Yng1ODI3bzJJY1BIOGJxMWF0eDRNQUJlSHQ3WTlteVpVaElTQUFBeUxLTTk5NTdEOXUyYlFQbkhLSW9ZdkhpeFcxZVUvYlZWMS9oeXkrL3hObXpaekY2OUdpOCtPS0x1T2VlZTI3bTdlalFnQUVEa0phV2hyUzBOSlNYbDJQTGxpM0l5Y2xCZlgzOVZBQlRyVmJyKzNxOS9uUE9lVlpoWVdGWnB6c2toQUNnaXBWSG9WOTFpYXZRV0NPdVJPUE50U1pQbnV4cnNWZ3lBR1F5eHU1MXRtdTFXcVNucDJQR2pCazlXcDJTWlJuMzNYZmZkZTJjYzlUWDExKzNxdURYWDMrTmdvSUNGQmNYWStuU3BmanBwNTh3YWRJa3BYL2F0R240L3Z2dnI5dmYxYXRYVVZkWGg2Q2dvQTdqT1hueUpCNTk5RkU4L3ZqamVPaWhoM0QxNmxWWXJWYUVoSVFBQUQ3OTlGTnMzNzRkYTlhc1FYMTlQVEl6TS9Ic3M4KzJxcVk1ZmZqaGg3ai8vdnNSRkJTRXI3LytHaHMzYnNUdTNidmg0K1BUcGZmbVZ0VFgxMlAzN3QyUUpBbWxwZis3NkN2bi9IOEFaR2swbW15cVloSFNNZm9TOGlBMCtTQ3VRbU9OdUJLTk45ZUlqWTBkenpuUDVKdy9DaUFRQUFZT0hJalUxRlNrcGFYaDdydnZka2tjRG9jRDk5eHpENHhHWTZ2MmhvWUdUSjgrSFQvKytHT3I5cHFhR3Z6MnQ3L0Z4eDkvakgvKzg1L1l0bTBiNXMrZmp6VnIxZ0JvcWxpTkhUdFcyZjd6enorSGw1Y1h6cDgvajBjZWVRU3paOC9HZ2dVTDRPZm4xMlk4UzVjdWhVcWx3b29WYmQ4dlBUVTFGYzg4OHd4bXpab0ZBRml6WmcyS2lvcXdkdTNhRGwrbnhXTEJ2ZmZlaXgwN2R1Q09PKzdvK0UzcFpoVVZGVW9WcTY2dXp0bGN6Umo3Z2pHV1ZWQlFVT0xTZ0FqcEkraFVRRUlJSVlTMFM2L1hwd0dRWkZsVzJpWk1tSUQwOUhRa0pDVEExOWZYZmNHMW9ORm9ZTGZiSWNzeUJFRkFmbjQrSWlJaWtKdWJpM1Buem1IaHdvV29ycTdHaGcwYkVCd2NqQ2xUcGdCb3FsaHQzTGp4dXYwTkd6WU1telp0d29ZTkc1Q1JrWUZISG5rRUdSa1o4UGIyVnJaeE9Cekl6OC9IZSsrOTEyWk1seTVkd3Rtelp6Rmh3Z1NsTFRJeUV0bloyWjIrbnA5KytnbkRody92dEdMV0U4TEN3dkR5eXkvaitlZWZ4NTQ5ZXlCSkVnNGVQQmpJT1YvTU9WK3MxK3NCUURTWlRGdGNIaHdodlJnbFZvUVFRZ2pwU0tzYmg3LzU1cHRJVGs1MlZ5eUthZE9tdFhxOFo4OGVEQm8wQ0ZldVhJR2ZueC9lZU9NTmZQVFJSOGpJeU1BRER6eUFqejc2Q0pHUmtUaDkralNXTEZtaVBDODRPTGpWTlZjQWxFUXJJQ0FBLy9FZi80R0hIMzRZSDMvOE1USXlNckI0OFdMbCtxbVRKMC9DYXJYaTNMbHptRHQzTHM2ZlB3K2RUb2ZYWDM4ZHc0WU53OFdMRndFQWd3Y1BWdllkR0JpSTJ0cGFKUUZzaTlGb3hNcVZLL0hXVzIrMXU0MHIrUHI2WXM2Y09aZ3padzV5Y25MdzJtdXZ0ZXorUXEvWE84KzdsQUh3THZ5WGM4NWx4bGliMnpER09PZGMyYmE5UHNhWXpEbFgrcTk1bnN3NTU0d3h1YTNqZGRUWHh2RTZqWk14SnN1eXpKMzdhYWZ2MnVPMTJlZHNaNHh4V1pabHpybXBxS2pvbTI3NU1JbExVR0pGQ0NHRWtJNDhDbUF6bWk4ZldMWnNHYjc2Nml2bGVpcFhWNndjRGdkOGZIeVU2NkprV2NiRWlSUGg3ZTJOb0tBZ25EMTdGb2NPSFVKRVJJU3llRVp1Ymk1cWEyc3haODRjeUxLTWpSczM0cUdISHJwdTM0R0JnY2pLeW1yenVINStmdUNjbzZhbVJtbHpuaVpYWEZ5TUw3NzRBbmE3SFMrOTlCTGVlT01OckZtekJnNkhBd0JhSlVlQ0lIUjRNK1FMRnk1Z3laSWxXTFZxRlF3R3d3MitPOTJyb2FGQnVlNnFwS1RWMlg4Y1RlTkNhbjdzZklHcXp2YlowV3R2eW1NNjc3dDJ1MnNmdHp6R3RjZnJxTzltWTJtNW40NzZydDJ1c3o3R1dDTUF1bTlBSDBLSkZTR0VFRUxhMVh5Nmx4QWJHenZlNFhBc1lvdzlWbEpTRWxoU1VvSlZxMVloSlNVRmFXbHBMbHNCc0s2dUR2Nysvc3BqaThXaUpIZWpSNC9Hd1lNSHNYNzllcno3N3JzQW11N2Q5UHJycnlNOFBCeHo1c3pCcEVtVHNIVHBVbHk4ZUJINzl1M0QrKysvaitlZWV3NEFNR1BHakZiSHFxeXN4T2VmZjQ2Q2dnTE1uejhmMmRuWnJSYVNjQjczNmFlZlJrQkFBQURnaVNlZXdILys1MzlDbG1XbHJhYW1SbGxVbzdxNkdvR0JnZTFXb29xS2loQWFHb3JZMk5oYmZxOXVWa1ZGQlNSSlFtNXVicXRyckRqbm42dFVxclV0cnJFU0FMQ01qQXhXVlZVbFdDd1dOblRvVU1GcXRiSzZ1anJCNFhBd1B6OC9vYkd4a2Rsc05zSFB6NDg1SEE1bXQ5c0ZoOFBCZkh4OEJGbVdXV05qbzhBNVoxNWVYb0lzeTh6aGNBZytQajdNK1cvT09WT3IxUUxubkRrY0RzSEx5NHZKc2l4d3pwbEtwUkk0NTR4enptUlpGdFJxOVhWOXNpd0xBSmdnQ01xMkxaNG5jTTViOWltUEFiQnIrd0F3eHBpelR4QUVRWGxPZTMzWHRqZnZzNk0rZ1hQK0JtaWUzdWZRQjBZSUlZU1FUalZQcHArZlBIbnl5eGFMNVVIR1dHWmRYZDJVN094c1pHZG5RNnZWUWhURkhyOW4xWVVMRnpCMDZGRGxzZGxzVmhLdHFLZ29mUERCQjBoT1RvWldxNFhkYnNlSUVTT3djdVZLakJrekJpRWhJVkNyMWEyZW01K2ZyeVJXTFowOGVSS0xGeS9HWTQ4OWhsZGZmYlhWdFZWT0lTRWhHREJnQUs1ZXZZcmJiNzhkUUZQbHdjZkhCNElnSURnNEdQNysvaWdySzBOd2NEQUFvS3lzN0xwN2FiVTBjZUpFbHkwRTBsSjdxd0lDK0NmblBFdWowV3hxWTFWQURvQTNYelBtY0ZXc25rQ3YxNy9oN2hqSWphUEVpaEJDQ0NGZDFqeTUvZ0xBRnpxZExwSXh0Z2pBNDZXbHBiZVZscFppOWVyVlNoVXJQRHk4MjQ5ZldWbUowTkJRMkd3MmVIdDc0OENCQThxcWVScU5CamFiRFlzWEx3WUF2UFhXVzBoTVRFUkNRZ0prV2NieDQ4ZHg0c1FKVEozYWRBL2pIMzc0QVZldVhFRmVYaDZTa3BKYUhXZllzR0hZdW5Wcm13bVZrMXF0eHB3NWMvQ1h2L3dGeTVjdmg5MXV4N3AxNjVScjBBUkJ3T3paczdGaHd3YkV4TVRBYkRaRGtpVGxmbHJ0dmI2U2toSTgrdWlqdC9RK2RWVjVlYmxTbmFxdnIzYzJYd0h3R2VkOExkM0hpcEN1bzhTS0VFSUlJVGVsZWRMOW4vSHg4YStZemVaMEFKbjE5ZlgvWjlPbVRkaTBhUk1pSWlLUW5wNk9tVE5uZGxzVjY5Ly8vamVpbzZPeGJOa3kvUERERDlCb05GaXhZZ1dPSFR1R05XdldRS3ZWNGgvLytBZG16NTZOczJmUDRzS0ZDM2ppaVNkdzZ0UXBoSVNFSUM0dURsT25Uc1V6enp5RHYvM3RiL2p6bi84TVo5VnQ1Y3FWeW5GeWNuTHc5dHR2dHhuRG5qMTdsT1hYbjMvK2VmejV6My9HN05tem9WS3BNSFBtVEx6d3dndkt0czgrK3l4V3JseUp1WFBud3QvZkgwOC8vVFFtVDU3Yzd1c3ptVXpJemMzdDBjU3F2cjRlZVhsNWtDUUpodzRkYXRuMUR3QlpBUUVCbS9Qejh5MDlGZ0FoaFBSMWVyMmVPKy8zUWtoUG9yRkdYSW5HVys5aU1CakNEUWJEYXAxT2Q4bjUyVXlaTW9XLytlYWJ2S3lzak4rS21wb2FIaDhmenk5ZHVzUTU1OXh1dDNQT09UOTkralJQVFUzbDI3ZHY1MVZWVlR3MU5aVVhGeGZ6eE1SRWZ2SGlSVjVlWHM0ZERnZm5uUE9kTzNmeWh4OSttTStmUDU4Zk9uUkkyWGQrZmo1UFRrN21hOWV1dmFVWWU3UFMwbEsrWXNVS2Z1Kzk5M0xuWjZQWDZ5OGFESWJWQm9PaCs4dUw1S2JSMzdXK2lTcFdoQkJDQ09rMlJxT3hITUNTK1BqNFYydHFhdExRVk1XS2x5UUpraVFoUER3Y29pZ2lLU2xKV2RDaHE2cXFxakJqeGd4bCtYTG45VkxuejUvSHZIbnpsSnZ3dnZqaWkzanBwWmN3WmNvVURCa3lCRU9HREZIMmNmZmRkK09sbDE1Q2RIUjBxMzFQbXpZTk9wME9SNDhldmVuWDNodlYxZFVoTnpjWGtpU2hvcUpDYWVlYzV3UElHalJvMEJhcVRoSFNQZWd1OVI3RStjdUh5V1NpejUzMEtCcHJ4SlZvdlBWK3NiR3hZYklzTHdUd0JJRGJnYVlWOVdiT25BbFJGQkVaR2RuaDB0Y3RPUndPcUZTZHJ1cnQwVGpuS0Nzcmd5Ukp5TXZMZzhXaTVFMFhBWHdxQ01LNmdvS0NpZzUyUWR5TS9xNzFUVlN4SW9RUVFraVBhcDdFdnpoMjdOaGxBUUVCRHdESWJHaG91SC9yMXEzWXVuVXJ3c0xDbENxVzg5cWw5bEJTMWI2clY2OHExYW1mZi82NVpkYytBRmxtczNucmtTTkhyRzRLajVCK2p4SXJRZ2doaExoRTg2VCthd0JmeDhURWpCTUVZU0dBQlJVVkZVUGZldXN0L1BXdmYxV3FXRnF0dHN0VkxFL0dPVWRKU1Fra1NjTHUzYnRiVnFjdUFQaEVsdVYxUlVWRmg5MFlJaUVlZ3hJclFnZ2hoTGhjODJUL0phMVcrNXBHbzVuTE9jKzBXQ3dKMzN6ekRiNzU1aHVNR3pjT29pZ2lPVG01MVEyQlNaUGEybHFsT25YNGNLdTg2VnZHV0piRll2bW10TFRVNXE3NENQRkVsRmdSUWdnaHhHMmFKLy9aQUxJTkJzTVlBSXM0NXdzT0h6NDg3TzIzMzhhNzc3Nkx4TVJFaUtLSUNSTW1lSFFWaTNPT2d3Y1BLdFVwcTFVNXErODg1M3lESUFqcmpFWmpwVHRqSk1TVFVXSkZDQ0dFa0Y2aE9TbDRXYXZWL3NIYjIzc09ZMnlSMVdwTjNMNTlPN1p2MzQ0eFk4WkFGRVdrcEtRZ0lDREEzZUc2ak5sc1JrNU9EaVJKUW1WbHE3eHBOK2M4eTJhemJhZnFGQ0h1UjRrVklZUVFRbnFWNWlSaEU0Qk5jWEZ4b1kyTmpRc0JQRmxaV1JuMHpqdnY0TDMzM2xPcVdGRlJVZjJ5aXNVNXg0RURCNVRxbE0ybTVFMW5BV3hRcVZUcjkrL2ZYK1hHRUFraDE2REVpaEJDQ0NHOVZuUHlzTlJnTVB5UmN6NGJ3Q0tielRaeng0NGRiTWVPSFFnTkRZVW9pa2hOVGUwWFZTeXoyWXlkTzNkQ2tpUlVWU2w1RXdld0MwQVdZMnlIMFdpMHV5OUNRa2g3S0xFaWhCQkNTSy9YbkV4SUFLU1ltSmc3bTFjVWZMS3FxdXFPVmF0VzRmMzMzMGRDUWdKRVVVUk1URXlmcW1KeHpsRlVWQVJKa3ZEdHQ5KzJyRTZkWVl5dGR6Z2M2NHVLaW82Nk1VUkNTQmRRWWtVSUlZU1FQcVU1eVZobU1CamVBSkFxeS9JaW04MlduSk9UdzNKeWNuRG5uWGRDRkVYTW1qVUxnd1lOY25PMDdhdXBxY0dPSFRzZ1NSS09IajNxYk9hYzgxek9lVlpnWU9ETy9QejhSamVHU0FpNUFaUllFVUlJSWFSUGFxNWliUVd3VmFmVGpRYndGR1BzcWFOSGp3Yi81Uzkvd1FjZmZJRHAwNmRERkVYbzlmcGVVY1hpbk1Oa01rR1NKT3pkdXhkMnUzSlczeW5PK1hvQUd3b0xDNCs1TVVSQ3lFMml4SW9RUWdnaGZWNXpNdktIK1BqNDVUVTFOU21Nc1V5NzNaNmNsNWNuNU9YbFlmVG8wVW9WS3pBdzBPWHhWVmRYSzlXcFk4ZVV2RWtHa0FNZ0t5QWdJSmVxVTRUMGJaUllFVUlJNlhYQ3dzTHlLeW9xNHQwZEIvbi8yN3YzNkNqcSsvL2pyMWxpREZHQ1FUQ2hwVUZDTkZRdU5oc29CdXBwd0dwRkVFMFFoR29GdFVWcnJUOTd2Rkt0ZU91UFZ1VkFGWDdsVUZvdnRCU0pRaUZZOEl1RVdFUkUyS1RFU3FFbklLRmdXalFKbHlhR3plNStmbjlBOGsyRVFNZ2tNM3Q1UHM3aG5Pek03UGhLZUJ2eW1zOW1OdktjS0NlckpLM0t6czVPTThiY1lWblduUlVWRlgzbXpKbWplZlBtYWZUbzBjclB6MWQyZG5hbnJtSVpZK1R6K2JSOCtYSVZGUlUxclN4QkRyNEFBQ0FBU1VSQlZFNVpsclhmR0xPb1M1Y3V2OSs2ZGV1L09pMEFBRWRSckFBQXJycnNzc3YrL3VWdENRa0pBMCsxUFJRS0hkdTVjMmUyTThrUTZYdyszejVKVCtibTVqNTc1TWlSYXlWTmIyaG9HUHYyMjI5NzNuNzdiYVdscFNrdkwwL2p4bzFUang0OU91eS9XMTFkcmRXclYydkZpaFhhdDI5ZjQrYVFwTldXWlMxTVQwOWZXMUJRRU95dy95Q0FzT0QraTQzaEdLL1hheVNwcEtTRXYzZDBLbVlOZG5tOVh0UFcrV0hlY0RhR0RCblM1NXh6enJuREdQTURTVitUcExpNE9JMGFOVXI1K2ZrYU9uU29QQjdQV1o4M0ZBcHAyN1p0V3I1OHVUWnMyS0JBb09sVmZmc3N5MXJVME5Ed2NsbFoyZjZPKzB3UXpmaStGcGxZc1FJQXVDNHJLNnYraXkrKzJObjR1SzZ1YnZ1QUFRUCsxdmc0TVRGeFNFbEp5ZG4vdEF0OHlZbHk4L1RFaVJOLzhja25uM3pYR0RNOUVBaU1XN2R1WFpkMTY5YXBUNTgreXN2TDAvang0OXUwaWxWZFhhMVZxMVpweFlvVjJyKy9xVGNGSlJVYVl4Wm1aR1Q4RDZ0VFFHeWdXQUVBd2dXL3VBL0huQ2c3ZjVIMGw4c3Z2L3lySG8vbmRzdXlmcmgvLy82MGwxNTZTYi81elcrVW01dXIvUHg4RFJzMnJNVXFWaWdVMHRhdFc1dFdwNExCcHQ1VVlZeFpwT04zOXZ0VWtrcExTNTMrMUFDNGhHSUZBQWdMTzNmdUhOcmF2cXlzckhvbnN5QzJiTisrL1lDa1p5ZE9uRGhyOSs3ZFYwdWFIZ2dFeHIvenpqdGQzbm5uSFgzMXExOVZYbDZlUm93WW9mZmZmMThyVnF6UWdRTUhHcDhlMVBHYlpTenMzNy8vT2xhbmdOaEZzUUlBaElVQkF3WnNhMjJmWlZueFRtWkJiRHBSaXRaS1dwdWRuZDNiR0hPN3BCOGVPSERnNG5uejVtbmV2SG5ORDk4cjZiZVdaYjNzOC9rcUphbWtwTVR4ekFEQ0I4VUtBQkFXV0xGQ09EbFJsdjZ2cEY5bVoyZC94eGd6WGRJWVNXc3N5MXJvOC9uZTBmRTcvUUdBSklvVkFDQk1zR0tGTUJYeStYei80L1Y2MzVha2twS1NtOXdPQkNBOFVhd0FBSzdwMGFQSHBOVFUxQ2NzeTRyM2VEd0pwenUyOFgydGR1ellNY2laZEFBQXRCM0ZDZ0RnbXVycTZtWFYxZFhMSkZuZHVuVWJtNUtTY2w5bFplVkR0YlcxMnlYMXVPU1NTOTQ4ZXZUb2hxTkhqNjZxcmEzOTI1bk9Cd0NBVzNoUEVBQ0FxMUpTVW1ZTUhEandueWtwS1Q4NWVQRGduTnJhMnJJVHU2b3JLaXArWkZsV01DMHQ3ZFZCZ3didFNVMU4vYm1yWVFFQWFBVXJWZ0FBVndVQ2dmMjdkKy8rVG4xOWZjV1g5L245L3AyVmxaVy9xS3lzL0VWOGZQekFoSVNFUG01a0JBRGdUQ2hXQUFCWFZWVlZMVzdMY1g2Ly8yTy8zLzl4WitjQkFLQTllQ2tnQUFBQUFOaEVzUUlBQUFBQW15aFdBQUFBQUdBVHhRb0FBQUFBYktKWUFRQUFBSUJORkNzQUFBQUFzSWxpQlFBQUFBQTJVYXdBQUFBQXdDYUtGUUFBQUFEWVJMRUNBQUFBQUpzb1ZnQUFBQUJnRThVS0FBQUFBR3lpV0FFQUFBQ0FUUlFyQUFBQUFMQ0pZZ1VBQUFBQU5sR3NBQUFBQU1BbWloVUFBSWc1bVptWnhXNW5BQkJkNHR3T0FBQUEwSmt1dSt5eXYzOTVXMEpDd3NCVGJRK0ZRc2QyN3R5WjdVd3lBTkdFWWdVQUFLTGFqaDA3Qm4xNW05ZnJOYWZhRGdEdFJiRUNBQUJSTHlzcnEvNkxMNzdZMmZpNHJxNXUrNEFCQS83VytEZ3hNWEZJU1VrSnZ5SUJvTjBvVmdBQUlGWUUzQTRBSUhwUnJBQUFRRXpZdVhQbjBOYjJaV1ZsMVR1WkJVRDBvVmdCQUlDWU1HREFnRzJ0N2JNc0s5N0pMQUNpRDhVS0FBREVCRmFzQUhRbWloVUFBSWdKckZnQjZFd1VLd0FBRUxWNjlPZ3hLVFUxOVFuTHN1STlIay9DNlk1dGZGOHJic01Pb0Qwb1ZnQUFJR3BWVjFjdnE2NnVYaWJKNnRhdDI5aVVsSlQ3S2lzckg2cXRyZDB1cWNjbGwxenk1dEdqUnpjY1BYcDBWVzF0N2QvT2RENEFhQTN2MXdBQUFLSmFTa3JLaklFREIvNHpKU1hsSndjUEhweFRXMXRiZG1KWGRVVkZ4WThzeXdxbXBhVzlPbWpRb0QycHFhay9kelVzZ0lqRmloVUFBSWhxZ1VCZy8rN2R1NzlUWDE5ZjhlVjlmcjkvWjJWbDVTOHFLeXQvRVI4ZlB6QWhJYUdQR3hrQlJENktGUUFBaUdwVlZWV0wyM0tjMysvLzJPLzNmOXpaZVFCRUoxNEtDQUFBQUFBMlVhd0FBQUFBd0NhS0ZRQUFBQURZUkxFQ0FBQUFBSnNvVmdBQUFBQmdFOFVLQUFBQUFHeWlXQUVBQUFDQVRSUXJBQUFBQUxDSllnVUFBQUFBTmxHc0FBQUFBTUFtaWhVQUFBQUEyRVN4QWdBQUFBQ2JLRllBQUFBQVlCUEZDZ0FBQUFCc29sZ0JBQUFBZ0UwVUt3QUFBQUN3aVdJRkFBQUFBRFpSckFBQUFBREFKb29WQUFBQUFOaEVzUUlBQUFBQW15aFdBQUFBQUdBVHhRb0FBQUFBYktKWUFRQUFBSUJORkNzQUFBQUFzQ25PN1FBQUlsdEdSc2E1eWNuSnljMjNCWU5CU2RLd1ljTlNtMit2cWFtcEtTOHZQK1pnUEVRWjVnMU9ZTTRBdEFmRkNvQXR5Y25KeWNGZzhGTkoxcGYzQllQQnltWVBROG5KeVYrVjlHL0h3aUhxTUc5d0FuTUdKdzBaTXFSUFhGemM0NmZhNS9WNkZ6Ui9IQWdFbmkwcks5dnZUREtjTFY0S0NNQ1dyVnUzL2x2U1g5dHc2TVlUeHdMdHhyekJDY3dabkpTWm1WbHBqTGxSMGwzTi9qUnEybWFNdVRFek03UHlWT2RBZUdERktrcHg5UU5PTXNhOGFWbld0ODl3MkJ1T2hFSFVZOTdnQk9ZTVRpa29LQWhtWjJldk1NYmNmWVpEbHhjVUZBUWRDWVYyWWNVcVNuSDFBMDRLaFVMTHozUk1NQmhjNFVRV1JEL21EVTVnenVDa1VDajBaaHNPYThzeGNCSEZLa29WRkJRRVBSNVBXNzdoYy9VRHRtM2Z2djJBcEE5T2M4am1FOGNBdGpGdmNBSnpCaWQ1UEo1M2pUSFZwem1rcW52Mzd1ODZGZ2p0UXJHS1lsejlnSk1zeTJwMWxrNjNEMmdQNWcxT1lNN2dGSi9QMTJCWjFzclRITEt5dUxnNDRGZ2d0QXZGS29weDlRTk9hbWhvYVBXSGpJYUdoak8rcEFZNEc4d2JuTUNjd1Vtbksrc2VqNGNpSHdFb1ZsR01xeDl3VWxsWjJTZVNTayt4cStURVBxRERNRzl3QW5NR0p4MCtmUGdkU1VkT3NldklvVU9IMWp1ZEIyZVBZaFhsdVBvQmg1MXFwcGd6ZEJibURVNWd6dUNJOHZMeVk4YVkxYWZZVmNpYlVFY0dpbFdVNCtvSG5IU3FJaytCUjJkaDN1QUU1Z3hPYXVXQ09QTVdJU2hXVVk2ckgzQ1N6K2ZiS1dsSDQyUExzajdldG0zYkxoY2pJWW94YjNBQ2N3WW5XWmExVmxKZHMwMTFsbVc5N1ZZZW5CMktWUXpnNmdlY1pJeHBtcTAyM3BrU2FEZm1EVTVnenVBVW44OVhKMmxONDJQTHN2NXlZaHNpQU1VcUJuRDFBdzVyK3FHRDJ4SERBY3dibk1DY3dURVUrY2hGc1lvQlhQMkFrMHBMUzhzazdaWlVYbEpTOHBIYmVSRGRtRGM0Z1RtRGsrTGo0OTlxL0RneE1mR3QweDJMOEJMbmRnQTR3eGp6cG1WWkV5U3VmcURUR1VsdldwWmxUbndNZENibURVNWd6dUNZTFZ1MkhQRjZ2YXNsbVUyYk5oMTFPdy9ham1JVkkrTGo0OTlxYUdpUXhOVVBkRDZQeC9ObUlCRGdodzg0Z25tREU1Z3pPS3l4eUNPQ1dHNEhnSE84WG0raEpGTlNVakxlN1N3NHZheXNyQzJXWlgzVDdSeXh5aGhUWEZwYU9zcnRIRTVpNXR3Vkt6UEhuTGtyVnVaTVl0YmNGa3V6MWh3clZyR0ZxeDhSZ244TTNHVlpWcTdiR1p6R3pMa3JWbWFPT1hOWHJNeVp4S3k1TFpabXJUbUsxVm1LOUNzZ3hoaDV2ZDVYM003UlhyRjJCY1RuODdrZEllWmtaMmU3SGNGVnpKenpZbkhtbURQbnhlS2NTY3lhRzJKMTFpVHVDbmpXSXJsVVJZTll2UUlDQUFDQThNYUtWVHR4QmNSNXNYd0ZCQUFBQU9HTkZTc0FBQUFBc0lsaUJRQUFBQUEyVWF3QUFBQUF3Q2FLRlFBQUFBRFlSTEVDQUFBQUFKc29WZ0FBQUFCZ0U4VUtBQUFBQUd5aVdBRUFBQUNBVFJRckFBQUFBTENKWWdVQUFBQUFObEdzZ0Jpd2FORWlyVnk1c3NVMlk0d2VmUEJCYmRteTVZelBQM3IwcUI1KytPSE9pb2NveE15aHN6RmpjQm96aHpPaFdBRXhvS3lzVEJkZmZIR0xiWFBtek5HRkYxNm9OOTU0UTU5OTlsbUxmWDYvLzZUSDY5ZXZQKzB4cDlQUTBLQng0OFlwRkFycHR0dHVVMlZscFQ3NjZDTmxaMmNyT3p0Ync0WU4wOVNwVTdWMzc5NFd6NXM1YzZaZWUrMDFMVm15Ukk4Ly9uaWIvM3R3WHpqT1hQTjlpeGN2MXBRcFV6Uml4QWhkY2NVVnlzdkwwODZkT3lVeGQ1RWlIR2VzK2ZlMW9VT0hhdFNvVWJybm5udFVWRlIwMHZPWnM4Z1Q3alBYK0dmU3BFbE56MkhPbkVXeEFxTFkwcVZMTlduU0pHM2R1bFZQUGZXVUprMmFwR0F3cUZtelpxbTJ0bGFQUFBLSTdyLy9mczJZTVVONzl1eHBlbDVPVG80T0hUcDAybk8zNVpoR216ZHZWa1pHaGlvckszWG8wQ0gxN3QyN2FkL0dqUnUxWWNNR3BhYW02dWMvLzNtTDUvbDhQbDE5OWRYYXRtMmJ2dnZkNzU3Rlp3NjNoUHZNMWRmWDY2Njc3bEpSVVpFZWZQQkJGUmNYcTZpb1NJOCsrcWk2ZHUwcWlia0xkK0UrWTlMeDcydGJ0MjdWOHVYTGRlT05OK3FsbDE3U2swOCtxVkFvMUhRTWN4WTVJbVhtZkQ2ZmZENmZsaTFiMXJTZE9YTlduTnNCY0h4cHVWZXZYcnJoaGh1YXRobGo5TkJERDJuaXhJa2FQbno0YVo5LzlPaFJQZlBNTTNydXVlYzZPeW9pek9USmt6VjQ4R0F0WExoUXYvNzFyN1YvLzM3ZGZ2dnRxcSt2YjlvdlNkWFYxWHI4OGNkMTAwMDNLVDgvdjhOekZCVVZhZGl3WVNvcUt0TFFvVU5QMm4vKytlZHJ3b1FKdXVlZWV4UUtoZVR4ZUZSWldhbGV2WG9wSlNWRmUvYnMwUlZYWE5IaHVkRHh3bjNtNXMyYnAyUEhqdW5sbDE5V2ZIeThKQ2srUHI3cCt5eHpGLzdDZmNZYVdaYWw1T1JrWFhQTk5icmlpaXQweXkyM2FObXlaWm84ZVRKekZtRWlaZWErakRsekhzVXFESlNWbGVuT08rOXNzYTM1MG5KNmVycDY5ZXJWdE0vdjl6ZjlRTkQ0K0ZSTHk4MlBPWjJHaGdibDVlVnAxYXBWbWpadG1uNzFxMStwZCsvZTJyaHhvKzYvLzM0OThNQUQrdDczdnRkMC9NeVpNOVcvZjMvRnhjVnB4NDRkZXZiWlo5dnphY01oNzc3N3JrYU5HcVg4L0h6Tm1UTkgxMTU3Yll1L3owWVZGUlZxYUdqb2xBeFBQdm5rR1kvNTczLy9xMTY5ZXNuak9iNlEzcnQzYjczODhzdVNwRC8vK2MrZGtndWRJMXhuTGhBSWFPWEtsWHJtbVdkYS9mN0kzRVdHY0oyeDFpUWxKZW1XVzI3Um0yKytxY21USnpObkVTalNaazdpKzVrYktGWXVXcnAwcVpZdlg2NS8vZXRmMnI5L3YrTGk0dlNuUC8xSnp6MzNuQUtCZ0I1NzdERlZWbFpxeG93Wit0blBmcWIwOUhSSng1ZU4xNjlmcndzdXVLRFZjN2ZsbUVhdExTMFhGaGFxVDU4K0tpd3NiUEhOdytmejZlNjc3OWJ6enordnZMdzhtMThGZExZTkd6Wm8wYUpGZXUyMTE5UzNiMS9ObmoxYmhZV0ZrcVN2ZmUxclNrOVAxOTEzMzYzWnMyZnJ4UmRmYkhyZW1ERmpUanBYVGs1T3AyU3NycTdXNHNXTE5YWHExRTQ1UDV3VnJqTzNiOTgrMWRYVmFmRGd3UjEyVHJnalhHZnNkQzY1NUJMdDNidTNhVlVla1NVU1p3N09vMWk1S0p5WGxvOGNPYUsvL3ZXdm1qTm5qdTY3N3o3dDJyVkxtWm1aTEN0SG1PcnFhdTNidDArMzMzNjdQdjMwVStYbjV5c3VMcTdwOWRlVEprM1MzcjE3ZGZmZGQ2dWlvcUxwZVQ2ZnI4VjVxcXFxZE0wMTEyano1czFOMjdLenN6c2s0NVZYWGlsSlNrdExVMUpTRWo5MFJMaHducm5HcThoeGNmelRGOG5DZWNaT0p4QUlxRXVYTG54L2kwQ1JNSE9OLzVaSzBwUXBVL1RnZ3c5MnlIbHhkdmpYeFdYaHVyUzhaczBhOWV2WFR6azVPUm8yYkpnS0N3dVZtWm5Kc25LRTZkR2pSOU10WVBQejg3VjgrWEtOSHovK2pDdERiWGtwcWMvbk82dTdHYlZtNDhhTjZ0cTFxeW9yS3pWMzdseXRYNzllczJmUHRuMWV1Q09jWjY1Mzc5NnlMRXZsNWVXZCtnTTBPbGM0ejlqcGZQVFJSeG93WUVDbm5CdWRLeEptYnVQR2pVcE1UTFI5SHRqRFpST1hiZGl3UWFOR2paSWs5ZTNiVng5ODhJR21USm1pS1ZPbTZPR0hIOWFDQlFza1NiTm56MVpHUmtiVDg4YU1HYU9jbkJ6bDVPUm8zTGh4a3RUMHVDT1dtQXNMQ3pWMjdGaEowdGl4WTdWMjdWb0ZBZ0hiNTRXN2FtdHJsWkNRb0ZkZmZWV3Z2dnBxcThlMTVTNUZodzRkNnJDWE0xaVdwYTk4NVN1NitlYWI5ZTY3NzdhNGN4WWlXempOWEZKU2tvWVBIMzdhSElnODRUUmpyZm5zczgvMCt1dXZhOHFVS1IxK2JqZ3ZFbVlPN21ERnlrWGh1clM4ZS9kdTdkcTFTM1BuenBVa2pSNDlXck5temRKNzc3Mm4zTnpjZHA4WHp2dnd3dysxZlBseWZmNzU1enB3NElDbVRadW13NGNQNjQ0NzduQTdXZ3ZHR0gzNjZhZjZ3eC8rb01zdnY1eVh5a1N3Y0orNVJ4NTVSTGZmZnJzZWZ2aGhUWjgrWGYzNjlWTnRiYTE4UHAvUzB0TFV2MzkvdHlQaURNSjl4aG9aWTFSVFU2TVBQdmhBOCtmUDE5aXhZN25kZFlTS2xKbUQreWhXTGdyWHBlVlZxMWJKR0tNSkV5WTBiVHQyN0pnS0N3c3BWaEhtOHNzdjE2V1hYcXFrcENUZGROTk5LaWdvMEtSSmsvVDczLzllMHZIeTN2ejlMdHpRK0xyd3BLUWtqUnc1OHFUM3NrSmtDZmVaUzB0TDB4Ly8rRWN0WExoUTk5NTdyNnFxcXRTMWExZGRldW1sekY2RUNQY1prNDUvWDdNc1MwbEpTUm8wYUpBZWUrd3hqUmd4d3RWTWFMOUltYm5taW91TDFhMWJONWZTeEM2S1ZSaHB2clFzcWNVN1p6ZlhsanYrSFRwMFNGZGRkZFZKcTF0bkVnd0d0V2JOR2ozd3dBUDY5cmUvM2JTOXJLeE1NMmZPVkUxTmpaS1RrOC9xbkhEUHVlZWVxM1BQUGZlazdjRmdVUFgxOVVwSVNGQkZSWVU4SGsvVFRWTWFkZmFkakFZUEhuelc4NG53Rjg0ejF5ZzFOVlZQUFBGRWg1OFh6Z2puR2VQN1duUmk1dEJXRkNzWGhlUFM4dnZ2djYvRGh3OXIzTGh4TGE1MHBLU2s2SVVYWHRDYU5XdE9lWE1OaEwvcnJydE9ralIrL0hpVmw1ZXJ0TFJVVHp6eGhKWXNXYUlkTzNhMHVIVitXNzVKTjVaM29EWE1IRG9iTXdhbk1YTkFCL0o2dmNicjlacU9VRjlmYjJwcWFrd3dHRFI1ZVhuR0dHTW1UcHpZdEwvNXgrUEhqMi82Mk92MW1wcWFtcWJIbjMvKytVbVphbXBxMnBYem9ZY2VNai81eVU5T3VXL1dyRmxtOHVUSlozM09qdEw0dFhkN0JwelFrWE9Hc3hOTGM5WWNNK2VlV0pvNTVzdzlzVFJuRXJQbXBsaWJ0ZVpZc1hKUk9DNHRQL2ZjYzYzdWUvVFJSMjJmSHdBQUFJaEdGS3N3d2RJeUFBQUFFTGtvVm1IaUJ6LzRnU1RwMWx0dmxTUmxabVpLa21iTW1OR3U4MTF3d1FYOE1pTUFBQURnRU40c0JnQUFBQUJzb2xnQkFBQUFnRTBVS3dBQUFBQ3dpV0lGQUFBQUFEWlJyQUFBQUFEQUpvb1ZBQUFBQU5oRXNRSUFBQUFBbXloV0FBQUFBR0FUeFFvQUFBQUFiSXB6T3dDQTFtVm5aN3NkQVRHR21ZTVRtRE00aFZtRGsxaXhBc0tRTWFiWTdReXhMQmEvL3JINE9ZZVRXUG42eDhybkdhNWk2ZXNmUzU5ck9JclZyNy9sZG9CSTQvVjZqZHNaWWwxSlNRbHpHK1lhL3ovaDd3cE9ZTjdnQksvWHUwRFNYY2FZSDVXV2xpNXdPdytpMTdCaHcxS0R3V0NsTWVZL3BhV2xxVzduUWR1eFluV1dZcldCaHd1Ky9nQUFBQWhIL0k3VldTb3RMUjNsZG9iMjRxb3VBQUFBMERsWXNRSUFBQUFBbXloV0FBQUFBR0FUeFFvQUFBQUFiS0pZQVFBQUFJQk5GQ3NBQUFBQXNJbGlCUUFBQUFBMlVhd0FBQUFBd0NhS0ZRQUFBQURZUkxFQ0FBQUFBSnNvVmdBQUFBQmdFOFVLQUFBQUFHeWlXQUVBQUFDQVRSUXJBQUFBQUxDSllnVUFBQUFBTmxHc0FBQUFBTUFtaWhVQUFBQUEyRVN4QWdBQUFBQ2JLRllBQUFBQVlCUEZDZ0FBQUFCc29sZ0JBQUFBZ0UwVUt3QUFBQUN3aVdJRkFBQUFBRFpSckFBQUFBREFKc3Z0QUhDTzErczFibWNBZ001aWpOa2tLZUIyRGtRbnk3SytmZUxEdHlSdGN6TUxvbDZxcEx1TU1mOHBMUzFOZFRzTTJpN083UUJ3ampHbTJMS3NYTGR6QUVCbnNDeHJwTnNaRUJQR252Z0RkQ3FQeDlQZ2RnYWNIVmFzQUhTNHJLeXM3MWlXOVMyM2N5Qm16SlFrWTh3QlNlVXVaMEYwcTVQME44dXkvRzRIUWZRenhyeGRXbHE2MmUwY2FEdUtGUUFnb2pWN21mTlRKU1VsVDdxWkJRQVF1N2g1QlFBQUFBRFlSTEVDQUFBQUFKc29WZ0FBQUFCZ0U4VUtBQUFBQUd5aVdBRUFBQUNBVGR3VkVBQVFNUVlOR2pTa2E5ZXV6eGxqbWk0TWhrS2hxeVhKNC9Ic2tiUzdjWHN3R0h5MnRMVDByeTdFQkFERUlONGdHQUFRTWJwMjdkb3JHQXgrOTFUN1FxRlF1cVQweHNjZWo2ZE9Fc1VLQU9BSVhnb0lBSWdZVzdkdVhTL0puUEZBU1pabHplM2tPQUFBTktGWUFRQWl6WjQySEJQczE2L2Z4azVQQWdEQUNSUXJBRUJFQ1FhRDk1L3BHR1BNdW9LQ2dxQVRlUUFBa0NoV0FJQUlzMzM3OXRVNnc4c0JQUjdQSElmaUFBQWdpV0lGQUloQWxtVWRPTTN1a0tRTlRtVUJBRUNpV0FFQUlwRGY3MyswdFgzQllIQ1R6K2RyY0RJUEFBQVVLd0JBeFBub280LythTXlwWHczWXBVdVg1eDJPQXdBQXhRb0FFTEgrYzRwdEppa3BhWjNqU1FBQU1ZOWlCUUNJU0pabFBmUGxiUjZQeDFkY1hGenZSaDRBUUd5aldBRUFJbEpKU2NuOEwyOExCb08vY2lNTEFBQVVLd0JBSkt0cS9pQVlESzV4S3dnQUlMWlJyQUFBRWNzWU03Zlp4OGZLeXNwcTNjd0RBSWhkRkNzQVFNUXFMUzJkMWV6aGROZUNBQUJpSHNVS0FCREpncElPU3pJZWoyZWwyMkVBQUxITGNqc0FBQ0M4NWVibXhoMDVjdVJteTdJbVNzbzJ4dlNTZEs3YnVTTEFNY3V5UHBQa2s3U3NXN2R1eTRxTGl3TnVod0lBZEE2S0ZRQ2dOWmJYNjUwdTZWRkpGN3VjSlJyc2xUU3JwS1RrdDVKTy9lN0dBSUNJUmJFQ0FKd2tJeVBqM0tTa3BFV1NicFdrek14TVRadzRVUmtaR1VwTFMxUDM3dDFkVGhqK0RoOCtySDM3OXFtOHZGd0ZCUVhhdFd0WDQ2N0ZSNDRjK1dGNWVma3hOL01CQURvV3hRb0EwRUoyZG5haU1XYXRwQ3N2dlBCQ3padzVVeU5HakpCbDhVOUdleGxqOVA3NzcrdXBwNTVTVlZXVkpHMjBMT3Rhbjg5WDUzWTJBRURINE9ZVkFJQVdRcUhRcnlWZDJiOS9mNzMyMm1zYU9YSWtwY29teTdJMGN1Ukl2ZnJxcStyZnY3OGtYZG44VnZFQWdNakh2NVFBZ0NiWjJkbmZNOGI4c1dmUG5scTZkS21TazVQZGpoUjFhbXBxZFBQTk42dXFxa3JHbU8rVmxwYit5ZTFNQUFEN1dMRUNBRWlTUm80YzJjMFlNOCt5TEQzOTlOT1VxazZTbkp5c1o1NTVScEprV2RiOGtTTkhkbk01RWdDZ0ExQ3NBQUNTcFByNitoOUxTcjcrK3VzMWZQaHd0K05FdGVIRGgrdjY2NitYcE9TNnVycDczTTREQUxDUFlnVUEwSkFoUTg0enhqeGdXWmFtVFp2bWRweVlNRzNhTkZtV0pjdXlIaGd5Wk1oNWJ1Y0JBTmhEc1FJQUtDNHU3a1pKUFhOemM5VzNiMSszNDhTRWl5KytXTG01dVpMVTY1eHp6cm5CNVRnQUFKc29WZ0FBU2NxVHBHdXZ2ZGJ0SERHbDJkYzd6ODBjQUFEN0tGWUFFT055Y25LNlNob1RGeGVubkp3Y3QrUEVsSnljSEhYcDBrWEdtREVuL2g0QUFCR0tZZ1VBTWM3djkxOGhLVEVySzB2bm5jZXYrampwdlBQT1UxWldsaVNkMTlEUXdCMURBQ0NDVWF3QUFFTWthY0NBQVc3bmFHSDkrdldhUDMvK1Nkdno4L01WQ29YYWRJNUlXSUZyL0xvYlk0YTRIQVVBWUVPYzJ3RUFBTzVxL0lFK1BUM2Q3U2hOakRGYXRHaVJIbnJvb1pQMlZWUlV5QmpUWXR1WU1XTk9lUjYvMzMvS2ZVODk5WlMrK2MxdmRreFltNXA5M1NsV0FCREJLRllBZ0lHUzFLOWZQN2R6TkhucnJiZVVucDZ1YjN6akc5cTdkNi91dU9PT0Z2dXZ2dnJxRm8rTGlvcE9lWjZjbkJ5dFdiT20wM0oyaE1aaVpZd1o2SElVQUlBTkZDc0FRRTlKNnRHamg5czVKRW1IRGgzU3l5Ky9ySVVMRjJyeDRzWGFzV05IaStLVW5aMnRkZXZXcVV1WExpNm03RGpKeWNtTkgvWjBNd2NBd0I2S0ZRQ2d1NlN3dVhIRjZ0V3JkZkRnUWQxNTU1MDZmUGl3bGk1ZDJxYm41ZVRrNktLTExtcXhyYUdoUVRmYzhMOXZFWFhnd0FGdDI3YXRRL1BhMWV6cjN0M05IQUFBZXloV0FJQWtTVXBNVEhRN2h5UnB3b1FKdXVHR0cvVG9vNC9xKzkvL3ZsSlNValI2OU9nV3h6Ui9LZUQ4K2ZQMTlhOS9YWkswY3VYS0ZzZmw1T1MwMkJhT043T2dXQUZBZEtCWUFRRENTdGV1WFZWUVVLQnp6amxIRXlaTWtOVDY3MUFCQUJBdUtGWUFnQ09TZXRiVjFTaytQdDd0TE5xelo0OW16NTZ0ckt3czNYYmJiVXBNVE5TQ0JRdGF2Zk5mODV0VGpCczNydW5qSTBlT3lPLzM2NnFycmxMWHJzZmZlOWZ2OTNkdStIYW9yYTF0L1BDd216a0FBUFpRckFBQWh5WDFySzJ0MVFVWFhPQjJGcDEvL3ZtNjlkWmJsWjZlcnZUMGRQWHQyMWVTZFBEZ1FmbDh2aGJIRGhzMnJPbmpGMTU0UVNOSGpwUWt2ZmZlZTFxNGNLSCs4WTkvS0NNalEwOC8vYlJTVWxLMGFkTW01ejZSTnFKWUFVQjA0QTJDQVFDZlMxSjFkYlhiT1NSSkYxMTBrZTY5OTE1ZGQ5MTFTazlQMXovLytjODJQVy9reUpHcXE2dlRyRm16dEdUSkVyMzAwa3VLaTR2VEk0ODhvcC8rOUtkNjk5MTNtNHBYT0ttcHFXbjg4SE0zY3dBQTdLRllBUUErbHFSUFB2bkU3UnlTanI4VThIZS8rNTN1dWVjZWpSNDlXblBuemozamMveCt2OTU0NHcxTm1USkZhV2xwbWo5L3ZycDNQMzR2aVBUMGRMMzQ0b3Rhc21TSjdydnZQcFdWbFhYMnAzQlc5dXpaSTBteUxPdGpsNk1BQUd6Z3BZQUFFT01zeXlvenhqVDlnTysyaW9vS1ZWZFg2K2FiYjlZdmYvbExKU1VsTmUzNzh1OVpoVUloQlFJQjNYYmJiUm84ZUxBV0xWcWtYcjE2blhUT25qMTdhc0dDQlZxOWVyV2VmUEpKUGYvODgrcmZ2MytuZnk1dDBlenJIbDZORHdBQUFFRGJaV2Ruai9KNnZlYXV1KzR5NGV5RER6NDRhZHVISDM1b2pESEc3L2VmOGprdnZ2aGlwMmJxQ05PblR6ZGVyOWNNSFRvMDErMVpBQUMwbitWMkFBQ0F1M0p5Y3JvZU8zYnNzN2k0dVBPS2lvckM1bzJDWTBGdGJhMUdqUnFsWURCWW01U1UxTE80dUxqZTdVd0FnUGJoZDZ3QUlNWnQzcno1QzBsckE0R0FObS9lN0hhY21MSjU4MllGZzBGWmxyV0dVZ1VBa1kxaUJRQ1FwQldTdEhidFdyZHp4SlJtWCs4VmJ1WUFBTmhIc1FJQUtCQUkvRm5TNThYRnhhcW9xSEE3VGt6WXUzZXZpb3VMSmVtemhvYUdsUzdIQVFEWVJMRUNBS2lzckt6V3Nxelp4aGk5OHNvcmJzZUpDYSs4OG9xTU1UTEd6QzRySzZzOTh6TUFBT0dNWWdVQWtDUWxKQ1RNbDFTemF0VXFiZG15eGUwNFVXM0xsaTBxTEN5VXBKckV4TVQvNTNZZUFJQjkzQlVRQU5Ba0t5dHJpbVZaU3k2ODhFSzkvdnJyU2s1T2RqdFMxS211cnRia3laTlZWVlVsWTh5VTB0TFNwVzVuQWdEWTE4WHRBQUNBOFBIdmYvLzc3Nm1wcVgyKytPSUw3NlpObS9TdGIzMUwzYnAxY3p0VzFLaXNyTlNQZi94amZmcnBwNUwwMjlMUzBsbHVad0lBZEF4ZUNnZ0FhTUhqOGZ3ZlNSdDM3OTZ0cVZPbmF0T21UVExHdUIwcm9obGp0R25USmsyZE9sVjc5dXlScEkyV1pkM3ZkaTRBUU1maHBZQUFnSk5rWkdTY201U1V0RWpTclpLVW1abXBpUk1ucW4vLy91cmJ0Nis2ZCsvdWNzTHdkL2p3WVZWVVZHajM3dDBxS0NqUXJsMjdHbmN0UG5Ma3lBL0x5OHVQdVprUEFOQ3hLRllBZ05aWVhxLzNoNUptU0xyWTVTelJZSytrV1NVbEpiK1Z4QklnQUVRWmloVUE0TFJ5YzNQampoNDlPc2tZTTFGU3RxUmVraEpjamhVSjZpVjlKc2xuV1ZaQnQyN2RsaFVYRndmY0RnVUFBQUFBQUFBQUFBQUFBQUFBQUFBQUFBQUFBQUFBQUFBQUFBQUFBQUFBQUFBQUFBQUFBQUFBQUFBQUFBQUFBQUFBQUFBQUFBQUFBQUFBQUFBQUFBQUFBQUFBQUFBQUFBQUFBQUFBQUFBQUFBQUFBQUFBQUFBQUFBQUFFMTVWT1FBQUFOMUpSRUZV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zT0gvQS9NZG1odHAvYXpqQUFBQUFFbEZUa1N1UW1DQyIsCiAgICJUeXBlIiA6ICJmbG93IiwKICAgIlZlcnNpb24iIDogIiIKfQo="/>
    </extobj>
    <extobj name="ECB019B1-382A-4266-B25C-5B523AA43C14-43">
      <extobjdata type="ECB019B1-382A-4266-B25C-5B523AA43C14" data="ewogICAiRmlsZUlkIiA6ICI4NTc3Mzc4NjMwMCIsCiAgICJHcm91cElkIiA6ICI0OTg2Mjc1MzQiLAogICAiSW1hZ2UiIDogImlWQk9SdzBLR2dvQUFBQU5TVWhFVWdBQUFmVUFBQUdxQ0FZQUFBQVNrTjB6QUFBQUNYQklXWE1BQUFzVEFBQUxFd0VBbXB3WUFBQWdBRWxFUVZSNG5PemRlMXpVVmY0LzhOZjVERGRCRUZIV2E2dW01cWFid0l4b1hrUFRNRFVVWmlqWHlySTF4ZXh1Vmc4ZnRlbTN0cjV0MjdmTC9qYlJMTXZOM0dJR3ZOL3lnaVlxd1F4aW9abGdtcGNrVjFRVUZKajVuTjhmTUxPZzNGUmdoZyt2NStQUm81bnp1YjF4NW5QZTh6bWY4emtISUN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bW9COUhxOTFPdjEwdDF4RUJGUjQxUGNIUUFSRVJFMURDWjFJaUlpaldCU0p5SWkwZ2dtZFNJaUlvMWdVaWNpSXRJSUpuVWlJaUtOWUZJbklpTFNDQ1oxSWlJaWpXQlNKeUlpMGdnbWRTSWlJbzFnVWljaUl0SUlKblVpSWlLTllGSW5JaUxTQ0NaMUlpSWlqV0JTSnlJaTBnZ21kU0lpSW8xZ1VpY2lJdElJSm5VaUlpS05ZRkluSWlMU0NDWjFJaUlpaldCU0p5SWkwZ2dtZFNJaUlvMWdVaWNpSXRJSUpuVWlJaUtOWUZJbklpTFNDQ1oxSWlJaWpXQlNKeUlpMGdnbWRTSWlJbzBRN2c2QUdrNy8vdjI3ZW5sNXZYSlY4Y3lLL3krcVhHaTMyOS9ZdjMvL2lhYUpqSWlJbWdLVHVvYkV4OGZyY25OelR3b2hPdFMybnBReXYxZXZYbDJTa3BJY1RSVWJFUkUxUHAyN0E2Q0djK0RBQWRtbFM1ZWVBQWJVc2VxL3RtN2R1cllwWWlJaW9xYkRlK29hbzZxcXBSNnIxV2NkSWlKcVpwalVOVVpSbEIxU3lvSmFWam5icGsyYkhVMFdFQkVSTlJrbWRZMnhXcTFsUW9oVnRheXlLalUxMWQ1a0FSRVJVWk5oVXRjZ0lVU056ZXVLb3JEcG5ZaElvNWpVTmVqQ2hRdGJBQlJXczZqdy9QbnpXNXM2SGlJaWFocE02aHFVbTV0YklxV3NybmY3bXR6YzNKSW1ENGlJaUpvRWs3cEcxZEFFejZaM0lpSU5ZMUxYS0NIRVJnREZsWXFLaFJDYjNCVVBFUkUxUGlaMWpiSmFyY1VBTmpqZkN5SFdWNVFSRVpGR01hbHJtSlRTMWR4ZXowRnBpSWlvR1dOUzF6QWZINTkxenRmKy92N3JhbHVYaUlpSVBKeGVyMStqMSt0WHV6c09JaUpxZkY3dURvQWFuVVVJSWQwZEJCRVJOVDVPdmFwTlNrUkV4RWdoeEw4QWRBSndRVXBwek1ySzJnNUFkWE5zUkVUVVNKalVOV1Rnd0lIdEhBN0hvMUxLbVFCNlY3UEtZU0hFSXAxTzk5bDMzMzEzdHFuakl5S2l4c1drM3Z5SkFRTUdERkZWTlFGQVBBQmZBT2pZc1NQaTR1SXdiTmd3N05xMUM4bkp5VGg5K3JSem14SUFTYXFxTHR5M2I5OGVBR3llSnlMU0FDYjFabXJRb0VGQmRydjlJU2xsQW9BN0FFQUlnV0hEaHNGa01tSElrQ0ZRbFA4KzNLQ3FLbmJ2M2cyejJZeGR1M1pCU2xjZS8xNElrZWpsNWZWRmVucDZkZVBGRXhGUk04R2szc3dZREFaOVJTS2ZBaUFBQU5xMWE0ZlkyRmhNbWpRSm5UcDFxbk1mdi83NksxSlNVcENTa29LQ0F0ZlU2MFVBdmxRVVpXRm1abVpXWThWUFJFU05oMG05R1RBWURQNVN5Z2NBekFJUTZTd2ZPSEFnakVZam9xS2k0T1YxL1E4eTJPMTJwS2Ftd21LeDRMdnZ2bk9WU3ltL0UwSWtDaUcrNGloMFJFVE5CNU82QjR1SWlPZ0xZS1lRNGhFQWJRQWdLQ2dJTVRFeGlJdUxRN2R1M1Jyc1dNZU9IVU55Y2pKV3IxNk53a0pYSy93RktlWG5Rb2hFbTgxMnNNRU9Sa1JFallKSjNjUDA2dFhMTnpBd01FNElrUUJnaExNOExDd01ScU1SbzBlUGhxK3ZiNk1kdjZTa0JGdTJiSUhGWWtGMmRuYmxSVHVrbElrWEwxNU00ZlN0UkVTZWlVbmRRMFJHUnQ3cWNEaG1BbmdNUUhzQThQZjN4L2p4NDJFMEd0RzdkM1ZQcURXdXc0Y1B3Mkt4WU4yNmRTZ3VkclhDbnhGQ2ZLb295dUtNakl3alRSNFVFUkhWaUVuZGphS2lvcnd1WHJ3NG9hTGpXN1N6dkUrZlBvaVBqMGQwZERUOC9mM2RHR0c1NHVKaWJOeTRFV2F6R1ljT0hhcThhSk1RSWpFd01IQnRhbXFxM1YzeEVSRlJPU1oxTndnTEMrdWkwK2tlQnpBZFFCY0E4UFgxUlhSME5Fd21FL3IyN1FzaFBPK2prVkxpd0lFRE1Kdk4yTGh4STBwTFM1MkxUZ0w0Mk9Gd0xNbk96ajdweGhDSmlGbzB6OHNjMnFYbzlmb3hBQklBM0FkQUJ3QTlldlNBeVdUQ3VISGpFQlFVNU5ZQXIwZGhZU0hXclZzSHM5bU1vMGVQT29zZEFOWUFTTFRaYk4rQVE5SVNFVFVwSnZWR0ZoRVJFUXJnTVNIRURBQzNBb0NYbHhmdXZ2dHVHSTFHNlBWNmo3d3FyeThwSld3Mkd5d1dDN1p1M1FxNzNkVUtmd1RBSWlubDBxeXNyRE51REpHSXFNVm92dG5FczRtSWlJamhpcUlrU0NsTkFMd0JvRXVYTG9pTGkwTk1UQXhDUWtMY0hHTERLeWdvd09yVnEyR3hXSERxMUNsbmNha1F3cUtxYW1KV1Z0YTM0SkMwUkVTTmhrbTlBWVdIaHdmcmRMcXBGUjNmYmdjQVJWRXdZc1FJbUV3bURCbzBxTXJRclZxbHFpcjI3dDBMaThXQ25UdDNRbFZkcmZBSHBKU0pVc3AvN2R1Mzc3dzdZeVFpMGlJbTlac25CZ3dZRUZreG9jcGtBSzBBSURRMDFEVjBhNGNPSGR3Ym9Sdmw1K2RqNWNxVlNFbEp3Wmt6cmxiNHl3QldxS3FhdUcvZnZrenc2cDJJcUVFd3FkK2dmdjM2dGZiMTlmMFR5anUrNlozbGd3Y1Boc2xrd3ZEaHc2SFQ2ZHdYb0lkeE9Cell1WE1uekdZejl1N2RXM21SRFVCaVNVbkppcHljbkV0dUNvK0lTQk9ZMUsrVHdXQzRvNko1L1dFQWdRQVFIQnlNaVJNbklpNHVEbDI3ZG5WdmdNM0FpUk1ua0p5Y2pGV3JWdUg4ZVZjcmZDR0Fmd2toRmxtdDF1L2RHQjRSVWJQRnBGNFBVVkZSZm9XRmhTWXBaWUlRWXFpelhLL1h3MmcwWXRTb1VmRHg4WEZuaU0xU2FXa3B0bTNiQnJQWmpLeXMvMDRNSjZWTUUwSWtCZ1VGbVZOVFU2KzRNVVFpb21hRlNiMFc0ZUhodllVUU13Rk1FMEtFQUVEcjFxMHhZY0lFeE1YRm9XZlBubTZPVUR2eTh2S1FuSnlNTld2V29LaW95Rmw4RnNCU1ZWVVg3OXUzNzdBYnd5TWlhaGFZMUs5aU1CaThWVldOcVpoUVpiU3p2RisvZmpBYWpiam5ubnZRcWxVck4wYW9iWmN2WDhibXpadGhzVmlRazVOVGVkRVdLV1dpb2lpcnJWWnJtYnZpSXlMeVpFenFGUXdHdys4QlBDNmxuQTZnSXdENCtmbmgzbnZ2aGRGb3hPMjMzKzdlQUZ1Z2d3Y1B1b2FrdlhMRjFRcC9XZ2l4Qk1ESFZxdjFGemVHUjBUa2NWcDBVbytQajljZE9YSmtiRVhIdDNFQUZBRG8yYk9uYStqVzFxMWJ1emRJd3FWTGw3QisvWHFZeldiazVlVTVpMVVBNnhSRlNlelJvOGVtcEtRa2h4dERKQ0x5Q0MweXFVZEdSblowT0J5UEFaZ0JvQnNBZUh0N1k4eVlNVENaVE9qZnYvOE5EZDM2K3V1dkF3QU1CZ1BHalJ0WDY3cVZSbHk3SVowN2Q2NXhtY0ZnQUFBODlOQkRlTzY1NTF6bFo4K2V4WXN2dm9qcDA2ZGo4T0RCVmJiWnYzOC8vdmQvL3hkMzNua25ubjc2Nld2MmFiZmI4YzQ3NytEdzRjTm8wNllOM252dnZadUsvMFpJS2JGLy8zNGtKU1ZoeTVZdEtDdHp0Y0lmQTdCWXA5TjltcEdSY2JySkF5TWk4aEJlN2c2Z0NRbTlYajhTUUlMRDRZaEZ4ZDkreXkyM3dHZzA0cjc3N2tOd2NQQk5IV0RseXBVQUFKMU9WMmRTdisrKysyN3FXRmFyOWJxM21UdDNMckt6cy9Ia2swL2lnUWNld0hQUFBRZHZiMjhBZ00xbXc2RkRoNnJjWnFqMHVCa0E0TWlSSThqT3pvYWlLRGgrL0RnQ0F3TmR5NEtDZ3FvZExlL0hIMy9FaWhVcmtKbVppVE5uenNEUHp3OS8rTU1mTUdYS0ZFUkZSVjFYL0VJSWhJV0ZJU3dzREMrODhBTFdyRmtEczltTUV5ZE9kQVB3VjRmRHNVQ3YxeWNMSVJLdFZtc3FPS2dORWJVd21yOVNIeng0Y0VoSlNja2pRb2dFS2VWdFFQblFyU05Iam9UUmFFUmtaT1IxRGQxNjVjb1ZuRDVkL2NXZzBXZ0VBTnh6enoyWU9YTm10ZXQwNzk0ZHdIK3ZwbStVTTZsZnVuUUo1ODZkcTdKczBxUkpydjgvK3VpanJ2SmZmdmtGYjd6eEJuNzc3VGNBNVozLzNuNzdiWFRxMUFrelpzeTRvUjhLVGhhTHhmVzNWVFpuemh5a3BxWld1ODM4K2ZOditzZU5xcXJJeU1pQTJXeEdhbXFxYTBoYUljUlBVc3BFWDEvZnovZnMyVk53VXdjaEltb210SnJVUlVSRXhKMFZFNm84QU1BWEFEcDA2SUM0dURoTW5EZ1JvYUdoTjdSanE5V0tHVE5tM0hCZ3pzVHBUT3B6NXN6QmxDbFRBQUF2dmZRU3Rtelpnai8rOFk5WXVuVHBOVDgydnZycUsvenRiMytyc3A4dnYvd1M3Nzc3N25YRjRPM3RqYkt5TW9TRWhHRHg0c1VJREF6RXZmZmVXM21NOXV0V1cxSS9lZklrN3JubkhvU0VoR0RYcmwzWXZuMDdBS0JyMTY1WXRXclZEUi96YW1mT25NR3FWYXVRbkp5TS9QeDhaL0VWSWNUWFVzcUZOcHN0SGJ4Nkp5SU4wMVR6KzZCQmc0THNkdnVERlIzZitrc3BJWVRBa0NGRFlES1pNSFRvVUk4Y3VsVktpWGZmZlJkYnRtd0JBUHp3d3crSWpJeXNzazVVVkJRR0RoellJTWVMalkxRnAwNmRNSFRvVVBUbzBRT2ZmUElKVkZYRjZOR2o4ZUtMTDJMQ2hBa0lDQWh3dFFEVWxMQ0J1bHNjcGs2ZFdxV1BRa3hNREtLam8xRlFVT0JxTVdnb29hR2htRDU5T3FaTm00YTB0RFNZeldiczNyM2JUMG81RmNCVXZWNmZMYVZNOVBmM1g1NldsbmF4UVE5T1JPUUJOSkhVdzhQRHd4VkZTU2dySzNzUVFHc0FDQWtKd2FSSmt4QWJHMXRycDdMclpUQVlhbXltZGlZNG85R0llZlBtMVd0L2x5NWR3a3N2dllTdFc3Y0NBTUxDd3RDblR4OEE1UjNibk9WZHVuU3BkdnNwVTZhNHJ2U3ZqdVBxam5ManhvMURmbjQrMnJadGk2bFRwN3JLMTY1ZEN3Q0lqNDlIUmtZR1NrdExNWDc4ZU1USHgyUEtsQ2w0NnFtblhQZmVxN05reVpJYS80M0R3c0txdkw5OCtUS0tpNHNCbFBkbmFBdzZuUTRqUm96QWlCRWpjT3JVS2FTa3BHRGx5cFVvS0NnSUUwSXN2SHo1OGp0NnZYNTV4WVF5K3hvbENDSWlOMmpXU1YydjE4Y0NTSzVjTm1EQUFNVEh4K091dSs2cU5SRjVpcjE3OStMNzc3OUh6NTQ5OGNzdnYrREhIMy9FNk5HajBiNTllL3pmLy8wZkFHRDQ4T0Y0OHNrbmtaS1NjbFBIY25aOGE5T21UWlh5OFBCdytQbjVvWC8vL2xpOWVqWGF0MitQdSsrKzIvWGpvcTZlK3IxNjlhclhNTGtPaHdQejU4OTNQWE4rLy8zMzM4aWZjVjA2ZCs2TTJiTm5ZOGFNR1VoTlRZWFpiRVptWm1ackFETVZSWm1wMStzQklNNW1zOTNjUHk0UmtRZG8xa2tkd0JlVjM3ejc3cnZYM2FQNmVseThlQkZuejU2dDEzcEhqeDZ0Y1hubHB1elJvMGRqOXV6WitPTWYvNGdWSzFiZ0gvLzRSNVY3NUFNSERzUWJiN3h4MDJQTFg3bHlCU1VsSlFDdVRlb2pSNDdFNk5HalhZKzVmZjMxMStqUm8wZVZkYTV1Z2o5NzlpenV1ZWVlZWg5ZlNvbDU4K1poMjdadEFNbzc4WmxNcGh2NVUyNkk4NUhGTVdQR0lEVTFGWFBtekttOCtBdTlYdStQOHZ2dGFzVi9sVjlYV3lhbFZJVVFFb0FxaEZDbGxHckZhK2w4WGQxMkZldld1ditLZmFzQVpLWFhxcFJTT2w5WHQxMmxPR1RsbUNySFd0MityOTVPVlZWWG1SQ2lSRXE1T0Nzcnl6VjNMaEY1cG1iZFVhNjZLM1dEd1lENCtIaEVSVVUxK0pXNjJXekdXMis5ZGRQN3NWcXRyaWJ5d1lNSFEwcUpBd2NPb0xDd0VFQjVBaEpDb0xTMEZFQjViLzNPblRzakpDUUUrL2Z2ZCszanRkZGVjeldkMzZoZHUzYkJ4OGNIT3AzT0ZWUGxCTzRzNjlLbEM3eTgvdnNiVUZWVkhEOStIQUNRbXBwYTVmRzI2bXpZc0FHdnZQSUtnUEw3N0U4Ly9mUU5qUVZ3bzhyS3lyQjkrM2FZemVicWJwL0U0YXJ2RVYzakZadk45bGQzQjBGRXRXdldWK29WVGFZaVBEdzhYS2ZUelpSU1BtUzFXbHRiclZhRWhJUmc0c1NKaUkyTnJmRit0Q2ZvMmJNbnZ2NzZhL2o1K1VFSWdRRURCdUNSUng1QjE2NWRrWkdSZ1crLy9SWlpXVmtvTFMzRmlCRWpYRW05b1RpUFc1ZVRKMC9lMUhIUzA5TUJBTGZmZmp1ZWVlYVptOXJYOVRoNThpUlNVbEt3YXRVcUZCUzRubXk3SklUNHd1RndMS3AwVDEwQklLS2lvcFF6Wjg0b29hR2hTa2xKaVNncUtsSUNBd09WSzFldUtLV2xwVXJyMXExRmFXbXBVbFpXcHZqNitpcDJ1MTFSVlZYNCtQZ29kcnRkY1RnY2lyZTN0eUtsRkE2SFEvSHk4bEpVVlZWVVZSWE8xenFkVGxGVlZaRlNDdWRyWjdtVVVrZ3BGVVZSYWl3RElGUlZWUlJGVVp6bGxkZVJVanJMaGZPMUVFSUJvRWdwaFhPZGlqTGhmRjNEZHYrRDhoLy9ubjh2aTRpYWQxSjNxcWlZWncwZE92VEY0dUxpQjRVUUNRVUZCV0ZMbHk3Rlo1OTloaUZEaHNCb05HTFlzR0UzMWZ2ZFpESmQwMlM4WThjT3pKa3pCMUpLZE9yVUNjdVdMVU5JU0FpdVhMbUM3ZHUzWSt6WXNiVW16UTRkT21EMTZ0VVFRaUE2T2hvWkdSbkl5TWdBVUQ1UCs2MjMzb29YWDN3UmQ5MTExelZYNVU4OTlSU21UWnQyelQ2ZHo4dkh4TVRna1VjZXVXYjUwcVZMc1hidDJub25kS0QySHZEMUVSQVFnRzdkdW1IQWdBRTN2SS82Y2pnYzJMVnJGeXdXQzNidjNvM3lsbTRBUURhQWhhMWF0ZnF5bXQ3dkVvQk1UVTI5OGVmNk5FaXYxM3NCZU0zZGNSQlIvV2dpcVR0VlZOU0pBQmJwOWZwQkZZKzJQWkNXbHVhWGxwYUdEaDA2SURZMkZwTW1UYnJoNTlRcnk4dkx3NnV2dmdvcEpRSUNBdkRCQng4Z0pDUUVPVGs1bUR0M0x2THo4L0hERHo5Zzd0eTV0ZTZudExRVXg0NGR3OXR2djQzUzBsSWNQMzRjeDQ0ZHc1RWpSL0RERHo4Z09qb2FBUUVCMTJ6WHZuMTd0Ry9mdnNiOUJnVUZWWnVJbmMzby92Nys5ZjVibjM3NjZTck43MWRMVHE2OTlicXVmNE9HOE50dnYySFZxbFZJU1VtcDhweTZsUElyUlZFV1dxM1c3OERuMUlsSXd6U1YxQ3VSTnB0dEw0Qzlnd2NQZnI2a3BHUXFnSVQ4L1B3K2lZbUpXTHg0TWFLaW9tQXltYTU3UkRtbjA2ZFA0Nm1ubmtKUlVSRzh2YjN4OTcvLzNUVy8rbTIzM1ladTNib2hQejhmLy83M3YrSHY3NC9aczJmWHVLOFZLMVpneFlvVkFBQWZIeC9jY3NzdCtQM3ZmNCtoUTRkaTh1VEo2TjY5dTZ1VFcwTTRjZUlFZ0dzN3pGV1dscGFHb1VPSHV0N2ZiUFA3aHg5K2lBMGJObURzMkxFTjJ2enVIRkV1S1NrSk8zYnNxRHlBemlFQWliNit2c3M0b2h3UnRSUmFUZW91RlJYNit3QStNQmdNVVZMS0JGVlY0N1p0MithMWJkczJkTzNhRlVhakVURXhNZlVlKy8zWXNXTjQ0b2tua0orZkQwVlI4TVliYjdnR2huRTRIQ2dySzhPOGVmTXdlL1pzbkR4NUVwOSsraW1DZ29MdzhNTVBWN3UvcmwyN1l0U29VVGg1OGlTT0h6K092THk4eXJPUkFRQVNFeE52K044Z0xTME54NDhmaDUrZkgzSnpjNUdabVFtZzVrbGhQdjc0WTJ6ZXZObDFHd0NvdnZuOTZOR2pycWIrMmhRVkZlSHp6ejhIQUN4YnRnelRwMCt2dHVYaGVwdzdkdzVyMXF5QnhXSngvVWdCVUFZZ1dWR1V4TXpNekIzZ1ZUa1J0VENhVCtxVlNLdlZ1aDNBOXNqSXlJNnFxazZUVXM0OGNlSkV0dzgrK0FBZmZmUVJSbzhlRFpQSmhMQ3dzQnJ2Tlo4NGNRSlRwMDdGcFV1WEFKUlBNdkxtbTI5aXdZSUZLQ2twZ2NOUi9ReWd6cWI1OGVQSFZ5bS9jT0VDSms2Y2lCRWpScmpLL3ZPZi8rRElrU000Y3VRSURoMDZoTHk4UElTR2h1Skd4MGs1ZS9ZczNubm5uV3ZLSzA4NlV6bnVqUnMzWGxOMk13SUNBaEFiRyt1NlVyL1JoQzZsUkhaMk5wS1NrckIxNjlZcXM3UUpJUlo1ZVhsOW1wNmVubC9iUG9pSXRLd2xKWFdYaXVrNTM0cVBqLy9ienovL0hLMnFha0paV2RuNERSczJLQnMyYkVEUG5qMWhOQm94ZnZ6NGErWlQ3OXk1TTlxMGFlTks2ZzZIQXhjdVhLanptRkpLTEZpd0FCMDZkS2pTV1d6SmtpVllzbVJKbmR2WDU0cTRKbjM3OW9VUXd0VmhMRFEwRkZPbVRNSFlzV05kNitUazVMaGU2M1E2UkVkSFYvbGhjelBIQjRCWFhubkY5VWpiOWJwMDZSTFdyVnNIaThWeTlYenFhNldVaWIxNjlkck0rZFNKaUZwb1VuZXFTQVRyQWF3M0dBeS9WMVYxdWhCaWVsNWVYcWUvL2UxditQREREekYyN0ZpWVRDYlhsS1NLb3VEeHh4K0h4V0pCaHc0ZEVCd2NqS0NnSUFRRUJDQWdJQUQrL3Y3dzgvTkRxMWF0NE92cmkxYXRXdUdubjM3Q20yKytpY21USitPT08rNW84cit6VjY5ZXlNaklnTjF1aHhDaTJnNXZnWUdCNk5xMUsrNjQ0dzdNbWpYcm1zY0FyMzVPSFNpZlkvMW03N1hYNXVEQmd6Q2J6ZGk0Y2FOckZEb0F2MG9wbHlpS3NzUnF0ZjRDQUZsWldZMFdBeEZSYzlLc0I1OXBEQWFEd1Z0S2VaK1VNa0VJTWNaWjNyZHZYeGlOUmtSSFI2TlZxMWJYdmQvOC9IeDA2TkRCOVg3Um9rVUFnQ0ZEaHRRNzBSODRjQUM3ZCs4R0FFeWZQcjNHOVp6cmRPblNCZDI2ZGF0M2pIYTcvWnJFN2V4RjNyNTkrMnNlQjFSVkZVVkZSUUJRNStBejlYWDU4bVZzMnJRSkZvc0ZCdzRjY0pWTEtiOFJRaVFLSWRaWXJkYXlXblpCRFVpdjE4OUgrU050QzJ3MjIzejNSa05FZFdGU3IwVjRlSGh2UlZGbUFKZ0dvQjFRZm45NHdvUUpNQnFOcnQ3dWRQUHk4dkpnc1Zpd2R1MWExdzhGQUdjQmZBcGdzYzFteTNWZmRDMFhrenBSODhLa1hnOVJVVkYraFlXRlJnQUpBSVk1eXlNaUltQXltVEJxMUtpYkhwdTlKU290TGNYV3JWdGhOcHV2N2dTNEMwQmlVRkNRSlRVMTlVb05tMU1UWUZJbmFsNWE5RDMxK3FwSUxNc0JMRGNZREhkSUtXY0NtSnFWbFJXWWxaV0Y0T0JneE1URUlDNHVydEdtRTlXUzQ4ZVBJems1R2F0WHIzYk5IQWVnRU1BeVJWRVdaV1ptL3VERzhJaUltaTFlcWQrZ2Z2MzZ0ZmJ6ODVzc3Bad0ZRTzhzdi9QT08yRXltVEJpeElpYkdwSldhK3gyTzNidTNBbXoyZXdhQjc2Q1RRaXg4TXFWSy8vT3ljbTU1Szc0cUhxOFVpZHFYbmlsZm9NcUV0QVNBRXZDdzhNakZVVkpBUENudlh2M3R0cTdkeTlDUTBNeGFkSWt4TWJHVnVrZzE5TGs1K2NqSlNVRksxZXV4Smt6cnBrN0x3c2h2bFJWTlRFckt5dlRuZkVSRVdrSnI5UWJVSGg0ZUxBUTRtRWhSQUtBdmtENUkzQWpSb3lBMFdqRW5YZmVlVU5EMGpZM3FxcGl6NTQ5c0ZncytQYmJieXNQM1hvQXdFSlZWYi9ZdDIvZitWcDJRUjZDVitwRXpRdXYxQnRRUmFMNkI0RC9wOWZyaDFVTVNXdEtUVTMxU1UxTlJlZk9uVjFEMG9hRWhMZzUyb1pYVUZDQVZhdFdJVGs1R2FkT25YSVdsMG9welVLSVJKdk50Z3NjdXBXSXFOSHdTcjJSUlVSRWhBb2hwZ0dZQ2VCV29IeVd0RkdqUnNGa01rR3YxOWQ3K2xOUEpLV0V6V2FEMld6R3RtM2JZTGZibll2eUFDeVNVbjZXbFpWMXBwWmRrQWZqbFRwUjg5SjhzMG56b3hnTWh0RVYwOEhHQU5BQlFQZnUzV0V5bVRCKy9IZ0VCUVc1TjhMclVGaFlpTFZyMThKc051UFlzV1BPWWdlQTFVS0lSS3ZWdWdYbFE3bFNNeElSRVpFZ2hBaXZWRFFBZ0FHQUZZQ3IvNE9VY2w5V1Z0YU56ekpFUkkyQ1NkME53c0xDdXVoMHV1a0FIZ2ZRQlNpZmNqVTZPaG9ta3duOSt2WHp5S3QzS1NWeWNuSmdOcHV4YWRNbWxKYVdPaGVkRkVJc3R0dnRuMlJuWnpmZXVMSFU2QXdHd3hOU3luL1d0WjRRWXJiVmF2Mm9LV0lpb3ZyenZNelJna1JGUlhtZFAzOStmRVhQK1doVWZCNTkrdlNCeVdUQzJMRmo0ZS92Nzk0Z0FSUVhGMlBEaGcyd1dDdzRkT2lRczFnQzJLU3FhbUp3Y1BDNjFOUlVleTI3b0diQ1lEQjBrbEtlcW1zOW5VN1hxV0ppSkNMeUlFenFIaUl5TXZKV1ZWVm5TQ2tmQXhBS0FQNysvaGczYmh4TUpoTjY5KzdkNURFZFBud1lack1aNjlldlIzRnhzYlA0akpUeUV5OHZyNDh6TWpLT05IbFExT2dpSWlKMkNTR0cxckxLTHB2Tk5yekpBaUtpZW1OUzl6Qzlldlh5RFF3TWpLMTRMTzR1WjNuLy92MWhOQm94WnN3WStQcjZOdHJ4UzBwSzhNMDMzOEJpc1dELy92MnVjaWxscWhBaXNiQ3djR1Z1Ym01Sm93VkFicWZYNjU4RDhIKzFyUEtjeldaN3Y2bmlJYUw2WTFMM1lIcTkvbmFVOTVwL0JFQXdBQVFGQmJtR3BMMmVHZGpxY3V6WU1WZ3NGcXhac3dhRmhZWE80dk1BUGdld3lHYXpIV3l3ZzVGSGk0aUk2Q2FFT0ZyVGNpRkVOK2UwdDBUa1daalVtd0dEd2VBdnBieGZTamxMQ0RIUVdSNFpHUW1UeVlTNzdyb0wzdDdlMTczZnNySXk3Tml4QTJhekdSa1pHWlVYcFFOSUZFSjhiYlZhaTJ2WW5EUk1yOWRub0x6bis5VXliRGJid0dyS2ljZ0RNS2szTXdhRFFWOHhvY3lEQUFJQUlDUWtCTEd4c1lpTmpVV25UcDNxM01lcFU2ZGNRN2NXRkJRNGk0c0FMRmNVSlRFek16T3JzZUtuNXNGZ01Md3NwWHpyNm5JcDVjdFpXVmx2dXlNbUlxb2JrM296TldqUW9DQzczZjVneFlReWR3Q0FFQUpEaHc2RnlXVEMwS0ZEcXd4SnE2b3EwdExTWURhYmtaYVdCaWxkQTd0OUw0Ulk2T1hsdFR3OVBiM3cyaU5SU3hRZUh0NWJVWlNmcWxuVW0zUGJFM2t1SnZYbVQ0U0hodyt1ZUN6dWZnQytBTkN4WTBmRXhzWmkrUERoK1BiYmI1R2NuSXo4L0h6bk5pVUF2cFpTTHN6S3l0b0xEdDFLMWREcjlmdFI4WU94d242YnpSYm1ybmlJcUc1TTZob3ljT0RBZG1WbFpZOVU5Snl2N2htNHcxTEtSRzl2NzgrLysrNjdzMDBkSHpVdmVyMytOUUR6bmUrRkVLOVpyZGIvY1Y5RVJGUVhKblZ0RW5xOWZpU0FCQURqQUt3SGtHaXoyYmFEVitWVVR3TUdEUGlqcXFyZk85ODdISTQvWm1kbjU3Z3pKaUtxSFpPNnh1bjFlZ2tBTnB1Tm56VmRMNkhYNjEzajk5dHNOZ1g4VVVqazBiUS91VGNSM1NnSllHM0Y2elZnUWlmeWVFenFSRlNiK1FBZ2hKanYzakNJcUQ2WTFJbW9SamFielFaZ205VnE1ZGdGUk0yQWw3c0RJQ0tQcEVSRVJJd1VRdndMUUNlOVhsOGdwVFJsWldWdEI2RFd0VEVSdVFlVE9oRzVEQnc0c0ozRDRYaTBZdFRDeW85RkJnc2h0dWoxK3NOQ2lFVTZuZTR6UGhaSjVIbllJMXJqMlB1ZDZrRU1HREJnaUtxcUNRRGlVV2tBbzdpNE9Bd2JOZ3k3ZHUxQ2NuSXlUcDkyVGFGZUFpQkpWZFdGKy9idDJ3TjJvaVB5Q0t6b05ZNUpuV3BTTWRUd1ExTEtCRlFhYW5qWXNHRXdtVXdZTW1USU5VTU43OTY5RzJhekdidDI3YnA2cU9GRUx5K3ZMempVTUpGN3NhTFhPQ1oxdWxyRnBFQUpBS2FnWWxLZ2R1M2FJVFkyRnBNbVRhclhwRUMvL3ZvclVsSlNrSktTY3ZXa1FGOHFpcktRa3dJUnVRY3JlbzFqVWlmQU5YM3ZBd0JtQVloMGxnOGNPQkJHb3hGUlVWSHc4cnIrTGpaMnV4MnBxYW13V0N6NDdydnZYT1ZTeXUrRUVJbENpSzg0ZlM5UjAyRkZyM0ZNNmkxYlJFUkVYd0F6aFJDUEFHZ0RBRUZCUVlpSmlVRmNYQnk2ZGV2V1lNYzZkdXdZa3BPVHNYcjFhaFFXdWxyaEwwZ3BQeGRDSk5wc3RvTU5kakFpcWhZcmVvMWpVbTk1ZXZYcTVSc1lHQmhYTWJIUENHZDVXRmdZakVZalJvOGVEVjlmMzBZN2ZrbEpDYlpzMlFLTHhZTHM3T3pLaTNaSUtSTXZYcnlZa3B1Ylc5Sm9BUkMxWUt6b05ZNUp2ZVdJakl5ODFlRnd6QVR3R0lEMkFPRHY3NC94NDhmRGFEU2lkKy9xSnU1clhJY1BINGJGWXNHNmRldFFYT3hxaFQ4amhQaFVVWlRGR1JrWlI1bzhLQ0lOWTBXdmNVenEyaFlWRmVWMThlTEZDUlVkMzZLZDVYMzY5RUY4ZkR5aW82UGg3Ky92eGdqTEZSY1hZK1BHalRDYnpUaDA2RkRsUlp1RUVJbUJnWUZyVTFOVDdlNktqMGdyV05GckhKTzZOb1dGaFhYUjZYU1BBNWdPb0FzQStQcjZJam82R2lhVENYMzc5b1VRbnZlUlN5bHg0TUFCbU0xbWJOeTRFYVdscGM1Rkp3Rjg3SEE0bG1Sblp5V2lEWFVBQUNBQVNVUkJWSjkwWTRoRXpacm5uZlhVb0pqVU5VWFI2L1ZqQUNRQXVBK0FEZ0I2OU9nQms4bUVjZVBHSVNnb3lLMEJYby9Dd2tLc1c3Y09ack1aUjQ4ZWRSWTdVRDRqWEtMTlp2c0dISktXNkxxd290YzRKdlhtTHlJaUloVEFZMEtJR1FCdUJRQXZMeS9jZmZmZE1CcU4wT3YxSG5sVlhsOVNTdGhzTmxnc0ZtemR1aFYydTZzVi9naUFSVkxLcFZsWldXZmNHQ0pSczlGOGF3S3FGeWIxWmt0RVJFUU1WeFFsUVVwcEF1QU5BRjI2ZEVGY1hCeGlZbUlRRWhMaTVoQWJYa0ZCQVZhdlhnMkx4WUpUcDA0NWkwdUZFQlpWVlJPenNySytCWWVrSmFvUkszcU5ZMUp2WHNMRHc0TjFPdDNVaW81dnR3T0FvaWdZTVdJRVRDWVRCZzBhVkdYb1ZxMVNWUlY3OSs2RnhXTEJ6cDA3b2FxdVZ2Z0RVc3BFS2VXLzl1M2JkOTZkTVJKNUlsYjBHc2VrM2l5SUFRTUdSRlpNcURJWlFDc0FDQTBOZFEzZDJxRkRCL2RHNkViNStmbFl1WElsVWxKU2NPYU1xeFgrTW9BVnFxb203dHUzTHhPOGVpY0N3S1N1ZVV6cW5xdGZ2MzZ0ZlgxOS80VHlqbTk2Wi9uZ3dZTmhNcGt3ZlBodzZIUTY5d1hvWVJ3T0IzYnUzQW16Mll5OWUvZFdYbVFEa0ZoU1VySWlKeWZua3B2Q0kvSUlyT2cxamtuZDh4Z01oanNxbXRjZkJoQUlBTUhCd1pnNGNTTGk0dUxRdFd0WDl3YllESnc0Y1FMSnljbFl0V29WenA5M3RjSVhBdmlYRUdLUjFXcjkzbzNoRWJrTkszcU5ZMUwzREZGUlVYNkZoWVVtS1dXQ0VHS29zMXl2MThOb05HTFVxRkh3OGZGeFo0ak5VbWxwS2JadDJ3YXoyWXlzclA5T0RDZWxUQk5DSkFZRkJabFRVMU92dURGRW9pYkZpbDdqbU5UZEt6dzh2TGNRWWlhQWFVS0lFQUJvM2JvMUpreVlnTGk0T1BUczJkUE5FV3BIWGw0ZWtwT1RzV2JOR2hRVkZUbUx6d0pZcXFycTRuMzc5aDEyWTNoRVRZSVZ2Y1l4cVRjOWc4SGdyYXBxVE1XRUtxT2Q1ZjM2OVlQUmFNUTk5OXlEVnExYXVURkNiYnQ4K1RJMmI5NE1pOFdDbkp5Y3lvdTJTQ2tURlVWWmJiVmF5OXdWSDFGallrV3ZjVXpxVGNkZ01Qd2V3T05TeXVrQU9nS0FuNThmN3IzM1hoaU5SdHgrKyszdURiQUZPbmp3b0d0STJpdFhYSzN3cDRVUVN3QjhiTFZhZjNGamVFUU5qaFc5eGpHcE42NzQrSGpka1NOSHhsWjBmQnNIUUFHQW5qMTd1b1p1YmQyNnRYdURyRkJjWEh6TjVDNi8vdm9yMnJWcjE2RDM4KzEyT3hSRjhham42UzlkdW9UMTY5ZkRiRFlqTHkvUFdhd0NXS2NvU21LUEhqMDJKU1VsT2R3WUlsR0RZRVd2Y1V6cWpTTXlNcktqdytGNERNQU1BTjBBd052YkcyUEdqSUhKWkVMLy92MGJiZWpXMTE5L0hRQmdNQmd3YnR5NE90Y3ZMQ3pFOHVYTHNXTEZDaVFrSkdES2xDa29LeXZESzYrOGdtM2J0bUhhdEdsNDRva25YT3ZQbXpjUEkwZU94Smd4WTZyczUralJvekFhalFBQXE5VjZ6WEdLaTR2eDdydnZZdHUyYlpnelp3NG1USmh3TTM5bW81QlNZdi8rL1VoS1NzS1dMVnRRVnVacWhUOEdZTEZPcC9zMEl5UGp0QnRESkxvcFh1NE9nS2daRVhxOWZpU0FCSWZERVl1SzgrZVdXMjZCMFdqRWZmZmRoK0RnNEVZUFl1WEtsUUFBblU1WHI2U2VtNXVMTDc3NEFsZXVYTUY3NzcySDd0MjdZOGlRSWZEejg0T3FxdmpYdi82RmlSTW5va3VYTGxpelpnMDJiZHFFN2R1MzQ0NDc3a0RIamgzckhaZS92ejkrL3ZsbkZCWVdZc21TSlJnM2JseWRWK3MvL3ZnalZxeFlnY3pNVEp3NWN3Witmbjc0d3gvK2dDbFRwaUFxS3FyZXg2NHZJUVRDd3NJUUZoYUdGMTU0QVd2V3JJSFpiTWFKRXllNkFmaXJ3K0ZZb05mcms0VVFpVmFyTlJVYzFJYWFHU1oxb2pvTUhqdzRwS1NrNUJFaFJJS1U4amFnZk9qV2tTTkh3bWcwSWpJeXNzR2JtcTljdVlMVHAydS9ZTHg0OFdMbDJjMnE2TjY5dSt1MVhxL0hPKys4ZytlZWV3NTJ1eDJmZlBJSmhnd1pndG16WitPYmI3NkJyNjh2RGgwNkJKMU9oM2ZlZVFjQThQTExMOWNyb1JjVUZLQ3dzTkQxZnR5NGNjak96a1pCUVFIUzB0Snd5eTIzVkJ1VDA4Y2ZmNHpVMUZUWCs2S2lJbGl0VmxpdFZzeWZQeC8zM1hkZm5USGNxT0RnWUR6ODhNTjQ4TUVIa1pHUkFiUFpqTlRVVkM5VlZlK1hVdDV2TUJoK2tsSW0rdnI2ZnI1bno1NkNSZ3VFcUFHeFNWYmoyUHgrdzBSRVJNU2RGUk9xUEFEQUZ3QTZkT2lBdUxnNFRKdzRFYUdob1kxMmNLdlZpaGt6WnR6VTlrQjVFLzNOZVBiWlp6Rnc0RUJNbVRMbG1tWERoZzFENTg2ZDhmWFhYMTlYVEpYTm1UTUhKMCtleEQzMzNJT1FrQkRzMnJVTDI3ZHZCd0IwN2RvVnExYXR1cW40cjllWk0yZXdhdFVxSkNjbkl6OC8zMWw4UlFqeHRaUnlvYzFtU3dldjNzbUQ4VXFkcUpKQmd3WUYyZTMyQnlzNnZ2V1hVa0lJZ1NGRGhzQmtNbUhvMEtFY3VyVUJUWjA2dFVyL2c1aVlHRVJIUjZPZ29BQy8vZlpiazhjVEdocUs2ZE9uWTlxMGFVaExTNFBaYk1idTNidjlwSlJUQVV6VjYvWFpVc3BFZjMvLzVXbHBhUmViUEVDaU92RHFUZU40cFY0LzRlSGg0WXFpSkFCNEVFQnJBQWdKQ2NHa1NaTVFHeHVMenAwN3V6ZkFTcHhYMzBhakVmUG16YXZYdW84ODhnaGlZbUxxZlF4bmg3aG5uMzBXRHp6d0FFNmRPb1hWcTFmajg4OC9Cd0JZTEJhMGF0WEtOZEZNYW1vcXZ2cnFLOHlkT3hlMzNub3J6cDgvajFkZmZkVTF1MXg5T3cwV0ZSWGhubnZ1d1pVclY5Q3paODk2dHdJMHBsT25UaUVsSlFVclY2NUVRWUdyRmY0U2dPVVZFOHJzYzJONFJGWHdTcDFhTkwxZUh3c2d1WExaZ0FFREVCOGZqN3Z1dWd2ZTN0NXVpcXhodFczYkZ0MjdkOGZ4NDhmclhQZnFsZ2dmSHg5MDc5NGRsWFBYOHVYTDhkSkxMNkc0dUJnZmZQQUJ6R1l6QUdEOSt2VjQ4c2tua1ptWmlZeU1ET3pldlJ2YnRtM0QvUG56NjV4cHp1RndZUDc4K2E3bnllKy8vLzdyL1RNYlJlZk9uVEY3OW16TW1ERURxYW1wTUp2TnlNek1iQTFncHFJb00vVjZQUURFNGFydlVVc2lwVXpOeXNvYTZlNDRpRW1kNkl2S2I5NTk5OTFHNlhWOVBTNWV2SWl6WjgvV2E3MmFPc29CNVIzVDNuNzdiUUJBNzk2OUFRQ1RKazJxYzc4aElTSFhiSmVYbDRmczdHelhPc25KeWNqTnpjWHAwNmRkemVRelpzekF6Smt6QVFDalI0OUdhR2dvNXN5WmcrKysrdzczMzM4L1B2MzAweHFIeFpWU1l0NjhlZGkyYlpzclRwUEpWR2VzVGNuNXlPS1lNV09RbXBxS09YUG1WRjc4UlUzYnRRUkNpQ2gzeDBEbG1OU3BwWHNJbGE2dzVzeVpBNFBCZ1BqNGVFUkZSYm5sU24zVHBrMTQ2NjIzNmx4djgrYk4yTHg1YzQzTHJWWXJSbzhlWGVQeW1nZ2hydGx1MmJKbFZkNzcrL3RqLy83OTZOT25EeTVldklqWnMyZWp1TGpZTmNETjVjdVhzV1BIRHJ6eXlpdDQ3NzMzMExOblQ5eDY2NjAxSG5QanhvM1lzbVVMZ1BMNzdFOC8vZlIxeDkzWXlzcktzSDM3ZHBqTjV1bzYvVDFrczlsUzNCR1h1emx2OFpGbllGS25GcTJpSWhiaDRlSGhPcDF1cHBUeUlhdlYydHBxdFNJa0pBUVRKMDVFYkd3c3VuVHA0dTVRRzhUVnlVaFZWWHoxMVZkWXVIQWhpb3FLMEt0WHIydnUweDg5ZWhUcjE2K0hvaWhRVlJWQStRQTR1Ym01ZVBUUlIvSExMNy9nOGNjZngvbno1MUZhV29wWnMyYkJiRGJqODg4L2g2SW9XTFpzR1c2NTVaWmE3NnVucDZjREFHNi8vWFk4ODh3ekRmeFgzNXlUSjA4aUpTVUZxMWF0cW5KUFhRanhoY1BoV01SNzZ1UkptTlNKQUZSVXpMT0dEaDM2WW5GeDhZTkNpSVNDZ29Ld3BVdVg0clBQUHNPUUlVTmdOQm94Yk5pd1J1Lzliaktacm1sNjNyRmpCK2JNbVFNcEpUcDE2b1JseTVZaEpDUUVWNjVjd2ZidDJ6RjI3Tmhya3FhVUVzZU9IYXYxV0gvNXkxK1FrNU1ESVFRbVRweUlCeDk4RURxZHJrcXovdG16WjZHcUtrYU9IT2w2M0N3cUtzcDFtK0xXVzI5RmJHd3NuUDlXZmZyMHdlTEZpd0VBZDk5OWQ3M0d2QThJQ0VDM2J0MHdZTUNBT3RkdENnNkhBN3QyN1lMRllzSHUzYnNocGV0aU5CdkF3bGF0V24zSjN1L2tpZGdqV3VQWSsvMkdDYjFlUDZoaS92TUhBUGdCNWMrcHg4YkdZdEtrU1kzNm5IcGxlWGw1bURadEdvcUtpaEFRRUlDbFM1ZWlaOCtleU1uSndkeTVjNUdmbjQvSmt5ZGo3dHk1VmJZckxTM0Y0TUdEYi9yNDI3ZHZSM1IwTkQ3ODhFTWtKQ1FBdVBhS3Y2aW9DSEZ4Y2ZqUGYvN2pLdlB6ODBOU1VwSkhQVGxRbDk5Kyt3MnJWcTFDU2twS2xlZlVwWlJmS1lxeTBHcTFmZ2MrcDE0RjZ4alA0amt6TGhCNUZtbXoyZlptWldVOTZ1dnIyd1hBY3dBTzVlZm5JekV4RWVQR2pjUGN1WE9SbnA3dWFwSnVES2RQbjhaVFR6MkZvcUlpZUh0NzQrOS8vN3VyczlsdHQ5MkdidDI2QVFEKy9lOS80NS8vL0dlanhCQVVGSVFubm5paTFoOHhBUUVCZVA3NTU2dVVQZjc0NC9WTzZCOSsrQ0h1dmZkZWZQREJCemNWNjQxUVZSWHA2ZWw0NFlVWE1INzhlQ1FtSmpvVCtpRUF6L242K25iSnlzcDYxR3ExY3VBWjhuajhaYVZ4L0JYZG9JVEJZSWlxR0pnbURoVzNyN3AyN1FxajBZaVltSmdHSGZ2OTJMRmplT0tKSjNENjlHa29pb0szM25yTDFZSE40WENncEtRRVo4K2V4ZXpaczNIeTVFa0E1YytWUC96d3cvVSt4cWhSbzNEaHdnVk1talFKcjc3NmFvM3JxYXFLWDM3NXBjWUpYWGJ1M0lsMzNua0hwMDZkY3BVRkJnYmkyV2VmUlV4TVRLM0Q2QllWRldIRWlCRlY5aFVRRUZEdnYrRkduVHQzRG12V3JJSEZZc0dKRXllY3hXVUFraFZGU2N6TXpOd0JKdkU2c1k3eExMeW5UbFIvMG1xMWJnZXdQVEl5c3FPcXF0T2tsRE5QbkRqUjdZTVBQc0JISDMyRTBhTkh3MlF5SVN3czdLWm1hVHR4NGdTbVRwMktTNWN1QVNqdmtmN21tMjlpd1lJRktDa3BnY05SL1N5aEgzendBVUpDUWpCKy9QaHFsNnVxNmtxd0owK2VkTzIvTHRVbDVkTFNVbXpmdmgzTGx5OUhUazZPcXp3c0xBeloyZG00ZVBFaVhuLzlkU3hkdWhSeGNYRzQ3Nzc3RUJJU2NzMStBZ0lDRUJzYml3MGJObURzMkxHTm10Q2xsTWpPemtaU1VoSzJidDFhWlpZMkljUWlMeSt2VDlQVDAvTnIyd2VSSitNdks0M2pyK2pHRlI4ZnIvdjU1NStqVlZWTkFEQWVsZVpUTnhxTkdEOSsvQTNOcDY2cUtpWk5tdVM2QXI4ZU9wME9IMzMwVWJXZHpsYXNXSUgzM25zUDN0N2Vya0ZlQUdEV3JGbVlQbjE2cmZ1OWV1clZlZlBtWWRPbVRhN2xiZHEwd2J4NTh6QjY5R2lZeldhODk5NTdybU1FQmdZaU9UbTUycVRlRkM1ZHVvUjE2OWJCWXJGY1BaLzZXaWxsWXE5ZXZUWnpQdlVid3pyR3MvQkQwRGllY0UzSFlERDhYbFhWNlVLSTZRQTZBZVdkeGNhT0hRdVR5VlN2WHVDVk9adUdPM1RvZ09EZ1lBUUZCU0VnSUFBQkFRSHc5L2VIbjU4ZldyVnFCVjlmWDdScTFRby8vZlFUM256elRVeWVQQm16WjgrR3I2L3ZOZnVzbkppZHdzTEM4UDc3N3lNb0tLaldlSzVPNmhjdlhzU0REejZJMzM3N0RSTW5Ua1JDUWdMYXRtM3JXdi9reVpOWXRHZ1JObTNhaE9lZmZ4NFBQUERBZGYzOURlSGd3WU13bTgzWXVIRmo1Ujh4djBvcGx5aUtzc1JxdGY3UzVFRnBET3NZejhJUFFlTjR3alU5ZzhIZ0xhVzhyNkxuL0JobmVkKytmV0UwR2hFZEhZMVdyVm8xeXJIejgvUHJISTQxTHk4UFFnZ29pb0xBd0VDMGE5ZXVYdnUrZlBreXNyS3lBQUJEaGd3QlVIN2ZQeUFnQU8zYnQ2OXh1NEtDQXJScDA2YkpKc0s1ZlBreU5tM2FCSXZGZ2dNSERyaktwWlRmQ0NFU2hSQnJyRlpyV1MyN29PdkFPc2F6OEVQUU9KNXc3aFVlSHQ1YlVaUVpBS1lCYUFlVTMwT2VNR0VDakVaampjT20wdlhMeTh1RHhXTEIyclZyVVZSVTVDdytDK0JUQUl0dE5sdXUrNkxUTHRZeG5vVWZnc2J4aFBNTVVWRlJmb1dGaFVZQUNRQ0dPY3NqSWlKZ01wa3dhdFFvK1BqNHVDL0FacXEwdEJSYnQyNkYyV3pHVlFPNzdRS1FHQlFVWkVsTlRiMVN3K2JVQUZqSGVCWitDQnJIRTg3ekdBeUdPNlNVTXdGTUJSQUlBTUhCd1lpSmlVRmNYQnh1dWVVVzl3YllEQncvZmh6SnljbFl2WG8xenA4Lzd5d3VCTEJNVVpSRm1abVpQN2d4dkJhRmRZeG40WWVnY1R6aFBGZS9mdjFhKy9uNVRaWlN6Z0tnZDViZmVlZWRNSmxNR0RGaVJKUGRoMjRPN0hZN2R1N2NDYlBaN0JvcnZvSk5DTEh3eXBVci84N0p5YW5mTTNyVVlGakhlQlorQ0JySEU2NTVDQThQajFRVUpRSEFud0MwQW9EUTBGQk1talFKc2JHeGRYWiswN0w4L0h5a3BLUmc1Y3FWT0hQbWpMUDRzaERpUzFWVkU3T3lzakxkR1Y5THh6ckdzL0JEMERpZWNNMUxlSGg0c0JEaVlTRkVBb0MrUVBuQUx5TkdqSURSYU1TZGQ5NVo2K2hzV3FHcUt2YnMyUU9MeFlKdnYvMjI4bEM4QndBc1ZGWDFpMzM3OXAydlpSZlVSRmpIZUJaK0NCckhFNjdaRW5xOWZsakZZM0VtQUQ0QTBMbHpaOWVRdE80YXlLVXhGUlFVWU5XcVZVaE9UcTQ4NUd5cGxOSXNoRWkwMld5N3dLRmJQUXJyR00vQ0QwSGplTUkxZnhFUkVhRkNpR2tBWmdLNEZRQzh2THd3YXRRb21Fd202UFg2bXhxUzF0MmtsTERaYkRDYnpkaTJiUnZzZHJ0elVSNkFSVkxLejdLeXNzN1VzZ3R5STlZeG5vVWZnc2J4aE5NVXhXQXdqSzZZVUNZR2dBNEF1bmZ2RHBQSmhQSGp4OWM1S3B3bktTd3N4TnExYTJFMm15dlArKzRBc0ZvSWtXaTFXcmVnZkNoWDhtQ3NZendMUHdTTjR3bW5UV0ZoWVYxME90MTBBSThENkFJQVBqNCtpSTZPaHNsa1FyOSsvVHp5NmwxS2laeWNISmpOWm16YXRBbWxwYVhPUlNlRkVJdnRkdnNuMmRuWjF6L2dQYmtONnhqUHdnOUI0M2pDYVZ0VVZKVFgrZlBueDFmMG5JOUd4VG5kcDA4Zm1Fd21qQjA3RnY3Ky91NE5Fa0J4Y1RFMmJOZ0FpOFdDUTRjT09Zc2xnRTJxcWlZR0J3ZXZTMDFOdGRleUMvSlFyR004Q3o4RWplTUoxM0pFUmtiZXFxcnFEQ25sWXdCQ0FjRGYzeC9qeG8yRHlXUkM3OTY5bXp5bXc0Y1B3MncyWS8zNjlTZ3VMbllXbjVGU2Z1TGw1ZlZ4UmtiR2tTWVBpaG9VNnhqUHdnOUI0M2pDdFR5OWV2WHlEUXdNaksxNExPNHVaM24vL3YxaE5Cb3hac3lZYW1kd2F5Z2xKU1g0NXB0dllMRllzSC8vZmxlNWxESlZDSkZZV0ZpNE1qYzN0NlRSQXFBbXhUckdzL0JEMERpZWNDMmJYcSsvSGVXOTVoOEJFQXdBUVVGQnJpRnB1M1hyMW1ESE9uYnNHQ3dXQzlhc1dZUEN3a0puOFhrQW53TllaTFBaRGpiWXdjaGpzSTd4TFB3UU5JNG5IQUdBd1dEd2wxTGVMNldjSllRWTZDeVBqSXlFeVdUQ1hYZmRCVzl2Nyt2ZWIxbFpHWGJzMkFHejJZeU1qSXpLaTlJQkpBb2h2clphcmNVMWJFNGF3RHJHcy9CRDBEaWVjSFExZzhHZ3I1aFE1a0VBQVFBUUVoS0MyTmhZeE1iR29sT25Ublh1NDlTcFU2NmhXd3NLQ3B6RlJRQ1dLNHFTbUptWm1kVlk4Wk5uWVIzaldmZ2hhQnhQT0tySm9FR0RndXgyKzRNVkU4cmNBUUJDQ0F3ZE9oUW1rd2xEaHc2dE1pU3RxcXBJUzB1RDJXeEdXbG9hcEhRTjdQYTlFR0tobDVmWDh2VDA5TUpyajBSYXhqckdzL0JEMERpZWNGUVBJanc4ZkhERlkzSDNBL0FGZ0k0ZE95STJOaGJEaHcvSHQ5OStpK1RrWk9UbjV6dTNLUUh3dFpSeVlWWlcxbDV3Nk5ZV2kzV01aK0dIb0hFODRlaDZEQnc0c0YxWldka2pGVDNucTNzRzdyQ1VNdEhiMi92ejc3Nzc3bXhUeDBlZWgzV01aL0Z5ZHdCRTVEa3FFdlgvQVhoUHI5ZVBCSkFBWUJ5QTlRQVNiVGJiZHZDcW5NaGpNYWtUVVhXa3pXYmJCbUJieFpWWXZNMW11OS9kUVJGUjdiUS9NVE1SRVZFTHdhUk9SRVNrRVV6cVJFUkVHc0drVGtSRXBCRk02a1JFUkJyQnBFNUVSS1FSVE9wRVJFUWF3YVJPUkVTa0VVenFSRVJFR3NHa1RrUkVwQkZNNmtSRVJCckJwRTVFUktRUlRPcEVSRVFhd2FST1JFU2tFVXpxUkVSRUdzR2tUa1JFcEJGTTZrUkVSQnJCcEU1RVJLUVJUT3BFUkVRYXdhUk9SRVNrRVV6cVJFUkVHc0drVGtSRXBCRk02a1JFUkJyQnBFNUVSS1FSVE9wRVJFUWF3YVJPUkVTa0VVenFSRVJFR3NHa1RrUkVwQkZNNmtSRVJCckJwRTVFUktRUlRPcEVSRVFhd2FST1JFU2tFVXpxUkVSRUdzR2tUa1JFcEJGTTZrUkVSQnJCcEU1RVJLUVJUT3BFUkVRYTRlWHVBS2poOU9yVnk3ZHQyN1p0SzVjNUhBNEFRR1JrWk1mSzVlZk9uVHVYbTV0YjBvVGhFVkV6eHpyRzh6R3BhMGpidG0zYk9oeU9Vd0RFMWNzY0RzZXZsZDZxYmR1MjdRTGdkSk1GUjgxQy8vNzl1M3A1ZWIxUzNUSzlYcDlZK2IzZGJuOWovLzc5SjVvbU12SUVyR004M3pVZkREVnZlcjArRmNCZGRheTJ3MmF6UlRWK05OVGN4TWZINjNKemMwOEtJVHJVdHA2VU1yOVhyMTVka3BLU0hFMFZHM2tHMWpHZWpmZlVOVVpLYWFuSGF1WkdENFNhcGFTa0pJZWlLQ24xV0RXWkNiMWxZaDNqMlpqVU5VWlYxZVM2MW5FNEhQV3B0S21GVWxXMVBwVjJmZFloRFdJZDQ5bVkxRFVtT3p2N0pJQzl0YXl5cDJJZG9tb3BpckpEU2xsUXl5cG4yN1JwczZQSkFpS1B3anJHc3pHcGE1QVFvc2FycU5xV0VRR0ExV290RTBLc3FtV1ZWYW1wcWZZbUM0ZzhEdXNZejhXa3JrRmxaV1UxbmxSbFpXVjFOcDBSMVZZeEs0ckNTcnVGWXgzanVaalVOV2ovL3YwL0E4aXFacEd0WWhsUnJTNWN1TEFGUUdFMWl3clBueisvdGFuakljL0NPc1p6TWFsclYzVy9wSG1GUmZXU201dGJJcVZjVzgyaU5SeFFoQ3F3anZGQVRPb2FWVjN6S1p0TjZYclUwQVRQN3hBQllCM2pxWmpVTmNwcXRmNEk0SUR6dlJBaUp6TXo4NUFiUTZKbVJnaXhFVUJ4cGFKaUljUW1kOFZEbm9WMWpHZGlVdGV3eW9ORTFQUFpZeUlYcTlWYURHQ0Q4NzBRWW4xRkdSRUExakdlaUVsZDIxd25HUjh6b1J2QlNwdnF3RHJHd3pDcGExaFdWdForQUhrQWNtMDIyL2Z1am9lYUh4OGZuM1hPMS83Ky91dHFXNWRhSHRZeG5vZXp0R21iQkdBUlFzaUsxMFRYSlQwOXZWQ3YxNjhGSU5QUzBpNjZPeDd5T0t4alBBeVR1c1lwaW1LeDIrMDgyZWhtT0N0dG9tdXdqdkVzbkhxMUFVVkVSS1FMSVFhNk80N21RRXFabXBXVk5kTGRjWGdhZm9mcXJ5VitoL2o5cUwrVytQMEFlRSs5UWZGa3F6OGhSSlM3WS9CRS9BN1ZYMHY4RHZIN1VYOHQ4ZnNCc1BtOVVWaXRWbmVINE5FTUJvTzdRL0I0L0E3VnJxVi9oL2o5cUYxTC9uN3dTcDJJaUVnam1OU0ppSWcwZ2ttZGlJaElJNWpVaVlpSU5JSkpuWWlJU0NPWTFJbUlpRFNDU1oySWlFZ2orSng2Q3lHbHhNOC8vNHlnb0NDRWhJUkFVYTc5UFhmKy9IbWNQMzhlUWdoMDY5Yk5EVkZTVTFCVnRkclBYMG9KSVRqSUpOMFkxakdlZ1ZmcXpkREJnd2Z4OU5OUFk4R0NCVGgwNkZDOXRqbDE2aFRpNCtNUkhSMk5ZOGVPVmJ2T2h4OStDS1BSaUprelp6Wmt1T1FCcEpUNDVKTlA4TmhqajJIU3BFa29McjUyV3ZUbHk1ZmozbnZ2eGYvOHovOVUreDA1Y2VJRTVzMmJkODIyNjlldmg4RmdxRExnUjNWbDFMejg4c3N2ZU91dHQvREZGMS9neElrVGRhN1BPc1l6OEVxOUdkcTNieC9TMHRJQUFBOC8vSEM5dGpsOCtEQUFJREF3RU4yN2Q2OTJuUjkvL0JFQTBMZHYzNXNQa2p6QytmUG5YYTkvKyswM1pHZG5BeWl2WEJNU0Vsekw4dlB6c1hEaFFseTVjZ1dabVptWU9YT21hMXQvZjM4QXdLT1BQb3B6NTg3Qng4Y0g4K2ZQYjdvL2d0eGk4K2JOTUp2TkFJQmh3NGJWdVQ3ckdNL0FwTzdoMXE5ZmYwM1oxcTFiQVFEZTN0NDRlUENnNjBTcGpwK2ZIK2JPbmV0NmYvSGlSUXdZTU1EMWZ2SGl4Wmd4WTBhVmJYYnMyRkhsQ2lzcUtncnZ2dnZ1RGY4TjVENTMzMzEzdGVWSlNVbElTa3FxZHRuSmt5Y3hidHc0MS9zWFgzd1JEenp3QVA3MHB6L2hvNDgrd3BvMWF4QVZGWVVSSTBiZ3pKa3pLQ3dzZEsyYm41OFBBTldXZGVqUTRhYi9IbXA0bXpadHFyWjg5ZXJWQUlEZi9lNTNPSFRvVUkydGdvcWk0T1dYWDNhOVp4M2pYa3pxSHU3VlYxK3RjVmxaV1JuKzhwZS8xTHE5WHErdjh4ZytQajVRVlJWMnV4MUErWStGeXZkV3ZiejROU0ZnNnRTcFdMTm1EWTRmUDQ3UFB2c010OTEyRys2Nzc3NHE2MVQrTVhCMUdjY3I5MHp6NXMycmRmbHZ2LzFXNnpvOWUvYXM4eGlzWTVvTy95VTF6c3ZMQzVzMmJVSk1UQXhLU2tydzZhZWZWdW1nMHJwMWErelpzd2RmZnZtbDY1ZnlOOTk4ZzhEQVFIZUZUQTNJYXJWV2UvKzhNbDlmWCtoMHVtdTJBNER1M2J1alhidDJBTW9yNHVlZmZ4NXBhV2w0NXBsbnFqVHRVOHVsMCtsWXgzZ1FKblVQZC9YVnpaTlBQb2s5ZS9iQXg4Y0hXN2R1ZGQzdnJNMitmZnRRVWxLQzMvM3VkMGhLU3NLR0RSdnc3TFBQVnJrZm41dWJDNkM4aVpRbm03WU1IejY4MXVXdnYvNDYrdmJ0QzZQUkNLRDhPK2RzTHAwL2YzNlZxL0VSSTBaZ3hJZ1JBTXJ2dFZ1dFZxeGZ2OTdWb3VUOHZsWlhScDdwNnMvbnM4OCt3ei8rOFE4QXdOLys5cmNhYitGVXhqckdjekNwTnlOV3F4Vjc5dXdCVUg0UHFqNEpIWUNyVTkyd1ljTncrZkxsS3N1dTdwMmNuNTlmYlkvbHpaczN1NjdZcU9XWk0yY09VbE5UWGU4dEZvdXJNNVNxcWdCUTdTTk0xTHo4OU5OUFdMUm9FUUNnZi8vKzlVcm9BT3NZVDhLazNreVVsWlhoN2JmZmRyMGZQSGd3amg0OVd1czIzdDdlNk5LbEM3WnQyd1lBdU91dXU3Qng0OFlxNi9qNCtFQktpYkt5TWdEbHpmWFZWYzU4ZnJuNWUrNjU1M0R2dmZjQ0FFcExTekZod29RYjNwZVUwdFg4ZnZIaVJRRGxTZDFaVnJuSnYzSXZlaDhmbnhzK0pqV3VDeGN1WU02Y09TZ3RMUVVBVEo0OHVjNDZKamc0R01IQndheGpQQWlUZWpQeHozLytFM2w1ZWE3M0N4WXNxSE9iYnQyNklUazUyWFZpUHZQTU02NWw3Ny8vUHQ1Ly8zMjgvdnJyY0RnY21EOS9QaFJGd2VyVnE5bExXYU1XTDE2TXp6Ly8vSWEyZmVtbGwvRFVVMCs1bXVndlhib0VrOGxVWlIyNzNWN3RsWjJ6ek5tTG5qeFBjWEV4bm5ycUtadzZkY3BWVmxjSE9nQ1lNV01HWnM2Y3lUckdnekNwTndNN2QrN0VGMTk4MFdqN1QwOVBCMURlakRwcDBxUnExM0UyKzFQelZWUlVoS0tpb2h2YTluZS8rMTBEUjBPZTR1TEZpM2ptbVdlUWs1UFRhTWRnSGROMG1OUTlYRjVlSGw1NTVSVklLUUVBNzd6ekRrYU5HdVZhL3RwcnIySHQyclVBYXU2UVZQbGU2Ri8vK2xkODg4MDNtRFZyRmg1NDRBRzBhdFVLMzM3N3JXdTVzK210TWphTGFjT3JyNzdxcWxCTFMwc3hlUERnRzk1WFlHQWc5dXpaQTd2ZGpwaVlHSnc3ZHc1ang0N0ZhNis5QmdEWXVIR2pxelhKV1ZuenNTWFBVMVJVaEQvLytjK3VWa0FmSHg5WEhWQmJCOGVyNzRtemp2RWNQTXM4V0VGQkFaNSsrbW5YMWRWamp6MVdKYUhYaC9OZTF2bno1M0h1M0RrVUZCUUFBUGJ1M1lzalI0NWd5SkFoZU91dHQ3Qmd3WUlxOXp0Lyt1a24vUG5QZjBaeGNUSCsvT2MvTjl3ZlJXN3p3UWNmdURwQk5RUWZIeC9zM0xrVDU4NmRBd0JFUkVTNHZrT1ZFemp2bzNzdVgxOWYvUHJycndES2I1UDA2TkVEUzVZc3VhNTlzSTd4TEV6cUhreW4wN2txekxGangrS0pKNTY0N24xY3VuUUpZOGFNdWFZOEt5c0xBREJnd0FDa3BhWGgxVmRmZFkwYVZsWldobWVmZlJiRnhjVzQ4ODQ3T1U2elJoUVdGbFlaNmEwaGZQcnBwd0RLTzhuVjllZ2NlUjR2THkvY2NjY2Q2TjI3TjU1NTVoblg1M2s5V01kNEZpWjFEOWFtVFJ2Y2ZmZmR1SFRwRWhZc1dIQkRUVlNCZ1lIdzl2WkdXVmtaZERvZGREb2RTa3RMMGE5ZlB3d2FOQWhoWVdGNDhjVVhjZUhDQlN4ZXZCakxseTlIdTNidGtKK2ZqNDRkTytMTk45L2tvMG9hYVYvWnJRQUFCaHRKUkVGVVVibjV2YVNrQkVPR0RIRXRhOSsrdldzOGQrZXRucXU5OTk1N3J0Y2JObXpBckZtejhQYmJiK09aWjU1Qmp4NDkyUG1wbVZxd1lBRkNRME92S1hjNEhQWGFubldNWjJGUzkzRFRwMDlINTg2ZHNYWHIxanA3bzlZMEk5YXlaY3ZRdm4xN2hJYUc0aTkvK1FzMmJOaUFNV1BHdUFhR1dMcDBLWll0VzRhdnZ2cXFTbWVxQVFNR3dOdmJ1MkgvSUhLcnk1Y3Z3MjYzVitrVUpZU0FyNjh2dW5YckJoOGZINnhidDg2MXpGblpMbHEwcUVwbnpTVkxsaUE5UFIwVEowN0U4ODgvRHltbHF3ZTBsQkk5ZS9iRXh4OS9ESWZEZ2UrLy94NGxKU1ZvMjdadHZZWVVwYVpWWFVJSGdJRURCOVo3SDU5ODhnbnJHQS9CcE83aEdtTE80WDc5K3RXNlBDZ29DRTgrK1NRZWV1Z2hmUExKSjBoS1NrSlpXUm5XcmwyTE5tM2E0UG5ubjcvcEdNZ3o3TnExcThya0cwRDVWYnBPcDhQczJiT3ZHVksyUzVjdUFQNzczSG03ZHUxd3h4MTNJRFUxRmQ5Ly96MisvLzc3ZWgvNzVaZGZabExYS05ZeG5vTkp2WmtZUG53NExCWkxveDRqT0RnWWMrYk13ZVRKay9HUGYvd0RCdzRjcURJOUp6Vi9WMWUrdzRZTmc4RmdnS0lvK01NZi9nQ2J6ZVphRmgwZGpiQ3dNQURBeElrVHNXN2RPaXhhdEFnOWV2VEEzcjE3c1c3ZE92end3dzg0ZmZwMHRUMmFyOWEvZi8rRy9XT29VYTFjdWJMR1pUVTlsbFlYMWpHTmo4OFJOQ0M5WGk4Qnp4N3J1cUNnQUVWRlJRZ09EcTV6L09YTGx5K2pWYXRXRFI2RDh6YUJ6V2JqOSs4cWpmRWRPbkRnQUFDZ2MrZk9DQTRPUms1T0RyeTl2ZEcyYmRzcVRhOG5UcHpBaFFzWDRPZm5oNUNRRUxSdDI3YktmazZmUG8yT0hUdFdld3k3M2U0YUxyWXlJUVFVUllHaUtBMzYyRkpML1E0MWRoMlRucDd1ZXZ6c2hSZGVxSEU5NTlqd0F3Y094S0JCZzZvc1l4M2pYcnhTYjJGQ1FrSVFFaEpTcjNVYjQyU2pwdGUzYjk4cTcydHFLdTNhdFN1NmR1MWE0MzVxU3VnQW4wSFhpa0dEQmwyVHBLdnoxRk5QMWJpTWRZeDdzY3NoRVJHUlJqQ3BFeEVSYVFTVE9oRVJrVVl3cVJNUkVXa0Vrem9SRVpGR3NNdHFJNmhwWkRmNi8rM2RUVzRVUnhpQTRTci9qQjNFeWhmZ0NOYVV0MWxIeWtWWWdnUmlqWE9OYkxnRkN5UWtKTmdreXRqeHdnZmdBcEV3UW9DeHVySUlCb09uZXhvY3B1elB6N01hZGZmaWMwOVpyN28wbW1Fc2E0Z2gxZ2Q5UEtuL2oycXR6MXJQY0ZXNFYvTzVMK05keDN0MUhmL203K1ZlRVZJcHBaNStZUVY4RDJ1SUlhV1UzWTlyWkxmMUxIaFNCNEF3UkIwQWdoQjFBQWhDMUFFZ0NGRUhnQ0JFSFFDQ0VIVUFDRUxVQVNBSVVRZUFJRVFkQUlJUWRRQUlRdFFCSUFoUkI0QWdSQjBBZ2hCMUFBaEMxQUVnQ0ZFSGdDQkVIUUNDRUhVQUNFTFVBU0FJVVFlQUlFUWRBSUlRZFFBSVF0UUJJSWkxMWdPd0hLV1UzZFl6Y0xWWlEvUjQySG9BUGhQMStFN1NmKyt6Znp3dXlocGl5SWZXQXlEcTRkVmFmODA1Lzl4NkRxNjAwNWovMW5RS0xxMmM4K3ZKWlBLbzlSd0FMRkJLcWFXVTJub09ZREVmbEFPQUlFUWRBSUlRZFFBSVF0UUJJQWhSQjRBZ1JCMEFnaEIxQUFoQzFBRWdDRkVIZ0NCRUhRQ0NFSFVBQ0VMVUFTQ0kzSG9BNFBMWTN0NytaV1ZsNWZlengzTE90MUpLcWRiNjh1enhydXR1SHh3Y1BGbm1mTUF3UDcwS2ZISnljdkxYeHNiR3JYbm5UdU4rYW0xdDdZL2xUQVdNWmZzZCtPVHc4UENmbE5MckVaY2V6V2F6Vno5Nkh1RGJpRHJ3aFZycjR4R1hqYmtHV0RKUkI3Nnd0YlYxZCtoOHJUVWRIUjNkV2RZOHdIZytLQWVjVTBwNWsxSzZNZTljenZuTmJEYTd1ZVNSZ0JFOHFRUG4xRnFmOXAzcnVxNzNITkNXcUFQbjFGcDd0OWRycllQYjgwQTd0dCtCdVVvcGIxTkttMThkZnJlM3QvZFRpM21BeFR5cEEzMWVmSDBnNS95OHhTREFPS0lPekxXK3ZuNXVtMzB5bWZqVU8xeGl0dCtCWHRQcDlIM09lWkpTU3JYVzQvMzkvWTNXTXdIOVBLa0R2WExPZjU1NTdXdGg0WklUZGFEWDZ1cnF2VE92NzdlY0JRQzRvSjJkbmVQcGRIcmNlZzVnTWIvU0JnenF1dTd2bEZKdFBRZXdtS2dEZ3pZM054KzBuZ0VBQUFBQUFBQUFBQUFBQUFBQUFBQUFBQUFBQUFBQUFBQUFBQUFBQUFBQUFBQUFBQUFBQUFBQUFBQUFBQUFBQUFBQUFBQUFBQUFBQUFBQUFBQUFBQUFBQUFBQUFBQUFBQUFBQUFBQUFBQUFBQUFBQUFBQUFBQUFBQUFBQUFBQUFBQUFBQUFBQUFBQUFBQUFBQUFBQUFBRy9Rdmk4QVd5NmxOc2l3QUFBQUJKUlU1RXJrSmdnZz09IiwKICAgIlR5cGUiIDogImZsb3ciLAogICAiVmVyc2lvbiIgOiAiIgp9Cg=="/>
    </extobj>
    <extobj name="ECB019B1-382A-4266-B25C-5B523AA43C14-44">
      <extobjdata type="ECB019B1-382A-4266-B25C-5B523AA43C14" data="ewogICAiRmlsZUlkIiA6ICI4NDM5NTE1Mzc4NyIsCiAgICJHcm91cElkIiA6ICI0OTg2Mjc1MzQiLAogICAiSW1hZ2UiIDogImlWQk9SdzBLR2dvQUFBQU5TVWhFVWdBQUExWUFBQUs3Q0FZQUFBRHg4UjZEQUFBQUNYQklXWE1BQUFzVEFBQUxFd0VBbXB3WUFBQWdBRWxFUVZSNG5PemRlWHhVOWIzLzhmZDNFa0pZRWhZWExJdElpRVVJSnVZTVZIR3BRUUZKY0dNd0Zia29na0JyVzl0N3IvWGVhdHVmV3kyMlY2clNhaFVSdDE1UmtVRkJDSUpvdUxSRmhDUWs3TmVBN0VMWnNwQ1FiZWI3K3dObWJzSWF5RExKNVBWOFBIeVErWjR6NTN4eUV2RzgvWHpuZXlR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VMR2hMcUFjSktTa2hKWlZGUjB0ekVtWFpMYldudVJwTmFocnFzWktEZkc3SmVVSmVtRG1KaVlEekl6TTZ0Q1hSUUFBQUJRV3dTcittRWN4NWtzNlplU0xndHhMZUZnbTZRcDJkblpyMG15SWE0RkFBQUFPQ3VDVlIzRng4ZTNqbzJOblNGcHJDVDE2ZE5INmVucGlvK1AxNldYWHFvT0hUcUV1TUttcjdDd1VEdDI3RkIrZnI1bXo1NnR6WnMzQnphOVUxUlVOQ2svUDc4OGxQVUJBQUFBWjBPd3FnTzMyOTNXV3J0STBnMFhYSENCSG4vOGNWMTc3YlV5aHN0NnZxeTErc2MvL3FFbm4zeFNCdzhlbEtUbHhwamhXVmxacGFHdURRQUFBRGdkVjZnTGFNNzhmditMa203bzNidTMzbjc3YlYxMzNYV0Vxam95eHVpNjY2N1RXMis5cGQ2OWUwdlNEZGJhRjBKZEZ3QUFBSEFtcElEejVIYTd4MWhyLy92Q0N5L1VlKys5cDA2ZE9vVzZwTEJ6K1BCaDNYMzMzVHA0OEtDc3RXTnljbkptaGJvbUFBQUE0RlRvV0oySDY2NjdMc1phKzJkampKNTY2aWxDVlFQcDFLbVRubjc2YVVtU01lYWw2NjY3TGliRUpRRUFBQUNuUkxBNkQyVmxaVCtSMU9tMjIyN1QxVmRmSGVweXd0clZWMSt0MjI2N1RaSTZsWmFXL2pqVTlRQUFBQUNuUXJBNlI0bUppZTJzdFE4YlkzVC8vZmVIdXB3VzRmNzc3NWN4UnNhWWh4TVRFOXVGdWg0QUFBRGdSQVNyY3hRWkdYbW5wQXRUVWxMVXMyZlBVSmZUSWx4MjJXVktTVW1ScEl0YXRXcDFSNGpMQVFBQUFFNUNzRHAzSXlWcCtQRGhvYTZqUmFsMnZVZUdzZzRBQUFEZ1ZBaFc1MkRRb0VGdEpLVkdSa1pxMEtCQm9TNm5SUmswYUpBaUlpSmtyVTA5L25NQUFBQUFtZ3lDMVRtb3FLaTRSbExiNU9Sa3RXdkhSMzBhVTd0MjdaU2NuQ3hKN1Nvcksxa3hCQUFBQUUwS3dlcmNKRXJTRlZkY0VlbzY2c1RuOCtueHh4K1gzKyt2TVY1YVdxb25ubmhDNWVYbElhcnN6QUxYM1ZxYkdPSlNBQUFBZ0JvaVExMUFjeEs0b1krTGl3dDFLWktrano3NktQaWNwOXJJeXNxU0pPM2R1MWNyVjY2VXkxVXpWLy8xcjM5VmVYbTVXcmR1WGE5MTFwZHExNTFnQlFBQUFEUlhqdU44NlRpT3pjdkxzMDJCMysrM1ZWVlZ0cXFxeWpxT1k0dUxpNE92VHpVV3NHTEZDdnZnZ3cvV09OYnUzYnZ0NE1HRDdlN2R1NjNQNTdQang0KzMrL2Z2Yit4djZZenk4dktzNHpqV2Nad1ZvZjVkQUFBQUFLcWpZM1Z1THBTa3pwMDdoN29PU1pJeFJoRVJFY0hYTHBlcnh1dFRqWTBmUDE0Yk5teVFNVWJYWDMrOWpoNDlxbFdyVnVtcHA1N1MyTEZqMWJWclYwblNIWGZjb2VlZWUwN1BQdnRzNDN3enRkQ3BVNmZBbHhlR3NnNEFBQURnUkFTcmM5TkJVck5ldU9LTk45N1E0NDgvcnF1dnZscERodzdWc0dIRDlJYy8vRUdyVnEyU3orZlRGMTk4b2VMaVlwV1VsS2lvcUVpNXVibEtTa29LZGRtU2FsejNEcUdzQXdBQUFEZ1J3ZXJjeEVwUzI3WnRRMTFIbld6ZXZGa1RKa3pRdm4zNzFMVnJWdzBaTWtTWFgzNjV1bmZ2cmdzdnZGQ2RPM2RXaHc0ZE5HL2VQTDMrK3V1YU5tMWFxRXVXUkxBQ0FBQkEwMFd3YXNiY2JuZU4xemZjY01OSisxUWZteng1c3U2OTkxNGRQSGhRbDE1NnFaWXVYYXJ2ZnZlN0dqQmdnQVlNR0hEU2UxTlRVM1h6elRmWGYrRUFBQUJBbUNGWW5ac2lTUmVXbHBZcUtpb3ExTFVFVi9tcnFLalFvRUdEOU5WWFg5WDRQSlhiN2RieTVjdHJkTmh5YzNNVkV4T2pJMGVPYU1XS0ZjRnc1bmE3ZGZIRkY5YzRma0ZCZ1Zhc2FEcnJSSlNVbEFTK0xBeGxIUUFBQU1DSkNGYm5wbERTaFNVbEplcllzV09vYXduYXYzKy9ZbU5qVDFxNDRsU1NrcEtVbHBhbWNlUEc2Y2lSSS9yWGYvMVhTVkpVVkpReU1qSnE3RHRvMEtBR3FmZDhFYXdBQUFEUVZQR0E0SE56UUpJT0hUb1U2anBxK1BMTEw1V1FrRkRyL1NkT25LaExMcmxFRlJVVit1YWJieHF3c3ZwMStQRGh3SmNIUWxrSEFBQUFjQ0tDMWJsWkw2bEpoWkd0VzdmcUwzLzVpKzY1NTU1YXYrZWpqejVTUVVHQmZ2U2pIK25CQngvVTFxMWJHN0RDK2hPbzB4aXpQc1NsQUFBQUFEVXdGZkFjR0dQeXJMVk5Kb2g4L1BISCt1TWYvNmpKa3lmcnV1dXVxOVY3WnMyYXBROCsrRUN2dnZxcUxyNzRZaVVtSmlvdUxrNlZsWlc2NDQ0N0dyaml1cWwyM2ZOQ1dRY0FBQUJ3SW9MVnVjbVRwRTJiTm9XNkRrbFNseTVkOU1JTEx5ZzVPZm1VMnlkUG5xeFdyVnJWR0x2c3NzczBZOFlNWFhEQkJaS2tmdjM2U1RxMmV1RHp6ejlmWTk5Lys3ZC9hNENxejEvZ3VodGpDRllBQUFCb1VreW9DMmhPQmcwYTFLYTh2SHgvWkdSa3U4OC8vN3haUHlpNHVTa3BLZEhnd1lQbDgvbEtZbU5qTDh6TXpDd0xkVTBBQUFCQUFKK3hPZ2NyVnF3NEttbFJWVlZWazFxR3ZDVllzV0tGZkQ2ZmpERVpoQ29BQUFBME5RU3JjemRYa2hZdFdoVHFPbHFVYXRkN2JpanJBQUFBQUU2RllIV09xcXFxUHBKMElETXpVOXUzYnc5MU9TM0N0bTNibEptWktVbjdLeXNyUHc1eE9RQUFBTUJKQ0ZibktDOHZyOFFZTTlWYXF6ZmZmRFBVNWJRSWI3NzVwcXkxc3RaT3pjdkxLem43T3dBQUFJREdSYkE2RDlIUjBTOUpPanh2M2p5dFhMa3kxT1dFdFpVclYycisvUG1TZExodDI3WXZoN29lQUFBQTRGUllGZkE4SlNjbjMyT01lZmVDQ3k3USsrKy9yMDZkT29XNnBMQno2TkFoalI0OVdnY1BIcFMxOXA2Y25KejNRbDBUQUFBQWNDb1JvUzZndWRxN2QrKzZTeTY1cFB2Um8wZWR2Ly85NzdyKyt1c1ZFeE1UNnJMQ3hyZmZmcXVmL09RbjJyTm5qeVM5bHBPVE15WFVOUUVBQUFDbncxVEFPbkM1WEQrWHRIekxsaTBhTjI2Yy92NzN2OHRhRytxeW1qVnJyZjcrOTc5cjNMaHgycnAxcXlRdE44YjhhNmpyQWdBQUFNNkVxWUIxRkI4ZjN6bzJObmFHcExHUzFLZFBINlducDZ0Mzc5N3EyYk9uT25Ub0VPSUttNzdDd2tKdDM3NWRXN1pzMGV6WnM3VjU4K2JBcG5lS2lvb201ZWZubDRleVBnQUFBT0JzQ0ZiMXd6aU9NMG5TbzVJdUMzRXQ0V0NicENuWjJkbXZTYUlGQ0FBQWdDYVBZRldQVWxKU0lvdUxpMzlnclUyWDVKWjBrYVRvRUpmVkhKUkoyaThweXhnek95WW01b1BNek15cVVCY0ZBQUFBQUNkeEhNYzZqa01IQ0FBQUFLaG5MRjRCQUFBQUFIVkVzQUlBQUFDQU9pSllBUUFBQUVBZEVhd0FBQUFBb0k0SVZnQUFBQUJRUndRckFBQUFBS2dqZ2hVQUFBQUExQkhCQ2dBQUFBRHFpR0FGQUFBQUFIVkVzQUlBQUFDQU9pSllBUUFBQUVBZEVhd0FBQUFBb0k0SVZnQUFBQUJRUndRckFBQUFBS2dqZ2hVQUFBQUExQkhCQ2dBQUFBRHFpR0FGQUFBQUFIVkVzQUlBQUFDQU9pSllBUUFBQUVBZEVhd0FBQUFBb0k0SVZnQUFBQUJRUndRckFBQUFBS2dqZ2hVQUFBQUExQkhCQ2dBQUFBRHFpR0FGQUFBQUFIVmtRbDBBR2taaVltTDN5TWpJWDU4dy9NUGpmNzVhZmJDcXF1cTNlWGw1dXhxbk1nQUFBQ0Q4RUt6Q1ZIcDZla1IrZnY1dVkweVhNKzFucmQwWEh4L2ZiZmJzMmI3R3FnMEFBQUFJTnhHaExnQU5ZOE9HRGJaYnQyNjlKUTA0eTY3dkxGMjY5SlBHcUFrQUFBQUlWM3pHS296NS9mNDV0ZGl0TnZzQUFBQUFPQU9DVlJoenVWekxyTFdIenJETHdRNGRPaXhydElJQUFBQ0FNRVd3Q21OWldWbVZ4cGlQejdETHg1bVptVldOVmhBQUFBQVFwZ2hXWWM0WWM5cXBmaTZYaTJtQUFBQUFRRDBnV0lXNXdzTEN6eVFWbldKVFVVRkJ3ZExHcmdjQUFBQUlSd1NyTUplZm4xOXVyVDNWcW4vejgvUHp5eHU5SUFBQUFDQU1FYXhhZ05OTUIyUWFJQUFBQUZCUENGWXRnREZta2FUU2FrT2x4cGhQUTFVUEFBQUFFRzRJVmkxQVZsWldxYVNNd0d0anpNTGpZd0FBQUFEcUFjR3FoYkRXQnFmKzFmTEJ3UUFBQUFCcWlXRFZRa1JGUlMwSWZOMjJiZHNGWjlvWEFBQUFBSEFhanVQTWR4eG5YcWpyQUFBQUFNSk5aS2dMUUtPYVk0eXhvUzRDQUFBQUNEY20xQVUwTnNkeC9rUFM3ME5kQjVvSGEyMW1UazdPNEZEWEFRQUFnS2F0cFgzR3lrajZhYWlMUVBOaGpFa0pkUTBBQUFCbytsclVWRURIY2E2VzFLTkxseTVhc0dDQmpHbHhEVHZVMHRTcFUvWHV1KzlLMHZPaHJnVUFBQUJOWDR2cVdCbGowaVZwNk5DaGhDcWNsdC92MTJlZmZTWkpzdGJPRG5FNUFBQUFhQVphVXJBeTF0cDBTUm95WkVpb2EwRVR0bmJ0V3Yzem4vK1VNV1pYVGs3T3lsRFhBd0FBZ0thdnhRU3I2dE1BKy9mdkgrcHkwSVNkMEszeWg3WWFBQUFBTkFjdEpsZ3hEUkMxd1RSQUFBQUFuSStXRXF4Y1RBTkViUVNtQVVyYXlUUkFBQUFBMUZhTENGYU80M3hQVEFORUxRUzZWWkkrRk5NQUFRQUFVRXN0SWxneERSQzF3VFJBQUFBQW5LK1dFS3lZQm9oYVlSb2dBQUFBemxmWUJ5dW1BYUsybUFZSUFBQ0E4eFgyd1VyU0Q2UmozU3FtQWVKMC9INi9saTVkR25qNVFTaHJBUUFBUVBNVDdzSEtKZWt1NmRqbnE0RFRXYnQycmZidDJ5ZEpPN096czVrR0NBQUFnSE1TMXNHS2FZRG54dWZ6NmVEQmc1S2t5c3JLRUZmVHVFNllCbWhEV0FvQUFBQ2FvYkFPVm1xRzB3Qm56SmloanovK3VNYVl0VmEvK01VdnRITGw2UnNwWldWbGV2dnR0MVZhV25yZTU5NjVjNmZ1dSs4K1ZWUlU2TjU3NzlWSEgzMVVZM3R1YnE3V3JWdDMwdnVtVDU5KzN1ZHNDcGdHQ0FBQWdMb0s1MkRWTEtjQjV1WGw2YkxMTHFzeDl2enp6K3VDQ3k3UWh4OStxUDM3OTUveWZhMWF0ZExPblR2MUgvL3hIL0w3ejIvZGhlam9hUG45ZmtWRlJlbmxsMS9XcWxXcmRPVElFVW5Id3Njenp6eWp5TWhJU2RJOTk5d1QvT2UxMTE2cjhmcTk5OTQ3ci9PSEN0TUFBUUFBVUZlUm9TNmdvU1FuSjErdFpqUU44TDMzM3BQWDY5WE9uVHUxYTljdVJVWkdhdGFzV2ZyREgvNmdxcW9xL2VwWHY5SzMzMzZyUng5OVZJODk5cGppNHVKcXZEOGlJa0tQUHZxb2Z2U2pIMm4yN05tNisrNjdUM3N1djkrdndZTUhuelJ1clZWcGFhbHV2UEhHNE5pSUVTUDAvdnZ2YS9YcTFVcEtTbEtmUG4zMDVaZGZhdGFzV2NGOWJyenh4aHF2bTV2QU5FQmp6R3d4RFJBQUFBRG5JV3lEVmVDaHdNMWxHdURvMGFOMTVaVlhhdnIwNlhyeHhSZTFhOWN1alI4L1htVmxaY0h0a25UbzBDSDkrdGUvMWwxMzNTV1B4MVBqR0M2WFMybHBhWHJoaFJlVW1wcXEyTmpZVTU3TFdxc2pSNDRvS3l1cnh2alJvMGQxODgwM2E5bXlaVFhHQ3dzTE5XdldMTDM2NnF2NjlOTlBOVy9lUEZWVlZlbWxsMTZTSkpXV2x1cWVlKzRKN3YvMjIyK3JWYXRXZGJzZ2phVDZORUFlQ2d3QUFJRHpGYTdCcWxsT0ExeTJiSmtHRHg0c2o4ZWo1NTkvWHNPSEQ5ZVlNV05PMm0vNzl1Mm5YVnhpeFlvVmF0V3FsZjc2MTcvcXh6Lys4VG1kUHpvNldwV1ZsZkw3L1hLNVhNck16RlRmdm4yVmtaR2hmZnYyYWVMRWlTb29LTkRNbVRQVnRXdFhYWC85OVpLYWQ4ZUthWUFBQUFDb0QyRVpySnJiTk1DQUw3NzRRak5tek5EYmI3K3RuajE3YXVyVXFaby9mNzRrcVVlUEhvcUxpOU9QZnZRalRaMDZWZE9tVFR2cC9VVkZSZnJiMy82bVAvM3BUM3I0NFlkMTMzMzNxWDM3OXFjOVgvVXBmNUswWk1rU2RlalFRWWNQSDFiNzl1MzE1Sk5QNnBWWFhsRjZlcnJ1dlBOT3ZmTEtLK3JYcjUvMjdObWpoeDkrT1BpK3JsMjcxdWhZU1dvMlFZdHBnQUFBQUtnUFlibDRSWE9iQmlnZG0rSzNZOGNPalI4L1hudjI3SkhINDlIZXZYczFhOVlzelpvMVM5dTJiZFBubjM4dTZWakg2bFErK09BRHVkMXVPWTZqYTYrOVZ1Kzg4ODRwOS9QNWZHcmR1cldXTFZ1bVpjdVc2WXN2dmxCcGFhbWlvcUxVcFVzWDdkMjdWL1BuejFmZnZuM1ZwMDhmdFd2WFRpdFdyRkJ4Y2JGdXYvMTJPWTZqV2JObXllZnpuZlJQVEV4TXN3bFZUQU1FQUFCQWZRbkhZT1dxSHF5YWk4NmRPMnZseXBYeWVyM3EycldydkY2dnlzcktORzdjT0kwYk4rNnM3ejkwNkpEZWVlY2RQZkRBQTVLa0gvN3doNW8xYTVaMjc5NTkwcjRsSlNXS2lZa0p2aTRySzFPYk5tMGtTVDE3OXRUYXRXdjE2cXV2NmljLytZa2thZVBHalhyaWlTZTBhOWN1M1g3NzdYcjIyV2NsU1FjT0hOQUhIM3lnNjYrL1hoOTg4SUUrK09BRGZmUE5OM1crRm8xbDNicDFnV21BTzVnR0NBQUFnTG9JdTZtQXljbkpWMXRydXplM2FZQW5LaWtwVVhSMHRONTY2eTFKMGc5KzhJUFQ3bXV0MWROUFA2M3JyNzllU1VsSmtxUkxMNzFVSTBlT0RFN25jN24rTDBQdjM3OWZGMTEwVWZCMVVWRlJNR2dsSmlicVQzLzZrMUpUVTVXUWtLREt5a3AxNjlaTnp6enpqSHIzN3EwZVBYb0VsMXdQdkRjek0xTS8rOW5QNnZYN2J3eExsaXlSSkJsamVDZ3dBQUFBNmlUc09sYlZ1MVhWdzBSVDk5VlhYK21Ydi95bEprNmNxTjI3ZCt2KysrOVhRVUdCSmt5WW9Ba1RKcHp4dlgvKzg1LzE5ZGRmNnovLzh6OXJqRC80NElNNmNPQ0FubnZ1dVJyalc3WnNVVnhjbkNvcUtpUWRlM2JXZDc3ekhVbkhGckNvcUtqUVF3ODlKRW1hTW1XS05tellvQ0ZEaHFobno1N2F0V3VYbGk5Zkhqelc4dVhMZGZqd1lTMWF0S2pPMTZBeE1RMFFBQUFBT0QyWDIrM2U2VGlPemMzTnRjMUpXVm1aUFh6NHNQWDVmSGJreUpIV1dtdlQwOU9EMjZ0L2ZmdnR0MXRycmEycXFySi8rTU1mYkVwS2lzM1B6ei9sY2ZQejgrMzN2Lzk5KzV2Zi9NWWVPWExFV212dEUwODhZVC84OEVQN3lDT1AyR3V1dWNhbXBLVFk1Y3VYMjIzYnR0a2hRNGJZY2VQRzJYbno1bGxyclgzd3dRZnR2SG56N0xoeDQreVFJVVBzK1BIajdjc3Z2Mnl0dGZhRER6NndJMGFNc0Y5OTlaVjk1SkZIN0lRSkUrektsU3ZyLytJMGdOemNYT3M0am5VY1o3dWs1dkZCUEFBQUFLQXhKQ2NuRDNJY3g2YW1wbHFmenhmcWUvZnpWajFZVlZWVjJTTkhqdGg3NzczWGJ0dTJ6ZTdZc2NNT0d6Yk1XbXZ0SC8vNFI1dVdsbmJhVUJXd2J0MDZPM1RvVUR0dDJqUmJXRmhvVTFKUzdNR0RCNjIxMWxaV1ZscHJyZDJ6WjQ4ZE1XS0VuVDkvdnQyNmRhc2RNV0tFemMzTnRjT0dEYk1IRGh5d216WnRDbDdUQlFzVzJIdnV1Y2VPR1RQR2J0eTRNWGllek14TW01cWFhbDk3N2JWNnZ5YjE3Ym5ubnJPTzQxaTMyejAxMUwrM0FBQUFRSlBpT003emp1UFlxVk9uaHZxK3ZVNEN3ZVNkZDk2eG16WnRzck5temJKZmYvMjEvZDN2Zm1mSGpoMXIvL0tYdjFocnJTMHNMTFFGQlFXMU91Ymh3NGR0WldXbHpjbkpzYzg4ODh4SjI5ZXNXV1BmZWVlZDRPdk16RXc3ZlBodys5UlRUNTIwNzlkZmYyM1hyRmx6eXZNVUZoWTIrVzZoeitlenFhbXBnV0IxZGFoL2J3RUFBTkQ4aGRNVUtKZmI3ZDV1cmUzK3hodHZLREV4TWRUMU5GaytuMDhSRVJHaExpTms4dkx5Tkg3OGVPbllhb0NYaVlVckFBQUFVRWZOWjNXSHN3aVgxUUFiUTBzT1ZSS3JBUUlBQUtEK2hVMndNc2I4UUdwK3F3R2ljVlZmRFZEU0I2R3NCUUFBQU9FalhCS0l5eGh6bDlTOEhncU14bGY5b2NCWldWbGZoYm9lQUFBQWhJZXdDRlpYWFhYVk5Vd0RSRzE4OXRsbmtvTFBybUlhSUFBQUFPcEZXQVFybDh2VkxCOEtqTWJsOS91RHdjcmxjdkZRWUFBQUFOU2JjRWdoVEFORXJUQU5FQUFBQUEybDJRY3JwZ0dpdHBnR0NBQUFnSWJTN0lNVjB3QlJHMHdEQkFBQVFFTnE3a25FSlNrWXJJRFRZUm9nQUFBQUdsS3pEbFpYWFhYVk5aSzZNUTBRWjhNMFFBQUFBRFNrWmgyc21BYUkybUFhSUFBQUFCcWFDWFVCZGVGMnUzZGFhN3VIdWc0MEd6dXlzN012RXgwckFBQUExTE5tM2VieCsvMzVvYTRCemNwTElsUUJBQUFBcUF2SGNhempPQVFMQUFBQW9KNDE2NDRWQUFBQUFEUUZCQ3NBQUFBQXFDT0NGUUFBQUFEVUVjRUtBQUFBQU9xSVlBVUFBQUFBZFVTd0FnQUFBSUE2SWxnQkFBQUFRQjBSckFBQUFBQ2dqZ2hXQUFBQUFGQkhCQ3NBQUFBQXFDT0NGUUFBQUFEVUVjRUtBQUFBQU9xSVlBVUFBQUFBZFVTd0FnQUFBSUE2SWxnQkFBQUFRQjBSckFBQUFBQ2dqZ2hXQUFBQUFGQkhCQ3NBQUFBQXFDT0NGUUFBQUFEVUVjRUtBQUFBQU9xSVlBVUFBQUFBZFVTd0FnQUFBSUE2SWxnQkFBQUFRQjBSckFBQUFBQ2dqZ2hXQUFBQUFGQkhCQ3NBQUFBQXFDT0NGUUFBQUFEVUVjRUtBQUFBQU9xSVlBVUFBQUFBZFdSQ1hRQWFSbUppWXZmSXlNaGZuekQ4dytOL3ZscDlzS3FxNnJkNWVYbTdHcWN5QUFBQUlQd1FyTUpVZW5wNlJINSsvbTVqVEpjejdXZXQzUmNmSDk5dDl1elp2c2FxRFFBQUFBZzNFYUV1QUExanc0WU50bHUzYnIwbERUakxydThzWGJyMGs4YW9DUUFBQUFoWGZNWXFqUG45L2ptMTJLMDIrd0FBQUFBNEE0SlZHSE81WE11c3RZZk9zTXZCRGgwNkxHdTBnZ0FBQUlBd1JiQUtZMWxaV1pYR21JL1BzTXZIbVptWlZZMVdFQUFBQUJDbUNGWmh6aGh6MnFsK0xwZUxhWUFBQUFCQVBTQlloYm5Dd3NMUEpCV2RZbE5SUVVIQjBzYXVCd0FBQUFoSEJLc3dsNStmWDI2dFBkV3FmL1B6OC9QTEc3MGdBQUFBSUF3UnJGcUEwMHdIWkJvZ0FBQUFVRThJVmkyQU1XYVJwTkpxUTZYR21FOURWUThBQUFBUWJnaFdMVUJXVmxhcHBJekFhMlBNd3VOakFBQUFBT29Cd2FxRnNOWUdwLzdWOHNIQkFBQUFBR3FKWU5WQ1JFVkZMUWg4M2JadDJ3Vm4yaGNBQUFBQWNCcU80OHgzSEdkZXFPc0FBQUFBd2sxa3FBdEFvNXBqakxHaExnSUFBQUFJTnliVUJhQlJ1QnpIR1NycEhVa1g2ZGdEZzMrUW5aMjlSSkkvcEpVQkFBQUFZWUJnRmNhU2s1TzdHbVBHUzVvbzZiSlQ3TEpOMGd4anpNeXNyS3h2RzdNMkFBQUFJSndRck1KTWVucDZSSDUrL2pCanpHUkp0MG1La0tSdTNicko0L0hvMm11djFULys4UTk1dlY3dDNyMDc4RGFmcFBuVzJ1bng4ZkdMWjgrZTdRdFIrUUFBQUVDelJMQUtFMGxKU2QwaUl5TW5XR3NuU3JwVWtpSWpJNVdTa2lLUHg2T0JBd2ZLNWZxL1JTRDlmcjlXclZvbHI5ZXJMNzc0UWo1Zk1FdnRNTWJNcUtxcW1wbWJtN3Y3NURNQkFBQUFPQkhCcWhsTFQwK1AyTHAxNjNCcjdXUkp0K3I0OHZrOWV2VFF5SkVqZGR0dHQ2bHo1ODVuUGM2aFE0YzBmLzU4ZWIxZTdkcTFLekRzTThaOFlveVozcXRYcjAvcFlnRUFBQUNuUjdCcWhnWU9ITmpENS9OTmtQU0FwQjdTc2U3VVRUZmRKSS9ISTdmYlhhTTdWVnQrdjE5WldWbnllcjM2L1BQUFZWVlZGZGkwMHhnem83S3ljbVplWHQ2dU14MERBQUFBYUlrSVZzMUVTa3BLWkZGUlVhcWt5WkxTZEx3N2RlbWxsOHJqOGVqV1cyOVZwMDZkNnUxOGh3OGYxaWVmZkNLdjE2c2RPM1lFaHYyU0ZraWFIaHNidXlnek03UHE5RWNBQUFBQVdnNkNWUlBuZHJzdjlmdjlEeGhqSHBEVVRaSmF0V3FsbTIrK1dSNlBSNDdqeUppRyt6RmFhNVdkblMydjE2dWxTNWVxc3JKU2ttU00yV1d0ZmYzNGlvSTd6bklZQUFBQUlLd1JySnFnbEpTVXlJS0NnaEhHbU1uR21GUWQvem4xN05rejJKM3EyTEZqbzlkVlVGQVE3R0p0Mzc0OU1PeVhsR0d0bmQ2aFE0ZUZkTEVBQUFEUUVoR3NtcERrNU9TZUxwZHJvclYyZ3FTdWtoUVZGUlhzVGlVbkp6ZG9kNnEyckxYS3lja0pkckVxS2lvQ20vWllhMStYOUhwT1RzNzJNeHdDQUFBQUNDdWh2MHR2NGR4dWR5dHI3YTJTSmtrYXJ1TS9rMTY5ZXNuajhXakVpQkhxMEtGRFNHczhrOExDUWkxWXNFQno1c3pSdG0zYkFzTlcwaUpqekhSSkM3S3lzaXBEVm1BejA2NWR1eUZSVVZGZERoOCsvTjhuYklwUXpYOWY2UXdDQUFBMElRU3JFRWxNVE93VkdSazVVZElFU1pkSXg3cFRRNGNPbGNmalVWSlNVcFBvVHRXV3RWYTV1Ym55ZXIxYXNtUko5UzdXdDVKbSt2MytHV3ZXck5rV3VncWJoeDQ5ZXJ4Y1dscTZzbnYzN2k5V1ZsYnVrcVJXclZyMUxpa3ArU0l5TXJLckpMVnAwNlpmVGs1T1ZHZ3JCUUFBUUhYTjU4NDlETGpkN2xaK3YvOTJZOHdrU2NOMC9Qckh4Y1ZwMUtoUlNrdExVMnhzYkdpTHJBZEZSVVZhdUhDaDVzeVpvNjFidHdhR3JhVEZrcVliWStiVHhUb2wwNzkvLzIvV3JWdDNkVkpTMHViYzNOeU9rblRsbFZmdVdydDJiZmZBVGllK0JnQUFRT2hGaHJxQWxtRGd3SUZ4VlZWVmsveCsvM2hqVEJmcFdIZHEyTEJoOG5nOFNreE1iRmJkcWJPSmpZM1Y2TkdqZGZmZGR5c3ZMMDllcjFlTEZ5ODJGUlVWdDBpNnhlLzM3MHRPVHA0WkdSazVZOVdxVlZ2UGVzQVdvbjM3OWpjWVl5SWw3UXQxTFFBQUFEZzM0WE0zMzhRa0pDUkVSVWRIMytIMyt5Y1pZNFlHeG52MzdxMVJvMFlwTlRVMUxMcFR0VlZVVktTTWpBek5tVE5IVzdac0NZNWJhNWRJbWw1UlVURnYvZnIxRmFjL1F2aUxpNHY3c0YyN2R0ZXNYYnUyZTFKU1VrRjVlZmsyU1dyZHVuV2Zzckt5SEdOTVc0bXBnQUFBQUUwUndhcWVPWTRUcjJNTFVZeVhkSkVrdFc3ZFdyZmNjb3M4SG8vNjkrOGZWdDJwYzJXdDFicDE2K1QxZXZYcHA1K3F2THc4c09tZnhwZzNyTFV6c3JPejgwTlpZeWkwYTljdU1TNHVMa09TRFFTcndGVEEyTmpZVzRxS2lqNE43TnU1YytmMFE0Y096UTVac1FBQUFEaEp5NzNEcjBjSkNRbFJyVnUzdmxQU1pFazNCOFl2di94eWpSbzFTc09IRDFkTVRFem9DbXlpaW91THRXalJJczJaTTBkZmYvMTE5VTFMSlUwdkx5Ly9xS1Ywc1RwMzdqekJHRlBWdFd2WDN3V0NWV0R4aXFLaW9xVVhYbmpoaExLeXNpMlMxS1pObXl2MjdObno2TDU5KzU0UGJkVUFBQUFJSUZqVlFWSlMwbmNqSWlJbVNycGZ4N3RUMGRIUkdqNTh1RHdlai9yMTY5ZWl1MU8xWmEzVit2WHJnMTJzc3JLeXdLYjlrdDcwKy8ydnJWbXo1dXN6SENJY1JFc3FDeXhNVWIxakpVbng4ZkZMOC9QemgwdHlYWFhWVlljMmI5NTg4OUdqUjc4TVhia0FBQUNvanJ2K2N4UWZIOTg2SmlabXBERm1zcVRCZ2ZFK2Zmckk0L0VvTlRWVjdkcTFDMkdGemR1UkkwZTBhTkVpZWIxZWJkNjh1ZnFtTDZ5MTA0dUxpK2ZtNStlWG4rNzl6ZDNwZ2xXM2J0MStWMVJVOUkvSXlNajJsMXh5eVg5dTNMZ3hPWlIxQWdBQW9DYUNWUzBOR0RDZ2o4L25tMlNNdVYvU0JaTFVwazJiWUhlcWI5KytkS2Zxa2JWV0d6WnNDSGF4amg0OUd0aDAwRnI3WmtSRXhHdXJWNi9lZktaak5FZlZnMVZnS21CRlJjWHVuVHQzL3JSWHIxN3ZSa1JFeE96WXNXTmljWEh4MzBKZEt3QUFBUDRQU2VBTVVsSlNvb3VMaXozVzJzbVNiZ3lNOSszYlZ4NlBSOE9IRDFmYnRtMURXR0hMVUZKU0V1eGliZHEwcWZxbVpjYVk2VEV4TWQ3TXpNeXkwNzIvT1RsZHgwcFNURUpDUXJiUDV5dll0R25UWUVsSFFpZ21yazhBQUNBQVNVUkJWRlVqQUFBQVRrYXdPZ1hIY2ZwS21tU3RIV2VNNlN4SmJkdTJWV3BxcWthT0hLbStmZnMyeUhsOVBwOEtDZ3Awd1FVWHFMS3lVcTFhdFdxUTh6Um5HemR1bE5mcjFhSkZpMVJhV2lwSnN0WWVNc2E4SmVtMTdPenNqYUd0c0c1T0VheE1URXpNaUI0OWV2elhnUU1IWG91SWlHaDd3UVVYVE5xL2YvOEwrL2J0bXlHcE9OUTFBd0FBQUVHREJnMXE0empPV01keC9zZHhIQnY0Wit6WXNYYnUzTG0ycEtURU5yUnZ2dm5HcHFXbDJmTHljbnYzM1hmYnVYUG4xdGkrWnMwYXUzYnQycFBlOStxcnJ6WjRiVTFOU1VtSjlYcTlkdXpZc2JiNnordjR6Mi9zb0VHRDJvVDZkK3A4WEg3NTVaOGQvL09MNDBNeHZYcjFlcTlObXpiWEJQYUppb3JxMTcxNzk5OUxJbmtEQUFBMEVTMitZNVdVbEpRUUVSRXhTZEo5a2pwSng3cFRhV2xwOG5nODZ0T25UNlBWc25mdlhvMGZQMTRaR1JrNmRPaVFwazZkcWtjZmZWVHQyN2VYMysvWDZOR2o5ZFJUVCttS0s2N1FQZmZjRTN4ZmZuNis0dVBqZzYvdnVPTU9qUjQ5dXRiblBYandvS1pNbWFJdnYveFNVVkZSdXV1dXUvVGdndzhHUHpQbTkvdjE0b3N2YXQ2OGViTFd5dVB4NktHSEhqcmxaOHJlZSs4OXZmdnV1OXE3ZDY5Njl1eXBSeDU1Uk4vNzN2ZnFjRlhPYnRPbVRabzdkNjRXTGx3WTdHSkpPaXpwYld2dDlKeWNuQTBOV2dBQUFBQmF2QllackFZTkd0U21yS3dzWGRKa1k4eDFnZkdFaEFTTkdqVktRNGNPYmREUFR2bjlmZzBlUFBpa2NXdXRTa3RMVDFwVjhQMzMzOWZxMWF1Vm01dXJ4eDU3VEN0WHJ0UTExd1FiR0xyeHhodTFiTm15azQ1MzVNZ1JsWlNVcUV1WExtZXM1Nzc3N3ROM3Z2TWQvZXBYdjFKaFlhRisvdk9mYTh5WU1icnJycnNrU1crKythYm16NSt2bDE1NlNhV2xwWm84ZWJKKyt0T2Y2czQ3N3p6cFdDKy8vTEp1dXVrbWRlblNSZSsvLzc1bXpacWx4WXNYcTNYcjFyVzZOblZSV2xxcXhZc1h5K3YxYXYzNjljRnhhKzNmSlUyUGpvNmV2V0xGaXFPblB3SUFBQUNBc3hvd1lFQi90OXM5elhHY3c0R3BZemZjY0lOOTl0bG43ZWJObXh0dEdsdFZWWlYxSE9lazhkTFNVanRvMEtDVHhnc0tDdXlZTVdOc2NYR3h6Y2pJc0E4KytLQmR2bnk1SFQxNnRCMDllclFkTUdCQThPdlJvMGZiaW9vS2E2MjErL2J0czBPSERyWFRwazJ6eGNYRnA2eGwrL2J0MW5FYysrMjMzd2JIRmkxYVpQL2xYLzRsK0RvdExjM09uejgvK1ByUGYvNnpuVGh4NGxtL3o2TkhqMXJIY2V5ZVBYdk91bTk5MjdScGs1MHlaWXE5NFlZYnFrOFRQT3gydTZjTkdEQ2dmNmgvRndFQUFCQmVJa05kUUdOd0hHZWtKSy9mN3crT1hYbmxsUm8xYXBTR0RCbWlObTJheHNkeG9xT2pWVmxaS2IvZkw1ZkxwY3pNVFBYdDIxY1pHUm5hdDIrZkprNmNxSUtDQXMyY09WTmR1M2JWOWRkZkwrbFl4MnJXckZrbkhlL2lpeS9XaHg5K3FKa3paeW85UFYxang0NVZlbnE2b3FLaWd2dVVseDk3SkZUMWFYMmRPblhTbGkxYkpCMmJKcmgzNzE1ZGVlV1Z3ZTM5K3ZYVDdObXp6L3I5ckZ5NVVwZGNjc2xaTzJZTm9VK2ZQdnJsTDMrcG4vLzg1MXF5WkltOFhxL1dybDNiMFZyN2tMWDJJY2R4Sk1tVG5aMDl0OUdMQXdBQVFOaHBFVk1CSGNjNUlpazR2KzYzdi8ydFVsTlRRMWFQeitmVDk3NzNQYlZ2Mzc3RytKSWxTNVNXbHFiMzMzOWY3ZHUzMS9EaHcvWEtLNitvZS9mdXFxeXMxQ3V2dktKKy9mcXBhOWV1bWpwMTZoblBjV0xRMnJkdm4xNTk5VlZsWldYcG9ZY2UwcEFoUTRLMTNISEhIWEs3M2ZyRkwzNmhzckl5L2IvLzkvLzAxVmRmNmF1dnZsSitmcjdHakJtanpNeE14Y1RFU0pKeWNuSTBjZUpFclZxMVNpNlg2NVRuejhySzBxT1BQcW9wVTZiSTdYYWY3NldxVndzWEx0UnZmdk9iNmtNbCtyL2ZDNzhrVzVzL3JiWFdHT09YWksyMWZtT01EV3d6eGxocnJWK1NOY2I0cmJXblBNWnA5anVYODUxdXYxcWR6Ky8zbi9LWXhoaDdwbTFuT2taZy9QZ3gvTmJhN0RWcjFueGNMejg4QUFDQUpxNUZkS3drM1N0cGpvNEh5Vi8vK3RkNjc3MzNncCtuYXV5T2xjL25VK3ZXcllPZmkvTDcvYnI2NnFzVkZSV2xMbDI2YU8vZXZkcTRjYVA2OXUwYlhEd2pJeU5EeGNYRnV2MzIyK1gzK3pWcjFpejk0QWMvT09uWUhUdDIxUFRwMDA5NTN2YnQyOHRhcThMQ3d1QllSRVNFWG5qaEJUM3p6RE1hTW1TSXVuWHJwclMwTksxWnMwWVJFUkh5K1h5U1ZDTkF1Vnl1TXo0TWVmLysvWHI0NFlmMTNIUFBoVHhVSFQxNk5QaTVxM1hyMWxYZlpIWHM5OEo3L0hYZ0c0dzQyekdyZis4blhvZGorZWprcjA5VTIvM09kcjdUN1hlMjg1M3VtR2ZiZGk3SE1NWlVpWlVMQVFCQUM5RWlndFh4NlY2dUFRTUc5UGY1ZkpPTU1mZXRXN2V1NDdwMTYvVGNjODhwTFMxTkkwZU9iTFFWQUV0S1NvTGRIMGtxS3lzTGhydWVQWHRxN2RxMWV2MzExL1hDQ3k5SU92YnNwaWVlZUVKWFhIR0Zici85ZGwxenpUVjY3TEhIZE9EQUFYMysrZWVhTm0yYWZ2YXpuMG1TaGc0ZFd1TmNXN1pzMGR0dnY2M1ZxMWRyekpneG1qMTc5a2tMU2NUSHgrdU5OOTRJdnA0N2Q2NTY5dXdwU1lxTmpaVWtGUllXQmhmVktDZ29VTWVPSFUvYnJWcXpabzNpNHVJMFlNQ0E4NzVHZGJWNTgyWjV2VjVsWkdTb3BLUWtNRnhnclgwN0lpTGl0ZFdyVndkU2xrdVNTVTlQTjF1M2JuV1ZsWldaaXk2NnlGVmVYbTVLU2twY1BwL1B0Ry9mM2xWVlZXVXFLaXBjN2R1M054VVZGUzYvMzIraW9xSmNmci9mVkZWVnVmeCt2N0hXbWxhdFdybjhmci94K1h5dTFxMWJHNS9QNS9MNy9TWXlNdEpsclRWK3YvK2sxNUdSa2Nidjk3dXN0Y1phYXlJaUlrNjVyZnE0Sk9OeXVRTHZjVVZFUkFUSHJiVTF0a2t5eHBqQU5wZkw1VExXV3RlWjlqdnhQU2Z1R3pqR0dmWjdVaTNrN3hjQUFBQ3BoZDM0SEwrWi92bWdRWU4rV1ZaV2RwY3habkpKU2NuMXMyZlAxdXpaczVXUWtDQ1B4Nk5odzRZMTZLcUErL2Z2MTBVWFhSUjhYVlJVRkF4YWlZbUordE9mL3FUVTFGUWxKQ1Nvc3JKUzNicDEwelBQUEtQZXZYdXJSNDhlaW95TXJQSGV6TXpNWUxDcWJ0ZXVYWHJvb1lkMDMzMzM2VmUvK2xXTnoxYWR5WklsUy9UOTczOWZrdFMxYTFmRnhNUm93NFlONnRxMXF5UnB3NFlONnQvLzlPcy9YSDMxMWZydWQ3OWJxM1BWcDlPdENpanBiOWJhNmRIUjBSK2VZbFZBSzhrZS84eVlyN0ZxRFhlTzR6d1o2aG9BQUFBYVU0c0tWZ0hIYjY3ZmtmUk9jbkp5UDJQTUpFbmoxcTlmMzJuOSt2V2FPblZxc0l0MXhSVlgxUHY1dDJ6Wm9yaTRPRlZVVkNncUtrcDVlWG42em5lK0krbllBaFlWRlJWNjZLR0hKRWxUcGt6UnNHSEROR1RJRVBuOWZ1M1lzVU03ZCs3VURUZmNJRWxhdm55NURoOCtyRVdMRm1uNDhPRTF6blB4eFJmcm80OCtPbXVneXMzTlZWeGNuS3kxZXVlZGQ3UjE2MVpObVRKRjByRnBmN2ZkZHB0bXpweXBxNjY2U2tWRlJmSjZ2WHJxcWFmTytQMnRXN2RPOTk1NzczbGZvM094YWRPbVlIZnFoT2RZdldXdGZZM25XQUVBQUtDaHRZakZLMm9qSlNVbHVxaW9hSlNreVpLK0h4anYyN2V2Um8wYXBWdHV1YVhldWxoUFB2bWsrdmZ2cjVVclYycjU4dVdLam83VzAwOC9yUjQ5ZW1qaXhJbnExcTJiUm8wYXBkdHV1MDAvL3ZHUGxacWFxamx6NW1qMzd0M3EwYU9IQmc0Y3FBY2ZmRkN6WjgvV1cyKzlwY2NmZjF5elo4L1d3WU1IOWNNZi9qRDRRTjZQUHZwSXYvLzk3MDladzVJbFM0S0xaMHliTmkyNHlwL2I3ZGJERHorc0hqMTZCUGN0THkvWE04ODhvNlZMbHlvbUprWVRKMDRNUHVQcVZGNS8vWFZsWkdUb3d3OC9ySmZyZFNxbHBhVmF0R2lSdkY2dk5tN2NXSDNULzBpYUhoc2JPeWN6TTdPc3dRckFHVG1PWXlVcE96dWJ2Mk1BQUFCYUtyZmJmWVhiN1o2YW5KeDhNUEFNcE91dnY5Nys5cmUvdFJzMmJEai9oeXRaYXdzTEMyMUtTb285ZVBDZ3RkYmF5c3BLYTYyMWUvYnNzU05HakxEejU4KzNXN2R1dFNOR2pMQzV1YmwyMkxCaDlzQ0JBM2JUcGszVzUvTlphNjFkc0dDQnZlZWVlK3lZTVdQc3hvMGJnOGZPek15MHFhbXA5clhYWHF0VGpVM1ordlhyN2ROUFAyMnZ1KzY2NnMrbk91QjJ1NmU2M2U3NmJ5L2l2QVIrTnFHdUF3QUFvTEh3ZjVQUElDVWxKYnF3c0hDa3BNbkdtSlRBK0JWWFhDR1B4NlBodzRjSEYzU29yVFZyMW1qaHdvVjY3TEhIYW96bjV1WnE3ZHExR2p0MnJDUnAyYkpsZXZiWlozWHR0ZGVldUVTNDh2UHpWVkpTb3FTa3BKT09YMVJVcEczYnRpa3hNZkdjNm1yS1NrcEtsSkdSSWEvWHE4MmJOd2ZIcmJXWmtxWjM2TkJoTHQycHBvV09GUUFBYUdtNDZhbWxBUU1HOVBINy9STWwzUy9wUWtscTA2YU5icm5sRm5rOEh2WHIxKytNeTExWDUvUDVGQkZ4MWxXOVd6UnJyVFpzMkNDdjE2dEZpeGFwckN5WW13NUlldFBsY3MxWXZYcjE1ak1jQWlGRXNBSUFBQzBOTnozbktENCt2blZzYk95ZE92WlpySnNDNDMzNjlBbDJzVTU4OEM5cTc4aVJJOEh1MVAvKzcvOVczL1M1cE9sRlJVVWY1ZWZubDRlb1BOUVN3UW9BQUxRMDNQVFV3VlZYWFhXNXkrV2FLR204cEl1a1k2djZCYnBZQ1FrSnRlNWl0V1RXV3ExYnQwNWVyMWVMRnkrdTNwM2FMK2tOdjk4L1k4MmFOVitIc0VTY1FYeDhmT3RPblRwMXFqN204L20rbGFTSWlJanZWQjgvZlBqd1lZSXhBQUFJUjl6MTE0T0VoSVNvNk9qb082eTFreVVOQ1l4ZmZ2bmw4bmc4U2sxTnJmRkFZQnhUWEZ3YzdFNTkvWFdOM1BTWk1XWjZXVm5aeCt2WHI2OElWWDJvbllFREIxN2k4L24yNk94L24vZ2pJaUs2clZxMWFtOWoxQVVBQU5DWUNGYjF6TzEyOTVZMHlWbzdYdExGa3RTNmRXc05HelpNSG85SFYxNTVaWXZ1WWxscnRYYnQybUIzcXJ3ODJMejRwN1YycHN2bG1wR1ZsYlVsbERYaTNEbU9reW5weHJQc3RpdzdPenVsNGFzQkFBQm9mQzMzRHIrQkpTUWtSRVZGUmQxKy9PSER3d0xqdlh2M2xzZmpVVnBhbW1KalkwTllZZU1xS2lyU3dvVUw1ZlY2dFdWTGpkeTAyRm83dmFLaVlqN2RxZVlyT1RuNUlXUE10TFBzOWxCMmR2YWZHNlVnQUFDQVJrYXdhZ1FEQnc2TXE2cXFtaWhwZ2pHbWl5UkZSVVVGdTFpSmlZbGgyY1d5MWlvdkx5L1luYXFvQ09hbXZaSm1Sa1JFdkw1cTFhcXRJU3dSOVNRcEthbGJSRVRFcmpQdDQvUDV1dWZtNXU1dXJKb0FBQUFhVS9qZHpUZGhicmU3bGJYMk5rbVRKTjJpNDljL0xpNU9IbzlISTBhTUNJc3VWbEZSa1JZc1dDQ3YxNnV0VzRPNXlVcjZWTkowWTh3bldWbFpsYUdyRUEzQmNad1ZrcTQ1emVZVjJkbloxelptUFFBQUFJMkpZQlVpVjExMTFXWEhWeFNjSU9rNzByRXUxcEFoUStUeGVIVFZWVmMxcXk2V3RWWnIxcXlSMSt2Vlo1OTlWcjA3OWEweDVuV2Z6L2Y2bWpWcnRvV3dSRFF3dDl2OUMydnRmNTFxbXpIbUYxbFpXVk1idXlZQUFJREcwbnp1M01PVTIrMXVKV21FMysrZlpJeEoxZkdmeVdXWFhTYVB4Nk5iYjcxVkhUcDBDRzJSWjFCWVdLaFBQdmxFWHE5WDI3WnRDd3hiYTIyR3RYWjZ4NDRkRjJSbVpsYUZzRVEwa3NURXhGNlJrWkdubk5wWlZWVVZsNWVYOTAxajF3UUFBTkJZQ0ZaTlNISnljazlKRHhoakhwRFVWWkphdFdxbG0yKytXUjZQUjQ3ak5Ja3VsclZXMmRuWjhucTlXcnAwcVNvcmc3UDZkbHRyWDVjME15Y25aM3NJUzBTSU9JNlRMU241aE9IczdPeHNkeWpxQVFBQWFDeWh2MHZIU1ZKU1VpSUxDd3ZUakRHVEphVktja2xTejU0OWcxMnNqaDA3Tm5wZEJRVUZ3ZTdVOXUzQjNPU1h0RkRTOU5qWTJBeTZVeTJiNHppL2t2VGJFNFovbFoyZC9idFExQU1BQU5CWUNGWk5uTnZ0dnRSYU84RVk4NEMxdHJ0MHJJdDEwMDAzeWVQeHlPMTJOMmdYeTFxcnJLd3NlYjFlZmY3NTU4SHVsREZtbDdWMlJrUkV4TXhWcTFidGJMQUMwS3k0M2U0cnJMVWJxNCs1WEs0clZxOWV2VGxVTlFFQUFEUUdnbFV6a1pLU0VsbFVWRFJjMG1SSkkzUzhpM1hwcFpkcTVNaVJ1dlhXVzlXNWMrZDZPOStoUTRmMHlTZWZhTzdjdWRxeFkwZGcyQy9wRTJQTTlMaTR1RVd6WjgvMjFkc0pFVFljeDFrdnFaOGtHV1BXWjJWbDlROXhTUUFBQUEyT1lOVU1KU1ltZG0vVnF0VUVhKzFFU1Qwa0tUSXlVb01IRDViSDQ5R0FBUVBrY3JuTytiaCt2MStyVjYrVzErdlZGMTk4b2FxcTRLeStIY2FZR1pXVmxXL2s1ZVdkOFZsRlFISnk4bFBHbU45SWtyWDJxWnljbk1kRFhSTUFBRUJESTFnMVkrbnA2UkhmZlBQTkxkYmF5ZGJhV3lWRlNGTDM3dDAxY3VSSTNYNzc3YlhxWWgwNmRFano1czNUM0xsenRXdFhNRGY1Sk0yMzFrNlBqNDlmVEhjS3RaV2NuSnhrakZsei9HVlNkbloyWGtnTEFnQUFhQVFFcXpDUmxKVFV6ZVZ5alRmR1RKSjBxWFNzaTVXU2tpS1B4Nk9CQXdmVzZHTDUvWDZ0V3JVcTJKM3krWUs1YWJ1MWRvYU9yZXkzcDlHL0VZUUQ0empPMTVKc2RuYjJkM1hzNGRBQUFBQmhqV0FWWnRMVDB5TzJiTmt5Vk1jK2kzVzdqbmV4dW5YcnBwRWpSK3JhYTYvVlAvN3hEODJkTzFlN2QrOE92TTBuYVo2azZiMTc5MTVDZHdwMTVUak83NDB4TmlzcjY1ZWhyZ1VBQUtBeEVLekNtTnZ0L282MWRyeWtTWkl1TzhVdTJ5Uzlab3g1SXlzcjY5dkdyQTFoeWVVNHpsQnI3VnZHbUM3VzJoSmp6S2pzN093bE9yYndDUUFBUU5naVdMVU1McmZiUGNSYUczZ3VWb1l4Wm5wV1Z0Wm40b1lYZFpTY25OelZHRE5lMGtTZFBzRFBNTWJNSk1BREFJQndSYkJxUVJ6SHNaS1VuWjNOengxMWtwNmVIcEdmbnovcytFT3NiMU8xS2FjZWp5YzQ1ZFRyOVo0NDVaUUZVUUFBUUZqaUJyc0ZJVmlocnBLU2tycEZSa1lHbHZxdnl5SXBPNHd4TTZxcXFtYm01dWJ1UHZsTUFBQUF6UXMzMkMwSXdRcm5JejA5UFdMcjFxM0RqMDhsdlZYSEgwN2RvMGNQalJ3NVVyZmRkbHV0bC9XZlAzKyt2RjV2aldYOWpUR2ZHR09tOStyVjYxTzZXQUFBb0xuaUJyc0ZJVmpoWEF3Y09MQ0h6K2ViSU9rQlZYc1E5VTAzM1NTUHh5TzMyMzNlRDZMT3lzcVMxK3ZWNTU5L1h2MUIxRHVQUDRoNkpnK2lCZ0FBelEwMzJDMEl3UXBuazVLU0VsbFVWSlNxWTh2MXArbDRkK3JTU3krVngrUFJyYmZlcWs2ZE90WGIrUTRmUHF4UFB2bEVYcTlYTzNic0NBejdKUzJRTkQwMk5uWlJabVptMWVtUEFBQUEwRFJ3ZzkyQ0VLeHdPbTYzKzFLLzMvK0FNZVlCU2Qwa3FWV3JWcnI1NXB2bDhYamtPSTZNYWJoZkcydXRzck96NWZWNnRYVHBVbFZXVmtxU2pERzdyTFd2SDE5UmNNZFpEZ01BQUJBeTNHQzNJQVFyVkplU2toSlpVRkF3d2hnejJSaVRxdU4vSC9UczJUUFluZXJZc1dPajExVlFVQkRzWW0zZnZqMHc3SmVVWWEyZDNxRkRoNFYwc1FBQVFGUEREWFlMUXJDQ0pDVW5KL2QwdVZ3VHJiVVRKSFdWcEtpb3FHQjNLams1dVVHN1U3VmxyVlZPVGs2d2kxVlJVUkhZdE1kYSs3cWsxM055Y3JhZjRSQUFBQUNOSnZSM1QyZzBCS3VXeSsxMnQ3TFczaXBwa3FUaE92N3ZmcTlldmVUeGVEUml4QWgxNk5BaHBEV2VTV0Zob1JZc1dLQTVjK1pvMjdadGdXRXJhWkV4WnJxa0JWbFpXWlVoSzdDWmF0ZXUzWkNvcUtndWh3OGYvdThUTmtXbzVuOGY2QkFDQUhBVzNHQzNJQVNybGljeE1iRlhaR1RrUkVrVEpGMGlIZXRPRFIwNlZCNlBSMGxKU1UyaU8xVmIxbHJsNXViSzYvVnF5WklsMWJ0WTMwcWE2ZmY3WjZ4WnMyWmI2Q3BzWG5yMDZQRnlhV25weXU3ZHU3OVlXVm01UzVKYXRXclZ1NlNrNUl2SXlNaXVrdFNtVFp0K09UazVVYUd0RkFDQXBxLzUzRkdoemdoV0xZUGI3VzdsOS90dk44Wk1ralJNeC84OWo0dUwwNmhSbzVTV2xxYlkyTmpRRmxrUGlvcUt0SERoUXMyWk0wZGJ0MjROREZ0Sml5Vk5OOGJNcDR0MVJxWi8vLzdmckZ1Mzd1cWtwS1ROdWJtNUhTWHB5aXV2M0xWMjdkcnVnWjFPZkEwQUFFNHRNdFFGQUtnZkF3Y09qS3VxcXByazkvdkhHMk82U01lNlU4T0dEWlBINDFGaVltS3o2azZkVFd4c3JFYVBIcTI3Nzc1YmVYbDU4bnE5V3J4NHNhbW9xTGhGMGkxK3YzOWZjbkx5ek1qSXlCbXJWcTNhZXRZRHRqRHQyN2Uvd1JnVEtXbGZxR3NCQUNBY2hNOWRGczZLamxYNFNVaElpSXFPanI3RDcvZFBNc1lNRFl6Mzd0MWJvMGFOVW1wcWFsaDBwMnFycUtoSUdSa1ptak5uanJaczJSSWN0OVl1a1RTOW9xSmkzdnIxNnl0T2Y0U1dJeTR1N3NOMjdkcGRzM2J0MnU1SlNVa0Y1ZVhsMnlTcGRldldmY3JLeW5LTU1XMGxwZ0lDQUZCYjNHQzNJQVNyOE9FNFRyeU9MVVF4WHRKRmt0UzZkV3ZkY3NzdDhuZzg2dCsvZjFoMXA4NlZ0VmJyMXEyVDErdlZwNTkrcXZMeThzQ21meHBqM3JEV3pzak96czRQWlkyaDFLNWR1OFM0dUxnTVNUWVFyQUpUQVdOalkyOHBLaXI2TkxCdjU4NmQwdzhkT2pRN1pNVUNBTkJNdE53N3J4YUlZTlc4SlNRa1JMVnUzZnBPU1pNbDNSd1l2L3p5eXpWcTFDZ05IejVjTVRFeG9TdXdpU291THRhaVJZczBaODRjZmYzMTE5VTNMWlUwdmJ5OC9LT1cxc1hxM0xuekJHTk1WZGV1WFg4WENGYUJ4U3VLaW9xV1huamhoUlBLeXNxMlNGS2JObTJ1MkxObno2UDc5dTE3UHJSVkF3RFF0SEdEM1lJUXJKcW5wS1NrNzBaRVJFeVVkTCtPZDZlaW82TTFmUGh3ZVR3ZTlldlhyMFYzcDJyTFdxdjE2OWNIdTFobFpXV0JUZnNsdmVuMysxOWJzMmJOMTJjNFJEaUpsbFFXV0ppaWVzZEtrdUxqNDVmbTUrY1BsK1M2NnFxckRtM2V2UG5tbzBlUGZobTZjZ0VBYVBwWXZBSm9ndUxqNDF2SHhNU01OTVpNbGpRNE1ONm5UeDk1UEI2bHBxYXFYYnQySWF5dytUSEdxSC8vL3VyZnY3LysvZC8vWFlzV0xaTFg2OVhtelpzdmt2U0l5K1Y2eEhHY0w2eTEwNHVMaStmbTUrZVhuL1dnelZmWm1UWWVQWHAwWlV4TXpDMlJrWkh0eTh2TC81ZFFCUURBMmZHL3VWc1FPbFpOMzRBQkEvcjRmTDVKeHBqN0pWMGdTVzNhdEFsMnAvcjI3VXQzcWg1WmE3Vmh3NFpnRit2bzBhT0JUUWV0dFc5R1JFUzh0bnIxNnMyaHJMRWhWZTlZQmFZQ1ZsUlU3TjY1YytkUGUvWHE5VzVFUkVUTWpoMDdKaFlYRi84dDFMVUNBTkRVMGJFQ1Fpd2xKU1c2dUxqWVk2MmQ3UGY3Ynd3RXA3NTkrOHJqOFdqNDhPRnEyN1p0aUtzTVQ4WVlKU1FrS0NFaG9VWVhhOU9tVFJjWVl4NzIrLzBQTzQ2enpCZ3pQU1lteHB1Wm1YbkdUazl6dG1IRGh2N1ZYc1pFUkVSMDlQbDhCY1hGeFd0Q1ZoUUFBTTBJd1FvSUVjZHgra3FhVkZoWU9NNFkwMW1TMnJadHE5VFVWSTBjT1ZKOSsvWnRrUFA2ZkQ0VkZCVG9nZ3N1VUdWbHBWcTFhdFVnNTJsdTJyVnJwMUdqUm1uVXFGSGF1SEdqdkY2dkZpMWFwTkxTMGh1dHRUY1dGaFllY2h6bkxVbXZaV2RuYnd4MXZRM0V4TVRFak9qUm84ZC83ZCsvL3k4UkVSRnQrL2Z2djM3Ly92MHY3TnUzYjRhazRsQVhDQUFBRUhLTzQ5akFkRUNFeHFCQmc5bzRqalBXY1p6L0NmdzhITWV4WThlT3RYUG56clVsSlNXMm9YM3p6VGMyTFMzTmxwZVgyN3Z2dnR2T25UdTN4dlkxYTliWXRXdlhudlMrVjE5OXRjRnJhMnBLU2txczErdTFZOGVPdGRWL1hzZC9mbU1IRFJyVUp0Uy9VM1Z4K2VXWGYzYjh6eStPRDhYMDZ0WHJ2VFp0Mmx3VDJDY3FLcXBmOSs3ZGZ5K0pCQTRBd0Jud1lZMFdoTTlZaFU1U1VsSkNSRVRFSkVuM1Nlb2tIZXRPcGFXbHllUHhxRStmUG8xV3k5NjllelYrL0hobFpHVG8wS0ZEbWpwMXFoNTk5RkcxYjk5ZWZyOWZvMGVQMWxOUFBhVXJycmhDOTl4elQvQjkrZm41aW8rUEQ3Nis0NDQ3TkhyMDZGcWZkL1BtelhyeHhSZVZsNWNuYTYzY2JyY2VlZVFSOWVqUlE1TGs5L3YxNG9zdmF0NjhlYkxXeXVQeDZLR0hIanJsWjhyZWUrODl2ZnZ1dTlxN2Q2OTY5dXlwUng1NVJOLzczdmZxY0ZYT2J0T21UWm83ZDY0V0xseW8wdExTd1BCaFNXOWJhNmZuNU9Sc2FOQUNBQUJBazhZTmRndENzR3BjZ3dZTmFsTldWcFl1YWJJeDVyckFlRUpDZ2thTkdxV2hRNGMyNkdlbi9INi9CZzhlZk5LNHRWYWxwYVVuclNyNC92dnZhL1hxMWNyTnpkVmpqejJtbFN0WDZwcHJnbzBMM1hqampWcTJiTmxKeHp0eTVJaEtTa3JVcFV1WDA5WlNXbHFxRVNOR2FOU29VUm8zYnB5cXFxcjB4ei8rVVJzMmJOQ2NPWE1rU1crKythYm16NSt2bDE1NlNhV2xwWm84ZWJKKyt0T2Y2czQ3N3p6cGVDKy8vTEp1dXVrbWRlblNSZSsvLzc1bXpacWx4WXNYcTNYcjFyVytQdWVydExSVWl4Y3ZsdGZyMWZyMTY0UGoxdHEvUzVvZUhSMDllOFdLRlVkUGZ3UUFBQUEwYTB3RmJCd0RCZ3pvNzNhN3B6bU9jemh3elcrNDRRYjc3TFBQMnMyYk56ZmFOTGFxcWlyck9NNUo0NldscFhiUW9FRW5qUmNVRk5neFk4Ylk0dUppbTVHUllSOTg4RUc3ZlBseU8zcjBhRHQ2OUdnN1lNQ0E0TmVqUjQrMkZSVVYxbHByOSszYlo0Y09IV3FuVFp0bWk0dUxUMW5MNXMyYnJlTTQ5dkRodzhHeEw3LzgwbDU5OWRYVzcvZGJhNjFOUzB1ejgrZlBEMjcvODUvL2JDZE9uSGpXNy9QbzBhUFdjUnk3WjgrZXMrNWIzelp0Mm1TblRKbGliN2poaHVyVEJBKzczZTVwQXdZTTZILzIzeFlBQUFBME93U3JodVU0enNnVFBvZGp4NDBiWitmTm0yZExTMHNiL2FiL2RNSEs3L2ZiQVFNR1dKL1BaNjIxOW9zdnZyQjc5KzYxYjd6eGhyMzU1cHZ0M1hmZmJXKzU1UmE3ZS9mdUd1LzcvdmUvZjlwekZSWVcydWVmZjk0T0h6N2Mvdld2ZjdYbDVlVTF0bGRVVk5nNzdyakRQdlhVVTdhOHZOd2VPblRJVHB3NDBUNzU1SlBXV21zUEhEaGdIY2V4MjdadEM3N244ODgvdHpmZWVPTlp2OC9NekV5YmxwWVcvSDVDb2JTMDFINzg4Y2QyM0xoeEozNFd5enFPTXpMVXY1dkEvMmZ2M3VPaUxQUC84Yit1ZXdZWUZKQTB4VkMwVU9Nd0Nzd01wRzc2bFJLUmc0ZTRpZGJjVHBiU285MnN6eWUzUjJXMlc1cWZ0azEzTzN4c0N3K2RmcHYxUlcvTkE2Q20wYmFmOXR2S0RLQ0FrRUtlendjWUJPYkEzTmZ2RDVqN0E4cEpoUmxnM3M5L2NxN3JudnQrejh3VmM3M25mZC9YVFFnaHBPZlJLV0VlaEU0RjdGbDZ2ZjRxQU9YOHVqZmZmQlBKeWNsdWk4ZmhjT0NlZSs2Qm41OWZxL1k5ZS9ZZ0pTVUZYMy85TmZ6OC9KQ1VsSVNQUHZvSUkwZU9oTjF1eDBjZmZZVEl5RWdFQndkajllclZIUjVqNDhhTnJSNmZPM2NPSDMvOE1ZeEdJeFl2WG95RWhJUldmYSs4OGdwT25EaUIrdnA2ekowN0Z5Kzg4QUxVYWpVcUtpb3dmLzU4NU9mbnc5L2ZId0JRV0ZpSWhRc1hZdi8rL1JBRW9jM2pHNDFHdlBMS0szanJyYmRnTUJodTVtM3Fkams1T1hqdHRkZGFOdFhoZjhlRkRJQzM4ZC9yMmpqbk1tT3M1V1BPR0pNQmNNYVl6RGxYK2hoam5IUGVabC9MWTF6YjErSVlISURjOGhnZEhmL2F2bzZPMy9JWWpERlpsdVcyOXROUm44d1k0OWYyT1ovVDNDZHp6azFGUlVYZmROc0hTUWdoaE53Z1dtNmRrTzd6S0lETmFQN0JZdG15WmZqcXE2K1U2Nmw4ZlYyN2dKekQ0WUNQajQ5eVhaUXN5NWc0Y1NLOHZiMFJGQlNFczJmUDR0Q2hRNGlJaUZBV3o4ak56VVZ0YlMzbXpKa0RXWmF4Y2VOR1BQVFFROWZ0T3pBd0VGbFpXVzBlMTgvUEQ1eHoxTlRVdEdyLzhjY2ZjZmp3WWZ6bU43L0JMNy84Z2gwN2RpQStQaDczM0hNUEhBNEhBTFJLb0FSQjZQQm15QmN1WE1DU0pVdXdhdFVxdHlkVkRRME55blZYSlNVbExiczRtc2FGMVB6WStRSlZuZTN6NjNQUDB3QUFJQUJKUkVGVTJ0ZmU4bkZUM29JMkgxL2IxOTUyblIzalJ2bzZPdjYxY2JlM24xdnRZNHcxZ2xZdUpJUVE0a2FVV0JIU1RVd20weFlBUW14czdIaUh3N0dJTWZaWVNVbEpZRWxKQ1ZhdFdvV1VsQlNrcGFXNWJBWEF1cm82cGZvREFCYUxSVW51Um84ZWpZTUhEMkw5K3ZWNDk5MTNBUUNIRGgzQzY2Ky9qdkR3Y015Wk13ZVRKazNDMHFWTGNmSGlSZXpidHcvdnYvOCtubnZ1T1FEQWpCa3pXaDJyc3JJU24zLytPUW9LQ2pCLy9ueGtaMmUzV2tpaXRyWVc3N3p6RHBZdlg2NVVzZjc2MTc5aTVjcVYrT2FiYnhBUUVBQUFxS21wVVJiVnFLNnVSbUJnWUx2VnFxS2lJb1NHaGlJMk5yWTczcTZiVWxGUkFVbVNrSnViaTdxNk9tZHpOZWY4YzVWS3RiYWdvTUNaWlFrQVdFWkdCcXVxcWhJc0Znc2JPblNvWUxWYVdWMWRuZUJ3T0ZoZ1lDQ3pXQ3lDdytGZ3ZyNitnc1BoWUhhN1hYQTRITXpIeDBlUVpabkpzc3djRG9mZzQrUERHaHNiQmM0NTgvTHlFbVJaWnB4ejVuQTRCQzh2THliTHNzQTVaeXFWU3VDY0s0L1ZhdlVOOXdGZ2dpQUluSFBXOHQrY2M0RnozcXFQY3k0SWduQmRIK2ZjdVorMm51ZDhyR3pIR0JPYys3djJHTzMwdlFINlBpT0VFT0ptOUVWRVNEZHJua3cvUDNueTVKY3RGc3VEakxITXVycTZLZG5aMmNqT3pvWldxNFVvaWtoTVRPelJWUUV2WExpQW9VT0hLby9OWnJPU2FFVkZSZUdERHo1QWNuSXl0Rm90N0hZN1Jvd1lnWlVyVjJMTW1ERUlDUW1CV3ExdTlkejgvSHdsc1dycDVNbVRXTHg0TVI1NzdERzgrdXFyOFBiMnZtNmIwNmRQdzJxMXRxb3NUWmt5QlgvLys5OGh5ektDZzRQaDcrK1Bzckl5QkFjSEF3REt5c293Zm56NzZ6OU1uRGdSZDk5OTk0Mi9NYmVvdlZVQkFmeVRjNTZsMFdnMnRiRXFJQWZBczdPekFjRGhxbGc5aFY2dmY4UGRNUkJDQ0NHVVdCSFNRNW9uMTE4QStFS24wMFV5eGhZQmVMeTB0UFMyMHRKU3JGNjlXcWxpaFllSGQvdnhLeXNyRVJvYUNwdk5CbTl2Ynh3NGNBQjMzSEVIQUVDajBjQm1zMkh4NHNVQWdMZmVlZ3VKaVlsSVNFaUFMTXM0ZnZ3NFRwdzRnYWxUcHdJQWZ2amhCMXk1Y2dWNWVYbElTa3BxZFp4aHc0Wmg2OWF0YlNaVVRxTkdqVUpBUUFEV3JWdUhwNTkrR2xhckZYLy8rOStoMSt1Vml0VHMyYk94WWNNR3hNVEV3R3cyUTVJa0xGKyt2TVBYVjFKU2drY2ZmZlNXM3FldUtpOHZWNnBUMTl6SDZqUE8rVnE2anhVaGhCRGkyV2dSQXc5Q2kxZTRYM3g4dk1ac05xY0R5QVR3ZjV6dEVSRVJTRTlQeDh5Wk03dXRpdlhHRzI5Zy9QangrT21ubi9ERER6OUFvOUZneFlvVkNBa0p3Y0tGQ3pGaXhBaWtwNmRqOXV6WitPMXZmNHZrNUdSczNyd1pwMDZkUWtoSUNPTGk0dkRNTTg4Z096c2JuMzMyR2Y3NHh6OGlPenNibHk1ZHd0TlBQNjNja0hmcjFxMTQrKzIzMjR4aHo1NDl5dUlaQnc4ZXhEdnZ2SU9LaWdvTUdEQUFreVpOd3U5Ly8zc01HVElFQUdDMVdyRnk1VXJzM2JzWC92NytXTGh3SVI1ODhNRjJYOS82OWV1Um01dUxUWnMyZGN2NzFaYjYrbnJrNWVWQmtpUWNPblNvWmRjL0FHUUZCQVJzenMvUHQvUllBS1JMNkc4YklZUVFRbHlLbGx2dlhRd0dRN2pCWUZpdDAra3VPVCtiS1ZPbThEZmZmSk9YbFpYZDZJcmZyZFRVMVBENCtIaCs2ZElsempubmRydWRjODc1NmRPbmVXcHFLdCsrZlR1dnFxcmlxYW1wdkxpNG1DY21KdktMRnkveTh2SnlaZG55blR0MzhvY2ZmcGpQbnorZkh6cDBTTmwzZm40K1QwNU81bXZYcnIybEdIdXowdEpTdm1MRkNuN3Z2ZmUyWERiOW9zRmdXRzB3R0xxL3ZFaHVDZjF0STRRUTBodlFyM3NlaEg3VjdaM2k0K00xTlRVMWFRQXlHV1B4enZidzhIQ0lvb2lrcENSbFFZZXVLaW9xUWs1T0RwWXVYZHFxdmJpNEdBY1BIc1Fqanp3Q0FQaisrKy94cHovOUNiLzYxYSt1WFNJY1I0NGNRVjFkSGFLam82L2J2OWxzeHRHalJ4RVZGWFZEY2ZWbWRYVjF5TTNOaFNSSnFLaW9VTm81NS9rQXNnWU5HclNGcWxPOUUvMXRJNFFRMGh2UWw1QUhvY2xIN3hjYkd4c215L0pDQUU4QXVCMEFmSDE5TVhQbVRJaWlpTWpJeUE2WElHL0o0WEJBcGVwMFZXK1B4amxIV1ZrWkpFbENYbDRlTEJZbGI3b0k0Rk5CRU5ZVkZCUlVkTEFMMGd2UTN6WkNDQ0c5QVgwSmVSQ2FmUFFkWThlTzlRa0lDSGdBVGRkaTNlOXNEd3NMVTZwWTE5NzRsM1RkMWF0WGxlclV6ei8vM0xKckg0QXNzOW04OWNpUkkxWTNoVWR1RVAxdEk0UVEwaHZRbDVBSG9jbEgzeFFURXpOT0VJU0ZBQllBR0FvMHJlcm5yR0pwdGRvdVY3RThHZWNjSlNVbGtDUUp1M2Z2YmxtZHVnRGdFMW1XMXhVVkZSMTJZNGlrQzhhT0hldHoyMjIzM2RheXplRnduQUVBbFVwMVI4djJLMWV1WEtFRW1SQkNpS3ZRYk15RFVHTFZ0Mm0xV20rTlJqT1hjNTRKSU1IWlBtN2NPSWlpaU9UazVGWTNCQ1pOYW10cmxlclU0Y090OHFadkdXTlpGb3ZsbTlMU1VwdTc0aU0zSmk0dWJyakQ0VGlOenIrL1pKVktOV0wvL3YxblhSRVhJWVFRUWhOc0QwS0pWZjloTUJqR0FGakVPVjhBWUJnQStQajRJREV4RWFJb1lzS0VDUjVkeGVLYzQrREJnMHAxeW1wVmloYm5PZWNiQkVGWVp6UWFLOTBaSTdsNWVyMCtIOEMwVGpiNzNtUXl4ZmQ4TklRUVFrZ1R6NTE1ZVNCS3JQb2ZyVmJyN2UzdFBhZjU1c09KenZZeFk4WkFGRVdrcEtRZ0lDREFqUkc2bHRsc1JrNU9EaVJKUW1WbHE3eHBOK2M4eTJhemJhZnFWTituMCtrV004YmU3MlN6eFNhVDZiOWRFaEFoaEJBQ1NxdzhDaVZXL1Z0Y1hGeG9ZMlBqUWdCUE1zYUNBTURiMjF1cFlrVkZSZlhMS2hibkhBY09IRkNxVXphYmtqZWRCYkJCcFZLdDM3OS9mNVViUXlUZExEbzZlb1JLcFRyWjBUWU9oMk5rY1hIeEtWZkZSQWdoaFBTL1dSWnBGeVZXbnNGZ01IaHh6bWNEV0FSZ0pwci9QdzhORFlVb2lraE5UZTBYVlN5ejJZeWRPM2RDa2lSVVZTbDVFd2V3QzBBV1kyeUgwV2kwdXk5QzBwUDBldjIvQUV4cXAvdGZKcFBwVjY2TWh4QkNDS0VKdGdlaHhNcnp4TVRFM05tOG91Q1RBTzRBbXFwWUNRa0pFRVVSTVRFeGZhcUt4VGxIVVZFUkpFbkN0OTkrMjdJNmRZWXh0dDdoY0t3dktpbzY2c1lRaVlzWURJYmZjODdmYWF1UE1mWjdvOUc0MnRVeEVVSUk4V3g5WjBaRmJoa2xWcDdMWURCNEFVaVZaWGtSWXl3WnpmL3YzM25ublJCRkViTm16Y0tnUVlQY0cyUUhhbXBxc0dQSERraVNoS05IanpxYk9lYzhsM09lRlJnWXVETS9QNy9SalNFU0Y0dUtpcnBMclZhM2VZcG5ZMk5qNklFREIzNXhkVXlFRUVJOEcwMndQUWdsVmdRQWREcmRhQUJQTWNhZUFoQU1BRjVlWHBnK2ZUcEVVWVJlcis4VlZTek9PVXdtRXlSSnd0NjllMkczSzJmMW5lS2Nyd2V3b2JDdzhKZ2JReVJ1cHRmclRRQjAxelNiVENhVHdSM3hFRUlJOFd4cWR3ZEFDSEd0NW1Ua0QvSHg4Y3RyYW1wU0dHT1pkcnM5T1M4dlQ4akx5OFBvMGFPVktsWmdZS0RMNDZ1dXJsYXFVOGVPS1htVERDQUhRRlpBUUVBdVZhZElzODI0UHJIYTdJNUFDQ0dFRVBmL0xFMWNoaXBXcEQwR2cyRVU1L3hKeHRoVG5QT1JRRk1WNi83Nzc0Y29pakFZREQxYXhlS2N3MmcwUXBJazdOdTNUNmxPTWNaT2NzN1hxVlNxRGZ2Mzd6L1JZd0dRUHNsZ01JUnp6ZysxYkJNRUlieWdvS0RDWFRFUlFnanhYRFRCOWlDVVdKSE94TWZIcTgxbWN4S0FUQUNwQUFRQUdEVnFGTkxTMGpCcjFpd01Iank0MjQ1MytmSmw3Tml4QTF1MmJNSHg0OGVkelRLQUhZeXhyTkRRMEx6czdHeEh0eDJROUR0NnZiNFVRQ1FBTU1aS2pVYmplRGVIUkFnaHhFUFJCTnVEVUdKRmJrUlVWTlJJTHkrdkp6bm5Dd0dFQUlCYXJjWjk5OTBIVVJRUkd4c0xRUkJ1ZUwreUxLT2dvQUNTSk9HNzc3NURZNk55VnQ5eHh0ZzZ1OTMreVlFREJ6cThSeEVoVGpxZGJqbGo3RFVBNEp3dkx5d3MvS083WXlLRUVPS1phSUx0UVNpeElqY2pJeU5EOWNzdnY4emtuR2R5em1jQlVBSEF5SkVqa1phV2hqbHo1blNwaW5YNThtVnMyN1lOVzdac3djbVRTdDdrQUxDZGM1NDFkdXpZM1ZTZElqZEtwOU5GTThhS21oOUdtMHltQTI0TmlCQkNpTWVpQ2JZSG9jU0szS3JvNk9nUmdpQXNZSXd0QWpBS2FLcGl4Y2ZIUXhSRnhNWEZ0YXBpeWJLTS9mdjNLOVVwaDBQSm00NXh6dGVoYVdXLzB5NS9JYVEvWVhxOS9qQUFiaktaN2tiVFRhSUpJWVFRbDZNSnRnZWh4SXAwbDR5TURGVmxaZVVNTkYyTE5RZk5WYXdSSTBZZ0xTME52L3JWci9Eamp6OWl5NVl0T0hYcWxQTnBEZ0RiQUdTTkdUTm1EMVduU0hmUjYvVnZNOGE0MFdoODJkMnhFRUlJOFZ3MHdmWWdsRmlSbm1Bd0dPN2duQzhBc0FqQW5XMXNjaFRBV3NiWUowYWo4WXdyWXlQOW5xRFg2MmR3enI5a2pBMEdZQWJ3a01sazJvT21SVkFJSVlRUWw2RUp0Z2VoeElyME1NRmdNQ1J3empNQkpBUElaWXhsR1kzR2IwR1RYTktOZERwZE1HTnNBWUNGYUQrWlg4Y1kyMERKUENHRUVGZWhDYllIb2NTS3VBcU5OZExkTWpJeVZFZU9IRWxrakdVQ21JMFdwNStLb3FpY2ZpcEowcldubjlMaUtJUVFRbHlDSmowZWhDYTd4RlZvckpIdUVoMGRQVUt0Vmp1WC9iK1ZCVk9PTThiV05UWTJiaWd1TGo1MS9aRUlJWVNRVzBPVEhnOUNrMTNpS2pUV3lLM0l5TWhRVlZWVkpUV2ZWam9MelRlcURna0pRVnBhR21iUG50M2xKZjYzYjk4T1NaSmFMZkhQR052QkdNdTY2NjY3ZGxFVml4QkNTSGVoU1k4SG9ja3VjUlVhYStSbXhNWEZoVGdjamljQlBJVVdONlcrLy83N0lZb2lEQWJEVGQrVTJtZzBRcElrN051M3IrVk5xVTgwMzVSNkE5MlVtaEJDeUsyaVNZOEhvY2t1Y1JVYWE2U3I0dVBqMVdhek9SbE5TL2Vub0xrNk5XclVLSWlpaUZtelp1RzIyMjdydHVOZHVYSUZPM2JzZ0NSSk9INzh1TE5aQnJBVFFGWkFRRUJlZm41K1kvdDdJSVFRUXRwR2t4NFBRcE5kNGlvMDFraG5EQWJES0ZtV24yS01QUVZnQkFCNGVYbGgrdlRwRUVVUmVyMGVqUFhjOE9HY3cyUXlRWklrN04yN0YzYTdIUURBR0R2Sk9WL2Z2S0xnOFU1MlF3Z2hoQ2hvMHVOQmFMSkxYSVhHR21sTGZIeTh1cnE2T3BVeGxza1lTMGJ6ZDlEbzBhT1Y2bFJnWUtETDQ2cXVybGFxV01lT0hYTTJ5d0J5T2VkWmd3WU55cUVxRmlHRWtNN1FwTWVEMEdTWHVBcU5OZEtTVHFjYkxRakNRczc1a3dDQ0FjRGIyMXVwVHVsMHVoNnRUblVWNXh5RmhZVktGY3Rtc3ptN1RuUE8xd05ZWDFoWWVLeURYWkJyREJ3NE1NSGIyenZveXBVcmY3K21TNFhXY3hCS1hBa2hmWjc3djhtSXk5QmtsN2dLalRWaU1CaThPT2V6QUN3Q2tJVG03NXU3N3JvTG9pZ2lOVFVWZ3dZTmNtdU1IYW1wcWNIT25UdXhlZk5tSEQxNjFObk1BZVF4eHJJQTdEUWFqWGEzQmRoSGhJU0VmRmhmWC8vVHlKRWozN1BiN1NjQndNdkxhMHhkWGQxM2FyVTZHQUI4ZlgwakN3c0x2ZDBiS1NHRTNEcWE5SGdRbXV3U1Y2R3g1cm1pb3FMdVVxdlZDd0U4Q1dBNDBGU2RtakZqQmtSUlJIUjBkSytvVG5VVjV4ekZ4Y1dRSkFsNzl1eHBXY1U2QTJDRExNdnJpb3FLanJvdndsNk5qUjgvL3BlU2twS0owZEhSRmNYRnhZRUFNR0hDaEpNSER4NGM2ZHpvMnNlRUVOSlhxZDBkQUNHRWtMN05ZREI0eWJJOGh6RzJDRUFpbW4rMEN3ME5SWHA2T2xKU1VoQVFFT0RlSUc4U1l3d3hNVEdJaVluQjczLy9lK1RrNUdEejVzMm9xcXE2QThDcmdpQXMxZXYxdXdGa01jYTJVeFhyZi9uNStVMWxqS2tCbkhOM0xJUVE0Z3FVV0JGQ0NMa3BjWEZ4b1kyTmpZdGtXVjdBR0FzQ21xcFRpWW1KRUVVUlVWRlJmYW82MVptQWdBRE1temNQdi83MXIzSGd3QUZJa29UZHUzY3ptODAyRThCTVdaYlA2WFM2RFdxMWV0MysvZnVyM0IydnV3MGJOdXk1bG8vRHc4T0xBRUFRaENGaFlXRS9Nc1lHQUlCYXJSN21qdmdJSWFTN1VXSkZDQ0dreTdSYXJiZEdvNWtyeS9JaWg4TXh3NWs0alJrekJ1bnA2VWhPVHU2ejFhbXVZb3doT2pvYTBkSFJXTEprQ1hKemM3RjU4MlpVVmxZR0FYakY0WEM4b3RQcDlnRElzdGxzMjBwTFMyMmQ3Yk8vR1Rod1lOVEFnUU1ubyttNk5BQkFlWGw1REFBRUJBVE1OSnZOdTV6dGd3Y1B6bkJEaUlRUTB1MzZ6MCtKcEZOMDNRdHhGUnByL1k5ZXJ4K0xwb1VvRmdBWUNnQStQajZZT1hNbVJGSEUrUEhqKzFWMTZrWnh6bEZTVWdKSmtyQnIxeTVZclZabjEzbkcyQ2VjODNVbWsrbUlPMk4wcGNHREJ6L0pHR3NNRGc3K3I0TUhENDZNam82dWRpNWVZVGFiOTk1KysrMVBXaXlXU2dEdzlmVU5QMzM2OUN2bnpwMzdxM3VqSm9TUVcwTVZLMElJSVczU2FyWGVQajQrRHdESUJERGQyVDV1M0Rpa3A2Y2pLU2tKL3Y3KzdndXdGMkdNWWNLRUNaZ3dZUUplZU9FRjVPWGxZZlBtelRoOCtQQXd6dmxMQUY3UzYvVjdBV1JacmRhdC9iMktkZm55NVM4QldJS0RnLy9MMlZaV1ZqYmUrVytOUmpQK3lKRWpTUUNFbUppWXkyYXorVi91aUpNUVFyb1RKVlo5VkZoWVdINUZSVVc4dStNZ2hQUS8wZEhSZDZ0VXFvVUFua0J6ZFVxajBTQXBLUW1pS0NJeU10S2pxMU9kOGZmM1IwWkdCaDU4OEVHVWxwWXFWU3lMeFRJZHdIUWZINThMZXIzK1UxbVcxeFlWRlIxMmQ3dzl4TkpSWjBORHcwLysvdjR6MVdxMW45VnEvYm1ob2VIL3VTb3dRZ2pwS2ZUTjJBZEVSa2FXWE51bTBXaTBGb3VsOU5wMldaYXQ1ZVhsaHJiMlE2ZG5FVmVoc2RiM2pCMDcxc2ZmM3orTk1aWUo0RDVuZTFoWUdFUlJSSEp5TWdZT0hPakdDUHUycTFldklpOHZENUlrb2FLaW9tWFhkNXp6ck5yYTJpMUhqaHl4dHZmOHZzcTVsSHJMVXdGdE50dXBFeWRPUEh2WFhYZDlxVktwL0k4ZlA3Nnd0cmIybis2T2xSQkNiaFZWclBxQWxxZFBPT24xZXQ1V095R0UzSWpZMk5nd2g4T3hpREgyQklBaEFPRHI2NnRVcHlJaUlxZzYxUTM4L1B6dzRJTVBJajA5SFdWbFpVb1ZxNkdoNFQ3RzJIMEJBUUdYZERyZHB5cVZhbTFCUVVGRjUzdnNlNjc1enZKWHFWU0JEb2VqdXJhMnRzaHRRUkZDU0RlaWI4cytRcWZUV1JvYUdzcmI2eDh3WUVDVXlXUVNPdG9IVlJHSXE5Qlk2OTNpNCtNMXRiVzFJdWM4RThBMFozdEVSQVJFVVVSU1VoSUdEQmpneGdnOVExMWRuVkxGS2k5djllZjllOFpZbHIrL3Y1U2ZuOS9oS1hXOVhjdUtWZk1OZ3BtL3YzOXFTRWpJT3hjdlhseXJVcWtHREJreVpOR0ZDeGZlUFhmdTNEb0F0ZTZPbVJCQ2JoWlZyUHFXUm5jSFFBanB1L1I2ZlFTQVJUVTFOWTh6eGdZRHdJQUJBNUNjbkl5MHREUkVSRVQweUhFZERnZXFxNnN4Wk1nUTJPMTJlSGw1OWNoeCtwcUJBd2NpUFQwZDZlbnBPSFRvRUNSSlFsNWVIdXJyNjZkeHpxZlYxTlJjMXV2MW53RllhektaRHJrNzNwdGhzVmpLQWFDK3ZyNnd1Y252OXR0dmYrU1hYMzVaNEx5dTZ0S2xTOUt3WWNNZVJ5ZlhaUkZDU0c5SHZ5YjNFVHFkemxKWVdLaTUyWDZBcWdqRWRXaXM5UjZUSjAvMnRWcXQ2V2hhMlcrcXN6MHlNaExwNmVsSVRFenM4ZXJVMGFOSDhidmYvUTVidG16Qlk0ODlobm56NXVHQkJ4NVErb3VMaTZGU3FUQitmT3V6bTdPeXNwQ1ptZG1qc2ZVMjlmWDEyTFZyRnlSSlFsbFpXY3V1SHdCaytmajRiUDdYdi83VjRLYndDQ0dFZElBcVZuMUllSGg0UVh0OWpERnZWOFpDQ09uZG9xT2p0U3FWYXBIVmFuME13RzFBVTNVcUpTVUZvaWdpTEN6TVpiRm9OQnJJc2d4dmIyOTgrT0dIV0wxNk5SSVNFdURuNXdkWmxyRnk1VW9zWDc0Y0FQRHd3dzhyenp0eTVBaSsrKzQ3NWZIY3VYTXhiOTY4TGgvWFlMaCtIWitBZ0FCbG43SXM0NzMzM3NPMmJkdkFPWWNvaWxpOGVIR2IxNVI5OWRWWCtQTExMM0gyN0ZtTUhqMGFMNzc0SXU2NTU1NHV4OUpWQXdZTVFGcGFHdExTMGxCZVhvNHRXN1lnSnljSDlmWDFVd0ZNdFZxdDcrdjErczg1NTFtRmhZVmxuZTZRRUVLSXk5Q3Z5WDBFVmF4SVgwSmp6VDBtVDU3c2E3RllNZ0JrTXNidWRiWnJ0VnFrcDZkanhvd1pQVnFka21VWjk5MTMzM1h0bkhQVTE5ZGZ0NnJnMTE5L2pZS0NBaFFYRjJQcDBxWDQ2YWVmTUduU0pLVi8yclJwK1A3Nzc2L2IzOVdyVjFGWFY0ZWdvS0FiaXU5UGYvb1RBT0RsbDE4R0FIejY2YWZZdm4wNzFxeFpnL3I2ZW1SbVp1TFpaNTl0VlUxeit2REREM0gvL2ZjaktDZ0lYMy85TlRadTNJamR1M2ZEeDhmbmhtSzRHZlgxOWRpOWV6Y2tTVUpwNmY4dUJzczUveDhBV1JxTkpwdXFXSVFRNG41VXNlcERxR0pGQ0dsTGJHenNlTTU1cHRWcWZaUXhGZ2cwWGIrVG1wcUt0TFEwM0gzMzNTNkpnM09PcTFldndtZzB0bXB2YUdqQTlPblRyMHVTYW1wcXNISGpSbno4OGNmWXRXc1h0bTNiaHNiR1JxeFpzd1pBVTBMUnNvTDErZWVmdzh2TEMvWDE5WGowMFVjeGUvWnNMRml3QUg1K2ZwM0daclBac0d2WEx2ejNmLyszMHBhZG5ZMW5ubmtHdzRjUEJ3Q2twYVZoNTg2ZGJTWld2LzN0YjVWL1AvSEVFMWk3ZGkwdVg3Nk1PKzY0b3d2dnpLMFpNR0FBSG5qZ0FUend3QU9vcUtoUXFsaDFkWFgzQXJqWGFyVytaekFZdm1DTVpSVVVGRngzZXc1Q0NDR3VRWWxWTHpkNDhPQ0hoZzhmL2dmR21MY2dDQjFXcEp6M3U2SmwyQW54REhxOVBnMkFKTXV5MGpaaHdnU2twNmNqSVNFQnZyNis3Z3V1QlkxR0E3dmREbG1XSVFnQzh2UHpFUkVSZ2R6Y1hKdzdkdzRMRnk1RWRYVTFObXpZZ09EZ1lFeVpNZ1ZBVThWcTQ4YU4xKzF2MkxCaDJMUnBFelpzMklDTWpBdzg4c2dqeU1qSWdMZDMrNzh2NWVmblkralFvZEJxdFFDQVM1Y3U0ZXpaczVnd1lZS3lUV1JrSkxLenN6dDlQVC85OUJPR0R4OSt3eFd6N2hBV0ZvYVhYMzRaenovL1BQYnMyUU5Ka25EdzRNRkF6dmxpenZsaXZWNFBBS0xKWk5yaTh1QUlJY1REMFdrNmZRZno5L2RQRFFvS2V1N01tVE12MXRYVkZRTVlQRzdjdU0yMXRiWGYxZGJXYnF1cnErdndYaUIwZWhaeEZScHJycUhYNjY4Q1VNNnZlL1BOTjVHY25PeTJlQndPQis2NTU1N3JLa2g3OXV4QlNrb0t2djc2YS9qNStTRXBLUWtmZmZRUlJvNGNDYnZkam84KytnaVJrWkVJRGc3RzZ0V3JPenpHdFluV3VYUG44UEhISDhOb05HTHg0c1ZJU0VobzgzbS8rOTN2TUduU0pEejY2S01BZ0lxS0NzeWZQeC81K2ZudzkvY0hBQlFXRm1MaHdvWFl2MzgvQktIdHUxY1lqVWE4OHNvcmVPdXR0OXE4aHNzZGNuSnk4TnBycjdWc3FzUC9qZ3NaQU8vS2Z6bm5uREVtQStDY2M1a3h4cDE5akRIT09aY0JjTWFZekRsdmN4K2RiTmVWNDNVWVYyZkhrMlc1elgyMnMxMlg5dUZzWjR4eHVlbFhqSDhVRmhidTdZN1BqaERTdjFERnFnOElDZ3A2NWZiYmIzL1NhclZXblQ5Ly9xOTFkWFVIbXJzdUh6dDI3SmtoUTRha2p4bzE2ak9WU3VWLzhlTEZUODZlUGJ2Q3JRRVRRbHpsVVFDYjBmd2oyYkpseS9EVlYxOHAxMU81dW1MbGNEamc0K09qblBJbnl6SW1UcHdJYjI5dkJBVUY0ZXpac3poMDZCQWlJaUtVeFROeWMzTlJXMXVMT1hQbVFKWmxiTnk0RVE4OTlOQjErdzRNREVSV1ZsYWJ4L1h6OHdQbkhEVTFOVzMybnp0M0RrYWpVVmtnd3hrcmdGWUpsQ0FJSGQ0TStjS0ZDMWl5WkFsV3JWcmw5cVNxb2FGQnVlNnFwS1RWMlg4Y1RlTkNhbjdzZklHcXp2Ylo4clZmK3o0MDVVZlgvL3RhWGQydXMrTzF0MTFueDJ0dm54MXRkeVA3WUl5Qk1YWVNRRWk3UVJGQ1BCWWxWbjFBWTJQanljckt5Z1NMeFhMczJqNmJ6VlorNXN5WmxXZk9uRm5wN2UydDFXZzBJOTBSSXlIRTlacFA5eEppWTJQSE94eU9SWXl4eDBwS1NnSkxTa3F3YXRVcXBLU2tJQzB0eldVckFOYlYxU25WSHdDd1dDeEtjamQ2OUdnY1BIZ1E2OWV2eDd2dnZnc0FPSFRvRUY1Ly9YV0VoNGRqenB3NW1EUnBFcFl1WFlxTEZ5OWkzNzU5ZVAvOTkvSGNjODhCQUdiTW1OSHFXSldWbGZqODg4OVJVRkNBK2ZQbkl6czd1OTJGSkhiczJJR0pFeWRpeUpBaFNsdEFRQUNBcHV1OG5JdHFWRmRYSXpBd3NOMXFWVkZSRVVKRFF4RWJHM3N6YjArM3FLaW9nQ1JKeU0zTlJWMWRuYk81bW5QK3VVcWxXdHZpR2lzQkFNdkl5R0JWVlZXQ3hXSmhRNGNPRmF4V0s2dXJxeE1jRGdmejgvTVRHaHNibWMxbUUvejgvSmpOWmhOa1dXYmUzdDZDTE11c3NiRlJrR1daY2M2Wmw1ZVhJTXN5Y3pnY2dvK1BEM000SElJc3kweXRWZ3VjY3liTDhuV1AxV28xazJWWjRKd3psVW9sY001WlIzMnlMQXNBbUNBSXptMEZsVXFsdE11eUxLaFVLc1k1RnpqbkRBQmpqQWtBR09kY0VBUkI2V3U1ai9hMmEzN2NhdHVXZlMyZjAzeThZTWJZTTdJczA0M1lDQ0Z0b3NTcUQ3aDA2ZElYWGRuT1pyT1YybXkyMHM2M0pJVDBKODJUNmVjblQ1Nzhzc1ZpZVpBeGxsbFhWemNsT3pzYjJkblowR3ExRUVXeHgrOVpkZUhDQlF3ZE9sUjViRGFibFVRcktpb0tIM3p3QVpLVGs2SFZhbUczMnpGaXhBaXNYTGtTWThhTVFVaElDTlJxZGF2bjV1Zm5LNGxWU3lkUG5zVGl4WXZ4MkdPUDRkVlhYKzN3MmlvQTJMNTlPNTU5OXRsV2JjSEJ3ZkQzOTBkWldSbUNnNE1CQUdWbFpkZmRTNnVsaVJNbnVtd2hrSmJhV3hVUXdEODU1MWthaldaVEc2c0NjZ0M4K1pveGg2dGk3Yy9pNHVLR094eU9aOXdkQnlHazk2TEVpaEJDK29ubXlmVVhBTDdRNlhTUmpMRkZBQjR2TFMyOXJiUzBGS3RYcjFhcVdPSGg0ZDErL01yS1NvU0doc0ptczhIYjJ4c0hEaHhRVnMzVGFEU3cyV3hZdkhneEFPQ3R0OTVDWW1JaUVoSVNJTXN5amg4L2poTW5UbURxMUtaN0dQL3d3dys0Y3VVSzh2THlrSlNVMU9vNHc0WU53OWF0V3p0TnFBREFaREtocHFZRzA2Wk5hOVV1Q0FKbXo1Nk5EUnMySUNZbUJtYXpHWklrdFRwZHNLM1hWMUpTb2x5bjFkUEt5OHVWNmxSOWZiMnorUXFBenpqbmEraytWb1FRMHJ0UVlrVUlJZjFRODZUN1ArUGo0MTh4bTgzcEFETHI2K3YvejZaTm03QnAweVpFUkVRZ1BUMGRNMmZPN0xZcTFyLy8vVzlFUjBkajJiSmwrT0dISDZEUmFMQml4UW9jTzNZTWE5YXNnVmFyeFQvKzhRL01uajBiWjgrZXhZVUxGL0RFRTAvZzFLbFRDQWtKUVZ4Y0hLWk9uWXBubm5rR2YvdmIzL0RuUC84WnpxcmJ5cFVybGVQazVPVGc3YmZmYmpPR1BYdjJ0Rm84WTl1MmJVaEtTb0tYMS9WbmJ6Mzc3TE5ZdVhJbDVzNmRDMzkvZnp6OTlOT1lQSGx5dTYvUFpESWhOemUzUnhPcit2cDY1T1hsUVpJa0hEcDBxR1hYUHdCa0JRUUViTTdQejdmMFdBQ0VFRUlJNlp4ZXIrZk8xZG9JNlVrMDFub25nOEVRYmpBWVZ1dDB1a3ZPejJqS2xDbjh6VGZmNUdWbFpmeFcxTlRVOFBqNGVIN3AwaVhPT2VkMnU1MXp6dm5wMDZkNWFtb3EzNzU5TzYrcXF1S3BxYW04dUxpWUp5WW04b3NYTC9MeThuTHVjRGc0NTV6djNMbVRQL3p3dzN6Ky9QbjgwS0ZEeXI3ejgvTjVjbkl5WDd0MjdTM0YySnVWbHBieUZTdFc4SHZ2dlpjN1B4dTlYbi9SWURDc05oZ00zVjllSkRjc0xpNXV1RjZ2NXpxZDdxeTdZeUdFOUU1VXNTS0VFQTloTkJyTEFTeUpqNDkvdGFhbUpnMU5WYXg0U1pJZ1NSTEN3OE1oaWlLU2twS1VCUjI2cXFxcUNqTm16TURnd1lNQlFMbGU2dno1ODVnM2J4NW16Wm9GQUhqeHhSZngwa3N2WWNxVUtSZ3laRWlyQlNYdXZ2dHV2UFRTUzRpT2ptNjE3Mm5UcGtHbjArSG8wYU0zL2RwN283cTZPdVRtNWtLU0pGUlVWQ2p0blBOOEFGbURCZzNhUXRVcFFnanBPK2dlTXg2RTdpMlpNU1E4QUFBZ0FFbEVRVlJFWElYR1d0OFJHeHNiSnN2eVFnQlBBTGdkQUh4OWZURno1a3lJb29qSXlNZ09sN3R1eWVGd1FLWHFkRlZ2ajhZNVIxbFpHU1JKUWw1ZUhpd1dKVys2Q09CVFFSRFdGUlFVVkhTd0MrSW16WXRYbk9HY255c3NMQnp1N25nSUliMFBWYXdJSWNTRE5VL2lYeHc3ZHV5eWdJQ0FCd0JrTmpRMDNMOTE2MVpzM2JvVllXRmhTaFhyMmh2L1hvdVNxdlpkdlhwVnFVNzkvUFBQTGJ2MkFjZ3ltODFianh3NVluVlRlSVFRUXJvQi9acnNRYWlLUUZ5RnhscmZGaE1UTTA0UWhJVUFGZ0FZQ2pTdDZ1ZXNZbW0xMmk1WHNUd1o1eHdsSlNXUUpBbTdkKzl1V1oyNkFPQVRXWmJYRlJVVkhYWmppS1FEa3lkUDltMXNiQnprZkN3SXdqQzczVjRNNElKS3BZcHF1YTBzeTVlTVJxUGQ1VUVTUW5vVittYjBJRFRaSmE1Q1k2MS8wR3ExM2hxTlppN25QQk5BZ3JOOTNMaHhFRVVSeWNuSnJXNElUSnJVMXRZcTFhbkRoMXZsVGQ4eXhySXNGc3MzcGFXbE5uZkZSN29tT2pwYXExS3BTanJmRXZXTXNhRkdvN0crODAwSklmMFpUWG84Q0UxMmlhdlFXT3QvREFiREdBQ0xPT2NMQUF3REFCOGZIeVFtSmtJVVJVeVlNTUdqcTFpY2N4dzhlRkNwVGxtdHlsbDk1em5uR3dSQldHYzBHaXZkR1NPNVlVeXYxeDhDRU5iaFJveHRNaHFOR1M2S2lSRFNpOUUxVm9RUVFqclZuQlM4ck5WcS8rRHQ3VDJITWJiSWFyVW1idCsrSGR1M2I4ZVlNV01naWlKU1VsSVFFQkRnN25CZHhtdzJJeWNuQjVJa29iS3lWZDYwbTNPZVpiUFp0bE4xcXMvaUFEWURXTnJSUnJJc2IzWk5PSVNRM3M1emYxNzBRRlJGSUs1Q1k4MHp4TVhGaFRZMk5pNEU4Q1JqTEFnQXZMMjlsU3BXVkZSVXY2eGljYzV4NE1BQnBUcGxzeWw1MDFrQUcxUXExZnI5Ky9kWHVURkUwazBNQm9PZWMyN3NZQk9ycjYvdjBQLzVuLytwZFZsUWhKQmVxLzk5NDVGMjBXU1h1QXFOTmM5aU1CaThPT2V6QVN3Q01CUE4zeTJob2FFUVJSR3BxYW45b29wbE5wdXhjK2RPU0pLRXFpb2xiK0lBZGdISVlvenRvQVVNK2gybTErdXJBTnpaVHY4Mms4azAxNFh4RUVKNk1acjBlQkNhN0JKWG9iSG11V0ppWXU1c1hsSHdTUUIzQUUxVnJJU0VCSWlpaUppWW1ENVZ4ZUtjbzZpb0NKSWs0ZHR2djIxWm5UckRHRnZ2Y0RqV0Z4VVZIWFZqaUtTSDZYUzZWWXl4SlczMWNjNGZMeXdzL056Vk1SRkNlcWUrOCsxR2JobE5kb21yMEZnakJvUEJDMENxTE11TEdHUEphUDYrdWZQT095R0tJbWJObW9WQmd3WjF2Qk0zcXFtcHdZNGRPeUJKRW80ZVBlcHM1cHp6WE01NVZtQmc0TTc4L1B4R040WklYRVNuMDAxbWpQM1lScGZkYnJjSEhUeDQ4SXJMZ3lLRTlFbzA2ZkVnTk5rbHJrSmpqYlNrMCtsR0EzaUtNZllVZ0dBQThQTHl3dlRwMHlHS0l2UjZmYStvWW5IT1lUS1pJRWtTOXU3ZEM3dGRPYXZ2Rk9kOFBZQU5oWVdGeDl3WUluRVBRYS9YbjBEejJHMGh6MlF5SmJzaklFSkk3MFNyQWhKQ0NPbFJ6Y25JSCtMajQ1ZlgxTlNrTU1ZeTdYWjdjbDVlbnBDWGw0ZlJvMGNyVmF6QXdFQ1h4MWRkWGExVXA0NGRVL0ltR1VBT2dLeUFnSUJjcWs1NU5CbUFCT0RabG8yTU1Wb05rQkRTaXZ0L0lpUXVRMVVFNGlvMDFraG5EQWJES003NWs0eXhwempuSTRHbUt0Yjk5OThQVVJSaE1CaDZ0SXJGT1lmUmFJUWtTZGkzYjU5U25XS01uZVNjcjFPcFZCdjI3OTkvb3NjQ0lIMUtiR3hzdkN6TDM3Vm9jakRHaGh1TnhvdHVDNG9RMHV2UXBNZUQwR1NYdUFxTk5kSlY4Zkh4YXJQWm5BUWdFMEFxQUFFQVJvMGFoYlMwTk15YU5RdURCdy91dHVOZHZud1pPM2Jzd0pZdFczRDgrSEZuc3d4Z0IyTXNLelEwTkM4N085dlJiUWNrL1VKR1JvYXFzckx5SElBaHpVMzdUQ2JUZEhmR1JBanBmV2pTNDBGb3NrdGNoY1lhdVJsUlVWRWp2Ynk4bnVTY0x3UVFBZ0JxdFJyMzNYY2ZSRkZFYkd3c0JFRzQ0ZjNLc295Q2dnSklrb1R2dnZzT2pZM0tXWDNIR1dQcjdIYjdKd2NPSERqWmZhK0U5RWQ2dmY3L0EvQWJBR0NNL2M1b05IN281cEFJSWIwTVhXTkZDQ0drVjJoT2JwWm5aR1NzL09XWFgyWnl6ak1iR3h0bjdkbXpSN1Zueng2TUhEa1NhV2xwbUROblRwZXFXSmN2WDhhMmJkdXdaY3NXbkR5cDVFME9BTnM1NTFsang0N2RUZFVwMGxVT2gyT3pTcVg2VGZQRExXNE5oaERTSzlHdnlSNkVxZ2pFVldpc2tlNFNIUjA5UWhDRUJZeXhSUUJHQVUxVnJQajRlSWlpaUxpNHVGWlZMRm1Xc1gvL2ZxVTY1WEFvZWRNeHp2azZOSzNzZDlybEw0VDBlVnF0MXR2SHgrY2NnQktUeVRUVjNmRVFRbm9mbXZSNEVKcnNFbGVoc1VhNlcvTTFMalBRZEMzV0hBQXFBQmd4WWdUUzB0THdxMS85Q2ovKytDTzJiTm1DVTZkT09aL21BTEFOUU5hWU1XUDJVSFdLM0NxRHdmQVo1N3pRWkRLOTYrNVlDQ0c5RDAxNlBBaE5kb21yMEZnalBjbGdNTnpCT1Y4QVlCR0FPOXZZNUNpQXRZeXhUNHhHNHhsWHhrYjZKVUd2MTgvZ25IL0dHQXZpbkY5bGpEMW9NcG4yb0duaEUwSUlBVUNKbFVlaHlTNXhGUnByeEVVRWc4R1F3RG5QQkpBTUlKY3hsbVUwR3I4RlRYakpMZExwZE1HTXNRVUFGcUw5Qkg0ZFkyd0RKZkNFRUlBU0s0OUNrMTNpS2pUV2lDdlJlQ1BkSlNNalEzWGt5SkZFeGxnbWdObG9jY3FwS0lyS0thZVNKRjE3eWlrdGlFSUlvY1RLazlEa2c3Z0tqVFhpU2pUZXlLMktqbzRlb1Zhcm5VdjkzOG9pS2NjWlkrc2FHeHMzRkJjWG43citTSVNRL295V1d5ZUVFRUtJeDhuSXlGQlZWVlVsTlo5S09vdHpMZ0JBU0VnSTB0TFNNSHYyN0hhWDlSY0VBUk1uVHNURWlSTngrZkpsYk4rK0haSWs0ZVRKazZNNDU4dFZLdFVmRFFiRERzWlkxbDEzM2JXTHFsaUVlQWI2ZGMrRDBLKzY1R2FFaFlYbFYxUlV4Ti9JYzJpc0VWZWk4VVp1UkZ4Y1hJakQ0WGdTd0ZOb2NTUHErKysvSDZJb3dtQXczUFNOcUkxR0l5Ukp3cjU5KzFyZWlQcEU4NDJvTjlDTnFBbnAzNmhpUlFoUlJFWkdsbHpicHRGb3RHMjF5N0pzTFM4dk43Z21Na0lJdVhueDhmRnFzOW1jRENEVDRYQ2tBQkFBWU5Tb1VSQkZFYk5temNKdHQ5MTJTOGNRQkFGeGNYR0lpNHZEbFN0WHNHUEhEa2lTaE9QSGo0ZHd6dDlRcTlWLzFPdjFPd0ZrQlFRRTVPWG41emQydWxOQ1NKOUN2KzU1RVBwVmw5d012VjdQYjNUTTBGZ2pya1RqamJUSFlEQ01rbVg1S2NiWVV3QkdBSUNYbHhlbVQ1OE9VUlNoMSt2QldNOE5HODQ1VENZVEpFbkMzcjE3WWJmYkFRQ01zWk9jOC9YTkt3b2U3N0VBQ0NFdVJWOUNIb1FtSDZRcmREcWRwYUdob2J5OS9nRURCa1NaVEtZT3o1T2hzVVpjaWNZYmFTaytQbDVkWFYyZHloakxaSXdsbzNtdU0zcjBhS1U2RlJnWTZQSzRxcXVybFNyV3NXUEhuTTB5Z0Z6T2VkYWdRWU55cUlyVmZRWU9ISmpnN2UwZGRPWEtsYjlmMDZWQzYva3Z2ZWVrMjlDcGdJU1F0dEFYRFNHa1Q5SHBkS01GUVZob05wdWZGQVFoR0FDOHZiMlY2cFJPcCt2UjZsUm5BZ01EOGNnamorQTN2L2tOQ2dzTG5WVXN3V2F6cFRMR1VzMW04Mm1kVHJjZXdQckN3c0pqbmU2UWRHanc0TUZpZlgzOVQ5SFIwZFYydS8wa0FIaDVlWTJwcTZ2N1RxMVdCd09BcjY5dlpHRmhvYmQ3SXlYOUNTVldoSkRybEplWHg3YlhwOVBwTEs2TWhSQkMybU13R0x3NDU3TUFMQUtReERsbkFIRFhYWGRCRkVXa3BxWmkwS0JCN2czeUdvd3g2UFY2NlBWNnZQamlpOWk1Y3ljMmI5Nk1vMGVQQmpQR1hnT3dUSy9YNXpIR3NnRHNOQnFOZG5mSDNBZXhRWU1HcFp3NGNlS05rU05Ib3F5c2JEd0FUSmd3NGVTUkkwZFNuQnRObURDQkZoTWgzWW9TSzBMSWRjTER3d3ZhNjJPTTBhOTdoQkMzaW9xS3VrdXRWaS9rbkQ4SllEalFWSjJhTVdNR1JGRkVkSFMwVzZ0VFhUVm8wQ0RNbno4ZkR6LzhNSXFMaXlGSkV2YnMyY05zTmxzeTV6d1p3Qm05WHI5Qmx1VjFSVVZGUjkwZGIxL2g1K2MzbFRHbUJuRE8zYkVRejBLSkZTSGtPbFN4SW9UME5nYUR3VXVXNVRtTXNVVUFFdEY4blV4b2FDalMwOU9Sa3BLQ2dJQUE5d1o1a3hoamlJbUpRVXhNREg3Lys5OGpKeWNIbXpkdlJsVlYxUjBBWGhVRVlhbGVyOThOSUlzeHRwMnFXQjBiTm16WWN5MGZoNGVIRndHQUlBaER3c0xDZm1TTURRQUF0Vm85ekIzeGtmNkxFaXRDeUhXb1lrVUk2UzNpNHVKQ0d4c2JGOG15dklBeEZnUTBWYWNTRXhNaGlpS2lvcUw2UkhXcXF3SUNBakJ2M2p6OCt0ZS94b0VEQnlCSkVuYnYzczFzTnR0TUFETmxXVDZuMCtrMnFOWHFkZnYzNzY5eWQ3eTl6Y0NCQTZNR0RodzRHUUIzdHBXWGw4Y0FRRUJBd0V5ejJiekwyVDU0OE9BTU40UkkrakZLckFnaEFJREJnd2MvTkh6NDhEOHd4cndGUWRCMHRLM3p2bGJPODlZSklhUTdhYlZhYjQxR00xZVc1VVVPaDJPR00zRWFNMllNMHRQVGtaeWMzR2VyVTEzRkdFTjBkRFNpbzZPeFpNa1M1T2JtWXZQbXphaXNyQXdDOElyRDRYaEZwOVB0QVpCbHM5bTJsWmFXMnR3ZGMyL2c0K01UZS9yMDZWZUNnNFAveTlubS9NNHltODE3UTBORE4xa3Nsa29BOFBYMURmZnk4aHA1N3R5NXY3b3JYdEsvVUdKRkNBRUFYTDU4K2Y5ZXZuejUvd0pnL3Y3K3FVRkJRYytkT1hQbXhicTZ1bUlBZzhlTkc3ZTV0cmIydTlyYTJtMTFkWFZGN282WEVOTC82UFg2c1doYWlHSUI1M3dvWXd3K1BqNllPWE1tUkZIRStQSGorMVYxcXFzQ0FnTHc2MS8vR2c4OTlCQktTa29nU1JKMjdkb0ZxOVU2QThBTUh4K2Y4d2FENFJQTytUcVR5WFRFM2ZHNjArWExsNzhFWUdtWldMWDhFVkNqMFl3L2N1UklFZ0FoSmlibXN0bHMvcGM3NGlUOUV5VldoQkJGVUZEUUs3ZmZmdnVUVnF1MTZ2ejU4Myt0cTZzNzBOeDErZGl4WTg4TUdUSWtmZFNvVVorcFZDci9peGN2Zm5MMjdOa1ZiZzJZRU5MbmFiVmFieDhmbndjQVpBS1k3bXdmTjI0YzB0UFRrWlNVQkg5L2YvY0YySXN3eGpCaHdnUk1tREFCTDd6d0F2THk4ckI1ODJZY1BueDRHT2Y4SlFBdjZmWDZ2UUN5ckZiclZnK3RZblY0SFhCRFE4TlAvdjcrTTlWcXRaL1ZhdjI1b2FIaC83a3FNTkwvVVdKRkNGRTBOamFlckt5c1RMQllMTmZkUThWbXM1V2ZPWE5tNVpreloxWjZlM3RyTlJyTlNIZkVTQWpwSDZLam8rOVdxVlFMQVR3QllDZ0FhRFFhSkNVbFFSUkZSRVpHZW1SMXFxdjgvZjJSa1pHQkJ4OThFS1dscFVvVnkyS3hUQWN3M2NmSDU0SmVyLzlVbHVXMVJVVkZoOTBkcnpzNVR3VzAyV3luVHB3NDhleGRkOTMxcFVxbDhqOSsvUGhDZDhkRytoZEtyQWdoaWt1WExuM1JsZTFzTmx1cHpXWXI3ZWw0Q0NIOXk5aXhZMzM4L2YzVEdHT1pBTzV6dG9lRmhVRVVSU1FuSjJQZ3dJRnVqTER2WVl4aC9QanhHRDkrdkZMRmtpUUpGUlVWUXdHOEtBakNpM3E5L2p2T2VWWnRiZTJXSTBlT1dOMGRzNnRkY3oyd3YwcWxDblE0SE5XMXRiVjBXanZwVnBSWUVVSUlJYVJIeGNiR2hqa2Nqa1dNc1NjQURBRUFYMTlmcFRvVkVSRkIxYWx1NE9mbmh3Y2ZmQkRwNmVrb0t5dFRxbGdORFEzM01jYnVDd2dJdUtUVDZUNVZxVlJyQ3dvS0t0d2RyNHN4ZjMvLzFKQ1FrSGN1WExqd041VktOV0Q4K1BHbEZ5NWNlUGZjdVhQckFOUzZPMERTOTFGaVJRZ2hoSkJ1Rng4ZnI2bXRyUlU1NTVteUxFOXpKazRSRVJFUVJSRkpTVWtZTUdDQW02UHNueGhqMEdxMTBHcTFyYXBZNWVYbFF4aGpTMlJaWHFMWDY3OW5qR1g1Ky90TCtmbjUvZTcraEJhTHBSd0E2dXZyQzV1Yi9HNi8vZlpIZnZubGx3WE82Nm91WGJva0RSczI3SEYwY2wwV0lWMUZQdzk1RUwxZXp3SEFaRExSNTA1NkZJMDE0a28wM25vWHZWNGZBV0FSNS94eHh0aGdBQmd3WUFDU2s1T1JscGFHaUlpSUhqbXV3K0ZBZFhVMWhnd1pBcnZkRGk4dnJ4NDVUbDkyNk5BaFNKS0V2THc4MU5mWEF3QTQ1NWNaWTU4QldHc3ltUTY1TjBKQytqYjZFdklnTlBrZ3JrSmpqYmdTalRmM216eDVzcS9WYWsxSDA4cCtVNTN0a1pHUlNFOVBSMkppWW85WHA0NGVQWXJmL2U1MzJMSmxDeDU3N0RITW16Y1BEenp3Z05KZlhGd01sVXFGOGVOYjMzNHZLeXNMbVptWlBScGJiMU5mWDQ5ZHUzWkJraVNVbFpXMTdQb0JRSmFQajgvbWYvM3JYdzF1Q28rUVBvdE9CU1NFRUVMSVRZbU9qdGFxVktwRlZxdjFNUUMzQVUzVnFaU1VGSWlpaUxDd01KZkZvdEZvSU1zeXZMMjk4ZUdISDJMMTZ0VklTRWlBbjU4ZlpGbkd5cFVyc1h6NWNnREF3dzgvckR6dnlKRWorTzY3NzVUSGMrZk94Yng1ODI3bzJJY1BIOGJxMWF0eDRNQUJlSHQ3WTlteVpVaElTQUFBeUxLTTk5NTdEOXUyYlFQbkhLSW9ZdkhpeFcxZVUvYlZWMS9oeXkrL3hObXpaekY2OUdpOCtPS0x1T2VlZTI3bTdlalFnQUVEa0phV2hyUzBOSlNYbDJQTGxpM0l5Y2xCZlgzOVZBQlRyVmJyKzNxOS9uUE9lVlpoWVdGWnB6c2toQUNnaXBWSG9WOTFpYXZRV0NPdVJPUE50U1pQbnV4cnNWZ3lBR1F5eHU1MXRtdTFXcVNucDJQR2pCazlXcDJTWlJuMzNYZmZkZTJjYzlUWDExKzNxdURYWDMrTmdvSUNGQmNYWStuU3BmanBwNTh3YWRJa3BYL2F0R240L3Z2dnI5dmYxYXRYVVZkWGg2Q2dvQTdqT1hueUpCNTk5RkU4L3ZqamVPaWhoM0QxNmxWWXJWYUVoSVFBQUQ3OTlGTnMzNzRkYTlhc1FYMTlQVEl6TS9Ic3M4KzJxcVk1ZmZqaGg3ai8vdnNSRkJTRXI3LytHaHMzYnNUdTNidmg0K1BUcGZmbVZ0VFgxMlAzN3QyUUpBbWxwZis3NkN2bi9IOEFaR2swbW15cVloSFNNZm9TOGlBMCtTQ3VRbU9OdUJLTk45ZUlqWTBkenpuUDVKdy9DaUFRQUFZT0hJalUxRlNrcGFYaDdydnZka2tjRG9jRDk5eHpENHhHWTZ2MmhvWUdUSjgrSFQvKytHT3I5cHFhR3Z6MnQ3L0Z4eDkvakgvKzg1L1l0bTBiNXMrZmp6VnIxZ0JvcWxpTkhUdFcyZjd6enorSGw1Y1h6cDgvajBjZWVRU3paOC9HZ2dVTDRPZm4xMlk4UzVjdWhVcWx3b29WYmQ4dlBUVTFGYzg4OHd4bXpab0ZBRml6WmcyS2lvcXdkdTNhRGwrbnhXTEJ2ZmZlaXgwN2R1Q09PKzdvK0UzcFpoVVZGVW9WcTY2dXp0bGN6Umo3Z2pHV1ZWQlFVT0xTZ0FqcEkraFVRRUlJSVlTMFM2L1hwd0dRWkZsVzJpWk1tSUQwOUhRa0pDVEExOWZYZmNHMW9ORm9ZTGZiSWNzeUJFRkFmbjQrSWlJaWtKdWJpM1Buem1IaHdvV29ycTdHaGcwYkVCd2NqQ2xUcGdCb3FsaHQzTGp4dXYwTkd6WU1telp0d29ZTkc1Q1JrWUZISG5rRUdSa1o4UGIyVnJaeE9Cekl6OC9IZSsrOTEyWk1seTVkd3Rtelp6Rmh3Z1NsTFRJeUV0bloyWjIrbnA5KytnbkRody92dEdMV0U4TEN3dkR5eXkvaitlZWZ4NTQ5ZXlCSkVnNGVQQmpJT1YvTU9WK3MxK3NCUURTWlRGdGNIaHdodlJnbFZvUVFRZ2pwU0tzYmg3LzU1cHRJVGs1MlZ5eUthZE9tdFhxOFo4OGVEQm8wQ0ZldVhJR2ZueC9lZU9NTmZQVFJSOGpJeU1BRER6eUFqejc2Q0pHUmtUaDkralNXTEZtaVBDODRPTGpWTlZjQWxFUXJJQ0FBLy9FZi80R0hIMzRZSDMvOE1USXlNckI0OFdMbCtxbVRKMC9DYXJYaTNMbHptRHQzTHM2ZlB3K2RUb2ZYWDM4ZHc0WU53OFdMRndFQWd3Y1BWdllkR0JpSTJ0cGFKUUZzaTlGb3hNcVZLL0hXVzIrMXU0MHIrUHI2WXM2Y09aZ3padzV5Y25MdzJtdXZ0ZXorUXEvWE84KzdsQUh3THZ5WGM4NWx4bGliMnpER09PZGMyYmE5UHNhWXpEbFgrcTk1bnN3NTU0d3h1YTNqZGRUWHh2RTZqWk14SnN1eXpKMzdhYWZ2MnVPMTJlZHNaNHh4V1pabHpybXBxS2pvbTI3NU1JbExVR0pGQ0NHRWtJNDhDbUF6bWk4ZldMWnNHYjc2Nml2bGVpcFhWNndjRGdkOGZIeVU2NkprV2NiRWlSUGg3ZTJOb0tBZ25EMTdGb2NPSFVKRVJJU3llRVp1Ymk1cWEyc3haODRjeUxLTWpSczM0cUdISHJwdTM0R0JnY2pLeW1yenVINStmdUNjbzZhbVJtbHpuaVpYWEZ5TUw3NzRBbmE3SFMrOTlCTGVlT01OckZtekJnNkhBd0JhSlVlQ0lIUjRNK1FMRnk1Z3laSWxXTFZxRlF3R3d3MitPOTJyb2FGQnVlNnFwS1RWMlg4Y1RlTkNhbjdzZklHcXp2YlowV3R2eW1NNjc3dDJ1MnNmdHp6R3RjZnJxTzltWTJtNW40NzZydDJ1c3o3R1dDTUF1bTlBSDBLSkZTR0VFRUxhMVh5Nmx4QWJHenZlNFhBc1lvdzlWbEpTRWxoU1VvSlZxMVloSlNVRmFXbHBMbHNCc0s2dUR2Nysvc3BqaThXaUpIZWpSNC9Hd1lNSHNYNzllcno3N3JzQW11N2Q5UHJycnlNOFBCeHo1c3pCcEVtVHNIVHBVbHk4ZUJINzl1M0QrKysvaitlZWV3NEFNR1BHakZiSHFxeXN4T2VmZjQ2Q2dnTE1uejhmMmRuWnJSYVNjQjczNmFlZlJrQkFBQURnaVNlZXdILys1MzlDbG1XbHJhYW1SbGxVbzdxNkdvR0JnZTFXb29xS2loQWFHb3JZMk5oYmZxOXVWa1ZGQlNSSlFtNXVicXRyckRqbm42dFVxclV0cnJFU0FMQ01qQXhXVlZVbFdDd1dOblRvVU1GcXRiSzZ1anJCNFhBd1B6OC9vYkd4a2Rsc05zSFB6NDg1SEE1bXQ5c0ZoOFBCZkh4OEJGbVdXV05qbzhBNVoxNWVYb0lzeTh6aGNBZytQajdNK1cvT09WT3IxUUxubkRrY0RzSEx5NHZKc2l4d3pwbEtwUkk0NTR4enptUlpGdFJxOVhWOXNpd0xBSmdnQ01xMkxaNG5jTTViOWltUEFiQnIrd0F3eHBpelR4QUVRWGxPZTMzWHRqZnZzNk0rZ1hQK0JtaWUzdWZRQjBZSUlZU1FUalZQcHArZlBIbnl5eGFMNVVIR1dHWmRYZDJVN094c1pHZG5RNnZWUWhURkhyOW4xWVVMRnpCMDZGRGxzZGxzVmhLdHFLZ29mUERCQjBoT1RvWldxNFhkYnNlSUVTT3djdVZLakJrekJpRWhJVkNyMWEyZW01K2ZyeVJXTFowOGVSS0xGeS9HWTQ4OWhsZGZmYlhWdFZWT0lTRWhHREJnQUs1ZXZZcmJiNzhkUUZQbHdjZkhCNElnSURnNEdQNysvaWdySzBOd2NEQUFvS3lzN0xwN2FiVTBjZUpFbHkwRTBsSjdxd0lDK0NmblBFdWowV3hxWTFWQURvQTNYelBtY0ZXc25rQ3YxNy9oN2hqSWphUEVpaEJDQ0NGZDFqeTUvZ0xBRnpxZExwSXh0Z2pBNDZXbHBiZVZscFppOWVyVlNoVXJQRHk4MjQ5ZldWbUowTkJRMkd3MmVIdDc0OENCQThxcWVScU5CamFiRFlzWEx3WUF2UFhXVzBoTVRFUkNRZ0prV2NieDQ4ZHg0c1FKVEozYWRBL2pIMzc0QVZldVhFRmVYaDZTa3BKYUhXZllzR0hZdW5Wcm13bVZrMXF0eHB3NWMvQ1h2L3dGeTVjdmg5MXV4N3AxNjVScjBBUkJ3T3paczdGaHd3YkV4TVRBYkRaRGtpVGxmbHJ0dmI2U2toSTgrdWlqdC9RK2RWVjVlYmxTbmFxdnIzYzJYd0h3R2VkOExkM0hpcEN1bzhTS0VFSUlJVGVsZWRMOW4vSHg4YStZemVaMEFKbjE5ZlgvWjlPbVRkaTBhUk1pSWlLUW5wNk9tVE5uZGxzVjY5Ly8vamVpbzZPeGJOa3kvUERERDlCb05GaXhZZ1dPSFR1R05XdldRS3ZWNGgvLytBZG16NTZOczJmUDRzS0ZDM2ppaVNkdzZ0UXBoSVNFSUM0dURsT25Uc1V6enp5RHYvM3RiL2p6bi84TVo5VnQ1Y3FWeW5GeWNuTHc5dHR2dHhuRG5qMTdsT1hYbjMvK2VmejV6My9HN05tem9WS3BNSFBtVEx6d3dndkt0czgrK3l4V3JseUp1WFBud3QvZkgwOC8vVFFtVDU3Yzd1c3ptVXpJemMzdDBjU3F2cjRlZVhsNWtDUUpodzRkYXRuMUR3QlpBUUVCbS9Qejh5MDlGZ0FoaFBSMWVyMmVPKy8zUWtoUG9yRkdYSW5HVys5aU1CakNEUWJEYXAxT2Q4bjUyVXlaTW9XLytlYWJ2S3lzak4rS21wb2FIaDhmenk5ZHVzUTU1OXh1dDNQT09UOTkralJQVFUzbDI3ZHY1MVZWVlR3MU5aVVhGeGZ6eE1SRWZ2SGlSVjVlWHM0ZERnZm5uUE9kTzNmeWh4OSttTStmUDU4Zk9uUkkyWGQrZmo1UFRrN21hOWV1dmFVWWU3UFMwbEsrWXNVS2Z1Kzk5M0xuWjZQWDZ5OGFESWJWQm9PaCs4dUw1S2JSMzdXK2lTcFdoQkJDQ09rMlJxT3hITUNTK1BqNFYydHFhdExRVk1XS2x5UUpraVFoUER3Y29pZ2lLU2xKV2RDaHE2cXFxakJqeGd4bCtYTG45VkxuejUvSHZIbnpsSnZ3dnZqaWkzanBwWmN3WmNvVURCa3lCRU9HREZIMmNmZmRkK09sbDE1Q2RIUjBxMzFQbXpZTk9wME9SNDhldmVuWDNodlYxZFVoTnpjWGtpU2hvcUpDYWVlYzV3UElHalJvMEJhcVRoSFNQZWd1OVI3RStjdUh5V1NpejUzMEtCcHJ4SlZvdlBWK3NiR3hZYklzTHdUd0JJRGJnYVlWOVdiT25BbFJGQkVaR2RuaDB0Y3RPUndPcUZTZHJ1cnQwVGpuS0Nzcmd5Ukp5TXZMZzhXaTVFMFhBWHdxQ01LNmdvS0NpZzUyUWR5TS9xNzFUVlN4SW9RUVFraVBhcDdFdnpoMjdOaGxBUUVCRHdESWJHaG91SC9yMXEzWXVuVXJ3c0xDbENxVzg5cWw5bEJTMWI2clY2OHExYW1mZi82NVpkYytBRmxtczNucmtTTkhyRzRLajVCK2p4SXJRZ2doaExoRTg2VCthd0JmeDhURWpCTUVZU0dBQlJVVkZVUGZldXN0L1BXdmYxV3FXRnF0dHN0VkxFL0dPVWRKU1Fra1NjTHUzYnRiVnFjdUFQaEVsdVYxUlVWRmg5MFlJaUVlZ3hJclFnZ2hoTGhjODJUL0phMVcrNXBHbzVuTE9jKzBXQ3dKMzN6ekRiNzU1aHVNR3pjT29pZ2lPVG01MVEyQlNaUGEybHFsT25YNGNLdTg2VnZHV0piRll2bW10TFRVNXE3NENQRkVsRmdSUWdnaHhHMmFKLy9aQUxJTkJzTVlBSXM0NXdzT0h6NDg3TzIzMzhhNzc3Nkx4TVJFaUtLSUNSTW1lSFFWaTNPT2d3Y1BLdFVwcTFVNXErODg1M3lESUFqcmpFWmpwVHRqSk1TVFVXSkZDQ0dFa0Y2aE9TbDRXYXZWL3NIYjIzc09ZMnlSMVdwTjNMNTlPN1p2MzQ0eFk4WkFGRVdrcEtRZ0lDREEzZUc2ak5sc1JrNU9EaVJKUW1WbHE3eHBOK2M4eTJhemJhZnFGQ0h1UjRrVklZUVFRbnFWNWlSaEU0Qk5jWEZ4b1kyTmpRc0JQRmxaV1JuMHpqdnY0TDMzM2xPcVdGRlJVZjJ5aXNVNXg0RURCNVRxbE0ybTVFMW5BV3hRcVZUcjkrL2ZYK1hHRUFraDE2REVpaEJDQ0NHOVZuUHlzTlJnTVB5UmN6NGJ3Q0tielRaeng0NGRiTWVPSFFnTkRZVW9pa2hOVGUwWFZTeXoyWXlkTzNkQ2tpUlVWU2w1RXdld0MwQVdZMnlIMFdpMHV5OUNRa2g3S0xFaWhCQkNTSy9YbkV4SUFLU1ltSmc3bTFjVWZMS3FxdXFPVmF0VzRmMzMzMGRDUWdKRVVVUk1URXlmcW1KeHpsRlVWQVJKa3ZEdHQ5KzJyRTZkWVl5dGR6Z2M2NHVLaW82Nk1VUkNTQmRRWWtVSUlZU1FQcVU1eVZobU1CamVBSkFxeS9JaW04MlduSk9UdzNKeWNuRG5uWGRDRkVYTW1qVUxnd1lOY25PMDdhdXBxY0dPSFRzZ1NSS09IajNxYk9hYzgxek9lVlpnWU9ETy9QejhSamVHU0FpNUFaUllFVUlJSWFSUGFxNWliUVd3VmFmVGpRYndGR1BzcWFOSGp3Yi81Uzkvd1FjZmZJRHAwNmRERkVYbzlmcGVVY1hpbk1Oa01rR1NKT3pkdXhkMnUzSlczeW5PK1hvQUd3b0xDNCs1TVVSQ3lFMml4SW9RUWdnaGZWNXpNdktIK1BqNDVUVTFOU21Nc1V5NzNaNmNsNWNuNU9YbFlmVG8wVW9WS3pBdzBPWHhWVmRYSzlXcFk4ZVV2RWtHa0FNZ0t5QWdJSmVxVTRUMGJaUllFVUlJNlhYQ3dzTHlLeW9xNHQwZEIvbi8yN3YzNkNqcSsvL2pyMWxpREZHQ1FUQ2hwVUZDTkZRdU5oc29CdXBwd0dwRkVFMFFoR29GdFVWcnJUOTd2Rkt0ZU91UFZ1VkFGWDdsVUZvdnRCU0pRaUZZOEl1RVdFUkUyS1RFU3FFbklLRmdXalFKbHlhR3plNStmbjlBOGsyRVFNZ2tNM3Q1UHM3aG5Pek03UGhLZUJ2eW1zOW1OdktjS0NlckpLM0t6czVPTThiY1lWblduUlVWRlgzbXpKbWplZlBtYWZUbzBjclB6MWQyZG5hbnJtSVpZK1R6K2JSOCtYSVZGUlUxclN4QkRyNEFBQ0FBU1VSQlZFNVpsclhmR0xPb1M1Y3V2OSs2ZGV1L09pMEFBRWRSckFBQXJycnNzc3YrL3VWdENRa0pBMCsxUFJRS0hkdTVjMmUyTThrUTZYdyszejVKVCtibTVqNTc1TWlSYXlWTmIyaG9HUHYyMjI5NzNuNzdiYVdscFNrdkwwL2p4bzFUang0OU91eS9XMTFkcmRXclYydkZpaFhhdDI5ZjQrYVFwTldXWlMxTVQwOWZXMUJRRU95dy95Q0FzT0QraTQzaEdLL1hheVNwcEtTRXYzZDBLbVlOZG5tOVh0UFcrV0hlY0RhR0RCblM1NXh6enJuREdQTURTVitUcExpNE9JMGFOVXI1K2ZrYU9uU29QQjdQV1o4M0ZBcHAyN1p0V3I1OHVUWnMyS0JBb09sVmZmc3N5MXJVME5Ed2NsbFoyZjZPKzB3UXpmaStGcGxZc1FJQXVDNHJLNnYraXkrKzJObjR1SzZ1YnZ1QUFRUCsxdmc0TVRGeFNFbEp5ZG4vdEF0OHlZbHk4L1RFaVJOLzhja25uM3pYR0RNOUVBaU1XN2R1WFpkMTY5YXBUNTgreXN2TDAvang0OXUwaWxWZFhhMVZxMVpweFlvVjJyKy9xVGNGSlJVYVl4Wm1aR1Q4RDZ0VFFHeWdXQUVBd2dXL3VBL0huQ2c3ZjVIMGw4c3Z2L3lySG8vbmRzdXlmcmgvLy82MGwxNTZTYi81elcrVW01dXIvUHg4RFJzMnJNVXFWaWdVMHRhdFc1dFdwNExCcHQ1VVlZeFpwT04zOXZ0VWtrcExTNTMrMUFDNGhHSUZBQWdMTzNmdUhOcmF2cXlzckhvbnN5QzJiTisrL1lDa1p5ZE9uRGhyOSs3ZFYwdWFIZ2dFeHIvenpqdGQzbm5uSFgzMXExOVZYbDZlUm93WW9mZmZmMThyVnF6UWdRTUhHcDhlMVBHYlpTenMzNy8vT2xhbmdOaEZzUUlBaElVQkF3WnNhMjJmWlZueFRtWkJiRHBSaXRaS1dwdWRuZDNiR0hPN3BCOGVPSERnNG5uejVtbmV2SG5ORDk4cjZiZVdaYjNzOC9rcUphbWtwTVR4ekFEQ0I4VUtBQkFXV0xGQ09EbFJsdjZ2cEY5bVoyZC94eGd6WGRJWVNXc3N5MXJvOC9uZTBmRTcvUUdBSklvVkFDQk1zR0tGTUJYeStYei80L1Y2MzVha2twS1NtOXdPQkNBOFVhd0FBSzdwMGFQSHBOVFUxQ2NzeTRyM2VEd0pwenUyOFgydGR1ellNY2laZEFBQXRCM0ZDZ0RnbXVycTZtWFYxZFhMSkZuZHVuVWJtNUtTY2w5bFplVkR0YlcxMnlYMXVPU1NTOTQ4ZXZUb2hxTkhqNjZxcmEzOTI1bk9Cd0NBVzNoUEVBQ0FxMUpTVW1ZTUhEandueWtwS1Q4NWVQRGduTnJhMnJJVHU2b3JLaXArWkZsV01DMHQ3ZFZCZ3didFNVMU4vYm1yWVFFQWFBVXJWZ0FBVndVQ2dmMjdkKy8rVG4xOWZjV1g5L245L3AyVmxaVy9xS3lzL0VWOGZQekFoSVNFUG01a0JBRGdUQ2hXQUFCWFZWVlZMVzdMY1g2Ly8yTy8zLzl4WitjQkFLQTllQ2tnQUFBQUFOaEVzUUlBQUFBQW15aFdBQUFBQUdBVHhRb0FBQUFBYktKWUFRQUFBSUJORkNzQUFBQUFzSWxpQlFBQUFBQTJVYXdBQUFBQXdDYUtGUUFBQUFEWVJMRUNBQUFBQUpzb1ZnQUFBQUJnRThVS0FBQUFBR3lpV0FFQUFBQ0FUUlFyQUFBQUFMQ0pZZ1VBQUFBQU5sR3NBQUFBQU1BbWloVUFBSWc1bVptWnhXNW5BQkJkNHR3T0FBQUEwSmt1dSt5eXYzOTVXMEpDd3NCVGJRK0ZRc2QyN3R5WjdVd3lBTkdFWWdVQUFLTGFqaDA3Qm4xNW05ZnJOYWZhRGdEdFJiRUNBQUJSTHlzcnEvNkxMNzdZMmZpNHJxNXUrNEFCQS83VytEZ3hNWEZJU1VrSnZ5SUJvTjBvVmdBQUlGWUUzQTRBSUhwUnJBQUFRRXpZdVhQbjBOYjJaV1ZsMVR1WkJVRDBvVmdCQUlDWU1HREFnRzJ0N2JNc0s5N0pMQUNpRDhVS0FBREVCRmFzQUhRbWloVUFBSWdKckZnQjZFd1VLd0FBRUxWNjlPZ3hLVFUxOVFuTHN1STlIay9DNlk1dGZGOHJic01Pb0Qwb1ZnQUFJR3BWVjFjdnE2NnVYaWJKNnRhdDI5aVVsSlQ3S2lzckg2cXRyZDB1cWNjbGwxenk1dEdqUnpjY1BYcDBWVzF0N2QvT2RENEFhQTN2MXdBQUFLSmFTa3JLaklFREIvNHpKU1hsSndjUEhweFRXMXRiZG1KWGRVVkZ4WThzeXdxbXBhVzlPbWpRb0QycHFhay9kelVzZ0lqRmloVUFBSWhxZ1VCZy8rN2R1NzlUWDE5ZjhlVjlmcjkvWjJWbDVTOHFLeXQvRVI4ZlB6QWhJYUdQR3hrQlJENktGUUFBaUdwVlZWV0wyM0tjMysvLzJPLzNmOXpaZVFCRUoxNEtDQUFBQUFBMlVhd0FBQUFBd0NhS0ZRQUFBQURZUkxFQ0FBQUFBSnNvVmdBQUFBQmdFOFVLQUFBQUFHeWlXQUVBQUFDQVRSUXJBQUFBQUxDSllnVUFBQUFBTmxHc0FBQUFBTUFtaWhVQUFBQUEyRVN4QWdBQUFBQ2JLRllBQUFBQVlCUEZDZ0FBQUFCc29sZ0JBQUFBZ0UwVUt3QUFBQUN3aVdJRkFBQUFBRFpSckFBQUFBREFKb29WQUFBQUFOaEVzUUlBQUFBQW15aFdBQUFBQUdBVHhRb0FBQUFBYktKWUFRQUFBSUJORkNzQUFBQUFzQ25PN1FBQUlsdEdSc2E1eWNuSnljMjNCWU5CU2RLd1ljTlNtMit2cWFtcEtTOHZQK1pnUEVRWjVnMU9ZTTRBdEFmRkNvQXR5Y25KeWNGZzhGTkoxcGYzQllQQnltWVBROG5KeVYrVjlHL0h3aUhxTUc5d0FuTUdKdzBaTXFSUFhGemM0NmZhNS9WNkZ6Ui9IQWdFbmkwcks5dnZUREtjTFY0S0NNQ1dyVnUzL2x2U1g5dHc2TVlUeHdMdHhyekJDY3dabkpTWm1WbHBqTGxSMGwzTi9qUnEybWFNdVRFek03UHlWT2RBZUdERktrcHg5UU5PTXNhOGFWbld0ODl3MkJ1T2hFSFVZOTdnQk9ZTVRpa29LQWhtWjJldk1NYmNmWVpEbHhjVUZBUWRDWVYyWWNVcVNuSDFBMDRLaFVMTHozUk1NQmhjNFVRV1JEL21EVTVnenVDa1VDajBaaHNPYThzeGNCSEZLa29WRkJRRVBSNVBXNzdoYy9VRHRtM2Z2djJBcEE5T2M4am1FOGNBdGpGdmNBSnpCaWQ1UEo1M2pUSFZwem1rcW52Mzd1ODZGZ2p0UXJHS1lsejlnSk1zeTJwMWxrNjNEMmdQNWcxT1lNN2dGSi9QMTJCWjFzclRITEt5dUxnNDRGZ2d0QXZGS29weDlRTk9hbWhvYVBXSGpJYUdoak8rcEFZNEc4d2JuTUNjd1Vtbksrc2VqNGNpSHdFb1ZsR01xeDl3VWxsWjJTZVNTayt4cStURVBxRERNRzl3QW5NR0p4MCtmUGdkU1VkT3NldklvVU9IMWp1ZEIyZVBZaFhsdVBvQmg1MXFwcGd6ZEJibURVNWd6dUNJOHZMeVk4YVkxYWZZVmNpYlVFY0dpbFdVNCtvSG5IU3FJaytCUjJkaDN1QUU1Z3hPYXVXQ09QTVdJU2hXVVk2ckgzQ1N6K2ZiS1dsSDQyUExzajdldG0zYkxoY2pJWW94YjNBQ2N3WW5XWmExVmxKZHMwMTFsbVc5N1ZZZW5CMktWUXpnNmdlY1pJeHBtcTAyM3BrU2FEZm1EVTVnenVBVW44OVhKMmxONDJQTHN2NXlZaHNpQU1VcUJuRDFBdzVyK3FHRDJ4SERBY3dibk1DY3dURVUrY2hGc1lvQlhQMkFrMHBMUzhzazdaWlVYbEpTOHBIYmVSRGRtRGM0Z1RtRGsrTGo0OTlxL0RneE1mR3QweDJMOEJMbmRnQTR3eGp6cG1WWkV5U3VmcURUR1VsdldwWmxUbndNZENibURVNWd6dUNZTFZ1MkhQRjZ2YXNsbVUyYk5oMTFPdy9ham1JVkkrTGo0OTlxYUdpUXhOVVBkRDZQeC9ObUlCRGdodzg0Z25tREU1Z3pPS3l4eUNPQ1dHNEhnSE84WG0raEpGTlNVakxlN1N3NHZheXNyQzJXWlgzVDdSeXh5aGhUWEZwYU9zcnRIRTVpNXR3Vkt6UEhuTGtyVnVaTVl0YmNGa3V6MWh3clZyR0ZxeDhSZ244TTNHVlpWcTdiR1p6R3pMa3JWbWFPT1hOWHJNeVp4S3k1TFpabXJUbUsxVm1LOUNzZ3hoaDV2ZDVYM003UlhyRjJCY1RuODdrZEllWmtaMmU3SGNGVnpKenpZbkhtbURQbnhlS2NTY3lhRzJKMTFpVHVDbmpXSXJsVVJZTll2UUlDQUFDQThNYUtWVHR4QmNSNXNYd0ZCQUFBQU9HTkZTc0FBQUFBc0lsaUJRQUFBQUEyVWF3QUFBQUF3Q2FLRlFBQUFBRFlSTEVDQUFBQUFKc29WZ0FBQUFCZ0U4VUtBQUFBQUd5aVdBRUFBQUNBVFJRckFBQUFBTENKWWdVQUFBQUFObEdzZ0Jpd2FORWlyVnk1c3NVMlk0d2VmUEJCYmRteTVZelBQM3IwcUI1KytPSE9pb2NveE15aHN6RmpjQm96aHpPaFdBRXhvS3lzVEJkZmZIR0xiWFBtek5HRkYxNm9OOTU0UTU5OTlsbUxmWDYvLzZUSDY5ZXZQKzB4cDlQUTBLQng0OFlwRkFycHR0dHVVMlZscFQ3NjZDTmxaMmNyT3p0Ync0WU4wOVNwVTdWMzc5NFd6NXM1YzZaZWUrMDFMVm15Ukk4Ly9uaWIvM3R3WHpqT1hQTjlpeGN2MXBRcFV6Uml4QWhkY2NVVnlzdkwwODZkT3lVeGQ1RWlIR2VzK2ZlMW9VT0hhdFNvVWJybm5udFVWRlIwMHZPWnM4Z1Q3alBYK0dmU3BFbE56MkhPbkVXeEFxTFkwcVZMTlduU0pHM2R1bFZQUGZXVUprMmFwR0F3cUZtelpxbTJ0bGFQUFBLSTdyLy9mczJZTVVONzl1eHBlbDVPVG80T0hUcDAybk8zNVpoR216ZHZWa1pHaGlvckszWG8wQ0gxN3QyN2FkL0dqUnUxWWNNR3BhYW02dWMvLzNtTDUvbDhQbDE5OWRYYXRtMmJ2dnZkNzU3Rlp3NjNoUHZNMWRmWDY2Njc3bEpSVVpFZWZQQkJGUmNYcTZpb1NJOCsrcWk2ZHUwcWlia0xkK0UrWTlMeDcydGJ0MjdWOHVYTGRlT05OK3FsbDE3U2swOCtxVkFvMUhRTWN4WTVJbVhtZkQ2ZmZENmZsaTFiMXJTZE9YTlduTnNCY0h4cHVWZXZYcnJoaGh1YXRobGo5TkJERDJuaXhJa2FQbno0YVo5LzlPaFJQZlBNTTNydXVlYzZPeW9pek9USmt6VjQ4R0F0WExoUXYvNzFyN1YvLzM3ZGZ2dnRxcSt2YjlvdlNkWFYxWHI4OGNkMTAwMDNLVDgvdjhOekZCVVZhZGl3WVNvcUt0TFFvVU5QMm4vKytlZHJ3b1FKdXVlZWV4UUtoZVR4ZUZSWldhbGV2WG9wSlNWRmUvYnMwUlZYWE5IaHVkRHh3bjNtNXMyYnAyUEhqdW5sbDE5V2ZIeThKQ2srUHI3cCt5eHpGLzdDZmNZYVdaYWw1T1JrWFhQTk5icmlpaXQweXkyM2FObXlaWm84ZVRKekZtRWlaZWErakRsekhzVXFESlNWbGVuT08rOXNzYTM1MG5KNmVycDY5ZXJWdE0vdjl6ZjlRTkQ0K0ZSTHk4MlBPWjJHaGdibDVlVnAxYXBWbWpadG1uNzFxMStwZCsvZTJyaHhvKzYvLzM0OThNQUQrdDczdnRkMC9NeVpNOVcvZjMvRnhjVnB4NDRkZXZiWlo5dnphY01oNzc3N3JrYU5HcVg4L0h6Tm1UTkgxMTU3Yll1L3owWVZGUlZxYUdqb2xBeFBQdm5rR1kvNTczLy9xMTY5ZXNuak9iNlEzcnQzYjczODhzdVNwRC8vK2MrZGtndWRJMXhuTGhBSWFPWEtsWHJtbVdkYS9mN0kzRVdHY0oyeDFpUWxKZW1XVzI3Um0yKytxY21USnpObkVTalNaazdpKzVrYktGWXVXcnAwcVpZdlg2NS8vZXRmMnI5L3YrTGk0dlNuUC8xSnp6MzNuQUtCZ0I1NzdERlZWbFpxeG93Wit0blBmcWIwOUhSSng1ZU4xNjlmcndzdXVLRFZjN2ZsbUVhdExTMFhGaGFxVDU4K0tpd3NiUEhOdytmejZlNjc3OWJ6enordnZMdzhtMThGZExZTkd6Wm8wYUpGZXUyMTE5UzNiMS9ObmoxYmhZV0ZrcVN2ZmUxclNrOVAxOTEzMzYzWnMyZnJ4UmRmYkhyZW1ERmpUanBYVGs1T3AyU3NycTdXNHNXTE5YWHExRTQ1UDV3VnJqTzNiOTgrMWRYVmFmRGd3UjEyVHJnalhHZnNkQzY1NUJMdDNidTNhVlVla1NVU1p3N09vMWk1S0p5WGxvOGNPYUsvL3ZXdm1qTm5qdTY3N3o3dDJyVkxtWm1aTEN0SG1PcnFhdTNidDArMzMzNjdQdjMwVStYbjV5c3VMcTdwOWRlVEprM1MzcjE3ZGZmZGQ2dWlvcUxwZVQ2ZnI4VjVxcXFxZE0wMTEyano1czFOMjdLenN6c2s0NVZYWGlsSlNrdExVMUpTRWo5MFJMaHducm5HcThoeGNmelRGOG5DZWNaT0p4QUlxRXVYTG54L2kwQ1JNSE9OLzVaSzBwUXBVL1RnZ3c5MnlIbHhkdmpYeFdYaHVyUzhaczBhOWV2WFR6azVPUm8yYkpnS0N3dVZtWm5Kc25LRTZkR2pSOU10WVBQejg3VjgrWEtOSHovK2pDdERiWGtwcWMvbk82dTdHYlZtNDhhTjZ0cTFxeW9yS3pWMzdseXRYNzllczJmUHRuMWV1Q09jWjY1Mzc5NnlMRXZsNWVXZCtnTTBPbGM0ejlqcGZQVFJSeG93WUVDbm5CdWRLeEptYnVQR2pVcE1UTFI5SHRqRFpST1hiZGl3UWFOR2paSWs5ZTNiVng5ODhJR21USm1pS1ZPbTZPR0hIOWFDQlFza1NiTm56MVpHUmtiVDg4YU1HYU9jbkJ6bDVPUm8zTGh4a3RUMHVDT1dtQXNMQ3pWMjdGaEowdGl4WTdWMjdWb0ZBZ0hiNTRXN2FtdHJsWkNRb0ZkZmZWV3Z2dnBxcThlMTVTNUZodzRkNnJDWE0xaVdwYTk4NVN1NitlYWI5ZTY3NzdhNGN4WWlXempOWEZKU2tvWVBIMzdhSElnODRUUmpyZm5zczgvMCt1dXZhOHFVS1IxK2JqZ3ZFbVlPN21ERnlrWGh1clM4ZS9kdTdkcTFTM1BuenBVa2pSNDlXck5temRKNzc3Mm4zTnpjZHA4WHp2dnd3dysxZlBseWZmNzU1enB3NElDbVRadW13NGNQNjQ0NzduQTdXZ3ZHR0gzNjZhZjZ3eC8rb01zdnY1eVh5a1N3Y0orNVJ4NTVSTGZmZnJzZWZ2aGhUWjgrWGYzNjlWTnRiYTE4UHAvUzB0TFV2MzkvdHlQaURNSjl4aG9aWTFSVFU2TVBQdmhBOCtmUDE5aXhZN25kZFlTS2xKbUQreWhXTGdyWHBlVlZxMWJKR0tNSkV5WTBiVHQyN0pnS0N3c3BWaEhtOHNzdjE2V1hYcXFrcENUZGROTk5LaWdvMEtSSmsvVDczLzllMHZIeTN2ejlMdHpRK0xyd3BLUWtqUnc1OHFUM3NrSmtDZmVaUzB0TDB4Ly8rRWN0WExoUTk5NTdyNnFxcXRTMWExZGRldW1sekY2RUNQY1prNDUvWDdNc1MwbEpTUm8wYUpBZWUrd3hqUmd4d3RWTWFMOUltYm5taW91TDFhMWJONWZTeEM2S1ZSaHB2clFzcWNVN1p6ZlhsanYrSFRwMFNGZGRkZFZKcTF0bkVnd0d0V2JOR2ozd3dBUDY5cmUvM2JTOXJLeE1NMmZPVkUxTmpaS1RrOC9xbkhEUHVlZWVxM1BQUGZlazdjRmdVUFgxOVVwSVNGQkZSWVU4SGsvVFRWTWFkZmFkakFZUEhuelc4NG53Rjg0ejF5ZzFOVlZQUFBGRWg1OFh6Z2puR2VQN1duUmk1dEJXRkNzWGhlUFM4dnZ2djYvRGh3OXIzTGh4TGE1MHBLU2s2SVVYWHRDYU5XdE9lWE1OaEwvcnJydE9ralIrL0hpVmw1ZXJ0TFJVVHp6eGhKWXNXYUlkTzNhMHVIVitXNzVKTjVaM29EWE1IRG9iTXdhbk1YTkFCL0o2dmNicjlacU9VRjlmYjJwcWFrd3dHRFI1ZVhuR0dHTW1UcHpZdEwvNXgrUEhqMi82Mk92MW1wcWFtcWJIbjMvKytVbVphbXBxMnBYem9ZY2VNai81eVU5T3VXL1dyRmxtOHVUSlozM09qdEw0dFhkN0JwelFrWE9Hc3hOTGM5WWNNK2VlV0pvNTVzdzlzVFJuRXJQbXBsaWJ0ZVpZc1hKUk9DNHRQL2ZjYzYzdWUvVFJSMjJmSHdBQUFJaEdGS3N3d2RJeUFBQUFFTGtvVm1IaUJ6LzRnU1RwMWx0dmxTUmxabVpLa21iTW1OR3U4MTF3d1FYOE1pTUFBQURnRU40c0JnQUFBQUJzb2xnQkFBQUFnRTBVS3dBQUFBQ3dpV0lGQUFBQUFEWlJyQUFBQUFEQUpvb1ZBQUFBQU5oRXNRSUFBQUFBbXloV0FBQUFBR0FUeFFvQUFBQUFiSXB6T3dDQTFtVm5aN3NkQVRHR21ZTVRtRE00aFZtRGsxaXhBc0tRTWFiWTdReXhMQmEvL3JINE9ZZVRXUG42eDhybkdhNWk2ZXNmUzU5ck9JclZyNy9sZG9CSTQvVjZqZHNaWWwxSlNRbHpHK1lhL3ovaDd3cE9ZTjdnQksvWHUwRFNYY2FZSDVXV2xpNXdPdytpMTdCaHcxS0R3V0NsTWVZL3BhV2xxVzduUWR1eFluV1dZcldCaHd1Ky9nQUFBQWhIL0k3VldTb3RMUjNsZG9iMjRxb3VBQUFBMERsWXNRSUFBQUFBbXloV0FBQUFBR0FUeFFvQUFBQUFiS0pZQVFBQUFJQk5GQ3NBQUFBQXNJbGlCUUFBQUFBMlVhd0FBQUFBd0NhS0ZRQUFBQURZUkxFQ0FBQUFBSnNvVmdBQUFBQmdFOFVLQUFBQUFHeWlXQUVBQUFDQVRSUXJBQUFBQUxDSllnVUFBQUFBTmxHc0FBQUFBTUFtaWhVQUFBQUEyRVN4QWdBQUFBQ2JLRllBQUFBQVlCUEZDZ0FBQUFCc29sZ0JBQUFBZ0UwVUt3QUFBQUN3aVdJRkFBQUFBRFpSckFBQUFBREFKc3Z0QUhDTzErczFibWNBZ001aWpOa2tLZUIyRGtRbnk3SytmZUxEdHlSdGN6TUxvbDZxcEx1TU1mOHBMUzFOZFRzTTJpN083UUJ3ampHbTJMS3NYTGR6QUVCbnNDeHJwTnNaRUJQR252Z0RkQ3FQeDlQZ2RnYWNIVmFzQUhTNHJLeXM3MWlXOVMyM2N5Qm16SlFrWTh3QlNlVXVaMEYwcTVQME44dXkvRzRIUWZRenhyeGRXbHE2MmUwY2FEdUtGUUFnb2pWN21mTlRKU1VsVDdxWkJRQVF1N2g1QlFBQUFBRFlSTEVDQUFBQUFKc29WZ0FBQUFCZ0U4VUtBQUFBQUd5aVdBRUFBQUNBVGR3VkVBQVFNUVlOR2pTa2E5ZXV6eGxqbWk0TWhrS2hxeVhKNC9Ic2tiUzdjWHN3R0h5MnRMVDByeTdFQkFERUlONGdHQUFRTWJwMjdkb3JHQXgrOTFUN1FxRlF1cVQweHNjZWo2ZE9Fc1VLQU9BSVhnb0lBSWdZVzdkdVhTL0puUEZBU1pabHplM2tPQUFBTktGWUFRQWl6WjQySEJQczE2L2Z4azVQQWdEQUNSUXJBRUJFQ1FhRDk1L3BHR1BNdW9LQ2dxQVRlUUFBa0NoV0FJQUlzMzM3OXRVNnc4c0JQUjdQSElmaUFBQWdpV0lGQUloQWxtVWRPTTN1a0tRTlRtVUJBRUNpV0FFQUlwRGY3MyswdFgzQllIQ1R6K2RyY0RJUEFBQVVLd0JBeFBub280LythTXlwWHczWXBVdVg1eDJPQXdBQXhRb0FFTEgrYzRwdEppa3BhWjNqU1FBQU1ZOWlCUUNJU0pabFBmUGxiUjZQeDFkY1hGenZSaDRBUUd5aldBRUFJbEpKU2NuOEwyOExCb08vY2lNTEFBQVVLd0JBSkt0cS9pQVlESzV4S3dnQUlMWlJyQUFBRWNzWU03Zlp4OGZLeXNwcTNjd0RBSWhkRkNzQVFNUXFMUzJkMWV6aGROZUNBQUJpSHNVS0FCREpncElPU3pJZWoyZWwyMkVBQUxITGNqc0FBQ0M4NWVibXhoMDVjdVJteTdJbVNzbzJ4dlNTZEs3YnVTTEFNY3V5UHBQa2s3U3NXN2R1eTRxTGl3TnVod0lBZEE2S0ZRQ2dOWmJYNjUwdTZWRkpGN3VjSlJyc2xUU3JwS1RrdDVKTy9lN0dBSUNJUmJFQ0FKd2tJeVBqM0tTa3BFV1NicFdrek14TVRadzRVUmtaR1VwTFMxUDM3dDFkVGhqK0RoOCtySDM3OXFtOHZGd0ZCUVhhdFd0WDQ2N0ZSNDRjK1dGNWVma3hOL01CQURvV3hRb0EwRUoyZG5haU1XYXRwQ3N2dlBCQ3padzVVeU5HakpCbDhVOUdleGxqOVA3NzcrdXBwNTVTVlZXVkpHMjBMT3Rhbjg5WDUzWTJBRURINE9ZVkFJQVdRcUhRcnlWZDJiOS9mNzMyMm1zYU9YSWtwY29teTdJMGN1Ukl2ZnJxcStyZnY3OGtYZG44VnZFQWdNakh2NVFBZ0NiWjJkbmZNOGI4c1dmUG5scTZkS21TazVQZGpoUjFhbXBxZFBQTk42dXFxa3JHbU8rVmxwYit5ZTFNQUFEN1dMRUNBRWlTUm80YzJjMFlNOCt5TEQzOTlOT1VxazZTbkp5c1o1NTVScEprV2RiOGtTTkhkbk01RWdDZ0ExQ3NBQUNTcFByNitoOUxTcjcrK3VzMWZQaHd0K05FdGVIRGgrdjY2NitYcE9TNnVycDczTTREQUxDUFlnVUEwSkFoUTg0enhqeGdXWmFtVFp2bWRweVlNRzNhTkZtV0pjdXlIaGd5Wk1oNWJ1Y0JBTmhEc1FJQUtDNHU3a1pKUFhOemM5VzNiMSszNDhTRWl5KytXTG01dVpMVTY1eHp6cm5CNVRnQUFKc29WZ0FBU2NxVHBHdXZ2ZGJ0SERHbDJkYzd6ODBjQUFEN0tGWUFFT055Y25LNlNob1RGeGVubkp3Y3QrUEVsSnljSEhYcDBrWEdtREVuL2g0QUFCR0tZZ1VBTWM3djkxOGhLVEVySzB2bm5jZXYrampwdlBQT1UxWldsaVNkMTlEUXdCMURBQ0NDVWF3QUFFTWthY0NBQVc3bmFHSDkrdldhUDMvK1Nkdno4L01WQ29YYWRJNUlXSUZyL0xvYlk0YTRIQVVBWUVPYzJ3RUFBTzVxL0lFK1BUM2Q3U2hOakRGYXRHaVJIbnJvb1pQMlZWUlV5QmpUWXR1WU1XTk9lUjYvMzMvS2ZVODk5WlMrK2MxdmRreFltNXA5M1NsV0FCREJLRllBZ0lHUzFLOWZQN2R6TkhucnJiZVVucDZ1YjN6akc5cTdkNi91dU9PT0Z2dXZ2dnJxRm8rTGlvcE9lWjZjbkJ5dFdiT20wM0oyaE1aaVpZd1o2SElVQUlBTkZDc0FRRTlKNnRHamg5czVKRW1IRGgzU3l5Ky9ySVVMRjJyeDRzWGFzV05IaStLVW5aMnRkZXZXcVV1WExpNm03RGpKeWNtTkgvWjBNd2NBd0I2S0ZRQ2d1NlN3dVhIRjZ0V3JkZkRnUWQxNTU1MDZmUGl3bGk1ZDJxYm41ZVRrNktLTExtcXhyYUdoUVRmYzhMOXZFWFhnd0FGdDI3YXRRL1BhMWV6cjN0M05IQUFBZXloV0FJQWtTVXBNVEhRN2h5UnB3b1FKdXVHR0cvVG9vNC9xKzkvL3ZsSlNValI2OU9nV3h6Ui9LZUQ4K2ZQMTlhOS9YWkswY3VYS0ZzZmw1T1MwMkJhT043T2dXQUZBZEtCWUFRRENTdGV1WFZWUVVLQnp6amxIRXlaTWtOVDY3MUFCQUJBdUtGWUFnQ09TZXRiVjFTaytQdDd0TE5xelo0OW16NTZ0ckt3czNYYmJiVXBNVE5TQ0JRdGF2Zk5mODV0VGpCczNydW5qSTBlT3lPLzM2NnFycmxMWHJzZmZlOWZ2OTNkdStIYW9yYTF0L1BDd216a0FBUFpRckFBQWh5WDFySzJ0MVFVWFhPQjJGcDEvL3ZtNjlkWmJsWjZlcnZUMGRQWHQyMWVTZFBEZ1FmbDh2aGJIRGhzMnJPbmpGMTU0UVNOSGpwUWt2ZmZlZTFxNGNLSCs4WTkvS0NNalEwOC8vYlJTVWxLMGFkTW01ejZSTnFKWUFVQjA0QTJDQVFDZlMxSjFkYlhiT1NSSkYxMTBrZTY5OTE1ZGQ5MTFTazlQMXovLytjODJQVy9reUpHcXE2dlRyRm16dEdUSkVyMzAwa3VLaTR2VEk0ODhvcC8rOUtkNjk5MTNtNHBYT0ttcHFXbjg4SE0zY3dBQTdLRllBUUErbHFSUFB2bkU3UnlTanI4VThIZS8rNTN1dWVjZWpSNDlXblBuemozamMveCt2OTU0NHcxTm1USkZhV2xwbWo5L3ZycDNQMzR2aVBUMGRMMzQ0b3Rhc21TSjdydnZQcFdWbFhYMnAzQlc5dXpaSTBteUxPdGpsNk1BQUd6Z3BZQUFFT01zeXlvenhqVDlnTysyaW9vS1ZWZFg2K2FiYjlZdmYvbExKU1VsTmUzNzh1OVpoVUloQlFJQjNYYmJiUm84ZUxBV0xWcWtYcjE2blhUT25qMTdhc0dDQlZxOWVyV2VmUEpKUGYvODgrcmZ2MytuZnk1dDBlenJIbDZORHdBQUFFRGJaV2Ruai9KNnZlYXV1KzR5NGV5RER6NDRhZHVISDM1b2pESEc3L2VmOGprdnZ2aGlwMmJxQ05PblR6ZGVyOWNNSFRvMDErMVpBQUMwbitWMkFBQ0F1M0p5Y3JvZU8zYnNzN2k0dVBPS2lvckM1bzJDWTBGdGJhMUdqUnFsWURCWW01U1UxTE80dUxqZTdVd0FnUGJoZDZ3QUlNWnQzcno1QzBsckE0R0FObS9lN0hhY21MSjU4MllGZzBGWmxyV0dVZ1VBa1kxaUJRQ1FwQldTdEhidFdyZHp4SlJtWCs4VmJ1WUFBTmhIc1FJQUtCQUkvRm5TNThYRnhhcW9xSEE3VGt6WXUzZXZpb3VMSmVtemhvYUdsUzdIQVFEWVJMRUNBS2lzckt6V3Nxelp4aGk5OHNvcmJzZUpDYSs4OG9xTU1UTEd6QzRySzZzOTh6TUFBT0dNWWdVQWtDUWxKQ1RNbDFTemF0VXFiZG15eGUwNFVXM0xsaTBxTEN5VXBKckV4TVQvNTNZZUFJQjkzQlVRQU5Ba0t5dHJpbVZaU3k2ODhFSzkvdnJyU2s1T2RqdFMxS211cnRia3laTlZWVlVsWTh5VTB0TFNwVzVuQWdEWTE4WHRBQUNBOFBIdmYvLzc3Nm1wcVgyKytPSUw3NlpObS9TdGIzMUwzYnAxY3p0VzFLaXNyTlNQZi94amZmcnBwNUwwMjlMUzBsbHVad0lBZEF4ZUNnZ0FhTUhqOGZ3ZlNSdDM3OTZ0cVZPbmF0T21UVExHdUIwcm9obGp0R25USmsyZE9sVjc5dXlScEkyV1pkM3ZkaTRBUU1maHBZQUFnSk5rWkdTY201U1V0RWpTclpLVW1abXBpUk1ucW4vLy91cmJ0Nis2ZCsvdWNzTHdkL2p3WVZWVVZHajM3dDBxS0NqUXJsMjdHbmN0UG5Ma3lBL0x5OHVQdVprUEFOQ3hLRllBZ05aWVhxLzNoNUptU0xyWTVTelJZSytrV1NVbEpiK1Z4QklnQUVRWmloVUE0TFJ5YzNQampoNDlPc2tZTTFGU3RxUmVraEpjamhVSjZpVjlKc2xuV1ZaQnQyN2RsaFVYRndmY0RnVUFBQUFBQUFBQUFBQUFBQUFBQUFBQUFBQUFBQUFBQUFBQUFBQUFBQUFBQUFBQUFBQUFBQUFBQUFBQUFBQUFBQUFBQUFBQUFBQUFBQUFBQUFBQUFBQUFBQUFBQUFBQUFBQUFBQUFBQUFBQUFBQUFBQUFBQUFBQUFBQUFFMTVWT1FBQUFOMUpSRUZV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zT0gvQS9NZG1odHAvYXpqQUFBQUFFbEZUa1N1UW1DQyIsCiAgICJUeXBlIiA6ICJmbG93IiwKICAgIlZlcnNpb24iIDogIiIKfQo="/>
    </extobj>
  </extobjs>
</s:customData>
</file>

<file path=customXml/itemProps18.xml><?xml version="1.0" encoding="utf-8"?>
<ds:datastoreItem xmlns:ds="http://schemas.openxmlformats.org/officeDocument/2006/customXml" ds:itemID="s:customData">
  <ds:schemaRefs>
    <ds:schemaRef ds:uri="http://www.wps.cn/officeDocument/2013/wpsCustomDat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4896</Words>
  <Application>WPS 演示</Application>
  <PresentationFormat>宽屏</PresentationFormat>
  <Paragraphs>529</Paragraphs>
  <Slides>3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3</vt:i4>
      </vt:variant>
    </vt:vector>
  </HeadingPairs>
  <TitlesOfParts>
    <vt:vector size="46" baseType="lpstr">
      <vt:lpstr>Arial</vt:lpstr>
      <vt:lpstr>宋体</vt:lpstr>
      <vt:lpstr>Wingdings</vt:lpstr>
      <vt:lpstr>微软雅黑</vt:lpstr>
      <vt:lpstr>Impact</vt:lpstr>
      <vt:lpstr>PT Mono</vt:lpstr>
      <vt:lpstr>方正小标宋简体</vt:lpstr>
      <vt:lpstr>Arial Unicode MS</vt:lpstr>
      <vt:lpstr>Calibri</vt:lpstr>
      <vt:lpstr>等线</vt:lpstr>
      <vt:lpstr>主题5</vt:lpstr>
      <vt:lpstr>TCLayout.ActiveDocument.1</vt:lpstr>
      <vt:lpstr>TCLayout.ActiveDocument.1</vt:lpstr>
      <vt:lpstr>PowerPoint 演示文稿</vt:lpstr>
      <vt:lpstr>目  录</vt:lpstr>
      <vt:lpstr>认识多分支结构</vt:lpstr>
      <vt:lpstr>知识回顾</vt:lpstr>
      <vt:lpstr>认识多分支结构</vt:lpstr>
      <vt:lpstr>认识多分支结构</vt:lpstr>
      <vt:lpstr>认识多分支结构</vt:lpstr>
      <vt:lpstr>多分支结构</vt:lpstr>
      <vt:lpstr>if - elif 条件语句</vt:lpstr>
      <vt:lpstr>if - elif 条件语句</vt:lpstr>
      <vt:lpstr>if - elif 条件语句</vt:lpstr>
      <vt:lpstr>if - elif 条件语句</vt:lpstr>
      <vt:lpstr>求最大的数</vt:lpstr>
      <vt:lpstr>求最大的数</vt:lpstr>
      <vt:lpstr>求最大的数</vt:lpstr>
      <vt:lpstr>求最大的数</vt:lpstr>
      <vt:lpstr>亲身体验</vt:lpstr>
      <vt:lpstr>简易计算器</vt:lpstr>
      <vt:lpstr>4 简易计算器</vt:lpstr>
      <vt:lpstr>4.1 问题分析</vt:lpstr>
      <vt:lpstr>4.2 算法设计</vt:lpstr>
      <vt:lpstr>4.3 代码编写</vt:lpstr>
      <vt:lpstr>4.4 调试运行</vt:lpstr>
      <vt:lpstr>4.5 程序修改</vt:lpstr>
      <vt:lpstr>异常处理</vt:lpstr>
      <vt:lpstr>异常</vt:lpstr>
      <vt:lpstr>异常处理</vt:lpstr>
      <vt:lpstr>异常处理演示</vt:lpstr>
      <vt:lpstr>课堂总结</vt:lpstr>
      <vt:lpstr>随堂练习</vt:lpstr>
      <vt:lpstr>随堂练习</vt:lpstr>
      <vt:lpstr>随堂练习</vt:lpstr>
      <vt:lpstr>Thanks 51maker团队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况君</dc:creator>
  <cp:lastModifiedBy>顾黄凯</cp:lastModifiedBy>
  <cp:revision>409</cp:revision>
  <cp:lastPrinted>2019-11-27T16:00:00Z</cp:lastPrinted>
  <dcterms:created xsi:type="dcterms:W3CDTF">2019-11-27T16:00:00Z</dcterms:created>
  <dcterms:modified xsi:type="dcterms:W3CDTF">2020-09-21T06:5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999</vt:lpwstr>
  </property>
</Properties>
</file>